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24" r:id="rId4"/>
  </p:sldMasterIdLst>
  <p:notesMasterIdLst>
    <p:notesMasterId r:id="rId19"/>
  </p:notesMasterIdLst>
  <p:sldIdLst>
    <p:sldId id="302" r:id="rId5"/>
    <p:sldId id="402" r:id="rId6"/>
    <p:sldId id="403" r:id="rId7"/>
    <p:sldId id="404" r:id="rId8"/>
    <p:sldId id="405" r:id="rId9"/>
    <p:sldId id="539" r:id="rId10"/>
    <p:sldId id="541" r:id="rId11"/>
    <p:sldId id="542" r:id="rId12"/>
    <p:sldId id="401" r:id="rId13"/>
    <p:sldId id="381" r:id="rId14"/>
    <p:sldId id="383" r:id="rId15"/>
    <p:sldId id="382" r:id="rId16"/>
    <p:sldId id="384" r:id="rId17"/>
    <p:sldId id="327" r:id="rId18"/>
  </p:sldIdLst>
  <p:sldSz cx="12192000" cy="6858000"/>
  <p:notesSz cx="6858000" cy="9144000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3" autoAdjust="0"/>
    <p:restoredTop sz="86715" autoAdjust="0"/>
  </p:normalViewPr>
  <p:slideViewPr>
    <p:cSldViewPr snapToGrid="0" showGuides="1">
      <p:cViewPr>
        <p:scale>
          <a:sx n="100" d="100"/>
          <a:sy n="100" d="100"/>
        </p:scale>
        <p:origin x="-1476" y="-5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22EAE4-C943-455D-86EE-DEFFDFAB3283}" type="doc">
      <dgm:prSet loTypeId="urn:microsoft.com/office/officeart/2005/8/layout/chevron1" loCatId="process" qsTypeId="urn:microsoft.com/office/officeart/2005/8/quickstyle/simple1" qsCatId="simple" csTypeId="urn:microsoft.com/office/officeart/2005/8/colors/colorful4" csCatId="colorful" phldr="1"/>
      <dgm:spPr/>
    </dgm:pt>
    <dgm:pt modelId="{70A7E8C0-A31F-42CE-A864-86E6ABCFBDC6}">
      <dgm:prSet phldrT="[Text]" custT="1"/>
      <dgm:spPr/>
      <dgm:t>
        <a:bodyPr/>
        <a:lstStyle/>
        <a:p>
          <a:r>
            <a:rPr lang="sr-Latn-RS" sz="1100" b="1" dirty="0"/>
            <a:t>Razvojno istraživanje</a:t>
          </a:r>
          <a:endParaRPr lang="en-US" sz="1100" b="1" dirty="0"/>
        </a:p>
      </dgm:t>
    </dgm:pt>
    <dgm:pt modelId="{738EDB79-2CCE-40F4-8460-A76903BE4654}" type="parTrans" cxnId="{D1AC3F4C-86FC-434E-817A-280A2101210E}">
      <dgm:prSet/>
      <dgm:spPr/>
      <dgm:t>
        <a:bodyPr/>
        <a:lstStyle/>
        <a:p>
          <a:endParaRPr lang="en-US"/>
        </a:p>
      </dgm:t>
    </dgm:pt>
    <dgm:pt modelId="{51EAE60C-948D-4101-B3EF-5516BD9BC0AA}" type="sibTrans" cxnId="{D1AC3F4C-86FC-434E-817A-280A2101210E}">
      <dgm:prSet/>
      <dgm:spPr/>
      <dgm:t>
        <a:bodyPr/>
        <a:lstStyle/>
        <a:p>
          <a:endParaRPr lang="en-US"/>
        </a:p>
      </dgm:t>
    </dgm:pt>
    <dgm:pt modelId="{9AEA6037-BF81-44CB-A346-62E30DA2E5E4}">
      <dgm:prSet phldrT="[Text]" custT="1"/>
      <dgm:spPr/>
      <dgm:t>
        <a:bodyPr/>
        <a:lstStyle/>
        <a:p>
          <a:r>
            <a:rPr lang="sr-Latn-RS" sz="1200" b="1" dirty="0"/>
            <a:t>Planiranje i PM</a:t>
          </a:r>
          <a:endParaRPr lang="en-US" sz="1200" b="1" dirty="0"/>
        </a:p>
      </dgm:t>
    </dgm:pt>
    <dgm:pt modelId="{53D0CEAF-919B-45D3-8B3C-D910B53D6EAC}" type="parTrans" cxnId="{9AC36B39-434C-4ED1-B9AB-639B6D085173}">
      <dgm:prSet/>
      <dgm:spPr/>
      <dgm:t>
        <a:bodyPr/>
        <a:lstStyle/>
        <a:p>
          <a:endParaRPr lang="en-US"/>
        </a:p>
      </dgm:t>
    </dgm:pt>
    <dgm:pt modelId="{061CDA55-31D8-4D29-B8B4-5EB89CA7E92B}" type="sibTrans" cxnId="{9AC36B39-434C-4ED1-B9AB-639B6D085173}">
      <dgm:prSet/>
      <dgm:spPr/>
      <dgm:t>
        <a:bodyPr/>
        <a:lstStyle/>
        <a:p>
          <a:endParaRPr lang="en-US"/>
        </a:p>
      </dgm:t>
    </dgm:pt>
    <dgm:pt modelId="{D1411C48-7FDB-479D-9C13-3C9DE2ABDFC1}">
      <dgm:prSet phldrT="[Text]" custT="1"/>
      <dgm:spPr/>
      <dgm:t>
        <a:bodyPr/>
        <a:lstStyle/>
        <a:p>
          <a:r>
            <a:rPr lang="sr-Latn-RS" sz="1100" b="1" dirty="0"/>
            <a:t>Studije izvodljivosti</a:t>
          </a:r>
          <a:endParaRPr lang="en-US" sz="1100" b="1" dirty="0"/>
        </a:p>
      </dgm:t>
    </dgm:pt>
    <dgm:pt modelId="{0D4690EC-8DBD-424C-A77D-6E31F71A8ADC}" type="parTrans" cxnId="{AC8211CE-E57A-463E-942A-9D8A16EF2A84}">
      <dgm:prSet/>
      <dgm:spPr/>
      <dgm:t>
        <a:bodyPr/>
        <a:lstStyle/>
        <a:p>
          <a:endParaRPr lang="en-US"/>
        </a:p>
      </dgm:t>
    </dgm:pt>
    <dgm:pt modelId="{26A934C3-4CF9-4E89-9672-F90F3EBA5EAD}" type="sibTrans" cxnId="{AC8211CE-E57A-463E-942A-9D8A16EF2A84}">
      <dgm:prSet/>
      <dgm:spPr/>
      <dgm:t>
        <a:bodyPr/>
        <a:lstStyle/>
        <a:p>
          <a:endParaRPr lang="en-US"/>
        </a:p>
      </dgm:t>
    </dgm:pt>
    <dgm:pt modelId="{C4204419-9AC6-4137-B5C2-2C0C30963F79}">
      <dgm:prSet custT="1"/>
      <dgm:spPr/>
      <dgm:t>
        <a:bodyPr/>
        <a:lstStyle/>
        <a:p>
          <a:r>
            <a:rPr lang="sr-Latn-RS" sz="1200" b="1" dirty="0"/>
            <a:t>Idejni projekat</a:t>
          </a:r>
          <a:endParaRPr lang="en-US" sz="1200" b="1" dirty="0"/>
        </a:p>
      </dgm:t>
    </dgm:pt>
    <dgm:pt modelId="{D38F6917-DA42-4CFA-A477-552923A16705}" type="parTrans" cxnId="{E255BA8E-DB8C-44A9-ACA7-2C60AF151EEC}">
      <dgm:prSet/>
      <dgm:spPr/>
      <dgm:t>
        <a:bodyPr/>
        <a:lstStyle/>
        <a:p>
          <a:endParaRPr lang="en-US"/>
        </a:p>
      </dgm:t>
    </dgm:pt>
    <dgm:pt modelId="{F8987D21-2BAD-4056-A522-7C37CFB50D20}" type="sibTrans" cxnId="{E255BA8E-DB8C-44A9-ACA7-2C60AF151EEC}">
      <dgm:prSet/>
      <dgm:spPr/>
      <dgm:t>
        <a:bodyPr/>
        <a:lstStyle/>
        <a:p>
          <a:endParaRPr lang="en-US"/>
        </a:p>
      </dgm:t>
    </dgm:pt>
    <dgm:pt modelId="{D0A6EC82-5A79-47BB-A2FE-59004517C467}">
      <dgm:prSet custT="1"/>
      <dgm:spPr/>
      <dgm:t>
        <a:bodyPr/>
        <a:lstStyle/>
        <a:p>
          <a:r>
            <a:rPr lang="sr-Latn-RS" sz="1200" b="1" dirty="0"/>
            <a:t>Glavni projekat</a:t>
          </a:r>
          <a:endParaRPr lang="en-US" sz="1200" b="1" dirty="0"/>
        </a:p>
      </dgm:t>
    </dgm:pt>
    <dgm:pt modelId="{E760DA63-9DE6-4182-86E8-35BB4DBDE379}" type="parTrans" cxnId="{33004971-7C90-4486-A22C-ACE20DE31122}">
      <dgm:prSet/>
      <dgm:spPr/>
      <dgm:t>
        <a:bodyPr/>
        <a:lstStyle/>
        <a:p>
          <a:endParaRPr lang="en-US"/>
        </a:p>
      </dgm:t>
    </dgm:pt>
    <dgm:pt modelId="{ABD02A59-032C-4AEC-BEB1-526DE7DDC307}" type="sibTrans" cxnId="{33004971-7C90-4486-A22C-ACE20DE31122}">
      <dgm:prSet/>
      <dgm:spPr/>
      <dgm:t>
        <a:bodyPr/>
        <a:lstStyle/>
        <a:p>
          <a:endParaRPr lang="en-US"/>
        </a:p>
      </dgm:t>
    </dgm:pt>
    <dgm:pt modelId="{B7F389F8-D2E1-4F70-9A45-6FCB86253169}">
      <dgm:prSet/>
      <dgm:spPr/>
      <dgm:t>
        <a:bodyPr/>
        <a:lstStyle/>
        <a:p>
          <a:r>
            <a:rPr lang="sr-Latn-RS" b="1" dirty="0"/>
            <a:t>Održavanje</a:t>
          </a:r>
          <a:endParaRPr lang="en-US" b="1" dirty="0"/>
        </a:p>
      </dgm:t>
    </dgm:pt>
    <dgm:pt modelId="{C2E157FB-381A-4F70-8AA0-9EF3701192B5}" type="parTrans" cxnId="{C7ABEA96-49DC-41B9-997B-B26F99202AF1}">
      <dgm:prSet/>
      <dgm:spPr/>
      <dgm:t>
        <a:bodyPr/>
        <a:lstStyle/>
        <a:p>
          <a:endParaRPr lang="en-US"/>
        </a:p>
      </dgm:t>
    </dgm:pt>
    <dgm:pt modelId="{0F5AEF5E-A2F1-428A-A020-DDB4AFC46229}" type="sibTrans" cxnId="{C7ABEA96-49DC-41B9-997B-B26F99202AF1}">
      <dgm:prSet/>
      <dgm:spPr/>
      <dgm:t>
        <a:bodyPr/>
        <a:lstStyle/>
        <a:p>
          <a:endParaRPr lang="en-US"/>
        </a:p>
      </dgm:t>
    </dgm:pt>
    <dgm:pt modelId="{0CD4A97B-08C0-489C-A268-9A63397FC0CF}">
      <dgm:prSet custT="1"/>
      <dgm:spPr/>
      <dgm:t>
        <a:bodyPr/>
        <a:lstStyle/>
        <a:p>
          <a:r>
            <a:rPr lang="sr-Latn-RS" sz="1200" b="1" dirty="0"/>
            <a:t>Nadzor</a:t>
          </a:r>
          <a:endParaRPr lang="en-US" sz="1200" b="1" dirty="0"/>
        </a:p>
      </dgm:t>
    </dgm:pt>
    <dgm:pt modelId="{9D568E5B-2F82-485C-9500-D1056E305130}" type="parTrans" cxnId="{14DE53A7-9DDF-4C18-BF68-3F3ABE19C3B7}">
      <dgm:prSet/>
      <dgm:spPr/>
      <dgm:t>
        <a:bodyPr/>
        <a:lstStyle/>
        <a:p>
          <a:endParaRPr lang="en-US"/>
        </a:p>
      </dgm:t>
    </dgm:pt>
    <dgm:pt modelId="{39A937F6-B053-4BCC-A710-D14679C7C3A3}" type="sibTrans" cxnId="{14DE53A7-9DDF-4C18-BF68-3F3ABE19C3B7}">
      <dgm:prSet/>
      <dgm:spPr/>
      <dgm:t>
        <a:bodyPr/>
        <a:lstStyle/>
        <a:p>
          <a:endParaRPr lang="en-US"/>
        </a:p>
      </dgm:t>
    </dgm:pt>
    <dgm:pt modelId="{769CD209-4D48-4697-A673-6BA31139A347}" type="pres">
      <dgm:prSet presAssocID="{B622EAE4-C943-455D-86EE-DEFFDFAB3283}" presName="Name0" presStyleCnt="0">
        <dgm:presLayoutVars>
          <dgm:dir/>
          <dgm:animLvl val="lvl"/>
          <dgm:resizeHandles val="exact"/>
        </dgm:presLayoutVars>
      </dgm:prSet>
      <dgm:spPr/>
    </dgm:pt>
    <dgm:pt modelId="{A4B289D1-E0B1-4BD7-B2F8-F4880532F4BB}" type="pres">
      <dgm:prSet presAssocID="{70A7E8C0-A31F-42CE-A864-86E6ABCFBDC6}" presName="parTxOnly" presStyleLbl="node1" presStyleIdx="0" presStyleCnt="7" custLinFactNeighborY="-1010">
        <dgm:presLayoutVars>
          <dgm:chMax val="0"/>
          <dgm:chPref val="0"/>
          <dgm:bulletEnabled val="1"/>
        </dgm:presLayoutVars>
      </dgm:prSet>
      <dgm:spPr/>
    </dgm:pt>
    <dgm:pt modelId="{862C483A-B7F8-4112-81BF-057E30C2997D}" type="pres">
      <dgm:prSet presAssocID="{51EAE60C-948D-4101-B3EF-5516BD9BC0AA}" presName="parTxOnlySpace" presStyleCnt="0"/>
      <dgm:spPr/>
    </dgm:pt>
    <dgm:pt modelId="{D284263F-8E9F-40E7-B15E-646D55EC626D}" type="pres">
      <dgm:prSet presAssocID="{9AEA6037-BF81-44CB-A346-62E30DA2E5E4}" presName="parTxOnly" presStyleLbl="node1" presStyleIdx="1" presStyleCnt="7" custLinFactNeighborY="-1010">
        <dgm:presLayoutVars>
          <dgm:chMax val="0"/>
          <dgm:chPref val="0"/>
          <dgm:bulletEnabled val="1"/>
        </dgm:presLayoutVars>
      </dgm:prSet>
      <dgm:spPr/>
    </dgm:pt>
    <dgm:pt modelId="{43949C21-A201-41A5-851D-793181CAFC4A}" type="pres">
      <dgm:prSet presAssocID="{061CDA55-31D8-4D29-B8B4-5EB89CA7E92B}" presName="parTxOnlySpace" presStyleCnt="0"/>
      <dgm:spPr/>
    </dgm:pt>
    <dgm:pt modelId="{3B2CC9CD-2360-4ECD-ABBC-569A3708D2EF}" type="pres">
      <dgm:prSet presAssocID="{D1411C48-7FDB-479D-9C13-3C9DE2ABDFC1}" presName="parTxOnly" presStyleLbl="node1" presStyleIdx="2" presStyleCnt="7" custLinFactNeighborY="-1010">
        <dgm:presLayoutVars>
          <dgm:chMax val="0"/>
          <dgm:chPref val="0"/>
          <dgm:bulletEnabled val="1"/>
        </dgm:presLayoutVars>
      </dgm:prSet>
      <dgm:spPr/>
    </dgm:pt>
    <dgm:pt modelId="{D5B6BFD4-1066-473B-B2D2-BE7C48935AFA}" type="pres">
      <dgm:prSet presAssocID="{26A934C3-4CF9-4E89-9672-F90F3EBA5EAD}" presName="parTxOnlySpace" presStyleCnt="0"/>
      <dgm:spPr/>
    </dgm:pt>
    <dgm:pt modelId="{94F6AF45-B39C-48A1-8FEC-2D18FBD7458D}" type="pres">
      <dgm:prSet presAssocID="{C4204419-9AC6-4137-B5C2-2C0C30963F79}" presName="parTxOnly" presStyleLbl="node1" presStyleIdx="3" presStyleCnt="7" custLinFactNeighborY="0">
        <dgm:presLayoutVars>
          <dgm:chMax val="0"/>
          <dgm:chPref val="0"/>
          <dgm:bulletEnabled val="1"/>
        </dgm:presLayoutVars>
      </dgm:prSet>
      <dgm:spPr/>
    </dgm:pt>
    <dgm:pt modelId="{4A23D48F-0921-4A3C-8AC7-3065DA836904}" type="pres">
      <dgm:prSet presAssocID="{F8987D21-2BAD-4056-A522-7C37CFB50D20}" presName="parTxOnlySpace" presStyleCnt="0"/>
      <dgm:spPr/>
    </dgm:pt>
    <dgm:pt modelId="{6E9A0498-1DB4-46ED-8CD6-A644A175678F}" type="pres">
      <dgm:prSet presAssocID="{D0A6EC82-5A79-47BB-A2FE-59004517C467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5B342518-52A6-44DB-9E98-77B83ECE70AA}" type="pres">
      <dgm:prSet presAssocID="{ABD02A59-032C-4AEC-BEB1-526DE7DDC307}" presName="parTxOnlySpace" presStyleCnt="0"/>
      <dgm:spPr/>
    </dgm:pt>
    <dgm:pt modelId="{DC9D4A63-3D95-446F-9D9F-03AF1CFA8B21}" type="pres">
      <dgm:prSet presAssocID="{0CD4A97B-08C0-489C-A268-9A63397FC0CF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0F98A039-B001-4542-8E21-2DF4EC77BDD9}" type="pres">
      <dgm:prSet presAssocID="{39A937F6-B053-4BCC-A710-D14679C7C3A3}" presName="parTxOnlySpace" presStyleCnt="0"/>
      <dgm:spPr/>
    </dgm:pt>
    <dgm:pt modelId="{317490FA-F7AE-4924-88A4-4E8811F33A51}" type="pres">
      <dgm:prSet presAssocID="{B7F389F8-D2E1-4F70-9A45-6FCB86253169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B9B93411-4CBF-43E5-B82B-BE8C50DAA43B}" type="presOf" srcId="{0CD4A97B-08C0-489C-A268-9A63397FC0CF}" destId="{DC9D4A63-3D95-446F-9D9F-03AF1CFA8B21}" srcOrd="0" destOrd="0" presId="urn:microsoft.com/office/officeart/2005/8/layout/chevron1"/>
    <dgm:cxn modelId="{B6567A16-E98F-4BEC-9A12-2014B080FFE2}" type="presOf" srcId="{D1411C48-7FDB-479D-9C13-3C9DE2ABDFC1}" destId="{3B2CC9CD-2360-4ECD-ABBC-569A3708D2EF}" srcOrd="0" destOrd="0" presId="urn:microsoft.com/office/officeart/2005/8/layout/chevron1"/>
    <dgm:cxn modelId="{9AC36B39-434C-4ED1-B9AB-639B6D085173}" srcId="{B622EAE4-C943-455D-86EE-DEFFDFAB3283}" destId="{9AEA6037-BF81-44CB-A346-62E30DA2E5E4}" srcOrd="1" destOrd="0" parTransId="{53D0CEAF-919B-45D3-8B3C-D910B53D6EAC}" sibTransId="{061CDA55-31D8-4D29-B8B4-5EB89CA7E92B}"/>
    <dgm:cxn modelId="{483FC666-CE80-49D4-97EB-55C18B8C2C7A}" type="presOf" srcId="{B622EAE4-C943-455D-86EE-DEFFDFAB3283}" destId="{769CD209-4D48-4697-A673-6BA31139A347}" srcOrd="0" destOrd="0" presId="urn:microsoft.com/office/officeart/2005/8/layout/chevron1"/>
    <dgm:cxn modelId="{D1AC3F4C-86FC-434E-817A-280A2101210E}" srcId="{B622EAE4-C943-455D-86EE-DEFFDFAB3283}" destId="{70A7E8C0-A31F-42CE-A864-86E6ABCFBDC6}" srcOrd="0" destOrd="0" parTransId="{738EDB79-2CCE-40F4-8460-A76903BE4654}" sibTransId="{51EAE60C-948D-4101-B3EF-5516BD9BC0AA}"/>
    <dgm:cxn modelId="{33004971-7C90-4486-A22C-ACE20DE31122}" srcId="{B622EAE4-C943-455D-86EE-DEFFDFAB3283}" destId="{D0A6EC82-5A79-47BB-A2FE-59004517C467}" srcOrd="4" destOrd="0" parTransId="{E760DA63-9DE6-4182-86E8-35BB4DBDE379}" sibTransId="{ABD02A59-032C-4AEC-BEB1-526DE7DDC307}"/>
    <dgm:cxn modelId="{E255BA8E-DB8C-44A9-ACA7-2C60AF151EEC}" srcId="{B622EAE4-C943-455D-86EE-DEFFDFAB3283}" destId="{C4204419-9AC6-4137-B5C2-2C0C30963F79}" srcOrd="3" destOrd="0" parTransId="{D38F6917-DA42-4CFA-A477-552923A16705}" sibTransId="{F8987D21-2BAD-4056-A522-7C37CFB50D20}"/>
    <dgm:cxn modelId="{C7ABEA96-49DC-41B9-997B-B26F99202AF1}" srcId="{B622EAE4-C943-455D-86EE-DEFFDFAB3283}" destId="{B7F389F8-D2E1-4F70-9A45-6FCB86253169}" srcOrd="6" destOrd="0" parTransId="{C2E157FB-381A-4F70-8AA0-9EF3701192B5}" sibTransId="{0F5AEF5E-A2F1-428A-A020-DDB4AFC46229}"/>
    <dgm:cxn modelId="{14DE53A7-9DDF-4C18-BF68-3F3ABE19C3B7}" srcId="{B622EAE4-C943-455D-86EE-DEFFDFAB3283}" destId="{0CD4A97B-08C0-489C-A268-9A63397FC0CF}" srcOrd="5" destOrd="0" parTransId="{9D568E5B-2F82-485C-9500-D1056E305130}" sibTransId="{39A937F6-B053-4BCC-A710-D14679C7C3A3}"/>
    <dgm:cxn modelId="{78A59CBF-4D43-4EE1-A2A7-E00AD8065F67}" type="presOf" srcId="{B7F389F8-D2E1-4F70-9A45-6FCB86253169}" destId="{317490FA-F7AE-4924-88A4-4E8811F33A51}" srcOrd="0" destOrd="0" presId="urn:microsoft.com/office/officeart/2005/8/layout/chevron1"/>
    <dgm:cxn modelId="{AC8211CE-E57A-463E-942A-9D8A16EF2A84}" srcId="{B622EAE4-C943-455D-86EE-DEFFDFAB3283}" destId="{D1411C48-7FDB-479D-9C13-3C9DE2ABDFC1}" srcOrd="2" destOrd="0" parTransId="{0D4690EC-8DBD-424C-A77D-6E31F71A8ADC}" sibTransId="{26A934C3-4CF9-4E89-9672-F90F3EBA5EAD}"/>
    <dgm:cxn modelId="{52B0A3D6-46FF-4518-83BF-787E100F2642}" type="presOf" srcId="{D0A6EC82-5A79-47BB-A2FE-59004517C467}" destId="{6E9A0498-1DB4-46ED-8CD6-A644A175678F}" srcOrd="0" destOrd="0" presId="urn:microsoft.com/office/officeart/2005/8/layout/chevron1"/>
    <dgm:cxn modelId="{DCB9F6D8-0D04-4143-B373-3860214D52BE}" type="presOf" srcId="{C4204419-9AC6-4137-B5C2-2C0C30963F79}" destId="{94F6AF45-B39C-48A1-8FEC-2D18FBD7458D}" srcOrd="0" destOrd="0" presId="urn:microsoft.com/office/officeart/2005/8/layout/chevron1"/>
    <dgm:cxn modelId="{99411BEA-E722-4415-82B7-7D24A461D10E}" type="presOf" srcId="{9AEA6037-BF81-44CB-A346-62E30DA2E5E4}" destId="{D284263F-8E9F-40E7-B15E-646D55EC626D}" srcOrd="0" destOrd="0" presId="urn:microsoft.com/office/officeart/2005/8/layout/chevron1"/>
    <dgm:cxn modelId="{68981EFC-EA0B-4AF3-B378-2CBA80582A39}" type="presOf" srcId="{70A7E8C0-A31F-42CE-A864-86E6ABCFBDC6}" destId="{A4B289D1-E0B1-4BD7-B2F8-F4880532F4BB}" srcOrd="0" destOrd="0" presId="urn:microsoft.com/office/officeart/2005/8/layout/chevron1"/>
    <dgm:cxn modelId="{27A84B87-B6B6-4720-B152-8E3AF96DF55A}" type="presParOf" srcId="{769CD209-4D48-4697-A673-6BA31139A347}" destId="{A4B289D1-E0B1-4BD7-B2F8-F4880532F4BB}" srcOrd="0" destOrd="0" presId="urn:microsoft.com/office/officeart/2005/8/layout/chevron1"/>
    <dgm:cxn modelId="{B4EBF219-06FD-4460-80D9-986F61BD5F71}" type="presParOf" srcId="{769CD209-4D48-4697-A673-6BA31139A347}" destId="{862C483A-B7F8-4112-81BF-057E30C2997D}" srcOrd="1" destOrd="0" presId="urn:microsoft.com/office/officeart/2005/8/layout/chevron1"/>
    <dgm:cxn modelId="{44CC0FE2-2AC1-4605-A909-6B9D13A3C0C8}" type="presParOf" srcId="{769CD209-4D48-4697-A673-6BA31139A347}" destId="{D284263F-8E9F-40E7-B15E-646D55EC626D}" srcOrd="2" destOrd="0" presId="urn:microsoft.com/office/officeart/2005/8/layout/chevron1"/>
    <dgm:cxn modelId="{F8825A3B-9D63-493A-A223-0490BBD39C20}" type="presParOf" srcId="{769CD209-4D48-4697-A673-6BA31139A347}" destId="{43949C21-A201-41A5-851D-793181CAFC4A}" srcOrd="3" destOrd="0" presId="urn:microsoft.com/office/officeart/2005/8/layout/chevron1"/>
    <dgm:cxn modelId="{48A8DE78-7F6B-4667-AA33-14F7306D6BC6}" type="presParOf" srcId="{769CD209-4D48-4697-A673-6BA31139A347}" destId="{3B2CC9CD-2360-4ECD-ABBC-569A3708D2EF}" srcOrd="4" destOrd="0" presId="urn:microsoft.com/office/officeart/2005/8/layout/chevron1"/>
    <dgm:cxn modelId="{678B74A7-5E7D-492B-AC35-B03A850E9C93}" type="presParOf" srcId="{769CD209-4D48-4697-A673-6BA31139A347}" destId="{D5B6BFD4-1066-473B-B2D2-BE7C48935AFA}" srcOrd="5" destOrd="0" presId="urn:microsoft.com/office/officeart/2005/8/layout/chevron1"/>
    <dgm:cxn modelId="{DD878A6D-8B77-4512-8FCC-6BEFEDBC5F3A}" type="presParOf" srcId="{769CD209-4D48-4697-A673-6BA31139A347}" destId="{94F6AF45-B39C-48A1-8FEC-2D18FBD7458D}" srcOrd="6" destOrd="0" presId="urn:microsoft.com/office/officeart/2005/8/layout/chevron1"/>
    <dgm:cxn modelId="{FFC5F2D3-2908-4B99-97D0-764C39A8F271}" type="presParOf" srcId="{769CD209-4D48-4697-A673-6BA31139A347}" destId="{4A23D48F-0921-4A3C-8AC7-3065DA836904}" srcOrd="7" destOrd="0" presId="urn:microsoft.com/office/officeart/2005/8/layout/chevron1"/>
    <dgm:cxn modelId="{E3C0A7F6-F183-4383-B7B1-DC5D35220B3F}" type="presParOf" srcId="{769CD209-4D48-4697-A673-6BA31139A347}" destId="{6E9A0498-1DB4-46ED-8CD6-A644A175678F}" srcOrd="8" destOrd="0" presId="urn:microsoft.com/office/officeart/2005/8/layout/chevron1"/>
    <dgm:cxn modelId="{755C6D07-0428-4C75-A984-769E8E654119}" type="presParOf" srcId="{769CD209-4D48-4697-A673-6BA31139A347}" destId="{5B342518-52A6-44DB-9E98-77B83ECE70AA}" srcOrd="9" destOrd="0" presId="urn:microsoft.com/office/officeart/2005/8/layout/chevron1"/>
    <dgm:cxn modelId="{97F2970C-D974-4098-94BB-5FF84A8A2A7B}" type="presParOf" srcId="{769CD209-4D48-4697-A673-6BA31139A347}" destId="{DC9D4A63-3D95-446F-9D9F-03AF1CFA8B21}" srcOrd="10" destOrd="0" presId="urn:microsoft.com/office/officeart/2005/8/layout/chevron1"/>
    <dgm:cxn modelId="{044B1A49-8AC6-4D54-8DCE-BD4E900760C9}" type="presParOf" srcId="{769CD209-4D48-4697-A673-6BA31139A347}" destId="{0F98A039-B001-4542-8E21-2DF4EC77BDD9}" srcOrd="11" destOrd="0" presId="urn:microsoft.com/office/officeart/2005/8/layout/chevron1"/>
    <dgm:cxn modelId="{E0D80511-1F6F-4A73-A174-1735D909FEFE}" type="presParOf" srcId="{769CD209-4D48-4697-A673-6BA31139A347}" destId="{317490FA-F7AE-4924-88A4-4E8811F33A51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B289D1-E0B1-4BD7-B2F8-F4880532F4BB}">
      <dsp:nvSpPr>
        <dsp:cNvPr id="0" name=""/>
        <dsp:cNvSpPr/>
      </dsp:nvSpPr>
      <dsp:spPr>
        <a:xfrm>
          <a:off x="0" y="554319"/>
          <a:ext cx="1531343" cy="612537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100" b="1" kern="1200" dirty="0"/>
            <a:t>Razvojno istraživanje</a:t>
          </a:r>
          <a:endParaRPr lang="en-US" sz="1100" b="1" kern="1200" dirty="0"/>
        </a:p>
      </dsp:txBody>
      <dsp:txXfrm>
        <a:off x="306269" y="554319"/>
        <a:ext cx="918806" cy="612537"/>
      </dsp:txXfrm>
    </dsp:sp>
    <dsp:sp modelId="{D284263F-8E9F-40E7-B15E-646D55EC626D}">
      <dsp:nvSpPr>
        <dsp:cNvPr id="0" name=""/>
        <dsp:cNvSpPr/>
      </dsp:nvSpPr>
      <dsp:spPr>
        <a:xfrm>
          <a:off x="1378209" y="554319"/>
          <a:ext cx="1531343" cy="612537"/>
        </a:xfrm>
        <a:prstGeom prst="chevron">
          <a:avLst/>
        </a:prstGeom>
        <a:solidFill>
          <a:schemeClr val="accent4">
            <a:hueOff val="-21412"/>
            <a:satOff val="811"/>
            <a:lumOff val="-20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200" b="1" kern="1200" dirty="0"/>
            <a:t>Planiranje i PM</a:t>
          </a:r>
          <a:endParaRPr lang="en-US" sz="1200" b="1" kern="1200" dirty="0"/>
        </a:p>
      </dsp:txBody>
      <dsp:txXfrm>
        <a:off x="1684478" y="554319"/>
        <a:ext cx="918806" cy="612537"/>
      </dsp:txXfrm>
    </dsp:sp>
    <dsp:sp modelId="{3B2CC9CD-2360-4ECD-ABBC-569A3708D2EF}">
      <dsp:nvSpPr>
        <dsp:cNvPr id="0" name=""/>
        <dsp:cNvSpPr/>
      </dsp:nvSpPr>
      <dsp:spPr>
        <a:xfrm>
          <a:off x="2756419" y="554319"/>
          <a:ext cx="1531343" cy="612537"/>
        </a:xfrm>
        <a:prstGeom prst="chevron">
          <a:avLst/>
        </a:prstGeom>
        <a:solidFill>
          <a:schemeClr val="accent4">
            <a:hueOff val="-42825"/>
            <a:satOff val="1623"/>
            <a:lumOff val="-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100" b="1" kern="1200" dirty="0"/>
            <a:t>Studije izvodljivosti</a:t>
          </a:r>
          <a:endParaRPr lang="en-US" sz="1100" b="1" kern="1200" dirty="0"/>
        </a:p>
      </dsp:txBody>
      <dsp:txXfrm>
        <a:off x="3062688" y="554319"/>
        <a:ext cx="918806" cy="612537"/>
      </dsp:txXfrm>
    </dsp:sp>
    <dsp:sp modelId="{94F6AF45-B39C-48A1-8FEC-2D18FBD7458D}">
      <dsp:nvSpPr>
        <dsp:cNvPr id="0" name=""/>
        <dsp:cNvSpPr/>
      </dsp:nvSpPr>
      <dsp:spPr>
        <a:xfrm>
          <a:off x="4134628" y="560506"/>
          <a:ext cx="1531343" cy="612537"/>
        </a:xfrm>
        <a:prstGeom prst="chevron">
          <a:avLst/>
        </a:prstGeom>
        <a:solidFill>
          <a:schemeClr val="accent4">
            <a:hueOff val="-64237"/>
            <a:satOff val="2434"/>
            <a:lumOff val="-61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200" b="1" kern="1200" dirty="0"/>
            <a:t>Idejni projekat</a:t>
          </a:r>
          <a:endParaRPr lang="en-US" sz="1200" b="1" kern="1200" dirty="0"/>
        </a:p>
      </dsp:txBody>
      <dsp:txXfrm>
        <a:off x="4440897" y="560506"/>
        <a:ext cx="918806" cy="612537"/>
      </dsp:txXfrm>
    </dsp:sp>
    <dsp:sp modelId="{6E9A0498-1DB4-46ED-8CD6-A644A175678F}">
      <dsp:nvSpPr>
        <dsp:cNvPr id="0" name=""/>
        <dsp:cNvSpPr/>
      </dsp:nvSpPr>
      <dsp:spPr>
        <a:xfrm>
          <a:off x="5512838" y="560506"/>
          <a:ext cx="1531343" cy="612537"/>
        </a:xfrm>
        <a:prstGeom prst="chevron">
          <a:avLst/>
        </a:prstGeom>
        <a:solidFill>
          <a:schemeClr val="accent4">
            <a:hueOff val="-85649"/>
            <a:satOff val="3246"/>
            <a:lumOff val="-823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200" b="1" kern="1200" dirty="0"/>
            <a:t>Glavni projekat</a:t>
          </a:r>
          <a:endParaRPr lang="en-US" sz="1200" b="1" kern="1200" dirty="0"/>
        </a:p>
      </dsp:txBody>
      <dsp:txXfrm>
        <a:off x="5819107" y="560506"/>
        <a:ext cx="918806" cy="612537"/>
      </dsp:txXfrm>
    </dsp:sp>
    <dsp:sp modelId="{DC9D4A63-3D95-446F-9D9F-03AF1CFA8B21}">
      <dsp:nvSpPr>
        <dsp:cNvPr id="0" name=""/>
        <dsp:cNvSpPr/>
      </dsp:nvSpPr>
      <dsp:spPr>
        <a:xfrm>
          <a:off x="6891047" y="560506"/>
          <a:ext cx="1531343" cy="612537"/>
        </a:xfrm>
        <a:prstGeom prst="chevron">
          <a:avLst/>
        </a:prstGeom>
        <a:solidFill>
          <a:schemeClr val="accent4">
            <a:hueOff val="-107062"/>
            <a:satOff val="4057"/>
            <a:lumOff val="-1029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200" b="1" kern="1200" dirty="0"/>
            <a:t>Nadzor</a:t>
          </a:r>
          <a:endParaRPr lang="en-US" sz="1200" b="1" kern="1200" dirty="0"/>
        </a:p>
      </dsp:txBody>
      <dsp:txXfrm>
        <a:off x="7197316" y="560506"/>
        <a:ext cx="918806" cy="612537"/>
      </dsp:txXfrm>
    </dsp:sp>
    <dsp:sp modelId="{317490FA-F7AE-4924-88A4-4E8811F33A51}">
      <dsp:nvSpPr>
        <dsp:cNvPr id="0" name=""/>
        <dsp:cNvSpPr/>
      </dsp:nvSpPr>
      <dsp:spPr>
        <a:xfrm>
          <a:off x="8269257" y="560506"/>
          <a:ext cx="1531343" cy="612537"/>
        </a:xfrm>
        <a:prstGeom prst="chevron">
          <a:avLst/>
        </a:prstGeom>
        <a:solidFill>
          <a:schemeClr val="accent4">
            <a:hueOff val="-128474"/>
            <a:satOff val="4869"/>
            <a:lumOff val="-123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200" b="1" kern="1200" dirty="0"/>
            <a:t>Održavanje</a:t>
          </a:r>
          <a:endParaRPr lang="en-US" sz="1200" b="1" kern="1200" dirty="0"/>
        </a:p>
      </dsp:txBody>
      <dsp:txXfrm>
        <a:off x="8575526" y="560506"/>
        <a:ext cx="918806" cy="6125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29-05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7316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7860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7925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5365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6089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8742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726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383" userDrawn="1">
          <p15:clr>
            <a:srgbClr val="A4A3A4"/>
          </p15:clr>
        </p15:guide>
        <p15:guide id="4" pos="472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B8E41A29-2A33-41D7-BC16-2F702B54DF4E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5461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30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1111" userDrawn="1">
          <p15:clr>
            <a:srgbClr val="A4A3A4"/>
          </p15:clr>
        </p15:guide>
        <p15:guide id="13" orient="horz" pos="2018" userDrawn="1">
          <p15:clr>
            <a:srgbClr val="A4A3A4"/>
          </p15:clr>
        </p15:guide>
        <p15:guide id="14" orient="horz" pos="2925" userDrawn="1">
          <p15:clr>
            <a:srgbClr val="A4A3A4"/>
          </p15:clr>
        </p15:guide>
        <p15:guide id="15" pos="439" userDrawn="1">
          <p15:clr>
            <a:srgbClr val="A4A3A4"/>
          </p15:clr>
        </p15:guide>
        <p15:guide id="16" pos="1952" userDrawn="1">
          <p15:clr>
            <a:srgbClr val="A4A3A4"/>
          </p15:clr>
        </p15:guide>
        <p15:guide id="17" pos="2181" userDrawn="1">
          <p15:clr>
            <a:srgbClr val="A4A3A4"/>
          </p15:clr>
        </p15:guide>
        <p15:guide id="18" pos="3694" userDrawn="1">
          <p15:clr>
            <a:srgbClr val="A4A3A4"/>
          </p15:clr>
        </p15:guide>
        <p15:guide id="19" pos="3923" userDrawn="1">
          <p15:clr>
            <a:srgbClr val="A4A3A4"/>
          </p15:clr>
        </p15:guide>
        <p15:guide id="20" pos="5435" userDrawn="1">
          <p15:clr>
            <a:srgbClr val="A4A3A4"/>
          </p15:clr>
        </p15:guide>
        <p15:guide id="21" pos="5664" userDrawn="1">
          <p15:clr>
            <a:srgbClr val="A4A3A4"/>
          </p15:clr>
        </p15:guide>
        <p15:guide id="22" pos="7179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925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825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3963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0279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9659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7B5A75F-022F-4FA2-80D5-FE9E838CD470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4642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637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8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 userDrawn="1">
          <p15:clr>
            <a:srgbClr val="A4A3A4"/>
          </p15:clr>
        </p15:guide>
        <p15:guide id="12" pos="1950" userDrawn="1">
          <p15:clr>
            <a:srgbClr val="A4A3A4"/>
          </p15:clr>
        </p15:guide>
        <p15:guide id="13" pos="3775" userDrawn="1">
          <p15:clr>
            <a:srgbClr val="A4A3A4"/>
          </p15:clr>
        </p15:guide>
        <p15:guide id="14" pos="3902" userDrawn="1">
          <p15:clr>
            <a:srgbClr val="A4A3A4"/>
          </p15:clr>
        </p15:guide>
        <p15:guide id="15" pos="5728" userDrawn="1">
          <p15:clr>
            <a:srgbClr val="A4A3A4"/>
          </p15:clr>
        </p15:guide>
        <p15:guide id="16" pos="5852" userDrawn="1">
          <p15:clr>
            <a:srgbClr val="A4A3A4"/>
          </p15:clr>
        </p15:guide>
        <p15:guide id="17" orient="horz" pos="1335" userDrawn="1">
          <p15:clr>
            <a:srgbClr val="A4A3A4"/>
          </p15:clr>
        </p15:guide>
        <p15:guide id="18" orient="horz" pos="1210" userDrawn="1">
          <p15:clr>
            <a:srgbClr val="A4A3A4"/>
          </p15:clr>
        </p15:guide>
        <p15:guide id="19" orient="horz" pos="2546" userDrawn="1">
          <p15:clr>
            <a:srgbClr val="A4A3A4"/>
          </p15:clr>
        </p15:guide>
        <p15:guide id="20" orient="horz" pos="26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531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6" userDrawn="1">
          <p15:clr>
            <a:srgbClr val="A4A3A4"/>
          </p15:clr>
        </p15:guide>
        <p15:guide id="4" pos="293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719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61812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63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orient="horz" pos="82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45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39" userDrawn="1">
          <p15:clr>
            <a:srgbClr val="A4A3A4"/>
          </p15:clr>
        </p15:guide>
        <p15:guide id="5" pos="530" userDrawn="1">
          <p15:clr>
            <a:srgbClr val="A4A3A4"/>
          </p15:clr>
        </p15:guide>
        <p15:guide id="6" pos="33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25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847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7917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51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4501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4" orient="horz" pos="1111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4013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13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04580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3A33B964-36EF-4813-87A9-5065D000E6D3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4322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958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522256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331" userDrawn="1">
          <p15:clr>
            <a:srgbClr val="A4A3A4"/>
          </p15:clr>
        </p15:guide>
        <p15:guide id="4" pos="595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1611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492" userDrawn="1">
          <p15:clr>
            <a:srgbClr val="A4A3A4"/>
          </p15:clr>
        </p15:guide>
        <p15:guide id="7" pos="2757" userDrawn="1">
          <p15:clr>
            <a:srgbClr val="A4A3A4"/>
          </p15:clr>
        </p15:guide>
        <p15:guide id="8" pos="4973" userDrawn="1">
          <p15:clr>
            <a:srgbClr val="A4A3A4"/>
          </p15:clr>
        </p15:guide>
        <p15:guide id="9" pos="5238" userDrawn="1">
          <p15:clr>
            <a:srgbClr val="A4A3A4"/>
          </p15:clr>
        </p15:guide>
        <p15:guide id="10" orient="horz" pos="95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661890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21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52" userDrawn="1">
          <p15:clr>
            <a:srgbClr val="A4A3A4"/>
          </p15:clr>
        </p15:guide>
        <p15:guide id="5" pos="4013" userDrawn="1">
          <p15:clr>
            <a:srgbClr val="A4A3A4"/>
          </p15:clr>
        </p15:guide>
        <p15:guide id="6" pos="3716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0444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7585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472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207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0FA8270-43FA-468D-9758-134436ADABDD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677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653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341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39" r:id="rId15"/>
    <p:sldLayoutId id="2147484540" r:id="rId16"/>
    <p:sldLayoutId id="2147484541" r:id="rId17"/>
    <p:sldLayoutId id="2147484542" r:id="rId18"/>
    <p:sldLayoutId id="2147484543" r:id="rId19"/>
    <p:sldLayoutId id="2147484544" r:id="rId20"/>
    <p:sldLayoutId id="2147484545" r:id="rId21"/>
    <p:sldLayoutId id="2147484546" r:id="rId22"/>
    <p:sldLayoutId id="2147484547" r:id="rId23"/>
    <p:sldLayoutId id="2147484548" r:id="rId24"/>
    <p:sldLayoutId id="2147484549" r:id="rId25"/>
    <p:sldLayoutId id="2147484550" r:id="rId26"/>
    <p:sldLayoutId id="2147484551" r:id="rId27"/>
    <p:sldLayoutId id="2147484552" r:id="rId28"/>
    <p:sldLayoutId id="2147484553" r:id="rId29"/>
    <p:sldLayoutId id="2147484554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A4A3A4"/>
          </p15:clr>
        </p15:guide>
        <p15:guide id="7" pos="7453" userDrawn="1">
          <p15:clr>
            <a:srgbClr val="A4A3A4"/>
          </p15:clr>
        </p15:guide>
        <p15:guide id="8" orient="horz" pos="226" userDrawn="1">
          <p15:clr>
            <a:srgbClr val="A4A3A4"/>
          </p15:clr>
        </p15:guide>
        <p15:guide id="9" orient="horz" pos="3880" userDrawn="1">
          <p15:clr>
            <a:srgbClr val="A4A3A4"/>
          </p15:clr>
        </p15:guide>
        <p15:guide id="10" pos="27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13" Type="http://schemas.openxmlformats.org/officeDocument/2006/relationships/image" Target="../media/image22.jp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jpg"/><Relationship Id="rId11" Type="http://schemas.openxmlformats.org/officeDocument/2006/relationships/image" Target="../media/image20.jp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eg"/><Relationship Id="rId9" Type="http://schemas.openxmlformats.org/officeDocument/2006/relationships/image" Target="../media/image18.jpg"/><Relationship Id="rId14" Type="http://schemas.openxmlformats.org/officeDocument/2006/relationships/image" Target="../media/image2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mls@niras.dk" TargetMode="External"/><Relationship Id="rId2" Type="http://schemas.openxmlformats.org/officeDocument/2006/relationships/hyperlink" Target="mailto:pdt@niras.dk" TargetMode="Externa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7">
            <a:extLst>
              <a:ext uri="{FF2B5EF4-FFF2-40B4-BE49-F238E27FC236}">
                <a16:creationId xmlns:a16="http://schemas.microsoft.com/office/drawing/2014/main" id="{BCF81B72-E63A-462C-A719-A5CB5B45DAA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4" r="8024"/>
          <a:stretch/>
        </p:blipFill>
        <p:spPr>
          <a:xfrm>
            <a:off x="3097213" y="2120900"/>
            <a:ext cx="2900362" cy="1922463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24" name="Picture Placeholder 21" descr="A picture containing grass, sky, outdoor, nature&#10;&#10;Description automatically generated">
            <a:extLst>
              <a:ext uri="{FF2B5EF4-FFF2-40B4-BE49-F238E27FC236}">
                <a16:creationId xmlns:a16="http://schemas.microsoft.com/office/drawing/2014/main" id="{F67B5F10-4525-4ACA-8C43-E38E15FBE6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r="7869"/>
          <a:stretch/>
        </p:blipFill>
        <p:spPr>
          <a:xfrm>
            <a:off x="0" y="2120900"/>
            <a:ext cx="2900363" cy="1922463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21" name="Picture Placeholder 20" descr="A picture containing outdoor, sky, ground, day&#10;&#10;Description automatically generated">
            <a:extLst>
              <a:ext uri="{FF2B5EF4-FFF2-40B4-BE49-F238E27FC236}">
                <a16:creationId xmlns:a16="http://schemas.microsoft.com/office/drawing/2014/main" id="{0112D853-43FE-45C8-AE1F-68AB7EAEB6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25" b="5825"/>
          <a:stretch/>
        </p:blipFill>
        <p:spPr>
          <a:xfrm>
            <a:off x="3097213" y="0"/>
            <a:ext cx="2900362" cy="1922463"/>
          </a:xfrm>
          <a:prstGeom prst="rect">
            <a:avLst/>
          </a:prstGeom>
        </p:spPr>
      </p:pic>
      <p:pic>
        <p:nvPicPr>
          <p:cNvPr id="20" name="Picture Placeholder 47">
            <a:extLst>
              <a:ext uri="{FF2B5EF4-FFF2-40B4-BE49-F238E27FC236}">
                <a16:creationId xmlns:a16="http://schemas.microsoft.com/office/drawing/2014/main" id="{5BAB32E9-036E-428E-A443-C294633F17A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" b="222"/>
          <a:stretch>
            <a:fillRect/>
          </a:stretch>
        </p:blipFill>
        <p:spPr>
          <a:xfrm>
            <a:off x="0" y="0"/>
            <a:ext cx="2900363" cy="1922463"/>
          </a:xfr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421929"/>
              </p:ext>
            </p:extLst>
          </p:nvPr>
        </p:nvGraphicFramePr>
        <p:xfrm>
          <a:off x="548492" y="619313"/>
          <a:ext cx="5080784" cy="3253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153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244013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4343902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244013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27703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75121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1276061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3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r-Latn-R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Konferencija TOPS 2023,</a:t>
                      </a:r>
                      <a:endParaRPr lang="en-US" sz="24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l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Zlatibor</a:t>
                      </a:r>
                    </a:p>
                    <a:p>
                      <a:pPr algn="l"/>
                      <a:r>
                        <a:rPr lang="en-US" sz="2400" b="1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MASTER PLAN ZA PO</a:t>
                      </a:r>
                      <a:r>
                        <a:rPr lang="sr-Latn-RS" sz="2400" b="1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STOJEĆE I NOVE SISTEME DALJINSKOG GREJANJA</a:t>
                      </a:r>
                      <a:endParaRPr lang="en-US" sz="2400" b="1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499833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0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438383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Ma</a:t>
                      </a:r>
                      <a:r>
                        <a:rPr lang="sr-Latn-R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J</a:t>
                      </a:r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 2023</a:t>
                      </a:r>
                      <a:endParaRPr lang="en-US" sz="1400" cap="all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75121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  <p:sp>
        <p:nvSpPr>
          <p:cNvPr id="19" name="Rectangle 1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33EA30CF-029C-443B-838F-D0880B1703BD}"/>
              </a:ext>
            </a:extLst>
          </p:cNvPr>
          <p:cNvSpPr/>
          <p:nvPr/>
        </p:nvSpPr>
        <p:spPr>
          <a:xfrm>
            <a:off x="548492" y="6367616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endParaRPr lang="en-GB" sz="600" dirty="0">
              <a:solidFill>
                <a:schemeClr val="accent3"/>
              </a:solidFill>
            </a:endParaRPr>
          </a:p>
        </p:txBody>
      </p:sp>
      <p:pic>
        <p:nvPicPr>
          <p:cNvPr id="22" name="Picture Placeholder 21" descr="A picture containing sky, outdoor, pulling&#10;&#10;Description automatically generated">
            <a:extLst>
              <a:ext uri="{FF2B5EF4-FFF2-40B4-BE49-F238E27FC236}">
                <a16:creationId xmlns:a16="http://schemas.microsoft.com/office/drawing/2014/main" id="{F233EE92-FA13-4E8C-9BB1-9C489D28BA3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247"/>
          <a:stretch>
            <a:fillRect/>
          </a:stretch>
        </p:blipFill>
        <p:spPr>
          <a:xfrm>
            <a:off x="6194425" y="0"/>
            <a:ext cx="2900363" cy="1922463"/>
          </a:xfrm>
          <a:prstGeom prst="rect">
            <a:avLst/>
          </a:prstGeom>
        </p:spPr>
      </p:pic>
      <p:pic>
        <p:nvPicPr>
          <p:cNvPr id="23" name="Picture Placeholder 22" descr="A group of wind turbines&#10;&#10;Description automatically generated with low confidence">
            <a:extLst>
              <a:ext uri="{FF2B5EF4-FFF2-40B4-BE49-F238E27FC236}">
                <a16:creationId xmlns:a16="http://schemas.microsoft.com/office/drawing/2014/main" id="{ED1D7511-7E38-4005-A76F-1052B402ADB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0"/>
          <a:stretch/>
        </p:blipFill>
        <p:spPr>
          <a:xfrm>
            <a:off x="9291638" y="0"/>
            <a:ext cx="2900362" cy="1922463"/>
          </a:xfrm>
          <a:prstGeom prst="rect">
            <a:avLst/>
          </a:prstGeom>
        </p:spPr>
      </p:pic>
      <p:pic>
        <p:nvPicPr>
          <p:cNvPr id="26" name="Picture Placeholder 25" descr="A picture containing grass, outdoor, blue&#10;&#10;Description automatically generated">
            <a:extLst>
              <a:ext uri="{FF2B5EF4-FFF2-40B4-BE49-F238E27FC236}">
                <a16:creationId xmlns:a16="http://schemas.microsoft.com/office/drawing/2014/main" id="{3E6E6CA9-2E2F-4194-9927-4CC912E7ACB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" b="266"/>
          <a:stretch/>
        </p:blipFill>
        <p:spPr>
          <a:xfrm>
            <a:off x="6194425" y="2120900"/>
            <a:ext cx="2900363" cy="1922463"/>
          </a:xfrm>
          <a:prstGeom prst="rect">
            <a:avLst/>
          </a:prstGeom>
        </p:spPr>
      </p:pic>
      <p:pic>
        <p:nvPicPr>
          <p:cNvPr id="27" name="Picture Placeholder 29" descr="Cows grazing in a field&#10;&#10;Description automatically generated with medium confidence">
            <a:extLst>
              <a:ext uri="{FF2B5EF4-FFF2-40B4-BE49-F238E27FC236}">
                <a16:creationId xmlns:a16="http://schemas.microsoft.com/office/drawing/2014/main" id="{EB025A1F-5F69-4EF6-AA2C-A4E59117EF0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16" b="25316"/>
          <a:stretch>
            <a:fillRect/>
          </a:stretch>
        </p:blipFill>
        <p:spPr>
          <a:xfrm>
            <a:off x="9291638" y="2120900"/>
            <a:ext cx="2900362" cy="1922463"/>
          </a:xfrm>
        </p:spPr>
      </p:pic>
      <p:pic>
        <p:nvPicPr>
          <p:cNvPr id="28" name="Picture Placeholder 45" descr="A picture containing grass&#10;&#10;Description automatically generated">
            <a:extLst>
              <a:ext uri="{FF2B5EF4-FFF2-40B4-BE49-F238E27FC236}">
                <a16:creationId xmlns:a16="http://schemas.microsoft.com/office/drawing/2014/main" id="{C17C7292-2D06-4038-BD11-ED83E61BBD5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" b="326"/>
          <a:stretch/>
        </p:blipFill>
        <p:spPr>
          <a:xfrm>
            <a:off x="0" y="4241800"/>
            <a:ext cx="2900363" cy="1922463"/>
          </a:xfrm>
        </p:spPr>
      </p:pic>
      <p:pic>
        <p:nvPicPr>
          <p:cNvPr id="29" name="Picture Placeholder 38" descr="A picture containing grass, outdoor, ground, telescope&#10;&#10;Description automatically generated">
            <a:extLst>
              <a:ext uri="{FF2B5EF4-FFF2-40B4-BE49-F238E27FC236}">
                <a16:creationId xmlns:a16="http://schemas.microsoft.com/office/drawing/2014/main" id="{9B54A2BD-CF34-476B-A5F9-6F7DB494D09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9" b="27819"/>
          <a:stretch>
            <a:fillRect/>
          </a:stretch>
        </p:blipFill>
        <p:spPr>
          <a:xfrm>
            <a:off x="3097213" y="4241800"/>
            <a:ext cx="2900362" cy="1922463"/>
          </a:xfrm>
        </p:spPr>
      </p:pic>
      <p:pic>
        <p:nvPicPr>
          <p:cNvPr id="30" name="Picture Placeholder 29" descr="A picture containing sky, outdoor, nature, day&#10;&#10;Description automatically generated">
            <a:extLst>
              <a:ext uri="{FF2B5EF4-FFF2-40B4-BE49-F238E27FC236}">
                <a16:creationId xmlns:a16="http://schemas.microsoft.com/office/drawing/2014/main" id="{189C35D4-8121-4775-9ACF-A5D2078917D1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11" b="5811"/>
          <a:stretch/>
        </p:blipFill>
        <p:spPr>
          <a:xfrm>
            <a:off x="6194425" y="4241800"/>
            <a:ext cx="2900363" cy="1922463"/>
          </a:xfrm>
          <a:prstGeom prst="rect">
            <a:avLst/>
          </a:prstGeom>
        </p:spPr>
      </p:pic>
      <p:pic>
        <p:nvPicPr>
          <p:cNvPr id="31" name="Picture Placeholder 30" descr="A ladybug on a fence&#10;&#10;Description automatically generated with low confidence">
            <a:extLst>
              <a:ext uri="{FF2B5EF4-FFF2-40B4-BE49-F238E27FC236}">
                <a16:creationId xmlns:a16="http://schemas.microsoft.com/office/drawing/2014/main" id="{A63C7131-EAE8-4F6B-8A4E-8481B58993F6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" b="222"/>
          <a:stretch/>
        </p:blipFill>
        <p:spPr>
          <a:xfrm>
            <a:off x="9291638" y="4241800"/>
            <a:ext cx="2900362" cy="1922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536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C25896-7456-43FD-80AD-267D63D533A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4800" y="1379050"/>
            <a:ext cx="5367221" cy="675848"/>
          </a:xfrm>
        </p:spPr>
        <p:txBody>
          <a:bodyPr/>
          <a:lstStyle/>
          <a:p>
            <a:r>
              <a:rPr lang="da-DK" sz="2800" dirty="0"/>
              <a:t>NIRAS ”Heat Compass” – Master Pla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0DD30B-0A0B-4DF8-A3F3-97E11E033B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4800" y="2414522"/>
            <a:ext cx="5498202" cy="3541009"/>
          </a:xfrm>
        </p:spPr>
        <p:txBody>
          <a:bodyPr/>
          <a:lstStyle/>
          <a:p>
            <a:pPr marL="457200" indent="-457200" algn="just">
              <a:buFont typeface="+mj-lt"/>
              <a:buAutoNum type="arabicPeriod"/>
            </a:pPr>
            <a:r>
              <a:rPr lang="en-US" b="1" dirty="0" err="1"/>
              <a:t>Rezultat</a:t>
            </a:r>
            <a:r>
              <a:rPr lang="sr-Latn-RS" b="1" dirty="0"/>
              <a:t>i</a:t>
            </a:r>
            <a:r>
              <a:rPr lang="en-US" b="1" dirty="0"/>
              <a:t>: </a:t>
            </a:r>
            <a:r>
              <a:rPr lang="en-US" dirty="0" err="1"/>
              <a:t>Dugoročni</a:t>
            </a:r>
            <a:r>
              <a:rPr lang="en-US" dirty="0"/>
              <a:t> plan, koji </a:t>
            </a:r>
            <a:r>
              <a:rPr lang="en-US" dirty="0" err="1"/>
              <a:t>testir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etvara</a:t>
            </a:r>
            <a:r>
              <a:rPr lang="en-US" dirty="0"/>
              <a:t> </a:t>
            </a:r>
            <a:r>
              <a:rPr lang="en-US" dirty="0" err="1"/>
              <a:t>strate</a:t>
            </a:r>
            <a:r>
              <a:rPr lang="sr-Latn-RS" dirty="0"/>
              <a:t>ški razvoj toplana</a:t>
            </a:r>
            <a:r>
              <a:rPr lang="en-US" dirty="0"/>
              <a:t> u </a:t>
            </a:r>
            <a:r>
              <a:rPr lang="en-US" dirty="0" err="1"/>
              <a:t>dinamički</a:t>
            </a:r>
            <a:r>
              <a:rPr lang="en-US" dirty="0"/>
              <a:t> </a:t>
            </a:r>
            <a:r>
              <a:rPr lang="en-US" dirty="0" err="1"/>
              <a:t>akcioni</a:t>
            </a:r>
            <a:r>
              <a:rPr lang="en-US" dirty="0"/>
              <a:t> plan, </a:t>
            </a:r>
            <a:r>
              <a:rPr lang="sr-Latn-RS" dirty="0"/>
              <a:t>obezbeđujući </a:t>
            </a:r>
            <a:r>
              <a:rPr lang="en-US" dirty="0" err="1"/>
              <a:t>sigurnost</a:t>
            </a:r>
            <a:r>
              <a:rPr lang="en-US" dirty="0"/>
              <a:t> </a:t>
            </a:r>
            <a:r>
              <a:rPr lang="en-US" dirty="0" err="1"/>
              <a:t>snabdevanja</a:t>
            </a:r>
            <a:endParaRPr lang="sr-Latn-RS" dirty="0"/>
          </a:p>
          <a:p>
            <a:pPr marL="457200" indent="-457200" algn="just">
              <a:buFont typeface="+mj-lt"/>
              <a:buAutoNum type="arabicPeriod"/>
            </a:pPr>
            <a:r>
              <a:rPr lang="en-US" b="1" dirty="0" err="1"/>
              <a:t>Prednosti</a:t>
            </a:r>
            <a:r>
              <a:rPr lang="en-US" b="1" dirty="0"/>
              <a:t>: </a:t>
            </a:r>
            <a:r>
              <a:rPr lang="en-US" dirty="0"/>
              <a:t>Po</a:t>
            </a:r>
            <a:r>
              <a:rPr lang="sr-Latn-RS" dirty="0"/>
              <a:t>uzdanost</a:t>
            </a:r>
            <a:r>
              <a:rPr lang="en-US" dirty="0"/>
              <a:t> u </a:t>
            </a:r>
            <a:r>
              <a:rPr lang="sr-Latn-RS" dirty="0"/>
              <a:t>relevatne</a:t>
            </a:r>
            <a:r>
              <a:rPr lang="en-US" dirty="0"/>
              <a:t> </a:t>
            </a:r>
            <a:r>
              <a:rPr lang="en-US" dirty="0" err="1"/>
              <a:t>investicije</a:t>
            </a:r>
            <a:r>
              <a:rPr lang="en-US" dirty="0"/>
              <a:t>, </a:t>
            </a:r>
            <a:r>
              <a:rPr lang="en-US" dirty="0" err="1"/>
              <a:t>identifikacija</a:t>
            </a:r>
            <a:r>
              <a:rPr lang="en-US" dirty="0"/>
              <a:t> </a:t>
            </a:r>
            <a:r>
              <a:rPr lang="en-US" dirty="0" err="1"/>
              <a:t>potencijalnih</a:t>
            </a:r>
            <a:r>
              <a:rPr lang="en-US" dirty="0"/>
              <a:t> </a:t>
            </a:r>
            <a:r>
              <a:rPr lang="en-US" dirty="0" err="1"/>
              <a:t>ušteda</a:t>
            </a:r>
            <a:r>
              <a:rPr lang="en-US" dirty="0"/>
              <a:t>, </a:t>
            </a:r>
            <a:r>
              <a:rPr lang="en-US" dirty="0" err="1"/>
              <a:t>sigurnost</a:t>
            </a:r>
            <a:r>
              <a:rPr lang="sr-Latn-RS" dirty="0"/>
              <a:t> u održivi rad toplana</a:t>
            </a:r>
            <a:r>
              <a:rPr lang="en-US" dirty="0"/>
              <a:t>, </a:t>
            </a:r>
            <a:r>
              <a:rPr lang="en-US" dirty="0" err="1"/>
              <a:t>zadovoljni</a:t>
            </a:r>
            <a:r>
              <a:rPr lang="en-US" dirty="0"/>
              <a:t> </a:t>
            </a:r>
            <a:r>
              <a:rPr lang="sr-Latn-RS" dirty="0"/>
              <a:t>potrošači</a:t>
            </a:r>
            <a:r>
              <a:rPr lang="en-US" dirty="0"/>
              <a:t>, </a:t>
            </a:r>
            <a:r>
              <a:rPr lang="en-US" dirty="0" err="1"/>
              <a:t>osnova</a:t>
            </a:r>
            <a:r>
              <a:rPr lang="en-US" dirty="0"/>
              <a:t> za </a:t>
            </a:r>
            <a:r>
              <a:rPr lang="en-US" dirty="0" err="1"/>
              <a:t>donošenje</a:t>
            </a:r>
            <a:r>
              <a:rPr lang="en-US" dirty="0"/>
              <a:t> </a:t>
            </a:r>
            <a:r>
              <a:rPr lang="en-US" dirty="0" err="1"/>
              <a:t>odluka</a:t>
            </a:r>
            <a:r>
              <a:rPr lang="en-US" dirty="0"/>
              <a:t> </a:t>
            </a:r>
            <a:r>
              <a:rPr lang="sr-Latn-RS" dirty="0"/>
              <a:t>ka zelenoj tranziciji</a:t>
            </a:r>
            <a:r>
              <a:rPr lang="en-US" dirty="0"/>
              <a:t>/</a:t>
            </a:r>
            <a:r>
              <a:rPr lang="en-US" dirty="0" err="1"/>
              <a:t>održivosti</a:t>
            </a:r>
            <a:r>
              <a:rPr lang="en-US" dirty="0"/>
              <a:t>, </a:t>
            </a:r>
            <a:r>
              <a:rPr lang="en-US" dirty="0" err="1"/>
              <a:t>konkurentno</a:t>
            </a:r>
            <a:r>
              <a:rPr lang="en-US" dirty="0"/>
              <a:t> </a:t>
            </a:r>
            <a:r>
              <a:rPr lang="en-US" dirty="0" err="1"/>
              <a:t>daljinsko</a:t>
            </a:r>
            <a:r>
              <a:rPr lang="en-US" dirty="0"/>
              <a:t> </a:t>
            </a:r>
            <a:r>
              <a:rPr lang="en-US" dirty="0" err="1"/>
              <a:t>grejanje</a:t>
            </a:r>
            <a:endParaRPr lang="sr-Latn-RS" dirty="0"/>
          </a:p>
          <a:p>
            <a:pPr marL="457200" indent="-457200" algn="just">
              <a:buFont typeface="+mj-lt"/>
              <a:buAutoNum type="arabicPeriod"/>
            </a:pPr>
            <a:r>
              <a:rPr lang="en-US" b="1" dirty="0"/>
              <a:t>NIRAS-</a:t>
            </a:r>
            <a:r>
              <a:rPr lang="en-US" b="1" dirty="0" err="1"/>
              <a:t>ov</a:t>
            </a:r>
            <a:r>
              <a:rPr lang="en-US" b="1" dirty="0"/>
              <a:t> </a:t>
            </a:r>
            <a:r>
              <a:rPr lang="sr-Latn-RS" b="1" dirty="0"/>
              <a:t>model </a:t>
            </a:r>
            <a:r>
              <a:rPr lang="en-US" b="1" dirty="0"/>
              <a:t>Master plan</a:t>
            </a:r>
            <a:r>
              <a:rPr lang="sr-Latn-RS" b="1" dirty="0"/>
              <a:t>a</a:t>
            </a:r>
            <a:r>
              <a:rPr lang="en-US" b="1" dirty="0"/>
              <a:t> </a:t>
            </a:r>
            <a:r>
              <a:rPr lang="sr-Latn-RS" dirty="0"/>
              <a:t>toplotne energije</a:t>
            </a:r>
            <a:r>
              <a:rPr lang="en-US" dirty="0"/>
              <a:t> </a:t>
            </a:r>
            <a:r>
              <a:rPr lang="en-US" dirty="0" err="1"/>
              <a:t>kreira</a:t>
            </a:r>
            <a:r>
              <a:rPr lang="en-US" dirty="0"/>
              <a:t> </a:t>
            </a:r>
            <a:r>
              <a:rPr lang="sr-Latn-RS" dirty="0"/>
              <a:t>se kroz intezivnu saradnju sa toplanama kroz niz radionica i sastanaka </a:t>
            </a:r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D43F92-2BA0-4480-93C8-C4CFA725F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922097D9-C253-47C8-9F1F-1ABED43E9EA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6" r="32896"/>
          <a:stretch/>
        </p:blipFill>
        <p:spPr>
          <a:xfrm>
            <a:off x="0" y="0"/>
            <a:ext cx="5800725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4C970A2E-8490-46E9-8698-722CF38809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4231" y="204642"/>
            <a:ext cx="2218666" cy="221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378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7E8558-ABF2-4FC6-B10A-8672A7F26F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" b="20"/>
          <a:stretch/>
        </p:blipFill>
        <p:spPr>
          <a:xfrm>
            <a:off x="359400" y="879446"/>
            <a:ext cx="10337175" cy="570573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AEC310F4-4981-45B1-A55C-1D886E684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927850" cy="619713"/>
          </a:xfrm>
        </p:spPr>
        <p:txBody>
          <a:bodyPr/>
          <a:lstStyle/>
          <a:p>
            <a:r>
              <a:rPr lang="sr-Latn-RS" dirty="0"/>
              <a:t>Planiranje budućih sistema daljinskog grejanja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A6FBAC-B9C3-4A1D-8557-64D21483F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4203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1A7E8A1-870B-42AF-BF90-672AE122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>
                <a:solidFill>
                  <a:schemeClr val="accent5"/>
                </a:solidFill>
              </a:rPr>
              <a:t>Proces</a:t>
            </a:r>
            <a:r>
              <a:rPr lang="en-CA" dirty="0">
                <a:solidFill>
                  <a:schemeClr val="accent5"/>
                </a:solidFill>
              </a:rPr>
              <a:t> - ”Master plan” – </a:t>
            </a:r>
            <a:r>
              <a:rPr lang="sr-Latn-RS" dirty="0">
                <a:solidFill>
                  <a:schemeClr val="accent5"/>
                </a:solidFill>
              </a:rPr>
              <a:t>Planiranje</a:t>
            </a:r>
            <a:br>
              <a:rPr lang="en-CA" dirty="0">
                <a:solidFill>
                  <a:schemeClr val="accent5"/>
                </a:solidFill>
              </a:rPr>
            </a:b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1CF611-3F46-478A-BD16-F9D8537ED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2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0B83020-80DD-4960-B559-C3E7530C0FD1}"/>
              </a:ext>
            </a:extLst>
          </p:cNvPr>
          <p:cNvCxnSpPr/>
          <p:nvPr/>
        </p:nvCxnSpPr>
        <p:spPr>
          <a:xfrm>
            <a:off x="468000" y="4432793"/>
            <a:ext cx="11066310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4602664-0746-4B43-8087-96292A1C3955}"/>
              </a:ext>
            </a:extLst>
          </p:cNvPr>
          <p:cNvSpPr/>
          <p:nvPr/>
        </p:nvSpPr>
        <p:spPr>
          <a:xfrm>
            <a:off x="7836151" y="4241767"/>
            <a:ext cx="1136399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STANAK PROJEKTNOG TIMA</a:t>
            </a:r>
            <a:endParaRPr lang="en-GB" sz="1000" dirty="0" err="1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2CA44-CBBD-49E4-AD06-1D97FB6FD0B9}"/>
              </a:ext>
            </a:extLst>
          </p:cNvPr>
          <p:cNvSpPr/>
          <p:nvPr/>
        </p:nvSpPr>
        <p:spPr>
          <a:xfrm>
            <a:off x="6675261" y="4241767"/>
            <a:ext cx="912101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9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TANAK -</a:t>
            </a:r>
            <a:r>
              <a:rPr lang="en-US" sz="9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CENARIA</a:t>
            </a:r>
            <a:endParaRPr lang="en-GB" sz="900" dirty="0" err="1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BE47C5D-1C59-4A6E-9899-B703224A8572}"/>
              </a:ext>
            </a:extLst>
          </p:cNvPr>
          <p:cNvSpPr/>
          <p:nvPr/>
        </p:nvSpPr>
        <p:spPr>
          <a:xfrm>
            <a:off x="4730717" y="4241767"/>
            <a:ext cx="1038391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STANAK -ANALIZA</a:t>
            </a:r>
            <a:endParaRPr lang="en-GB" sz="1000" dirty="0" err="1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4E2D16-75B2-4FCB-BAB0-385ADD3089A7}"/>
              </a:ext>
            </a:extLst>
          </p:cNvPr>
          <p:cNvSpPr/>
          <p:nvPr/>
        </p:nvSpPr>
        <p:spPr>
          <a:xfrm>
            <a:off x="469091" y="4241767"/>
            <a:ext cx="1524799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9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POČETNI SASTANAK PROJEKTNE GRUPE</a:t>
            </a:r>
            <a:endParaRPr lang="da-DK" sz="9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BF9E31-293C-42C4-951A-D6A0F4B20705}"/>
              </a:ext>
            </a:extLst>
          </p:cNvPr>
          <p:cNvSpPr/>
          <p:nvPr/>
        </p:nvSpPr>
        <p:spPr>
          <a:xfrm>
            <a:off x="2512754" y="4241767"/>
            <a:ext cx="1038391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ADIONICA</a:t>
            </a:r>
            <a:endParaRPr lang="en-GB" sz="1000" dirty="0" err="1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6C77EDDF-DB97-40F2-8C45-7A9353B3F74D}"/>
              </a:ext>
            </a:extLst>
          </p:cNvPr>
          <p:cNvSpPr/>
          <p:nvPr/>
        </p:nvSpPr>
        <p:spPr>
          <a:xfrm>
            <a:off x="468000" y="1764580"/>
            <a:ext cx="2104103" cy="387179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noProof="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kupljanje podataka i identifikacija</a:t>
            </a:r>
            <a:endParaRPr lang="da-DK" sz="1000" noProof="0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60AE0CE0-24FB-4626-8C26-97E45DF4AB94}"/>
              </a:ext>
            </a:extLst>
          </p:cNvPr>
          <p:cNvSpPr/>
          <p:nvPr/>
        </p:nvSpPr>
        <p:spPr>
          <a:xfrm>
            <a:off x="2720574" y="1764580"/>
            <a:ext cx="2104103" cy="387179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b="1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adionice i klarifikacije</a:t>
            </a:r>
            <a:endParaRPr lang="da-DK" sz="1200" noProof="0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DC5F89A3-BBEA-4F19-BA66-ED1985DA9977}"/>
              </a:ext>
            </a:extLst>
          </p:cNvPr>
          <p:cNvSpPr/>
          <p:nvPr/>
        </p:nvSpPr>
        <p:spPr>
          <a:xfrm>
            <a:off x="4973148" y="1764580"/>
            <a:ext cx="2104103" cy="387179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noProof="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naliza scenarija</a:t>
            </a:r>
            <a:endParaRPr lang="da-DK" sz="1000" noProof="0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A6F81DD0-5F47-4810-826E-862807E25046}"/>
              </a:ext>
            </a:extLst>
          </p:cNvPr>
          <p:cNvSpPr/>
          <p:nvPr/>
        </p:nvSpPr>
        <p:spPr>
          <a:xfrm>
            <a:off x="7225722" y="1764580"/>
            <a:ext cx="2104103" cy="387179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noProof="0" dirty="0">
                <a:solidFill>
                  <a:schemeClr val="bg2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aster scenario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837B308F-5298-4DE4-8777-D69FE3297DD9}"/>
              </a:ext>
            </a:extLst>
          </p:cNvPr>
          <p:cNvSpPr/>
          <p:nvPr/>
        </p:nvSpPr>
        <p:spPr>
          <a:xfrm>
            <a:off x="9478297" y="1764580"/>
            <a:ext cx="2104103" cy="387179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noProof="0" dirty="0">
                <a:solidFill>
                  <a:schemeClr val="bg2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Proizvodi</a:t>
            </a:r>
            <a:endParaRPr lang="da-DK" sz="1000" noProof="0" dirty="0">
              <a:solidFill>
                <a:schemeClr val="bg2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7FE04DD-625F-4120-9AEA-7473ADE7D8D8}"/>
              </a:ext>
            </a:extLst>
          </p:cNvPr>
          <p:cNvSpPr txBox="1"/>
          <p:nvPr/>
        </p:nvSpPr>
        <p:spPr>
          <a:xfrm>
            <a:off x="461317" y="1315645"/>
            <a:ext cx="11114400" cy="3189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lIns="0" tIns="72000" rIns="0" bIns="0" rtlCol="0" anchor="ctr">
            <a:spAutoFit/>
          </a:bodyPr>
          <a:lstStyle/>
          <a:p>
            <a:pPr algn="ctr"/>
            <a:r>
              <a:rPr lang="sr-Latn-RS" sz="1600" b="1" baseline="30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KLJUČNE AKTIVNOSTI</a:t>
            </a:r>
            <a:endParaRPr lang="da-DK" sz="1600" b="1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C5FF92-BDB0-42B1-9F1E-0F169CF9B44D}"/>
              </a:ext>
            </a:extLst>
          </p:cNvPr>
          <p:cNvSpPr/>
          <p:nvPr/>
        </p:nvSpPr>
        <p:spPr>
          <a:xfrm>
            <a:off x="460225" y="2260762"/>
            <a:ext cx="2054375" cy="18944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tlCol="0" anchor="t" anchorCtr="0"/>
          <a:lstStyle/>
          <a:p>
            <a:r>
              <a:rPr lang="sr-Latn-RS" sz="1000" b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lazna aktivnost je analiza postojećeg stanja</a:t>
            </a:r>
            <a:r>
              <a:rPr lang="en-GB" sz="1000" b="1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endParaRPr lang="en-GB" sz="10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lj</a:t>
            </a: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vi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zija i strategije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zvodnj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vni deo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ja i renovacij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trošaći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plotne potrebe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duće toplotne potrebe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25B946-67A9-486E-B247-321FBFCB709F}"/>
              </a:ext>
            </a:extLst>
          </p:cNvPr>
          <p:cNvSpPr/>
          <p:nvPr/>
        </p:nvSpPr>
        <p:spPr>
          <a:xfrm>
            <a:off x="2724104" y="2260763"/>
            <a:ext cx="2096325" cy="189442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gled ciljeva</a:t>
            </a: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zije i strategije</a:t>
            </a: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za</a:t>
            </a: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“baseline”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cenarija 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gled mogući i relevatnih razvojnih inicijativ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kusija o relevatnim scenarijima</a:t>
            </a:r>
            <a:endParaRPr lang="en-US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5852C6B-2ED9-4ED6-8103-5B305341CCEA}"/>
              </a:ext>
            </a:extLst>
          </p:cNvPr>
          <p:cNvSpPr/>
          <p:nvPr/>
        </p:nvSpPr>
        <p:spPr>
          <a:xfrm>
            <a:off x="4949105" y="2260762"/>
            <a:ext cx="2132633" cy="189442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2800" indent="-1728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a strategije daljinskog grejanja, tempreturskih režima, odvojeno dimenzionisanje cevovoda za svaku od ulic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2800" indent="-1728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snovni scenario i 2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li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izabrana scenarij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2800" indent="-1728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poredna analiza scenarija</a:t>
            </a: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da-DK" sz="1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4BDE9B7-5557-4564-939E-A4437A52FC28}"/>
              </a:ext>
            </a:extLst>
          </p:cNvPr>
          <p:cNvSpPr/>
          <p:nvPr/>
        </p:nvSpPr>
        <p:spPr>
          <a:xfrm>
            <a:off x="7228157" y="2260763"/>
            <a:ext cx="2111878" cy="189442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dabir Master scenarij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liza rizika snabdevanja toplotn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 energijom, analiza ostalih rizika i uticaja na životnu sredinu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alni proračun master scenari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ABEB057-BC12-42BE-A805-B92D418DBBCC}"/>
              </a:ext>
            </a:extLst>
          </p:cNvPr>
          <p:cNvSpPr/>
          <p:nvPr/>
        </p:nvSpPr>
        <p:spPr>
          <a:xfrm>
            <a:off x="9478297" y="2260761"/>
            <a:ext cx="2056013" cy="189442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remenski okvir i akcioni plan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ioni plan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 rekonstrukcije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GB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ni plan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talog razvojnih projekata i inicijativa</a:t>
            </a:r>
            <a:endParaRPr lang="en-US" sz="1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ECBDEC-EF62-411A-A2C9-1039AA472B50}"/>
              </a:ext>
            </a:extLst>
          </p:cNvPr>
          <p:cNvSpPr txBox="1"/>
          <p:nvPr/>
        </p:nvSpPr>
        <p:spPr>
          <a:xfrm>
            <a:off x="475058" y="4749095"/>
            <a:ext cx="11114398" cy="3189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lIns="0" tIns="72000" rIns="0" bIns="0" rtlCol="0" anchor="ctr">
            <a:spAutoFit/>
          </a:bodyPr>
          <a:lstStyle/>
          <a:p>
            <a:pPr algn="ctr"/>
            <a:r>
              <a:rPr lang="sr-Latn-RS" sz="1600" b="1" baseline="30000" dirty="0">
                <a:solidFill>
                  <a:schemeClr val="accent5"/>
                </a:solidFill>
              </a:rPr>
              <a:t>REZULTATI</a:t>
            </a:r>
            <a:endParaRPr lang="da-DK" sz="1600" b="1" dirty="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B621C0-FA65-4B10-8D0E-9FFC6CC76483}"/>
              </a:ext>
            </a:extLst>
          </p:cNvPr>
          <p:cNvSpPr/>
          <p:nvPr/>
        </p:nvSpPr>
        <p:spPr>
          <a:xfrm>
            <a:off x="461318" y="5194415"/>
            <a:ext cx="2104102" cy="105078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remenski okvir i akcioni plan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a postojećeg stanj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snove za upoređivanje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a potreba za toplotom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3535B7D-2E5D-49B4-9796-9859197EB9A4}"/>
              </a:ext>
            </a:extLst>
          </p:cNvPr>
          <p:cNvSpPr/>
          <p:nvPr/>
        </p:nvSpPr>
        <p:spPr>
          <a:xfrm>
            <a:off x="2701873" y="5194413"/>
            <a:ext cx="2104101" cy="105078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snovni</a:t>
            </a:r>
            <a:r>
              <a:rPr lang="da-DK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cena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-3 bud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ća</a:t>
            </a:r>
            <a:r>
              <a:rPr lang="da-DK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a-DK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enarij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talog razvojnih projekata i inicijativ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FA762A-2EB0-42B3-9A61-EA1B201E7572}"/>
              </a:ext>
            </a:extLst>
          </p:cNvPr>
          <p:cNvSpPr/>
          <p:nvPr/>
        </p:nvSpPr>
        <p:spPr>
          <a:xfrm>
            <a:off x="4979829" y="5194413"/>
            <a:ext cx="2104101" cy="105078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is i proraću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 </a:t>
            </a:r>
            <a:r>
              <a:rPr lang="en-US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zabranih</a:t>
            </a:r>
            <a:r>
              <a:rPr lang="en-U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enarij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040A91-D06F-482A-BD6A-BA0073B90064}"/>
              </a:ext>
            </a:extLst>
          </p:cNvPr>
          <p:cNvSpPr/>
          <p:nvPr/>
        </p:nvSpPr>
        <p:spPr>
          <a:xfrm>
            <a:off x="7257785" y="5195979"/>
            <a:ext cx="2104101" cy="104896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račun master scenarija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a sigurnosti snabdevanja , analiza rizika i uticaja na životnu sredinu</a:t>
            </a:r>
            <a:endParaRPr lang="da-DK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E190EDB-BD81-4597-9C99-EBF09EBF31A4}"/>
              </a:ext>
            </a:extLst>
          </p:cNvPr>
          <p:cNvSpPr/>
          <p:nvPr/>
        </p:nvSpPr>
        <p:spPr>
          <a:xfrm>
            <a:off x="9478297" y="5195980"/>
            <a:ext cx="2104101" cy="104896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ter Plan</a:t>
            </a: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zveštaj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talog razvojnih inicijativa</a:t>
            </a:r>
            <a:endParaRPr lang="en-GB" sz="100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r-Latn-RS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remenski okvir i akcioni plan</a:t>
            </a:r>
            <a:r>
              <a:rPr lang="da-DK" sz="100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2692009-FC17-456E-BB65-059013EA2700}"/>
              </a:ext>
            </a:extLst>
          </p:cNvPr>
          <p:cNvSpPr/>
          <p:nvPr/>
        </p:nvSpPr>
        <p:spPr>
          <a:xfrm>
            <a:off x="9417509" y="1683895"/>
            <a:ext cx="2245477" cy="4629441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78F9A8D-5789-4B34-8970-AAE7C7773934}"/>
              </a:ext>
            </a:extLst>
          </p:cNvPr>
          <p:cNvSpPr/>
          <p:nvPr/>
        </p:nvSpPr>
        <p:spPr>
          <a:xfrm>
            <a:off x="10400526" y="4241767"/>
            <a:ext cx="1133784" cy="36680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ISPORUKA</a:t>
            </a:r>
            <a:endParaRPr lang="en-GB" sz="1000" dirty="0" err="1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920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D5C44-8969-40FC-8FF2-2D305EC48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REZULTATI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1785BF-4BB0-476C-8F58-ED037AAC1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4" name="Billede 12">
            <a:extLst>
              <a:ext uri="{FF2B5EF4-FFF2-40B4-BE49-F238E27FC236}">
                <a16:creationId xmlns:a16="http://schemas.microsoft.com/office/drawing/2014/main" id="{AA1F2FB4-A0D4-45EE-8E62-09A927F2F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6014" y="536079"/>
            <a:ext cx="4785921" cy="1464544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AFA221CF-F5F8-4A96-B2BB-FE4F945EF0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5639" y="2237973"/>
            <a:ext cx="4448961" cy="2081073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ACCF8671-E96A-4B3E-8749-D90756FAEE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4251" y="3297647"/>
            <a:ext cx="1880415" cy="3078171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DB045738-CCC9-463C-8414-95FF6DE27B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7615" y="4969208"/>
            <a:ext cx="2376216" cy="1236356"/>
          </a:xfrm>
          <a:prstGeom prst="rect">
            <a:avLst/>
          </a:prstGeom>
        </p:spPr>
      </p:pic>
      <p:pic>
        <p:nvPicPr>
          <p:cNvPr id="8" name="Billede 21">
            <a:extLst>
              <a:ext uri="{FF2B5EF4-FFF2-40B4-BE49-F238E27FC236}">
                <a16:creationId xmlns:a16="http://schemas.microsoft.com/office/drawing/2014/main" id="{2A42F64B-D409-41F5-B353-DC37306DFB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3596" y="4589931"/>
            <a:ext cx="2870456" cy="1615633"/>
          </a:xfrm>
          <a:prstGeom prst="rect">
            <a:avLst/>
          </a:prstGeom>
        </p:spPr>
      </p:pic>
      <p:sp>
        <p:nvSpPr>
          <p:cNvPr id="9" name="Tekstfelt 10">
            <a:extLst>
              <a:ext uri="{FF2B5EF4-FFF2-40B4-BE49-F238E27FC236}">
                <a16:creationId xmlns:a16="http://schemas.microsoft.com/office/drawing/2014/main" id="{20418B07-6925-4B5B-B784-FA85C081B807}"/>
              </a:ext>
            </a:extLst>
          </p:cNvPr>
          <p:cNvSpPr txBox="1"/>
          <p:nvPr/>
        </p:nvSpPr>
        <p:spPr>
          <a:xfrm>
            <a:off x="6886328" y="4661431"/>
            <a:ext cx="65402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2000" dirty="0"/>
              <a:t>2021</a:t>
            </a:r>
            <a:endParaRPr lang="en-GB" sz="20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6B110A-4295-4664-BC8A-C3BEC7250920}"/>
              </a:ext>
            </a:extLst>
          </p:cNvPr>
          <p:cNvSpPr/>
          <p:nvPr/>
        </p:nvSpPr>
        <p:spPr>
          <a:xfrm>
            <a:off x="513805" y="1462518"/>
            <a:ext cx="4537165" cy="163773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 rtlCol="0" anchor="ctr"/>
          <a:lstStyle/>
          <a:p>
            <a:pPr marL="457200" indent="-457200">
              <a:buFont typeface="+mj-lt"/>
              <a:buAutoNum type="arabicPeriod"/>
            </a:pPr>
            <a:r>
              <a:rPr lang="sr-Latn-RS" dirty="0">
                <a:solidFill>
                  <a:schemeClr val="tx1"/>
                </a:solidFill>
              </a:rPr>
              <a:t>Akcioni i investicioni plan</a:t>
            </a:r>
            <a:endParaRPr lang="da-DK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sr-Latn-RS" dirty="0">
                <a:solidFill>
                  <a:schemeClr val="tx1"/>
                </a:solidFill>
              </a:rPr>
              <a:t>Buduća struktura </a:t>
            </a:r>
            <a:r>
              <a:rPr lang="da-DK" dirty="0">
                <a:solidFill>
                  <a:schemeClr val="tx1"/>
                </a:solidFill>
              </a:rPr>
              <a:t>(</a:t>
            </a:r>
            <a:r>
              <a:rPr lang="da-DK" dirty="0" err="1">
                <a:solidFill>
                  <a:schemeClr val="tx1"/>
                </a:solidFill>
              </a:rPr>
              <a:t>Map</a:t>
            </a:r>
            <a:r>
              <a:rPr lang="sr-Latn-RS" dirty="0">
                <a:solidFill>
                  <a:schemeClr val="tx1"/>
                </a:solidFill>
              </a:rPr>
              <a:t>a</a:t>
            </a:r>
            <a:r>
              <a:rPr lang="da-DK" dirty="0">
                <a:solidFill>
                  <a:schemeClr val="tx1"/>
                </a:solidFill>
              </a:rPr>
              <a:t>)</a:t>
            </a:r>
            <a:r>
              <a:rPr lang="sr-Latn-RS" dirty="0">
                <a:solidFill>
                  <a:schemeClr val="tx1"/>
                </a:solidFill>
              </a:rPr>
              <a:t> i operativni strateški plan</a:t>
            </a:r>
            <a:r>
              <a:rPr lang="da-DK" dirty="0">
                <a:solidFill>
                  <a:schemeClr val="tx1"/>
                </a:solidFill>
              </a:rPr>
              <a:t> (</a:t>
            </a:r>
            <a:r>
              <a:rPr lang="sr-Latn-RS" dirty="0">
                <a:solidFill>
                  <a:schemeClr val="tx1"/>
                </a:solidFill>
              </a:rPr>
              <a:t>detaljan opis svake toplane, kotlarnice itd</a:t>
            </a:r>
            <a:r>
              <a:rPr lang="da-DK" dirty="0">
                <a:solidFill>
                  <a:schemeClr val="tx1"/>
                </a:solidFill>
              </a:rPr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sr-Latn-RS" dirty="0">
                <a:solidFill>
                  <a:schemeClr val="tx1"/>
                </a:solidFill>
              </a:rPr>
              <a:t>Plan rekonstrukcije i modernizacije</a:t>
            </a:r>
            <a:endParaRPr lang="da-DK" dirty="0">
              <a:solidFill>
                <a:schemeClr val="tx1"/>
              </a:solidFill>
              <a:cs typeface="Segoe UI"/>
            </a:endParaRPr>
          </a:p>
          <a:p>
            <a:pPr marL="457200" indent="-457200">
              <a:buFont typeface="+mj-lt"/>
              <a:buAutoNum type="arabicPeriod"/>
            </a:pPr>
            <a:r>
              <a:rPr lang="sr-Latn-RS" dirty="0">
                <a:solidFill>
                  <a:schemeClr val="tx1"/>
                </a:solidFill>
              </a:rPr>
              <a:t>Izveštaji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312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88B40C-10C2-4B43-93F1-02D71FD21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2754D70-0EDA-4C89-8FE3-3644B1C06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Latn-RS" dirty="0"/>
              <a:t>Hvala na pažnji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D01C05-059C-4971-809B-30CA832325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5676" y="4289085"/>
            <a:ext cx="2932772" cy="1595197"/>
          </a:xfrm>
        </p:spPr>
        <p:txBody>
          <a:bodyPr/>
          <a:lstStyle/>
          <a:p>
            <a:r>
              <a:rPr lang="da-DK" b="1" dirty="0" err="1"/>
              <a:t>Proje</a:t>
            </a:r>
            <a:r>
              <a:rPr lang="sr-Latn-RS" b="1" dirty="0"/>
              <a:t>ktni menadžer</a:t>
            </a:r>
            <a:endParaRPr lang="da-DK" b="1" dirty="0"/>
          </a:p>
          <a:p>
            <a:r>
              <a:rPr lang="da-DK" b="1" dirty="0"/>
              <a:t>Per Diget</a:t>
            </a:r>
          </a:p>
          <a:p>
            <a:r>
              <a:rPr lang="da-DK" b="1" dirty="0">
                <a:hlinkClick r:id="rId2"/>
              </a:rPr>
              <a:t>pdt@niras.dk</a:t>
            </a:r>
            <a:endParaRPr lang="da-DK" b="1" dirty="0"/>
          </a:p>
          <a:p>
            <a:r>
              <a:rPr lang="da-DK" b="1" dirty="0"/>
              <a:t>T</a:t>
            </a:r>
            <a:r>
              <a:rPr lang="sr-Latn-RS" b="1" dirty="0"/>
              <a:t>el</a:t>
            </a:r>
            <a:r>
              <a:rPr lang="da-DK" b="1" dirty="0"/>
              <a:t>. + 45 4014 278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08C3DA-BD5A-40C9-9915-1F2A4C8BEF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5168" y="4289084"/>
            <a:ext cx="2932772" cy="1595197"/>
          </a:xfrm>
        </p:spPr>
        <p:txBody>
          <a:bodyPr>
            <a:normAutofit/>
          </a:bodyPr>
          <a:lstStyle/>
          <a:p>
            <a:r>
              <a:rPr lang="da-DK" b="1" dirty="0" err="1"/>
              <a:t>Proje</a:t>
            </a:r>
            <a:r>
              <a:rPr lang="sr-Latn-RS" b="1" dirty="0"/>
              <a:t>ktni menadžer</a:t>
            </a:r>
            <a:endParaRPr lang="da-DK" b="1" dirty="0"/>
          </a:p>
          <a:p>
            <a:r>
              <a:rPr lang="da-DK" b="1" dirty="0"/>
              <a:t>Michael Lassen Schmidt</a:t>
            </a:r>
          </a:p>
          <a:p>
            <a:r>
              <a:rPr lang="da-DK" b="1" dirty="0">
                <a:hlinkClick r:id="rId3"/>
              </a:rPr>
              <a:t>mls@niras.dk</a:t>
            </a:r>
            <a:endParaRPr lang="da-DK" b="1" dirty="0"/>
          </a:p>
          <a:p>
            <a:r>
              <a:rPr lang="da-DK" b="1" dirty="0"/>
              <a:t>Tel: +45 6026 185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D6C6B5-5CC8-4F92-92D3-07064F5BA73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32550"/>
            <a:ext cx="105410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9D88FA09-87CC-4DA8-97C4-FCC91F8FB79F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4"/>
          <a:srcRect t="8315" b="8315"/>
          <a:stretch>
            <a:fillRect/>
          </a:stretch>
        </p:blipFill>
        <p:spPr>
          <a:xfrm>
            <a:off x="3811511" y="2206569"/>
            <a:ext cx="2021102" cy="202110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BA54E-E3EC-4774-A8D4-01E1D64091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02" y="1338458"/>
            <a:ext cx="5273589" cy="619713"/>
          </a:xfrm>
        </p:spPr>
        <p:txBody>
          <a:bodyPr/>
          <a:lstStyle/>
          <a:p>
            <a:r>
              <a:rPr lang="sr-Latn-RS" dirty="0"/>
              <a:t>Kontaktirajte nas</a:t>
            </a:r>
            <a:endParaRPr lang="da-DK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4305003-B93E-4A0A-B71A-8306E2538A8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/>
          <a:srcRect t="33" b="33"/>
          <a:stretch>
            <a:fillRect/>
          </a:stretch>
        </p:blipFill>
        <p:spPr>
          <a:xfrm>
            <a:off x="873554" y="2206569"/>
            <a:ext cx="2016000" cy="2016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7193ADD-571C-BBBE-050E-BD00229C5C4A}"/>
              </a:ext>
            </a:extLst>
          </p:cNvPr>
          <p:cNvSpPr txBox="1">
            <a:spLocks/>
          </p:cNvSpPr>
          <p:nvPr/>
        </p:nvSpPr>
        <p:spPr>
          <a:xfrm>
            <a:off x="6458109" y="4289084"/>
            <a:ext cx="2932772" cy="15951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Proje</a:t>
            </a:r>
            <a:r>
              <a:rPr lang="sr-Latn-RS" b="1" dirty="0"/>
              <a:t>ktni menadžer</a:t>
            </a:r>
            <a:endParaRPr lang="da-DK" b="1" dirty="0"/>
          </a:p>
          <a:p>
            <a:r>
              <a:rPr lang="sr-Latn-RS" b="1" dirty="0"/>
              <a:t>Ivana Radulovic</a:t>
            </a:r>
            <a:endParaRPr lang="da-DK" b="1" dirty="0"/>
          </a:p>
          <a:p>
            <a:r>
              <a:rPr lang="sr-Latn-RS" b="1" dirty="0"/>
              <a:t>ivra</a:t>
            </a:r>
            <a:r>
              <a:rPr lang="da-DK" b="1" dirty="0"/>
              <a:t>@niras.</a:t>
            </a:r>
            <a:r>
              <a:rPr lang="sr-Latn-RS" b="1" dirty="0"/>
              <a:t>com</a:t>
            </a:r>
            <a:endParaRPr lang="da-DK" b="1" dirty="0"/>
          </a:p>
          <a:p>
            <a:r>
              <a:rPr lang="da-DK" b="1" dirty="0"/>
              <a:t>T</a:t>
            </a:r>
            <a:r>
              <a:rPr lang="sr-Latn-RS" b="1" dirty="0"/>
              <a:t>el</a:t>
            </a:r>
            <a:r>
              <a:rPr lang="da-DK" b="1" dirty="0"/>
              <a:t>. + </a:t>
            </a:r>
            <a:r>
              <a:rPr lang="sr-Latn-RS" b="1" dirty="0"/>
              <a:t>381 64 344 3333</a:t>
            </a:r>
            <a:endParaRPr lang="da-DK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B2FE3-ACC6-F9C9-A2F0-EFCF071C8F74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570" y="2218473"/>
            <a:ext cx="1951280" cy="20040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6999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E8474B7-18B2-4DE4-B934-A04725AD9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6725" y="5248275"/>
            <a:ext cx="7003701" cy="102822"/>
          </a:xfrm>
        </p:spPr>
        <p:txBody>
          <a:bodyPr>
            <a:noAutofit/>
          </a:bodyPr>
          <a:lstStyle/>
          <a:p>
            <a:r>
              <a:rPr lang="sr-Latn-R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Kratko o </a:t>
            </a:r>
            <a:r>
              <a:rPr lang="en-U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IRAS</a:t>
            </a:r>
            <a:r>
              <a:rPr lang="sr-Latn-R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-u</a:t>
            </a:r>
            <a:endParaRPr lang="da-DK" sz="6000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7" name="Logo on top">
            <a:extLst>
              <a:ext uri="{FF2B5EF4-FFF2-40B4-BE49-F238E27FC236}">
                <a16:creationId xmlns:a16="http://schemas.microsoft.com/office/drawing/2014/main" id="{02EF7ED7-4633-4C47-94EA-B1BF8FED742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92F959C-1759-447B-A230-9F23C249EB6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75400"/>
            <a:ext cx="511175" cy="365125"/>
          </a:xfrm>
        </p:spPr>
        <p:txBody>
          <a:bodyPr/>
          <a:lstStyle/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72ABBEA-ADA8-4AC1-8A24-F58175359FBF}"/>
              </a:ext>
            </a:extLst>
          </p:cNvPr>
          <p:cNvSpPr txBox="1">
            <a:spLocks/>
          </p:cNvSpPr>
          <p:nvPr/>
        </p:nvSpPr>
        <p:spPr>
          <a:xfrm>
            <a:off x="10753200" y="63391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257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Rectangle 799">
            <a:extLst>
              <a:ext uri="{FF2B5EF4-FFF2-40B4-BE49-F238E27FC236}">
                <a16:creationId xmlns:a16="http://schemas.microsoft.com/office/drawing/2014/main" id="{993A6F20-7FBA-4199-9DC6-0A43CF058B6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0" name="Title 399">
            <a:extLst>
              <a:ext uri="{FF2B5EF4-FFF2-40B4-BE49-F238E27FC236}">
                <a16:creationId xmlns:a16="http://schemas.microsoft.com/office/drawing/2014/main" id="{3D86F5DD-58A7-4F5D-8543-FBA4825DA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>
                <a:solidFill>
                  <a:schemeClr val="accent5"/>
                </a:solidFill>
              </a:rPr>
              <a:t>NIRAS BROJKE</a:t>
            </a:r>
            <a:endParaRPr lang="da-DK" dirty="0">
              <a:solidFill>
                <a:schemeClr val="accent5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17012C-B6CF-407F-A1FC-E340A7044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9514462-1337-4085-B0CD-04C01BE6F356}"/>
              </a:ext>
            </a:extLst>
          </p:cNvPr>
          <p:cNvGrpSpPr/>
          <p:nvPr/>
        </p:nvGrpSpPr>
        <p:grpSpPr>
          <a:xfrm>
            <a:off x="423074" y="1908557"/>
            <a:ext cx="3766292" cy="923330"/>
            <a:chOff x="542942" y="2292615"/>
            <a:chExt cx="3766292" cy="923330"/>
          </a:xfrm>
        </p:grpSpPr>
        <p:sp>
          <p:nvSpPr>
            <p:cNvPr id="1594" name="TextBox 1593">
              <a:extLst>
                <a:ext uri="{FF2B5EF4-FFF2-40B4-BE49-F238E27FC236}">
                  <a16:creationId xmlns:a16="http://schemas.microsoft.com/office/drawing/2014/main" id="{C461C2E1-96CA-4969-85C7-593E5E8D1FE3}"/>
                </a:ext>
              </a:extLst>
            </p:cNvPr>
            <p:cNvSpPr txBox="1"/>
            <p:nvPr/>
          </p:nvSpPr>
          <p:spPr>
            <a:xfrm>
              <a:off x="542942" y="2292615"/>
              <a:ext cx="21986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5400">
                  <a:solidFill>
                    <a:schemeClr val="accent4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30</a:t>
              </a:r>
              <a:endParaRPr lang="da-DK" sz="720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1994" name="TextBox 1993">
              <a:extLst>
                <a:ext uri="{FF2B5EF4-FFF2-40B4-BE49-F238E27FC236}">
                  <a16:creationId xmlns:a16="http://schemas.microsoft.com/office/drawing/2014/main" id="{76213422-FD80-4936-AC18-9ABA0C51C9D2}"/>
                </a:ext>
              </a:extLst>
            </p:cNvPr>
            <p:cNvSpPr txBox="1"/>
            <p:nvPr/>
          </p:nvSpPr>
          <p:spPr>
            <a:xfrm>
              <a:off x="1433903" y="2747931"/>
              <a:ext cx="2875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dirty="0">
                  <a:solidFill>
                    <a:schemeClr val="accent4"/>
                  </a:solidFill>
                  <a:latin typeface="+mj-lt"/>
                </a:rPr>
                <a:t>zemalja</a:t>
              </a:r>
              <a:endParaRPr lang="da-DK" dirty="0">
                <a:solidFill>
                  <a:schemeClr val="accent4"/>
                </a:solidFill>
                <a:latin typeface="+mj-lt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043865-4DBA-455E-9D6D-C422D5F0A027}"/>
              </a:ext>
            </a:extLst>
          </p:cNvPr>
          <p:cNvGrpSpPr/>
          <p:nvPr/>
        </p:nvGrpSpPr>
        <p:grpSpPr>
          <a:xfrm>
            <a:off x="423074" y="2919576"/>
            <a:ext cx="3746359" cy="923330"/>
            <a:chOff x="542847" y="3315331"/>
            <a:chExt cx="3746359" cy="923330"/>
          </a:xfrm>
        </p:grpSpPr>
        <p:sp>
          <p:nvSpPr>
            <p:cNvPr id="1596" name="TextBox 1595">
              <a:extLst>
                <a:ext uri="{FF2B5EF4-FFF2-40B4-BE49-F238E27FC236}">
                  <a16:creationId xmlns:a16="http://schemas.microsoft.com/office/drawing/2014/main" id="{91DA6AC7-DCE4-469A-9EAB-50F1B771EF3D}"/>
                </a:ext>
              </a:extLst>
            </p:cNvPr>
            <p:cNvSpPr txBox="1"/>
            <p:nvPr/>
          </p:nvSpPr>
          <p:spPr>
            <a:xfrm>
              <a:off x="542847" y="3315331"/>
              <a:ext cx="325812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5400">
                  <a:solidFill>
                    <a:schemeClr val="accent4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52</a:t>
              </a:r>
            </a:p>
          </p:txBody>
        </p:sp>
        <p:sp>
          <p:nvSpPr>
            <p:cNvPr id="1995" name="TextBox 1994">
              <a:extLst>
                <a:ext uri="{FF2B5EF4-FFF2-40B4-BE49-F238E27FC236}">
                  <a16:creationId xmlns:a16="http://schemas.microsoft.com/office/drawing/2014/main" id="{561F7A2D-9790-4E19-8A80-2EC2CBEAEB70}"/>
                </a:ext>
              </a:extLst>
            </p:cNvPr>
            <p:cNvSpPr txBox="1"/>
            <p:nvPr/>
          </p:nvSpPr>
          <p:spPr>
            <a:xfrm>
              <a:off x="1413875" y="3755156"/>
              <a:ext cx="2875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dirty="0">
                  <a:solidFill>
                    <a:schemeClr val="accent4"/>
                  </a:solidFill>
                  <a:latin typeface="+mj-lt"/>
                </a:rPr>
                <a:t>kancelarija</a:t>
              </a:r>
              <a:endParaRPr lang="da-DK" dirty="0">
                <a:solidFill>
                  <a:schemeClr val="accent4"/>
                </a:solidFill>
                <a:latin typeface="+mj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F52310-D965-44A0-B371-578F0C252EF5}"/>
              </a:ext>
            </a:extLst>
          </p:cNvPr>
          <p:cNvGrpSpPr/>
          <p:nvPr/>
        </p:nvGrpSpPr>
        <p:grpSpPr>
          <a:xfrm>
            <a:off x="423074" y="3930595"/>
            <a:ext cx="4593795" cy="923330"/>
            <a:chOff x="589960" y="4341553"/>
            <a:chExt cx="4593795" cy="923330"/>
          </a:xfrm>
        </p:grpSpPr>
        <p:sp>
          <p:nvSpPr>
            <p:cNvPr id="1595" name="TextBox 1594">
              <a:extLst>
                <a:ext uri="{FF2B5EF4-FFF2-40B4-BE49-F238E27FC236}">
                  <a16:creationId xmlns:a16="http://schemas.microsoft.com/office/drawing/2014/main" id="{50ABE379-2F39-4D26-B142-4EB1C70839B1}"/>
                </a:ext>
              </a:extLst>
            </p:cNvPr>
            <p:cNvSpPr txBox="1"/>
            <p:nvPr/>
          </p:nvSpPr>
          <p:spPr>
            <a:xfrm>
              <a:off x="589960" y="4341553"/>
              <a:ext cx="325812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5400">
                  <a:solidFill>
                    <a:schemeClr val="accent4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2400</a:t>
              </a:r>
            </a:p>
          </p:txBody>
        </p:sp>
        <p:sp>
          <p:nvSpPr>
            <p:cNvPr id="1996" name="TextBox 1995">
              <a:extLst>
                <a:ext uri="{FF2B5EF4-FFF2-40B4-BE49-F238E27FC236}">
                  <a16:creationId xmlns:a16="http://schemas.microsoft.com/office/drawing/2014/main" id="{01DE5994-ACFF-43C7-8603-56D54274F584}"/>
                </a:ext>
              </a:extLst>
            </p:cNvPr>
            <p:cNvSpPr txBox="1"/>
            <p:nvPr/>
          </p:nvSpPr>
          <p:spPr>
            <a:xfrm>
              <a:off x="2308424" y="4785391"/>
              <a:ext cx="2875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dirty="0">
                  <a:solidFill>
                    <a:schemeClr val="accent4"/>
                  </a:solidFill>
                  <a:latin typeface="+mj-lt"/>
                </a:rPr>
                <a:t>zaposlenih</a:t>
              </a:r>
              <a:endParaRPr lang="da-DK" dirty="0">
                <a:solidFill>
                  <a:schemeClr val="accent4"/>
                </a:solidFill>
                <a:latin typeface="+mj-lt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06E8CF6-2FC6-4CB2-A224-88402F6BD6FC}"/>
              </a:ext>
            </a:extLst>
          </p:cNvPr>
          <p:cNvGrpSpPr/>
          <p:nvPr/>
        </p:nvGrpSpPr>
        <p:grpSpPr>
          <a:xfrm>
            <a:off x="423074" y="4941613"/>
            <a:ext cx="4564653" cy="923330"/>
            <a:chOff x="596116" y="5344698"/>
            <a:chExt cx="4564653" cy="923330"/>
          </a:xfrm>
        </p:grpSpPr>
        <p:sp>
          <p:nvSpPr>
            <p:cNvPr id="1597" name="TextBox 1596">
              <a:extLst>
                <a:ext uri="{FF2B5EF4-FFF2-40B4-BE49-F238E27FC236}">
                  <a16:creationId xmlns:a16="http://schemas.microsoft.com/office/drawing/2014/main" id="{C8D95DF8-3862-40DE-B3A1-36FAF9CD3A50}"/>
                </a:ext>
              </a:extLst>
            </p:cNvPr>
            <p:cNvSpPr txBox="1"/>
            <p:nvPr/>
          </p:nvSpPr>
          <p:spPr>
            <a:xfrm>
              <a:off x="596116" y="5344698"/>
              <a:ext cx="325812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5400">
                  <a:solidFill>
                    <a:schemeClr val="accent4"/>
                  </a:solidFill>
                  <a:latin typeface="Segoe UI Black" panose="020B0A02040204020203" pitchFamily="34" charset="0"/>
                  <a:ea typeface="Segoe UI Black" panose="020B0A02040204020203" pitchFamily="34" charset="0"/>
                </a:rPr>
                <a:t>7000</a:t>
              </a:r>
            </a:p>
          </p:txBody>
        </p:sp>
        <p:sp>
          <p:nvSpPr>
            <p:cNvPr id="1997" name="TextBox 1996">
              <a:extLst>
                <a:ext uri="{FF2B5EF4-FFF2-40B4-BE49-F238E27FC236}">
                  <a16:creationId xmlns:a16="http://schemas.microsoft.com/office/drawing/2014/main" id="{19B5741B-FB75-4787-AAAD-AE42FA6F0E98}"/>
                </a:ext>
              </a:extLst>
            </p:cNvPr>
            <p:cNvSpPr txBox="1"/>
            <p:nvPr/>
          </p:nvSpPr>
          <p:spPr>
            <a:xfrm>
              <a:off x="2285438" y="5790434"/>
              <a:ext cx="2875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dirty="0">
                  <a:solidFill>
                    <a:schemeClr val="accent4"/>
                  </a:solidFill>
                  <a:latin typeface="+mj-lt"/>
                </a:rPr>
                <a:t>projekata</a:t>
              </a:r>
              <a:endParaRPr lang="da-DK" dirty="0">
                <a:solidFill>
                  <a:schemeClr val="accent4"/>
                </a:solidFill>
                <a:latin typeface="+mj-lt"/>
              </a:endParaRPr>
            </a:p>
          </p:txBody>
        </p:sp>
      </p:grpSp>
      <p:pic>
        <p:nvPicPr>
          <p:cNvPr id="420" name="Content Placeholder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ED34041-CBFD-49BB-8510-2D08BC0F5B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674" y="6340459"/>
            <a:ext cx="1069962" cy="334153"/>
          </a:xfrm>
          <a:prstGeom prst="rect">
            <a:avLst/>
          </a:prstGeom>
          <a:ln w="19050">
            <a:noFill/>
          </a:ln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B5CACF-F9C5-4B2D-B1B3-86545957A171}"/>
              </a:ext>
            </a:extLst>
          </p:cNvPr>
          <p:cNvSpPr/>
          <p:nvPr/>
        </p:nvSpPr>
        <p:spPr>
          <a:xfrm>
            <a:off x="10150763" y="4338194"/>
            <a:ext cx="41114" cy="55989"/>
          </a:xfrm>
          <a:custGeom>
            <a:avLst/>
            <a:gdLst>
              <a:gd name="connsiteX0" fmla="*/ 20250 w 41114"/>
              <a:gd name="connsiteY0" fmla="*/ 777 h 55989"/>
              <a:gd name="connsiteX1" fmla="*/ 20638 w 41114"/>
              <a:gd name="connsiteY1" fmla="*/ 2527 h 55989"/>
              <a:gd name="connsiteX2" fmla="*/ 20445 w 41114"/>
              <a:gd name="connsiteY2" fmla="*/ 9783 h 55989"/>
              <a:gd name="connsiteX3" fmla="*/ 20768 w 41114"/>
              <a:gd name="connsiteY3" fmla="*/ 11467 h 55989"/>
              <a:gd name="connsiteX4" fmla="*/ 22064 w 41114"/>
              <a:gd name="connsiteY4" fmla="*/ 12244 h 55989"/>
              <a:gd name="connsiteX5" fmla="*/ 40463 w 41114"/>
              <a:gd name="connsiteY5" fmla="*/ 24230 h 55989"/>
              <a:gd name="connsiteX6" fmla="*/ 38390 w 41114"/>
              <a:gd name="connsiteY6" fmla="*/ 34660 h 55989"/>
              <a:gd name="connsiteX7" fmla="*/ 30875 w 41114"/>
              <a:gd name="connsiteY7" fmla="*/ 36021 h 55989"/>
              <a:gd name="connsiteX8" fmla="*/ 25304 w 41114"/>
              <a:gd name="connsiteY8" fmla="*/ 50598 h 55989"/>
              <a:gd name="connsiteX9" fmla="*/ 14354 w 41114"/>
              <a:gd name="connsiteY9" fmla="*/ 55197 h 55989"/>
              <a:gd name="connsiteX10" fmla="*/ 12605 w 41114"/>
              <a:gd name="connsiteY10" fmla="*/ 55975 h 55989"/>
              <a:gd name="connsiteX11" fmla="*/ 9690 w 41114"/>
              <a:gd name="connsiteY11" fmla="*/ 50792 h 55989"/>
              <a:gd name="connsiteX12" fmla="*/ 7228 w 41114"/>
              <a:gd name="connsiteY12" fmla="*/ 37964 h 55989"/>
              <a:gd name="connsiteX13" fmla="*/ 102 w 41114"/>
              <a:gd name="connsiteY13" fmla="*/ 22869 h 55989"/>
              <a:gd name="connsiteX14" fmla="*/ 6451 w 41114"/>
              <a:gd name="connsiteY14" fmla="*/ 9653 h 55989"/>
              <a:gd name="connsiteX15" fmla="*/ 5738 w 41114"/>
              <a:gd name="connsiteY15" fmla="*/ 4665 h 55989"/>
              <a:gd name="connsiteX16" fmla="*/ 7616 w 41114"/>
              <a:gd name="connsiteY16" fmla="*/ 324 h 55989"/>
              <a:gd name="connsiteX17" fmla="*/ 9949 w 41114"/>
              <a:gd name="connsiteY17" fmla="*/ 0 h 55989"/>
              <a:gd name="connsiteX18" fmla="*/ 17983 w 41114"/>
              <a:gd name="connsiteY18" fmla="*/ 65 h 55989"/>
              <a:gd name="connsiteX19" fmla="*/ 20185 w 41114"/>
              <a:gd name="connsiteY19" fmla="*/ 777 h 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114" h="55989">
                <a:moveTo>
                  <a:pt x="20250" y="777"/>
                </a:moveTo>
                <a:cubicBezTo>
                  <a:pt x="20638" y="1231"/>
                  <a:pt x="20638" y="1943"/>
                  <a:pt x="20638" y="2527"/>
                </a:cubicBezTo>
                <a:cubicBezTo>
                  <a:pt x="20638" y="4924"/>
                  <a:pt x="20510" y="7385"/>
                  <a:pt x="20445" y="9783"/>
                </a:cubicBezTo>
                <a:cubicBezTo>
                  <a:pt x="20445" y="10366"/>
                  <a:pt x="20445" y="11013"/>
                  <a:pt x="20768" y="11467"/>
                </a:cubicBezTo>
                <a:cubicBezTo>
                  <a:pt x="21092" y="11856"/>
                  <a:pt x="21610" y="12050"/>
                  <a:pt x="22064" y="12244"/>
                </a:cubicBezTo>
                <a:cubicBezTo>
                  <a:pt x="28996" y="14771"/>
                  <a:pt x="35345" y="18853"/>
                  <a:pt x="40463" y="24230"/>
                </a:cubicBezTo>
                <a:cubicBezTo>
                  <a:pt x="41370" y="27987"/>
                  <a:pt x="41824" y="32911"/>
                  <a:pt x="38390" y="34660"/>
                </a:cubicBezTo>
                <a:cubicBezTo>
                  <a:pt x="36122" y="35826"/>
                  <a:pt x="33207" y="34855"/>
                  <a:pt x="30875" y="36021"/>
                </a:cubicBezTo>
                <a:cubicBezTo>
                  <a:pt x="26016" y="38418"/>
                  <a:pt x="28802" y="46451"/>
                  <a:pt x="25304" y="50598"/>
                </a:cubicBezTo>
                <a:cubicBezTo>
                  <a:pt x="22712" y="53643"/>
                  <a:pt x="17853" y="53189"/>
                  <a:pt x="14354" y="55197"/>
                </a:cubicBezTo>
                <a:cubicBezTo>
                  <a:pt x="13772" y="55521"/>
                  <a:pt x="13253" y="55910"/>
                  <a:pt x="12605" y="55975"/>
                </a:cubicBezTo>
                <a:cubicBezTo>
                  <a:pt x="10338" y="56234"/>
                  <a:pt x="9625" y="53060"/>
                  <a:pt x="9690" y="50792"/>
                </a:cubicBezTo>
                <a:cubicBezTo>
                  <a:pt x="9820" y="46387"/>
                  <a:pt x="9301" y="41852"/>
                  <a:pt x="7228" y="37964"/>
                </a:cubicBezTo>
                <a:cubicBezTo>
                  <a:pt x="4572" y="32911"/>
                  <a:pt x="-805" y="28506"/>
                  <a:pt x="102" y="22869"/>
                </a:cubicBezTo>
                <a:cubicBezTo>
                  <a:pt x="879" y="17946"/>
                  <a:pt x="6386" y="14577"/>
                  <a:pt x="6451" y="9653"/>
                </a:cubicBezTo>
                <a:cubicBezTo>
                  <a:pt x="6451" y="7969"/>
                  <a:pt x="5868" y="6349"/>
                  <a:pt x="5738" y="4665"/>
                </a:cubicBezTo>
                <a:cubicBezTo>
                  <a:pt x="5609" y="2980"/>
                  <a:pt x="6127" y="1037"/>
                  <a:pt x="7616" y="324"/>
                </a:cubicBezTo>
                <a:cubicBezTo>
                  <a:pt x="8330" y="0"/>
                  <a:pt x="9172" y="0"/>
                  <a:pt x="9949" y="0"/>
                </a:cubicBezTo>
                <a:cubicBezTo>
                  <a:pt x="12605" y="0"/>
                  <a:pt x="15326" y="0"/>
                  <a:pt x="17983" y="65"/>
                </a:cubicBezTo>
                <a:cubicBezTo>
                  <a:pt x="18760" y="65"/>
                  <a:pt x="19731" y="130"/>
                  <a:pt x="20185" y="777"/>
                </a:cubicBezTo>
                <a:close/>
              </a:path>
            </a:pathLst>
          </a:custGeom>
          <a:solidFill>
            <a:srgbClr val="666666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035BE77-20A3-43F9-A552-6A1822DB6C08}"/>
              </a:ext>
            </a:extLst>
          </p:cNvPr>
          <p:cNvSpPr/>
          <p:nvPr/>
        </p:nvSpPr>
        <p:spPr>
          <a:xfrm>
            <a:off x="10780128" y="4486532"/>
            <a:ext cx="25114" cy="36035"/>
          </a:xfrm>
          <a:custGeom>
            <a:avLst/>
            <a:gdLst>
              <a:gd name="connsiteX0" fmla="*/ 24942 w 25114"/>
              <a:gd name="connsiteY0" fmla="*/ 25871 h 36035"/>
              <a:gd name="connsiteX1" fmla="*/ 23323 w 25114"/>
              <a:gd name="connsiteY1" fmla="*/ 34423 h 36035"/>
              <a:gd name="connsiteX2" fmla="*/ 14771 w 25114"/>
              <a:gd name="connsiteY2" fmla="*/ 33775 h 36035"/>
              <a:gd name="connsiteX3" fmla="*/ 13281 w 25114"/>
              <a:gd name="connsiteY3" fmla="*/ 29694 h 36035"/>
              <a:gd name="connsiteX4" fmla="*/ 6997 w 25114"/>
              <a:gd name="connsiteY4" fmla="*/ 16866 h 36035"/>
              <a:gd name="connsiteX5" fmla="*/ 1943 w 25114"/>
              <a:gd name="connsiteY5" fmla="*/ 12331 h 36035"/>
              <a:gd name="connsiteX6" fmla="*/ 0 w 25114"/>
              <a:gd name="connsiteY6" fmla="*/ 2484 h 36035"/>
              <a:gd name="connsiteX7" fmla="*/ 6349 w 25114"/>
              <a:gd name="connsiteY7" fmla="*/ 22 h 36035"/>
              <a:gd name="connsiteX8" fmla="*/ 11920 w 25114"/>
              <a:gd name="connsiteY8" fmla="*/ 3132 h 36035"/>
              <a:gd name="connsiteX9" fmla="*/ 12568 w 25114"/>
              <a:gd name="connsiteY9" fmla="*/ 10712 h 36035"/>
              <a:gd name="connsiteX10" fmla="*/ 22156 w 25114"/>
              <a:gd name="connsiteY10" fmla="*/ 16089 h 36035"/>
              <a:gd name="connsiteX11" fmla="*/ 24942 w 25114"/>
              <a:gd name="connsiteY11" fmla="*/ 26001 h 36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114" h="36035">
                <a:moveTo>
                  <a:pt x="24942" y="25871"/>
                </a:moveTo>
                <a:cubicBezTo>
                  <a:pt x="25266" y="28851"/>
                  <a:pt x="25331" y="32220"/>
                  <a:pt x="23323" y="34423"/>
                </a:cubicBezTo>
                <a:cubicBezTo>
                  <a:pt x="21055" y="36820"/>
                  <a:pt x="16585" y="36496"/>
                  <a:pt x="14771" y="33775"/>
                </a:cubicBezTo>
                <a:cubicBezTo>
                  <a:pt x="13993" y="32544"/>
                  <a:pt x="13670" y="31119"/>
                  <a:pt x="13281" y="29694"/>
                </a:cubicBezTo>
                <a:cubicBezTo>
                  <a:pt x="12050" y="25029"/>
                  <a:pt x="9912" y="20624"/>
                  <a:pt x="6997" y="16866"/>
                </a:cubicBezTo>
                <a:cubicBezTo>
                  <a:pt x="4600" y="16931"/>
                  <a:pt x="2915" y="14534"/>
                  <a:pt x="1943" y="12331"/>
                </a:cubicBezTo>
                <a:cubicBezTo>
                  <a:pt x="648" y="9221"/>
                  <a:pt x="0" y="5853"/>
                  <a:pt x="0" y="2484"/>
                </a:cubicBezTo>
                <a:cubicBezTo>
                  <a:pt x="2008" y="1318"/>
                  <a:pt x="4082" y="216"/>
                  <a:pt x="6349" y="22"/>
                </a:cubicBezTo>
                <a:cubicBezTo>
                  <a:pt x="8616" y="-172"/>
                  <a:pt x="11208" y="929"/>
                  <a:pt x="11920" y="3132"/>
                </a:cubicBezTo>
                <a:cubicBezTo>
                  <a:pt x="12763" y="5593"/>
                  <a:pt x="11078" y="8574"/>
                  <a:pt x="12568" y="10712"/>
                </a:cubicBezTo>
                <a:cubicBezTo>
                  <a:pt x="16390" y="10841"/>
                  <a:pt x="20083" y="12914"/>
                  <a:pt x="22156" y="16089"/>
                </a:cubicBezTo>
                <a:cubicBezTo>
                  <a:pt x="24035" y="19004"/>
                  <a:pt x="24553" y="22503"/>
                  <a:pt x="24942" y="26001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1F774AB-9107-4855-ACF9-8A2192C38B16}"/>
              </a:ext>
            </a:extLst>
          </p:cNvPr>
          <p:cNvSpPr/>
          <p:nvPr/>
        </p:nvSpPr>
        <p:spPr>
          <a:xfrm>
            <a:off x="10932569" y="4592454"/>
            <a:ext cx="34756" cy="32766"/>
          </a:xfrm>
          <a:custGeom>
            <a:avLst/>
            <a:gdLst>
              <a:gd name="connsiteX0" fmla="*/ 18788 w 34756"/>
              <a:gd name="connsiteY0" fmla="*/ 21144 h 32766"/>
              <a:gd name="connsiteX1" fmla="*/ 9200 w 34756"/>
              <a:gd name="connsiteY1" fmla="*/ 21468 h 32766"/>
              <a:gd name="connsiteX2" fmla="*/ 1296 w 34756"/>
              <a:gd name="connsiteY2" fmla="*/ 16479 h 32766"/>
              <a:gd name="connsiteX3" fmla="*/ 0 w 34756"/>
              <a:gd name="connsiteY3" fmla="*/ 672 h 32766"/>
              <a:gd name="connsiteX4" fmla="*/ 8034 w 34756"/>
              <a:gd name="connsiteY4" fmla="*/ 1255 h 32766"/>
              <a:gd name="connsiteX5" fmla="*/ 14448 w 34756"/>
              <a:gd name="connsiteY5" fmla="*/ 6567 h 32766"/>
              <a:gd name="connsiteX6" fmla="*/ 18593 w 34756"/>
              <a:gd name="connsiteY6" fmla="*/ 9806 h 32766"/>
              <a:gd name="connsiteX7" fmla="*/ 26692 w 34756"/>
              <a:gd name="connsiteY7" fmla="*/ 10843 h 32766"/>
              <a:gd name="connsiteX8" fmla="*/ 34207 w 34756"/>
              <a:gd name="connsiteY8" fmla="*/ 19589 h 32766"/>
              <a:gd name="connsiteX9" fmla="*/ 34596 w 34756"/>
              <a:gd name="connsiteY9" fmla="*/ 26651 h 32766"/>
              <a:gd name="connsiteX10" fmla="*/ 30709 w 34756"/>
              <a:gd name="connsiteY10" fmla="*/ 32287 h 32766"/>
              <a:gd name="connsiteX11" fmla="*/ 22352 w 34756"/>
              <a:gd name="connsiteY11" fmla="*/ 29696 h 32766"/>
              <a:gd name="connsiteX12" fmla="*/ 18658 w 34756"/>
              <a:gd name="connsiteY12" fmla="*/ 21144 h 3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56" h="32766">
                <a:moveTo>
                  <a:pt x="18788" y="21144"/>
                </a:moveTo>
                <a:cubicBezTo>
                  <a:pt x="15614" y="21533"/>
                  <a:pt x="12374" y="21986"/>
                  <a:pt x="9200" y="21468"/>
                </a:cubicBezTo>
                <a:cubicBezTo>
                  <a:pt x="6025" y="20950"/>
                  <a:pt x="2916" y="19330"/>
                  <a:pt x="1296" y="16479"/>
                </a:cubicBezTo>
                <a:cubicBezTo>
                  <a:pt x="-1360" y="11815"/>
                  <a:pt x="1102" y="5919"/>
                  <a:pt x="0" y="672"/>
                </a:cubicBezTo>
                <a:cubicBezTo>
                  <a:pt x="2527" y="-494"/>
                  <a:pt x="5572" y="-41"/>
                  <a:pt x="8034" y="1255"/>
                </a:cubicBezTo>
                <a:cubicBezTo>
                  <a:pt x="10495" y="2550"/>
                  <a:pt x="12504" y="4559"/>
                  <a:pt x="14448" y="6567"/>
                </a:cubicBezTo>
                <a:cubicBezTo>
                  <a:pt x="14059" y="8511"/>
                  <a:pt x="16650" y="9547"/>
                  <a:pt x="18593" y="9806"/>
                </a:cubicBezTo>
                <a:cubicBezTo>
                  <a:pt x="21315" y="10131"/>
                  <a:pt x="24036" y="10519"/>
                  <a:pt x="26692" y="10843"/>
                </a:cubicBezTo>
                <a:cubicBezTo>
                  <a:pt x="27728" y="14665"/>
                  <a:pt x="30579" y="17970"/>
                  <a:pt x="34207" y="19589"/>
                </a:cubicBezTo>
                <a:cubicBezTo>
                  <a:pt x="34596" y="21921"/>
                  <a:pt x="34984" y="24319"/>
                  <a:pt x="34596" y="26651"/>
                </a:cubicBezTo>
                <a:cubicBezTo>
                  <a:pt x="34207" y="28983"/>
                  <a:pt x="32912" y="31315"/>
                  <a:pt x="30709" y="32287"/>
                </a:cubicBezTo>
                <a:cubicBezTo>
                  <a:pt x="27858" y="33583"/>
                  <a:pt x="24359" y="32093"/>
                  <a:pt x="22352" y="29696"/>
                </a:cubicBezTo>
                <a:cubicBezTo>
                  <a:pt x="20343" y="27299"/>
                  <a:pt x="19501" y="24189"/>
                  <a:pt x="18658" y="21144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76E5651-162E-477A-AF8A-187389CCDF83}"/>
              </a:ext>
            </a:extLst>
          </p:cNvPr>
          <p:cNvSpPr/>
          <p:nvPr/>
        </p:nvSpPr>
        <p:spPr>
          <a:xfrm>
            <a:off x="11009699" y="4666861"/>
            <a:ext cx="30058" cy="23973"/>
          </a:xfrm>
          <a:custGeom>
            <a:avLst/>
            <a:gdLst>
              <a:gd name="connsiteX0" fmla="*/ 13894 w 30058"/>
              <a:gd name="connsiteY0" fmla="*/ 834 h 23973"/>
              <a:gd name="connsiteX1" fmla="*/ 12080 w 30058"/>
              <a:gd name="connsiteY1" fmla="*/ 315 h 23973"/>
              <a:gd name="connsiteX2" fmla="*/ 2751 w 30058"/>
              <a:gd name="connsiteY2" fmla="*/ 1676 h 23973"/>
              <a:gd name="connsiteX3" fmla="*/ 30 w 30058"/>
              <a:gd name="connsiteY3" fmla="*/ 11394 h 23973"/>
              <a:gd name="connsiteX4" fmla="*/ 807 w 30058"/>
              <a:gd name="connsiteY4" fmla="*/ 15929 h 23973"/>
              <a:gd name="connsiteX5" fmla="*/ 6768 w 30058"/>
              <a:gd name="connsiteY5" fmla="*/ 20334 h 23973"/>
              <a:gd name="connsiteX6" fmla="*/ 16485 w 30058"/>
              <a:gd name="connsiteY6" fmla="*/ 23314 h 23973"/>
              <a:gd name="connsiteX7" fmla="*/ 26851 w 30058"/>
              <a:gd name="connsiteY7" fmla="*/ 22537 h 23973"/>
              <a:gd name="connsiteX8" fmla="*/ 30025 w 30058"/>
              <a:gd name="connsiteY8" fmla="*/ 15929 h 23973"/>
              <a:gd name="connsiteX9" fmla="*/ 25814 w 30058"/>
              <a:gd name="connsiteY9" fmla="*/ 9904 h 23973"/>
              <a:gd name="connsiteX10" fmla="*/ 15643 w 30058"/>
              <a:gd name="connsiteY10" fmla="*/ 8608 h 23973"/>
              <a:gd name="connsiteX11" fmla="*/ 13894 w 30058"/>
              <a:gd name="connsiteY11" fmla="*/ 898 h 23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0058" h="23973">
                <a:moveTo>
                  <a:pt x="13894" y="834"/>
                </a:moveTo>
                <a:cubicBezTo>
                  <a:pt x="13376" y="510"/>
                  <a:pt x="12727" y="445"/>
                  <a:pt x="12080" y="315"/>
                </a:cubicBezTo>
                <a:cubicBezTo>
                  <a:pt x="8840" y="-138"/>
                  <a:pt x="5213" y="-397"/>
                  <a:pt x="2751" y="1676"/>
                </a:cubicBezTo>
                <a:cubicBezTo>
                  <a:pt x="94" y="3943"/>
                  <a:pt x="-100" y="7895"/>
                  <a:pt x="30" y="11394"/>
                </a:cubicBezTo>
                <a:cubicBezTo>
                  <a:pt x="30" y="12949"/>
                  <a:pt x="94" y="14504"/>
                  <a:pt x="807" y="15929"/>
                </a:cubicBezTo>
                <a:cubicBezTo>
                  <a:pt x="1909" y="18196"/>
                  <a:pt x="4370" y="19427"/>
                  <a:pt x="6768" y="20334"/>
                </a:cubicBezTo>
                <a:cubicBezTo>
                  <a:pt x="9942" y="21565"/>
                  <a:pt x="13181" y="22537"/>
                  <a:pt x="16485" y="23314"/>
                </a:cubicBezTo>
                <a:cubicBezTo>
                  <a:pt x="19984" y="24092"/>
                  <a:pt x="23936" y="24545"/>
                  <a:pt x="26851" y="22537"/>
                </a:cubicBezTo>
                <a:cubicBezTo>
                  <a:pt x="28989" y="21111"/>
                  <a:pt x="30285" y="18455"/>
                  <a:pt x="30025" y="15929"/>
                </a:cubicBezTo>
                <a:cubicBezTo>
                  <a:pt x="29766" y="13402"/>
                  <a:pt x="28146" y="10940"/>
                  <a:pt x="25814" y="9904"/>
                </a:cubicBezTo>
                <a:cubicBezTo>
                  <a:pt x="22705" y="8479"/>
                  <a:pt x="19012" y="9321"/>
                  <a:pt x="15643" y="8608"/>
                </a:cubicBezTo>
                <a:cubicBezTo>
                  <a:pt x="14606" y="6082"/>
                  <a:pt x="16226" y="2324"/>
                  <a:pt x="13894" y="898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5B2AD90-821D-4F64-8F3E-5D4B2798BC2E}"/>
              </a:ext>
            </a:extLst>
          </p:cNvPr>
          <p:cNvSpPr/>
          <p:nvPr/>
        </p:nvSpPr>
        <p:spPr>
          <a:xfrm>
            <a:off x="8593762" y="1487601"/>
            <a:ext cx="45769" cy="20744"/>
          </a:xfrm>
          <a:custGeom>
            <a:avLst/>
            <a:gdLst>
              <a:gd name="connsiteX0" fmla="*/ 35546 w 45769"/>
              <a:gd name="connsiteY0" fmla="*/ 1771 h 20744"/>
              <a:gd name="connsiteX1" fmla="*/ 43190 w 45769"/>
              <a:gd name="connsiteY1" fmla="*/ 8833 h 20744"/>
              <a:gd name="connsiteX2" fmla="*/ 45458 w 45769"/>
              <a:gd name="connsiteY2" fmla="*/ 18680 h 20744"/>
              <a:gd name="connsiteX3" fmla="*/ 21099 w 45769"/>
              <a:gd name="connsiteY3" fmla="*/ 18550 h 20744"/>
              <a:gd name="connsiteX4" fmla="*/ 13648 w 45769"/>
              <a:gd name="connsiteY4" fmla="*/ 19069 h 20744"/>
              <a:gd name="connsiteX5" fmla="*/ 3024 w 45769"/>
              <a:gd name="connsiteY5" fmla="*/ 20105 h 20744"/>
              <a:gd name="connsiteX6" fmla="*/ 885 w 45769"/>
              <a:gd name="connsiteY6" fmla="*/ 12007 h 20744"/>
              <a:gd name="connsiteX7" fmla="*/ 27836 w 45769"/>
              <a:gd name="connsiteY7" fmla="*/ 994 h 20744"/>
              <a:gd name="connsiteX8" fmla="*/ 32436 w 45769"/>
              <a:gd name="connsiteY8" fmla="*/ 87 h 20744"/>
              <a:gd name="connsiteX9" fmla="*/ 35546 w 45769"/>
              <a:gd name="connsiteY9" fmla="*/ 1771 h 2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769" h="20744">
                <a:moveTo>
                  <a:pt x="35546" y="1771"/>
                </a:moveTo>
                <a:cubicBezTo>
                  <a:pt x="38331" y="3844"/>
                  <a:pt x="41182" y="5982"/>
                  <a:pt x="43190" y="8833"/>
                </a:cubicBezTo>
                <a:cubicBezTo>
                  <a:pt x="45199" y="11683"/>
                  <a:pt x="46365" y="15311"/>
                  <a:pt x="45458" y="18680"/>
                </a:cubicBezTo>
                <a:cubicBezTo>
                  <a:pt x="37360" y="18680"/>
                  <a:pt x="29197" y="18615"/>
                  <a:pt x="21099" y="18550"/>
                </a:cubicBezTo>
                <a:cubicBezTo>
                  <a:pt x="18637" y="18550"/>
                  <a:pt x="16110" y="18550"/>
                  <a:pt x="13648" y="19069"/>
                </a:cubicBezTo>
                <a:cubicBezTo>
                  <a:pt x="10085" y="19846"/>
                  <a:pt x="6327" y="21725"/>
                  <a:pt x="3024" y="20105"/>
                </a:cubicBezTo>
                <a:cubicBezTo>
                  <a:pt x="173" y="18745"/>
                  <a:pt x="-929" y="14599"/>
                  <a:pt x="885" y="12007"/>
                </a:cubicBezTo>
                <a:cubicBezTo>
                  <a:pt x="9891" y="8314"/>
                  <a:pt x="18831" y="4622"/>
                  <a:pt x="27836" y="994"/>
                </a:cubicBezTo>
                <a:cubicBezTo>
                  <a:pt x="29326" y="410"/>
                  <a:pt x="30881" y="-237"/>
                  <a:pt x="32436" y="87"/>
                </a:cubicBezTo>
                <a:cubicBezTo>
                  <a:pt x="33602" y="346"/>
                  <a:pt x="34574" y="1058"/>
                  <a:pt x="35546" y="1771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01F1BA2-8C11-46C4-814D-B065507A1004}"/>
              </a:ext>
            </a:extLst>
          </p:cNvPr>
          <p:cNvSpPr/>
          <p:nvPr/>
        </p:nvSpPr>
        <p:spPr>
          <a:xfrm>
            <a:off x="9772386" y="1868165"/>
            <a:ext cx="41082" cy="20448"/>
          </a:xfrm>
          <a:custGeom>
            <a:avLst/>
            <a:gdLst>
              <a:gd name="connsiteX0" fmla="*/ 40556 w 41082"/>
              <a:gd name="connsiteY0" fmla="*/ 4026 h 20448"/>
              <a:gd name="connsiteX1" fmla="*/ 38094 w 41082"/>
              <a:gd name="connsiteY1" fmla="*/ 12513 h 20448"/>
              <a:gd name="connsiteX2" fmla="*/ 40945 w 41082"/>
              <a:gd name="connsiteY2" fmla="*/ 12642 h 20448"/>
              <a:gd name="connsiteX3" fmla="*/ 37576 w 41082"/>
              <a:gd name="connsiteY3" fmla="*/ 17048 h 20448"/>
              <a:gd name="connsiteX4" fmla="*/ 4600 w 41082"/>
              <a:gd name="connsiteY4" fmla="*/ 19898 h 20448"/>
              <a:gd name="connsiteX5" fmla="*/ 1037 w 41082"/>
              <a:gd name="connsiteY5" fmla="*/ 18732 h 20448"/>
              <a:gd name="connsiteX6" fmla="*/ 130 w 41082"/>
              <a:gd name="connsiteY6" fmla="*/ 15363 h 20448"/>
              <a:gd name="connsiteX7" fmla="*/ 0 w 41082"/>
              <a:gd name="connsiteY7" fmla="*/ 11800 h 20448"/>
              <a:gd name="connsiteX8" fmla="*/ 259 w 41082"/>
              <a:gd name="connsiteY8" fmla="*/ 10699 h 20448"/>
              <a:gd name="connsiteX9" fmla="*/ 1102 w 41082"/>
              <a:gd name="connsiteY9" fmla="*/ 10245 h 20448"/>
              <a:gd name="connsiteX10" fmla="*/ 12245 w 41082"/>
              <a:gd name="connsiteY10" fmla="*/ 8172 h 20448"/>
              <a:gd name="connsiteX11" fmla="*/ 12569 w 41082"/>
              <a:gd name="connsiteY11" fmla="*/ 3054 h 20448"/>
              <a:gd name="connsiteX12" fmla="*/ 17298 w 41082"/>
              <a:gd name="connsiteY12" fmla="*/ 787 h 20448"/>
              <a:gd name="connsiteX13" fmla="*/ 22805 w 41082"/>
              <a:gd name="connsiteY13" fmla="*/ 1240 h 20448"/>
              <a:gd name="connsiteX14" fmla="*/ 32523 w 41082"/>
              <a:gd name="connsiteY14" fmla="*/ 9 h 20448"/>
              <a:gd name="connsiteX15" fmla="*/ 40621 w 41082"/>
              <a:gd name="connsiteY15" fmla="*/ 4220 h 20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082" h="20448">
                <a:moveTo>
                  <a:pt x="40556" y="4026"/>
                </a:moveTo>
                <a:cubicBezTo>
                  <a:pt x="41528" y="6941"/>
                  <a:pt x="39779" y="9986"/>
                  <a:pt x="38094" y="12513"/>
                </a:cubicBezTo>
                <a:cubicBezTo>
                  <a:pt x="39066" y="12513"/>
                  <a:pt x="39973" y="12578"/>
                  <a:pt x="40945" y="12642"/>
                </a:cubicBezTo>
                <a:cubicBezTo>
                  <a:pt x="41658" y="14586"/>
                  <a:pt x="39454" y="16270"/>
                  <a:pt x="37576" y="17048"/>
                </a:cubicBezTo>
                <a:cubicBezTo>
                  <a:pt x="27275" y="21259"/>
                  <a:pt x="15743" y="20676"/>
                  <a:pt x="4600" y="19898"/>
                </a:cubicBezTo>
                <a:cubicBezTo>
                  <a:pt x="3304" y="19834"/>
                  <a:pt x="1944" y="19639"/>
                  <a:pt x="1037" y="18732"/>
                </a:cubicBezTo>
                <a:cubicBezTo>
                  <a:pt x="259" y="17825"/>
                  <a:pt x="130" y="16530"/>
                  <a:pt x="130" y="15363"/>
                </a:cubicBezTo>
                <a:cubicBezTo>
                  <a:pt x="130" y="14197"/>
                  <a:pt x="65" y="12966"/>
                  <a:pt x="0" y="11800"/>
                </a:cubicBezTo>
                <a:cubicBezTo>
                  <a:pt x="0" y="11412"/>
                  <a:pt x="0" y="10958"/>
                  <a:pt x="259" y="10699"/>
                </a:cubicBezTo>
                <a:cubicBezTo>
                  <a:pt x="454" y="10440"/>
                  <a:pt x="777" y="10375"/>
                  <a:pt x="1102" y="10245"/>
                </a:cubicBezTo>
                <a:cubicBezTo>
                  <a:pt x="4729" y="9209"/>
                  <a:pt x="8487" y="8496"/>
                  <a:pt x="12245" y="8172"/>
                </a:cubicBezTo>
                <a:cubicBezTo>
                  <a:pt x="11920" y="6423"/>
                  <a:pt x="11662" y="4544"/>
                  <a:pt x="12569" y="3054"/>
                </a:cubicBezTo>
                <a:cubicBezTo>
                  <a:pt x="13475" y="1499"/>
                  <a:pt x="15484" y="787"/>
                  <a:pt x="17298" y="787"/>
                </a:cubicBezTo>
                <a:cubicBezTo>
                  <a:pt x="19111" y="787"/>
                  <a:pt x="20926" y="1175"/>
                  <a:pt x="22805" y="1240"/>
                </a:cubicBezTo>
                <a:cubicBezTo>
                  <a:pt x="26044" y="1305"/>
                  <a:pt x="29218" y="204"/>
                  <a:pt x="32523" y="9"/>
                </a:cubicBezTo>
                <a:cubicBezTo>
                  <a:pt x="35762" y="-120"/>
                  <a:pt x="39519" y="1111"/>
                  <a:pt x="40621" y="4220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D7E63A7-E70F-437E-91DD-3A4B1015DBCF}"/>
              </a:ext>
            </a:extLst>
          </p:cNvPr>
          <p:cNvSpPr/>
          <p:nvPr/>
        </p:nvSpPr>
        <p:spPr>
          <a:xfrm>
            <a:off x="4532581" y="1543274"/>
            <a:ext cx="34265" cy="31244"/>
          </a:xfrm>
          <a:custGeom>
            <a:avLst/>
            <a:gdLst>
              <a:gd name="connsiteX0" fmla="*/ 15226 w 34265"/>
              <a:gd name="connsiteY0" fmla="*/ 18853 h 31244"/>
              <a:gd name="connsiteX1" fmla="*/ 17623 w 34265"/>
              <a:gd name="connsiteY1" fmla="*/ 20408 h 31244"/>
              <a:gd name="connsiteX2" fmla="*/ 22288 w 34265"/>
              <a:gd name="connsiteY2" fmla="*/ 30838 h 31244"/>
              <a:gd name="connsiteX3" fmla="*/ 26693 w 34265"/>
              <a:gd name="connsiteY3" fmla="*/ 30968 h 31244"/>
              <a:gd name="connsiteX4" fmla="*/ 29479 w 34265"/>
              <a:gd name="connsiteY4" fmla="*/ 29607 h 31244"/>
              <a:gd name="connsiteX5" fmla="*/ 30062 w 34265"/>
              <a:gd name="connsiteY5" fmla="*/ 26692 h 31244"/>
              <a:gd name="connsiteX6" fmla="*/ 33366 w 34265"/>
              <a:gd name="connsiteY6" fmla="*/ 21833 h 31244"/>
              <a:gd name="connsiteX7" fmla="*/ 33561 w 34265"/>
              <a:gd name="connsiteY7" fmla="*/ 14836 h 31244"/>
              <a:gd name="connsiteX8" fmla="*/ 29609 w 34265"/>
              <a:gd name="connsiteY8" fmla="*/ 8811 h 31244"/>
              <a:gd name="connsiteX9" fmla="*/ 25203 w 34265"/>
              <a:gd name="connsiteY9" fmla="*/ 3304 h 31244"/>
              <a:gd name="connsiteX10" fmla="*/ 23908 w 34265"/>
              <a:gd name="connsiteY10" fmla="*/ 2073 h 31244"/>
              <a:gd name="connsiteX11" fmla="*/ 21770 w 34265"/>
              <a:gd name="connsiteY11" fmla="*/ 1490 h 31244"/>
              <a:gd name="connsiteX12" fmla="*/ 3630 w 34265"/>
              <a:gd name="connsiteY12" fmla="*/ 0 h 31244"/>
              <a:gd name="connsiteX13" fmla="*/ 1427 w 34265"/>
              <a:gd name="connsiteY13" fmla="*/ 453 h 31244"/>
              <a:gd name="connsiteX14" fmla="*/ 714 w 34265"/>
              <a:gd name="connsiteY14" fmla="*/ 1425 h 31244"/>
              <a:gd name="connsiteX15" fmla="*/ 4083 w 34265"/>
              <a:gd name="connsiteY15" fmla="*/ 12828 h 31244"/>
              <a:gd name="connsiteX16" fmla="*/ 15291 w 34265"/>
              <a:gd name="connsiteY16" fmla="*/ 18853 h 31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265" h="31244">
                <a:moveTo>
                  <a:pt x="15226" y="18853"/>
                </a:moveTo>
                <a:cubicBezTo>
                  <a:pt x="16068" y="19241"/>
                  <a:pt x="16911" y="19695"/>
                  <a:pt x="17623" y="20408"/>
                </a:cubicBezTo>
                <a:cubicBezTo>
                  <a:pt x="20344" y="23258"/>
                  <a:pt x="18789" y="29089"/>
                  <a:pt x="22288" y="30838"/>
                </a:cubicBezTo>
                <a:cubicBezTo>
                  <a:pt x="23648" y="31486"/>
                  <a:pt x="25203" y="31227"/>
                  <a:pt x="26693" y="30968"/>
                </a:cubicBezTo>
                <a:cubicBezTo>
                  <a:pt x="27730" y="30773"/>
                  <a:pt x="28896" y="30514"/>
                  <a:pt x="29479" y="29607"/>
                </a:cubicBezTo>
                <a:cubicBezTo>
                  <a:pt x="29997" y="28765"/>
                  <a:pt x="29868" y="27664"/>
                  <a:pt x="30062" y="26692"/>
                </a:cubicBezTo>
                <a:cubicBezTo>
                  <a:pt x="30516" y="24748"/>
                  <a:pt x="32395" y="23517"/>
                  <a:pt x="33366" y="21833"/>
                </a:cubicBezTo>
                <a:cubicBezTo>
                  <a:pt x="34597" y="19760"/>
                  <a:pt x="34467" y="17103"/>
                  <a:pt x="33561" y="14836"/>
                </a:cubicBezTo>
                <a:cubicBezTo>
                  <a:pt x="32654" y="12568"/>
                  <a:pt x="31099" y="10690"/>
                  <a:pt x="29609" y="8811"/>
                </a:cubicBezTo>
                <a:cubicBezTo>
                  <a:pt x="28119" y="6997"/>
                  <a:pt x="26628" y="5183"/>
                  <a:pt x="25203" y="3304"/>
                </a:cubicBezTo>
                <a:cubicBezTo>
                  <a:pt x="24814" y="2851"/>
                  <a:pt x="24426" y="2332"/>
                  <a:pt x="23908" y="2073"/>
                </a:cubicBezTo>
                <a:cubicBezTo>
                  <a:pt x="23260" y="1684"/>
                  <a:pt x="22547" y="1555"/>
                  <a:pt x="21770" y="1490"/>
                </a:cubicBezTo>
                <a:cubicBezTo>
                  <a:pt x="15745" y="648"/>
                  <a:pt x="9655" y="130"/>
                  <a:pt x="3630" y="0"/>
                </a:cubicBezTo>
                <a:cubicBezTo>
                  <a:pt x="2852" y="0"/>
                  <a:pt x="2010" y="0"/>
                  <a:pt x="1427" y="453"/>
                </a:cubicBezTo>
                <a:cubicBezTo>
                  <a:pt x="1103" y="713"/>
                  <a:pt x="844" y="1101"/>
                  <a:pt x="714" y="1425"/>
                </a:cubicBezTo>
                <a:cubicBezTo>
                  <a:pt x="-1165" y="5248"/>
                  <a:pt x="909" y="9977"/>
                  <a:pt x="4083" y="12828"/>
                </a:cubicBezTo>
                <a:cubicBezTo>
                  <a:pt x="7258" y="15678"/>
                  <a:pt x="11404" y="17039"/>
                  <a:pt x="15291" y="18853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9CC4422-B510-42DF-9544-E99869B1667A}"/>
              </a:ext>
            </a:extLst>
          </p:cNvPr>
          <p:cNvSpPr/>
          <p:nvPr/>
        </p:nvSpPr>
        <p:spPr>
          <a:xfrm>
            <a:off x="4416614" y="1815640"/>
            <a:ext cx="26499" cy="18760"/>
          </a:xfrm>
          <a:custGeom>
            <a:avLst/>
            <a:gdLst>
              <a:gd name="connsiteX0" fmla="*/ 24556 w 26499"/>
              <a:gd name="connsiteY0" fmla="*/ 18586 h 18760"/>
              <a:gd name="connsiteX1" fmla="*/ 25982 w 26499"/>
              <a:gd name="connsiteY1" fmla="*/ 18133 h 18760"/>
              <a:gd name="connsiteX2" fmla="*/ 26500 w 26499"/>
              <a:gd name="connsiteY2" fmla="*/ 16254 h 18760"/>
              <a:gd name="connsiteX3" fmla="*/ 26500 w 26499"/>
              <a:gd name="connsiteY3" fmla="*/ 770 h 18760"/>
              <a:gd name="connsiteX4" fmla="*/ 14385 w 26499"/>
              <a:gd name="connsiteY4" fmla="*/ 122 h 18760"/>
              <a:gd name="connsiteX5" fmla="*/ 7194 w 26499"/>
              <a:gd name="connsiteY5" fmla="*/ 317 h 18760"/>
              <a:gd name="connsiteX6" fmla="*/ 197 w 26499"/>
              <a:gd name="connsiteY6" fmla="*/ 5823 h 18760"/>
              <a:gd name="connsiteX7" fmla="*/ 3372 w 26499"/>
              <a:gd name="connsiteY7" fmla="*/ 13986 h 18760"/>
              <a:gd name="connsiteX8" fmla="*/ 24621 w 26499"/>
              <a:gd name="connsiteY8" fmla="*/ 18521 h 18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99" h="18760">
                <a:moveTo>
                  <a:pt x="24556" y="18586"/>
                </a:moveTo>
                <a:cubicBezTo>
                  <a:pt x="25075" y="18586"/>
                  <a:pt x="25593" y="18521"/>
                  <a:pt x="25982" y="18133"/>
                </a:cubicBezTo>
                <a:cubicBezTo>
                  <a:pt x="26500" y="17679"/>
                  <a:pt x="26500" y="16902"/>
                  <a:pt x="26500" y="16254"/>
                </a:cubicBezTo>
                <a:lnTo>
                  <a:pt x="26500" y="770"/>
                </a:lnTo>
                <a:cubicBezTo>
                  <a:pt x="22418" y="576"/>
                  <a:pt x="18402" y="317"/>
                  <a:pt x="14385" y="122"/>
                </a:cubicBezTo>
                <a:cubicBezTo>
                  <a:pt x="11988" y="-7"/>
                  <a:pt x="9591" y="-137"/>
                  <a:pt x="7194" y="317"/>
                </a:cubicBezTo>
                <a:cubicBezTo>
                  <a:pt x="4084" y="900"/>
                  <a:pt x="974" y="2778"/>
                  <a:pt x="197" y="5823"/>
                </a:cubicBezTo>
                <a:cubicBezTo>
                  <a:pt x="-580" y="8803"/>
                  <a:pt x="1039" y="11913"/>
                  <a:pt x="3372" y="13986"/>
                </a:cubicBezTo>
                <a:cubicBezTo>
                  <a:pt x="8878" y="18975"/>
                  <a:pt x="17171" y="19104"/>
                  <a:pt x="24621" y="18521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3F28F81-8A20-419F-8038-3930F1BB77DB}"/>
              </a:ext>
            </a:extLst>
          </p:cNvPr>
          <p:cNvSpPr/>
          <p:nvPr/>
        </p:nvSpPr>
        <p:spPr>
          <a:xfrm>
            <a:off x="4315002" y="2143055"/>
            <a:ext cx="79135" cy="41011"/>
          </a:xfrm>
          <a:custGeom>
            <a:avLst/>
            <a:gdLst>
              <a:gd name="connsiteX0" fmla="*/ 73303 w 79135"/>
              <a:gd name="connsiteY0" fmla="*/ 523 h 41011"/>
              <a:gd name="connsiteX1" fmla="*/ 68185 w 79135"/>
              <a:gd name="connsiteY1" fmla="*/ 70 h 41011"/>
              <a:gd name="connsiteX2" fmla="*/ 50757 w 79135"/>
              <a:gd name="connsiteY2" fmla="*/ 5771 h 41011"/>
              <a:gd name="connsiteX3" fmla="*/ 33654 w 79135"/>
              <a:gd name="connsiteY3" fmla="*/ 15294 h 41011"/>
              <a:gd name="connsiteX4" fmla="*/ 13441 w 79135"/>
              <a:gd name="connsiteY4" fmla="*/ 17108 h 41011"/>
              <a:gd name="connsiteX5" fmla="*/ 7934 w 79135"/>
              <a:gd name="connsiteY5" fmla="*/ 24559 h 41011"/>
              <a:gd name="connsiteX6" fmla="*/ 548 w 79135"/>
              <a:gd name="connsiteY6" fmla="*/ 29547 h 41011"/>
              <a:gd name="connsiteX7" fmla="*/ 5407 w 79135"/>
              <a:gd name="connsiteY7" fmla="*/ 40107 h 41011"/>
              <a:gd name="connsiteX8" fmla="*/ 17846 w 79135"/>
              <a:gd name="connsiteY8" fmla="*/ 39006 h 41011"/>
              <a:gd name="connsiteX9" fmla="*/ 33135 w 79135"/>
              <a:gd name="connsiteY9" fmla="*/ 31296 h 41011"/>
              <a:gd name="connsiteX10" fmla="*/ 41039 w 79135"/>
              <a:gd name="connsiteY10" fmla="*/ 31296 h 41011"/>
              <a:gd name="connsiteX11" fmla="*/ 52377 w 79135"/>
              <a:gd name="connsiteY11" fmla="*/ 23004 h 41011"/>
              <a:gd name="connsiteX12" fmla="*/ 74598 w 79135"/>
              <a:gd name="connsiteY12" fmla="*/ 19182 h 41011"/>
              <a:gd name="connsiteX13" fmla="*/ 77838 w 79135"/>
              <a:gd name="connsiteY13" fmla="*/ 19182 h 41011"/>
              <a:gd name="connsiteX14" fmla="*/ 78615 w 79135"/>
              <a:gd name="connsiteY14" fmla="*/ 17173 h 41011"/>
              <a:gd name="connsiteX15" fmla="*/ 78809 w 79135"/>
              <a:gd name="connsiteY15" fmla="*/ 7714 h 41011"/>
              <a:gd name="connsiteX16" fmla="*/ 73303 w 79135"/>
              <a:gd name="connsiteY16" fmla="*/ 458 h 4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135" h="41011">
                <a:moveTo>
                  <a:pt x="73303" y="523"/>
                </a:moveTo>
                <a:cubicBezTo>
                  <a:pt x="71683" y="-60"/>
                  <a:pt x="69934" y="-60"/>
                  <a:pt x="68185" y="70"/>
                </a:cubicBezTo>
                <a:cubicBezTo>
                  <a:pt x="62030" y="523"/>
                  <a:pt x="56005" y="2532"/>
                  <a:pt x="50757" y="5771"/>
                </a:cubicBezTo>
                <a:cubicBezTo>
                  <a:pt x="45186" y="9205"/>
                  <a:pt x="40132" y="14258"/>
                  <a:pt x="33654" y="15294"/>
                </a:cubicBezTo>
                <a:cubicBezTo>
                  <a:pt x="26851" y="16396"/>
                  <a:pt x="19012" y="13027"/>
                  <a:pt x="13441" y="17108"/>
                </a:cubicBezTo>
                <a:cubicBezTo>
                  <a:pt x="10914" y="18987"/>
                  <a:pt x="9618" y="21967"/>
                  <a:pt x="7934" y="24559"/>
                </a:cubicBezTo>
                <a:cubicBezTo>
                  <a:pt x="6249" y="27150"/>
                  <a:pt x="3658" y="29677"/>
                  <a:pt x="548" y="29547"/>
                </a:cubicBezTo>
                <a:cubicBezTo>
                  <a:pt x="-1201" y="33499"/>
                  <a:pt x="1455" y="38358"/>
                  <a:pt x="5407" y="40107"/>
                </a:cubicBezTo>
                <a:cubicBezTo>
                  <a:pt x="9359" y="41792"/>
                  <a:pt x="14024" y="40950"/>
                  <a:pt x="17846" y="39006"/>
                </a:cubicBezTo>
                <a:cubicBezTo>
                  <a:pt x="22964" y="36415"/>
                  <a:pt x="27434" y="32009"/>
                  <a:pt x="33135" y="31296"/>
                </a:cubicBezTo>
                <a:cubicBezTo>
                  <a:pt x="35727" y="30972"/>
                  <a:pt x="38383" y="31491"/>
                  <a:pt x="41039" y="31296"/>
                </a:cubicBezTo>
                <a:cubicBezTo>
                  <a:pt x="45963" y="30843"/>
                  <a:pt x="50433" y="27539"/>
                  <a:pt x="52377" y="23004"/>
                </a:cubicBezTo>
                <a:cubicBezTo>
                  <a:pt x="59438" y="19894"/>
                  <a:pt x="67278" y="16784"/>
                  <a:pt x="74598" y="19182"/>
                </a:cubicBezTo>
                <a:cubicBezTo>
                  <a:pt x="75700" y="19505"/>
                  <a:pt x="76931" y="19959"/>
                  <a:pt x="77838" y="19182"/>
                </a:cubicBezTo>
                <a:cubicBezTo>
                  <a:pt x="78421" y="18728"/>
                  <a:pt x="78550" y="17886"/>
                  <a:pt x="78615" y="17173"/>
                </a:cubicBezTo>
                <a:cubicBezTo>
                  <a:pt x="79004" y="14063"/>
                  <a:pt x="79457" y="10824"/>
                  <a:pt x="78809" y="7714"/>
                </a:cubicBezTo>
                <a:cubicBezTo>
                  <a:pt x="78161" y="4605"/>
                  <a:pt x="76283" y="1560"/>
                  <a:pt x="73303" y="458"/>
                </a:cubicBezTo>
                <a:close/>
              </a:path>
            </a:pathLst>
          </a:custGeom>
          <a:solidFill>
            <a:srgbClr val="DDDDDD"/>
          </a:solidFill>
          <a:ln w="647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grpSp>
        <p:nvGrpSpPr>
          <p:cNvPr id="17" name="Graphic 413">
            <a:extLst>
              <a:ext uri="{FF2B5EF4-FFF2-40B4-BE49-F238E27FC236}">
                <a16:creationId xmlns:a16="http://schemas.microsoft.com/office/drawing/2014/main" id="{A1E3875F-22C6-438D-9E2F-3993CC3A1DF0}"/>
              </a:ext>
            </a:extLst>
          </p:cNvPr>
          <p:cNvGrpSpPr/>
          <p:nvPr/>
        </p:nvGrpSpPr>
        <p:grpSpPr>
          <a:xfrm>
            <a:off x="2840632" y="1314629"/>
            <a:ext cx="8924199" cy="4743195"/>
            <a:chOff x="2840632" y="1314629"/>
            <a:chExt cx="8924199" cy="4743195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25A8235-B61C-4FB4-B5B7-1D2EE2BE5EA7}"/>
                </a:ext>
              </a:extLst>
            </p:cNvPr>
            <p:cNvSpPr/>
            <p:nvPr/>
          </p:nvSpPr>
          <p:spPr>
            <a:xfrm>
              <a:off x="7469773" y="2614642"/>
              <a:ext cx="27928" cy="35464"/>
            </a:xfrm>
            <a:custGeom>
              <a:avLst/>
              <a:gdLst>
                <a:gd name="connsiteX0" fmla="*/ 906 w 27928"/>
                <a:gd name="connsiteY0" fmla="*/ 34265 h 35464"/>
                <a:gd name="connsiteX1" fmla="*/ 1230 w 27928"/>
                <a:gd name="connsiteY1" fmla="*/ 28304 h 35464"/>
                <a:gd name="connsiteX2" fmla="*/ 5959 w 27928"/>
                <a:gd name="connsiteY2" fmla="*/ 23834 h 35464"/>
                <a:gd name="connsiteX3" fmla="*/ 8097 w 27928"/>
                <a:gd name="connsiteY3" fmla="*/ 18004 h 35464"/>
                <a:gd name="connsiteX4" fmla="*/ 6996 w 27928"/>
                <a:gd name="connsiteY4" fmla="*/ 15542 h 35464"/>
                <a:gd name="connsiteX5" fmla="*/ 8551 w 27928"/>
                <a:gd name="connsiteY5" fmla="*/ 11071 h 35464"/>
                <a:gd name="connsiteX6" fmla="*/ 14770 w 27928"/>
                <a:gd name="connsiteY6" fmla="*/ 9063 h 35464"/>
                <a:gd name="connsiteX7" fmla="*/ 16390 w 27928"/>
                <a:gd name="connsiteY7" fmla="*/ 3491 h 35464"/>
                <a:gd name="connsiteX8" fmla="*/ 23257 w 27928"/>
                <a:gd name="connsiteY8" fmla="*/ 123 h 35464"/>
                <a:gd name="connsiteX9" fmla="*/ 25071 w 27928"/>
                <a:gd name="connsiteY9" fmla="*/ 123 h 35464"/>
                <a:gd name="connsiteX10" fmla="*/ 27209 w 27928"/>
                <a:gd name="connsiteY10" fmla="*/ 3556 h 35464"/>
                <a:gd name="connsiteX11" fmla="*/ 27857 w 27928"/>
                <a:gd name="connsiteY11" fmla="*/ 14376 h 35464"/>
                <a:gd name="connsiteX12" fmla="*/ 21508 w 27928"/>
                <a:gd name="connsiteY12" fmla="*/ 16449 h 35464"/>
                <a:gd name="connsiteX13" fmla="*/ 20083 w 27928"/>
                <a:gd name="connsiteY13" fmla="*/ 17097 h 35464"/>
                <a:gd name="connsiteX14" fmla="*/ 19435 w 27928"/>
                <a:gd name="connsiteY14" fmla="*/ 21372 h 35464"/>
                <a:gd name="connsiteX15" fmla="*/ 19305 w 27928"/>
                <a:gd name="connsiteY15" fmla="*/ 27851 h 35464"/>
                <a:gd name="connsiteX16" fmla="*/ 14252 w 27928"/>
                <a:gd name="connsiteY16" fmla="*/ 33099 h 35464"/>
                <a:gd name="connsiteX17" fmla="*/ 7061 w 27928"/>
                <a:gd name="connsiteY17" fmla="*/ 35172 h 35464"/>
                <a:gd name="connsiteX18" fmla="*/ 841 w 27928"/>
                <a:gd name="connsiteY18" fmla="*/ 34200 h 3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928" h="35464">
                  <a:moveTo>
                    <a:pt x="906" y="34265"/>
                  </a:moveTo>
                  <a:cubicBezTo>
                    <a:pt x="-584" y="32645"/>
                    <a:pt x="-66" y="30054"/>
                    <a:pt x="1230" y="28304"/>
                  </a:cubicBezTo>
                  <a:cubicBezTo>
                    <a:pt x="2526" y="26555"/>
                    <a:pt x="4405" y="25389"/>
                    <a:pt x="5959" y="23834"/>
                  </a:cubicBezTo>
                  <a:cubicBezTo>
                    <a:pt x="7514" y="22279"/>
                    <a:pt x="8680" y="20077"/>
                    <a:pt x="8097" y="18004"/>
                  </a:cubicBezTo>
                  <a:cubicBezTo>
                    <a:pt x="7838" y="17161"/>
                    <a:pt x="7255" y="16384"/>
                    <a:pt x="6996" y="15542"/>
                  </a:cubicBezTo>
                  <a:cubicBezTo>
                    <a:pt x="6478" y="13922"/>
                    <a:pt x="7125" y="11978"/>
                    <a:pt x="8551" y="11071"/>
                  </a:cubicBezTo>
                  <a:cubicBezTo>
                    <a:pt x="10365" y="9776"/>
                    <a:pt x="12891" y="10164"/>
                    <a:pt x="14770" y="9063"/>
                  </a:cubicBezTo>
                  <a:cubicBezTo>
                    <a:pt x="16584" y="7962"/>
                    <a:pt x="17362" y="5370"/>
                    <a:pt x="16390" y="3491"/>
                  </a:cubicBezTo>
                  <a:cubicBezTo>
                    <a:pt x="17750" y="1224"/>
                    <a:pt x="20666" y="576"/>
                    <a:pt x="23257" y="123"/>
                  </a:cubicBezTo>
                  <a:cubicBezTo>
                    <a:pt x="23840" y="-7"/>
                    <a:pt x="24488" y="-72"/>
                    <a:pt x="25071" y="123"/>
                  </a:cubicBezTo>
                  <a:cubicBezTo>
                    <a:pt x="26432" y="511"/>
                    <a:pt x="26950" y="2196"/>
                    <a:pt x="27209" y="3556"/>
                  </a:cubicBezTo>
                  <a:cubicBezTo>
                    <a:pt x="27857" y="7119"/>
                    <a:pt x="28051" y="10748"/>
                    <a:pt x="27857" y="14376"/>
                  </a:cubicBezTo>
                  <a:lnTo>
                    <a:pt x="21508" y="16449"/>
                  </a:lnTo>
                  <a:cubicBezTo>
                    <a:pt x="20990" y="16643"/>
                    <a:pt x="20471" y="16773"/>
                    <a:pt x="20083" y="17097"/>
                  </a:cubicBezTo>
                  <a:cubicBezTo>
                    <a:pt x="18916" y="18068"/>
                    <a:pt x="19176" y="19882"/>
                    <a:pt x="19435" y="21372"/>
                  </a:cubicBezTo>
                  <a:cubicBezTo>
                    <a:pt x="19824" y="23510"/>
                    <a:pt x="20018" y="25778"/>
                    <a:pt x="19305" y="27851"/>
                  </a:cubicBezTo>
                  <a:cubicBezTo>
                    <a:pt x="18463" y="30183"/>
                    <a:pt x="16455" y="31997"/>
                    <a:pt x="14252" y="33099"/>
                  </a:cubicBezTo>
                  <a:cubicBezTo>
                    <a:pt x="11984" y="34200"/>
                    <a:pt x="9522" y="34718"/>
                    <a:pt x="7061" y="35172"/>
                  </a:cubicBezTo>
                  <a:cubicBezTo>
                    <a:pt x="4923" y="35560"/>
                    <a:pt x="2331" y="35820"/>
                    <a:pt x="841" y="34200"/>
                  </a:cubicBezTo>
                  <a:close/>
                </a:path>
              </a:pathLst>
            </a:custGeom>
            <a:solidFill>
              <a:srgbClr val="DDDDDD"/>
            </a:solidFill>
            <a:ln w="64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24DB6C8-5C91-4596-BD2D-E32EC815467E}"/>
                </a:ext>
              </a:extLst>
            </p:cNvPr>
            <p:cNvSpPr/>
            <p:nvPr/>
          </p:nvSpPr>
          <p:spPr>
            <a:xfrm>
              <a:off x="7310837" y="2693850"/>
              <a:ext cx="27256" cy="46805"/>
            </a:xfrm>
            <a:custGeom>
              <a:avLst/>
              <a:gdLst>
                <a:gd name="connsiteX0" fmla="*/ 3191 w 27256"/>
                <a:gd name="connsiteY0" fmla="*/ 23471 h 46805"/>
                <a:gd name="connsiteX1" fmla="*/ 1701 w 27256"/>
                <a:gd name="connsiteY1" fmla="*/ 9866 h 46805"/>
                <a:gd name="connsiteX2" fmla="*/ 6106 w 27256"/>
                <a:gd name="connsiteY2" fmla="*/ 1897 h 46805"/>
                <a:gd name="connsiteX3" fmla="*/ 12973 w 27256"/>
                <a:gd name="connsiteY3" fmla="*/ 2092 h 46805"/>
                <a:gd name="connsiteX4" fmla="*/ 22562 w 27256"/>
                <a:gd name="connsiteY4" fmla="*/ 148 h 46805"/>
                <a:gd name="connsiteX5" fmla="*/ 26384 w 27256"/>
                <a:gd name="connsiteY5" fmla="*/ 15114 h 46805"/>
                <a:gd name="connsiteX6" fmla="*/ 27226 w 27256"/>
                <a:gd name="connsiteY6" fmla="*/ 19584 h 46805"/>
                <a:gd name="connsiteX7" fmla="*/ 25930 w 27256"/>
                <a:gd name="connsiteY7" fmla="*/ 27617 h 46805"/>
                <a:gd name="connsiteX8" fmla="*/ 23922 w 27256"/>
                <a:gd name="connsiteY8" fmla="*/ 34808 h 46805"/>
                <a:gd name="connsiteX9" fmla="*/ 18869 w 27256"/>
                <a:gd name="connsiteY9" fmla="*/ 44397 h 46805"/>
                <a:gd name="connsiteX10" fmla="*/ 7920 w 27256"/>
                <a:gd name="connsiteY10" fmla="*/ 46794 h 46805"/>
                <a:gd name="connsiteX11" fmla="*/ 405 w 27256"/>
                <a:gd name="connsiteY11" fmla="*/ 46794 h 46805"/>
                <a:gd name="connsiteX12" fmla="*/ 16 w 27256"/>
                <a:gd name="connsiteY12" fmla="*/ 39020 h 46805"/>
                <a:gd name="connsiteX13" fmla="*/ 275 w 27256"/>
                <a:gd name="connsiteY13" fmla="*/ 37724 h 46805"/>
                <a:gd name="connsiteX14" fmla="*/ 2219 w 27256"/>
                <a:gd name="connsiteY14" fmla="*/ 36817 h 46805"/>
                <a:gd name="connsiteX15" fmla="*/ 9864 w 27256"/>
                <a:gd name="connsiteY15" fmla="*/ 35651 h 46805"/>
                <a:gd name="connsiteX16" fmla="*/ 11030 w 27256"/>
                <a:gd name="connsiteY16" fmla="*/ 31504 h 46805"/>
                <a:gd name="connsiteX17" fmla="*/ 10641 w 27256"/>
                <a:gd name="connsiteY17" fmla="*/ 27423 h 46805"/>
                <a:gd name="connsiteX18" fmla="*/ 7726 w 27256"/>
                <a:gd name="connsiteY18" fmla="*/ 24831 h 46805"/>
                <a:gd name="connsiteX19" fmla="*/ 4551 w 27256"/>
                <a:gd name="connsiteY19" fmla="*/ 24831 h 46805"/>
                <a:gd name="connsiteX20" fmla="*/ 3191 w 27256"/>
                <a:gd name="connsiteY20" fmla="*/ 23536 h 4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256" h="46805">
                  <a:moveTo>
                    <a:pt x="3191" y="23471"/>
                  </a:moveTo>
                  <a:cubicBezTo>
                    <a:pt x="664" y="19519"/>
                    <a:pt x="1118" y="14466"/>
                    <a:pt x="1701" y="9866"/>
                  </a:cubicBezTo>
                  <a:cubicBezTo>
                    <a:pt x="2154" y="6691"/>
                    <a:pt x="3061" y="2934"/>
                    <a:pt x="6106" y="1897"/>
                  </a:cubicBezTo>
                  <a:cubicBezTo>
                    <a:pt x="8309" y="1120"/>
                    <a:pt x="10706" y="2221"/>
                    <a:pt x="12973" y="2092"/>
                  </a:cubicBezTo>
                  <a:cubicBezTo>
                    <a:pt x="16277" y="1897"/>
                    <a:pt x="19322" y="-629"/>
                    <a:pt x="22562" y="148"/>
                  </a:cubicBezTo>
                  <a:cubicBezTo>
                    <a:pt x="23857" y="5137"/>
                    <a:pt x="25088" y="10125"/>
                    <a:pt x="26384" y="15114"/>
                  </a:cubicBezTo>
                  <a:cubicBezTo>
                    <a:pt x="26773" y="16604"/>
                    <a:pt x="27161" y="18094"/>
                    <a:pt x="27226" y="19584"/>
                  </a:cubicBezTo>
                  <a:cubicBezTo>
                    <a:pt x="27421" y="22305"/>
                    <a:pt x="26643" y="24961"/>
                    <a:pt x="25930" y="27617"/>
                  </a:cubicBezTo>
                  <a:lnTo>
                    <a:pt x="23922" y="34808"/>
                  </a:lnTo>
                  <a:cubicBezTo>
                    <a:pt x="22950" y="38372"/>
                    <a:pt x="21784" y="42194"/>
                    <a:pt x="18869" y="44397"/>
                  </a:cubicBezTo>
                  <a:cubicBezTo>
                    <a:pt x="15824" y="46729"/>
                    <a:pt x="11742" y="46859"/>
                    <a:pt x="7920" y="46794"/>
                  </a:cubicBezTo>
                  <a:lnTo>
                    <a:pt x="405" y="46794"/>
                  </a:lnTo>
                  <a:cubicBezTo>
                    <a:pt x="81" y="44202"/>
                    <a:pt x="-48" y="41611"/>
                    <a:pt x="16" y="39020"/>
                  </a:cubicBezTo>
                  <a:cubicBezTo>
                    <a:pt x="16" y="38566"/>
                    <a:pt x="16" y="38113"/>
                    <a:pt x="275" y="37724"/>
                  </a:cubicBezTo>
                  <a:cubicBezTo>
                    <a:pt x="664" y="37076"/>
                    <a:pt x="1506" y="36882"/>
                    <a:pt x="2219" y="36817"/>
                  </a:cubicBezTo>
                  <a:cubicBezTo>
                    <a:pt x="4875" y="36687"/>
                    <a:pt x="8050" y="37659"/>
                    <a:pt x="9864" y="35651"/>
                  </a:cubicBezTo>
                  <a:cubicBezTo>
                    <a:pt x="10836" y="34549"/>
                    <a:pt x="10965" y="32930"/>
                    <a:pt x="11030" y="31504"/>
                  </a:cubicBezTo>
                  <a:cubicBezTo>
                    <a:pt x="11030" y="30144"/>
                    <a:pt x="11095" y="28719"/>
                    <a:pt x="10641" y="27423"/>
                  </a:cubicBezTo>
                  <a:cubicBezTo>
                    <a:pt x="10187" y="26127"/>
                    <a:pt x="9086" y="24961"/>
                    <a:pt x="7726" y="24831"/>
                  </a:cubicBezTo>
                  <a:cubicBezTo>
                    <a:pt x="6624" y="24702"/>
                    <a:pt x="5523" y="25220"/>
                    <a:pt x="4551" y="24831"/>
                  </a:cubicBezTo>
                  <a:cubicBezTo>
                    <a:pt x="3968" y="24572"/>
                    <a:pt x="3580" y="24054"/>
                    <a:pt x="3191" y="23536"/>
                  </a:cubicBezTo>
                  <a:close/>
                </a:path>
              </a:pathLst>
            </a:custGeom>
            <a:solidFill>
              <a:srgbClr val="666666"/>
            </a:solidFill>
            <a:ln w="64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20" name="Graphic 413">
              <a:extLst>
                <a:ext uri="{FF2B5EF4-FFF2-40B4-BE49-F238E27FC236}">
                  <a16:creationId xmlns:a16="http://schemas.microsoft.com/office/drawing/2014/main" id="{F6A1595E-5D97-40E2-AC30-3CB43EC2A039}"/>
                </a:ext>
              </a:extLst>
            </p:cNvPr>
            <p:cNvGrpSpPr/>
            <p:nvPr/>
          </p:nvGrpSpPr>
          <p:grpSpPr>
            <a:xfrm>
              <a:off x="2840632" y="1314629"/>
              <a:ext cx="8924199" cy="4743195"/>
              <a:chOff x="2840632" y="1314629"/>
              <a:chExt cx="8924199" cy="4743195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FAE2A792-532C-492F-B497-10EB35591BF3}"/>
                  </a:ext>
                </a:extLst>
              </p:cNvPr>
              <p:cNvSpPr/>
              <p:nvPr/>
            </p:nvSpPr>
            <p:spPr>
              <a:xfrm>
                <a:off x="7679873" y="2957439"/>
                <a:ext cx="85452" cy="99509"/>
              </a:xfrm>
              <a:custGeom>
                <a:avLst/>
                <a:gdLst>
                  <a:gd name="connsiteX0" fmla="*/ 16909 w 85452"/>
                  <a:gd name="connsiteY0" fmla="*/ 24208 h 99509"/>
                  <a:gd name="connsiteX1" fmla="*/ 16715 w 85452"/>
                  <a:gd name="connsiteY1" fmla="*/ 29650 h 99509"/>
                  <a:gd name="connsiteX2" fmla="*/ 19501 w 85452"/>
                  <a:gd name="connsiteY2" fmla="*/ 34314 h 99509"/>
                  <a:gd name="connsiteX3" fmla="*/ 30320 w 85452"/>
                  <a:gd name="connsiteY3" fmla="*/ 47012 h 99509"/>
                  <a:gd name="connsiteX4" fmla="*/ 33300 w 85452"/>
                  <a:gd name="connsiteY4" fmla="*/ 51353 h 99509"/>
                  <a:gd name="connsiteX5" fmla="*/ 34077 w 85452"/>
                  <a:gd name="connsiteY5" fmla="*/ 57313 h 99509"/>
                  <a:gd name="connsiteX6" fmla="*/ 34077 w 85452"/>
                  <a:gd name="connsiteY6" fmla="*/ 85560 h 99509"/>
                  <a:gd name="connsiteX7" fmla="*/ 38483 w 85452"/>
                  <a:gd name="connsiteY7" fmla="*/ 98128 h 99509"/>
                  <a:gd name="connsiteX8" fmla="*/ 46192 w 85452"/>
                  <a:gd name="connsiteY8" fmla="*/ 99489 h 99509"/>
                  <a:gd name="connsiteX9" fmla="*/ 46257 w 85452"/>
                  <a:gd name="connsiteY9" fmla="*/ 99489 h 99509"/>
                  <a:gd name="connsiteX10" fmla="*/ 48136 w 85452"/>
                  <a:gd name="connsiteY10" fmla="*/ 94565 h 99509"/>
                  <a:gd name="connsiteX11" fmla="*/ 58242 w 85452"/>
                  <a:gd name="connsiteY11" fmla="*/ 85624 h 99509"/>
                  <a:gd name="connsiteX12" fmla="*/ 64656 w 85452"/>
                  <a:gd name="connsiteY12" fmla="*/ 81997 h 99509"/>
                  <a:gd name="connsiteX13" fmla="*/ 67636 w 85452"/>
                  <a:gd name="connsiteY13" fmla="*/ 78304 h 99509"/>
                  <a:gd name="connsiteX14" fmla="*/ 81306 w 85452"/>
                  <a:gd name="connsiteY14" fmla="*/ 69752 h 99509"/>
                  <a:gd name="connsiteX15" fmla="*/ 82602 w 85452"/>
                  <a:gd name="connsiteY15" fmla="*/ 62755 h 99509"/>
                  <a:gd name="connsiteX16" fmla="*/ 85452 w 85452"/>
                  <a:gd name="connsiteY16" fmla="*/ 54592 h 99509"/>
                  <a:gd name="connsiteX17" fmla="*/ 81436 w 85452"/>
                  <a:gd name="connsiteY17" fmla="*/ 48956 h 99509"/>
                  <a:gd name="connsiteX18" fmla="*/ 77484 w 85452"/>
                  <a:gd name="connsiteY18" fmla="*/ 38525 h 99509"/>
                  <a:gd name="connsiteX19" fmla="*/ 68608 w 85452"/>
                  <a:gd name="connsiteY19" fmla="*/ 32241 h 99509"/>
                  <a:gd name="connsiteX20" fmla="*/ 48136 w 85452"/>
                  <a:gd name="connsiteY20" fmla="*/ 10603 h 99509"/>
                  <a:gd name="connsiteX21" fmla="*/ 972 w 85452"/>
                  <a:gd name="connsiteY21" fmla="*/ 4966 h 99509"/>
                  <a:gd name="connsiteX22" fmla="*/ 0 w 85452"/>
                  <a:gd name="connsiteY22" fmla="*/ 5549 h 99509"/>
                  <a:gd name="connsiteX23" fmla="*/ 2656 w 85452"/>
                  <a:gd name="connsiteY23" fmla="*/ 7104 h 99509"/>
                  <a:gd name="connsiteX24" fmla="*/ 16780 w 85452"/>
                  <a:gd name="connsiteY24" fmla="*/ 24272 h 9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5452" h="99509">
                    <a:moveTo>
                      <a:pt x="16909" y="24208"/>
                    </a:moveTo>
                    <a:cubicBezTo>
                      <a:pt x="16909" y="26022"/>
                      <a:pt x="16391" y="27836"/>
                      <a:pt x="16715" y="29650"/>
                    </a:cubicBezTo>
                    <a:cubicBezTo>
                      <a:pt x="17104" y="31464"/>
                      <a:pt x="18334" y="32889"/>
                      <a:pt x="19501" y="34314"/>
                    </a:cubicBezTo>
                    <a:cubicBezTo>
                      <a:pt x="23129" y="38525"/>
                      <a:pt x="26692" y="42801"/>
                      <a:pt x="30320" y="47012"/>
                    </a:cubicBezTo>
                    <a:cubicBezTo>
                      <a:pt x="31486" y="48373"/>
                      <a:pt x="32652" y="49733"/>
                      <a:pt x="33300" y="51353"/>
                    </a:cubicBezTo>
                    <a:cubicBezTo>
                      <a:pt x="34013" y="53232"/>
                      <a:pt x="34077" y="55305"/>
                      <a:pt x="34077" y="57313"/>
                    </a:cubicBezTo>
                    <a:cubicBezTo>
                      <a:pt x="34077" y="66707"/>
                      <a:pt x="34077" y="76101"/>
                      <a:pt x="34077" y="85560"/>
                    </a:cubicBezTo>
                    <a:cubicBezTo>
                      <a:pt x="34077" y="90224"/>
                      <a:pt x="34531" y="95666"/>
                      <a:pt x="38483" y="98128"/>
                    </a:cubicBezTo>
                    <a:cubicBezTo>
                      <a:pt x="40750" y="99553"/>
                      <a:pt x="43536" y="99553"/>
                      <a:pt x="46192" y="99489"/>
                    </a:cubicBezTo>
                    <a:cubicBezTo>
                      <a:pt x="46192" y="99489"/>
                      <a:pt x="46257" y="99489"/>
                      <a:pt x="46257" y="99489"/>
                    </a:cubicBezTo>
                    <a:cubicBezTo>
                      <a:pt x="46451" y="97804"/>
                      <a:pt x="47164" y="95990"/>
                      <a:pt x="48136" y="94565"/>
                    </a:cubicBezTo>
                    <a:cubicBezTo>
                      <a:pt x="50662" y="90742"/>
                      <a:pt x="54161" y="87633"/>
                      <a:pt x="58242" y="85624"/>
                    </a:cubicBezTo>
                    <a:cubicBezTo>
                      <a:pt x="60445" y="84523"/>
                      <a:pt x="62907" y="83746"/>
                      <a:pt x="64656" y="81997"/>
                    </a:cubicBezTo>
                    <a:cubicBezTo>
                      <a:pt x="65758" y="80895"/>
                      <a:pt x="66535" y="79405"/>
                      <a:pt x="67636" y="78304"/>
                    </a:cubicBezTo>
                    <a:cubicBezTo>
                      <a:pt x="71459" y="74416"/>
                      <a:pt x="78715" y="74546"/>
                      <a:pt x="81306" y="69752"/>
                    </a:cubicBezTo>
                    <a:cubicBezTo>
                      <a:pt x="82407" y="67614"/>
                      <a:pt x="82278" y="65087"/>
                      <a:pt x="82602" y="62755"/>
                    </a:cubicBezTo>
                    <a:cubicBezTo>
                      <a:pt x="82990" y="59840"/>
                      <a:pt x="84092" y="57183"/>
                      <a:pt x="85452" y="54592"/>
                    </a:cubicBezTo>
                    <a:cubicBezTo>
                      <a:pt x="83898" y="52843"/>
                      <a:pt x="82407" y="51094"/>
                      <a:pt x="81436" y="48956"/>
                    </a:cubicBezTo>
                    <a:cubicBezTo>
                      <a:pt x="79881" y="45522"/>
                      <a:pt x="79686" y="41505"/>
                      <a:pt x="77484" y="38525"/>
                    </a:cubicBezTo>
                    <a:cubicBezTo>
                      <a:pt x="75346" y="35610"/>
                      <a:pt x="71718" y="34185"/>
                      <a:pt x="68608" y="32241"/>
                    </a:cubicBezTo>
                    <a:cubicBezTo>
                      <a:pt x="60121" y="26993"/>
                      <a:pt x="55392" y="17405"/>
                      <a:pt x="48136" y="10603"/>
                    </a:cubicBezTo>
                    <a:cubicBezTo>
                      <a:pt x="35762" y="-994"/>
                      <a:pt x="15743" y="-3391"/>
                      <a:pt x="972" y="4966"/>
                    </a:cubicBezTo>
                    <a:cubicBezTo>
                      <a:pt x="648" y="5161"/>
                      <a:pt x="324" y="5355"/>
                      <a:pt x="0" y="5549"/>
                    </a:cubicBezTo>
                    <a:cubicBezTo>
                      <a:pt x="907" y="6068"/>
                      <a:pt x="1814" y="6586"/>
                      <a:pt x="2656" y="7104"/>
                    </a:cubicBezTo>
                    <a:cubicBezTo>
                      <a:pt x="9394" y="11056"/>
                      <a:pt x="17039" y="16433"/>
                      <a:pt x="16780" y="24272"/>
                    </a:cubicBezTo>
                    <a:close/>
                  </a:path>
                </a:pathLst>
              </a:custGeom>
              <a:solidFill>
                <a:srgbClr val="DDDDDD"/>
              </a:solidFill>
              <a:ln w="647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22" name="Graphic 413">
                <a:extLst>
                  <a:ext uri="{FF2B5EF4-FFF2-40B4-BE49-F238E27FC236}">
                    <a16:creationId xmlns:a16="http://schemas.microsoft.com/office/drawing/2014/main" id="{509F295C-3071-4677-9340-96BDEC885FE4}"/>
                  </a:ext>
                </a:extLst>
              </p:cNvPr>
              <p:cNvGrpSpPr/>
              <p:nvPr/>
            </p:nvGrpSpPr>
            <p:grpSpPr>
              <a:xfrm>
                <a:off x="2840632" y="1314629"/>
                <a:ext cx="8924199" cy="4743195"/>
                <a:chOff x="2840632" y="1314629"/>
                <a:chExt cx="8924199" cy="4743195"/>
              </a:xfrm>
            </p:grpSpPr>
            <p:grpSp>
              <p:nvGrpSpPr>
                <p:cNvPr id="23" name="Graphic 413">
                  <a:extLst>
                    <a:ext uri="{FF2B5EF4-FFF2-40B4-BE49-F238E27FC236}">
                      <a16:creationId xmlns:a16="http://schemas.microsoft.com/office/drawing/2014/main" id="{7491EB21-1A0E-43C0-9770-5952921CBF79}"/>
                    </a:ext>
                  </a:extLst>
                </p:cNvPr>
                <p:cNvGrpSpPr/>
                <p:nvPr/>
              </p:nvGrpSpPr>
              <p:grpSpPr>
                <a:xfrm>
                  <a:off x="8959131" y="3373431"/>
                  <a:ext cx="1385997" cy="371002"/>
                  <a:chOff x="8959131" y="3373431"/>
                  <a:chExt cx="1385997" cy="371002"/>
                </a:xfrm>
                <a:solidFill>
                  <a:srgbClr val="DDDDDD"/>
                </a:solidFill>
              </p:grpSpPr>
              <p:sp>
                <p:nvSpPr>
                  <p:cNvPr id="24" name="Freeform: Shape 23">
                    <a:extLst>
                      <a:ext uri="{FF2B5EF4-FFF2-40B4-BE49-F238E27FC236}">
                        <a16:creationId xmlns:a16="http://schemas.microsoft.com/office/drawing/2014/main" id="{2635F136-BB6D-4C25-8DC6-E175C8B681D3}"/>
                      </a:ext>
                    </a:extLst>
                  </p:cNvPr>
                  <p:cNvSpPr/>
                  <p:nvPr/>
                </p:nvSpPr>
                <p:spPr>
                  <a:xfrm>
                    <a:off x="10284549" y="3419857"/>
                    <a:ext cx="60580" cy="54949"/>
                  </a:xfrm>
                  <a:custGeom>
                    <a:avLst/>
                    <a:gdLst>
                      <a:gd name="connsiteX0" fmla="*/ 32880 w 60580"/>
                      <a:gd name="connsiteY0" fmla="*/ 47617 h 54949"/>
                      <a:gd name="connsiteX1" fmla="*/ 15258 w 60580"/>
                      <a:gd name="connsiteY1" fmla="*/ 51958 h 54949"/>
                      <a:gd name="connsiteX2" fmla="*/ 3208 w 60580"/>
                      <a:gd name="connsiteY2" fmla="*/ 53643 h 54949"/>
                      <a:gd name="connsiteX3" fmla="*/ 1005 w 60580"/>
                      <a:gd name="connsiteY3" fmla="*/ 47358 h 54949"/>
                      <a:gd name="connsiteX4" fmla="*/ 163 w 60580"/>
                      <a:gd name="connsiteY4" fmla="*/ 38288 h 54949"/>
                      <a:gd name="connsiteX5" fmla="*/ 1589 w 60580"/>
                      <a:gd name="connsiteY5" fmla="*/ 29607 h 54949"/>
                      <a:gd name="connsiteX6" fmla="*/ 8910 w 60580"/>
                      <a:gd name="connsiteY6" fmla="*/ 26173 h 54949"/>
                      <a:gd name="connsiteX7" fmla="*/ 28345 w 60580"/>
                      <a:gd name="connsiteY7" fmla="*/ 10884 h 54949"/>
                      <a:gd name="connsiteX8" fmla="*/ 29835 w 60580"/>
                      <a:gd name="connsiteY8" fmla="*/ 8098 h 54949"/>
                      <a:gd name="connsiteX9" fmla="*/ 35795 w 60580"/>
                      <a:gd name="connsiteY9" fmla="*/ 5831 h 54949"/>
                      <a:gd name="connsiteX10" fmla="*/ 49141 w 60580"/>
                      <a:gd name="connsiteY10" fmla="*/ 0 h 54949"/>
                      <a:gd name="connsiteX11" fmla="*/ 60090 w 60580"/>
                      <a:gd name="connsiteY11" fmla="*/ 11013 h 54949"/>
                      <a:gd name="connsiteX12" fmla="*/ 53741 w 60580"/>
                      <a:gd name="connsiteY12" fmla="*/ 26173 h 54949"/>
                      <a:gd name="connsiteX13" fmla="*/ 43570 w 60580"/>
                      <a:gd name="connsiteY13" fmla="*/ 33753 h 54949"/>
                      <a:gd name="connsiteX14" fmla="*/ 45449 w 60580"/>
                      <a:gd name="connsiteY14" fmla="*/ 42240 h 54949"/>
                      <a:gd name="connsiteX15" fmla="*/ 40395 w 60580"/>
                      <a:gd name="connsiteY15" fmla="*/ 47358 h 54949"/>
                      <a:gd name="connsiteX16" fmla="*/ 32815 w 60580"/>
                      <a:gd name="connsiteY16" fmla="*/ 47812 h 54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60580" h="54949">
                        <a:moveTo>
                          <a:pt x="32880" y="47617"/>
                        </a:moveTo>
                        <a:cubicBezTo>
                          <a:pt x="26791" y="47617"/>
                          <a:pt x="20700" y="49107"/>
                          <a:pt x="15258" y="51958"/>
                        </a:cubicBezTo>
                        <a:cubicBezTo>
                          <a:pt x="11371" y="53966"/>
                          <a:pt x="6383" y="56558"/>
                          <a:pt x="3208" y="53643"/>
                        </a:cubicBezTo>
                        <a:cubicBezTo>
                          <a:pt x="1524" y="52088"/>
                          <a:pt x="1200" y="49626"/>
                          <a:pt x="1005" y="47358"/>
                        </a:cubicBezTo>
                        <a:cubicBezTo>
                          <a:pt x="747" y="44313"/>
                          <a:pt x="422" y="41333"/>
                          <a:pt x="163" y="38288"/>
                        </a:cubicBezTo>
                        <a:cubicBezTo>
                          <a:pt x="-96" y="35308"/>
                          <a:pt x="-290" y="31939"/>
                          <a:pt x="1589" y="29607"/>
                        </a:cubicBezTo>
                        <a:cubicBezTo>
                          <a:pt x="3338" y="27469"/>
                          <a:pt x="6253" y="26886"/>
                          <a:pt x="8910" y="26173"/>
                        </a:cubicBezTo>
                        <a:cubicBezTo>
                          <a:pt x="17137" y="23906"/>
                          <a:pt x="24911" y="18658"/>
                          <a:pt x="28345" y="10884"/>
                        </a:cubicBezTo>
                        <a:cubicBezTo>
                          <a:pt x="28798" y="9912"/>
                          <a:pt x="29188" y="8876"/>
                          <a:pt x="29835" y="8098"/>
                        </a:cubicBezTo>
                        <a:cubicBezTo>
                          <a:pt x="31260" y="6479"/>
                          <a:pt x="33657" y="6219"/>
                          <a:pt x="35795" y="5831"/>
                        </a:cubicBezTo>
                        <a:cubicBezTo>
                          <a:pt x="40590" y="4988"/>
                          <a:pt x="45254" y="2915"/>
                          <a:pt x="49141" y="0"/>
                        </a:cubicBezTo>
                        <a:cubicBezTo>
                          <a:pt x="51603" y="4665"/>
                          <a:pt x="55490" y="8552"/>
                          <a:pt x="60090" y="11013"/>
                        </a:cubicBezTo>
                        <a:cubicBezTo>
                          <a:pt x="61774" y="16715"/>
                          <a:pt x="58989" y="23323"/>
                          <a:pt x="53741" y="26173"/>
                        </a:cubicBezTo>
                        <a:cubicBezTo>
                          <a:pt x="49854" y="28246"/>
                          <a:pt x="44088" y="29348"/>
                          <a:pt x="43570" y="33753"/>
                        </a:cubicBezTo>
                        <a:cubicBezTo>
                          <a:pt x="43246" y="36669"/>
                          <a:pt x="45772" y="39325"/>
                          <a:pt x="45449" y="42240"/>
                        </a:cubicBezTo>
                        <a:cubicBezTo>
                          <a:pt x="45189" y="44767"/>
                          <a:pt x="42857" y="46646"/>
                          <a:pt x="40395" y="47358"/>
                        </a:cubicBezTo>
                        <a:cubicBezTo>
                          <a:pt x="37933" y="48006"/>
                          <a:pt x="35342" y="47812"/>
                          <a:pt x="32815" y="47812"/>
                        </a:cubicBezTo>
                        <a:close/>
                      </a:path>
                    </a:pathLst>
                  </a:custGeom>
                  <a:solidFill>
                    <a:srgbClr val="DDDDDD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25" name="Freeform: Shape 24">
                    <a:extLst>
                      <a:ext uri="{FF2B5EF4-FFF2-40B4-BE49-F238E27FC236}">
                        <a16:creationId xmlns:a16="http://schemas.microsoft.com/office/drawing/2014/main" id="{04C24E2C-F1C6-4743-BAAC-F222B094259F}"/>
                      </a:ext>
                    </a:extLst>
                  </p:cNvPr>
                  <p:cNvSpPr/>
                  <p:nvPr/>
                </p:nvSpPr>
                <p:spPr>
                  <a:xfrm>
                    <a:off x="9207585" y="3606588"/>
                    <a:ext cx="72531" cy="38949"/>
                  </a:xfrm>
                  <a:custGeom>
                    <a:avLst/>
                    <a:gdLst>
                      <a:gd name="connsiteX0" fmla="*/ 67377 w 72531"/>
                      <a:gd name="connsiteY0" fmla="*/ 38399 h 38949"/>
                      <a:gd name="connsiteX1" fmla="*/ 70033 w 72531"/>
                      <a:gd name="connsiteY1" fmla="*/ 37427 h 38949"/>
                      <a:gd name="connsiteX2" fmla="*/ 71199 w 72531"/>
                      <a:gd name="connsiteY2" fmla="*/ 35354 h 38949"/>
                      <a:gd name="connsiteX3" fmla="*/ 63425 w 72531"/>
                      <a:gd name="connsiteY3" fmla="*/ 5035 h 38949"/>
                      <a:gd name="connsiteX4" fmla="*/ 57206 w 72531"/>
                      <a:gd name="connsiteY4" fmla="*/ 1018 h 38949"/>
                      <a:gd name="connsiteX5" fmla="*/ 51634 w 72531"/>
                      <a:gd name="connsiteY5" fmla="*/ 46 h 38949"/>
                      <a:gd name="connsiteX6" fmla="*/ 28765 w 72531"/>
                      <a:gd name="connsiteY6" fmla="*/ 3933 h 38949"/>
                      <a:gd name="connsiteX7" fmla="*/ 0 w 72531"/>
                      <a:gd name="connsiteY7" fmla="*/ 17150 h 38949"/>
                      <a:gd name="connsiteX8" fmla="*/ 4276 w 72531"/>
                      <a:gd name="connsiteY8" fmla="*/ 26349 h 38949"/>
                      <a:gd name="connsiteX9" fmla="*/ 33041 w 72531"/>
                      <a:gd name="connsiteY9" fmla="*/ 34059 h 38949"/>
                      <a:gd name="connsiteX10" fmla="*/ 67377 w 72531"/>
                      <a:gd name="connsiteY10" fmla="*/ 38529 h 38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72531" h="38949">
                        <a:moveTo>
                          <a:pt x="67377" y="38399"/>
                        </a:moveTo>
                        <a:cubicBezTo>
                          <a:pt x="68349" y="38270"/>
                          <a:pt x="69321" y="38075"/>
                          <a:pt x="70033" y="37427"/>
                        </a:cubicBezTo>
                        <a:cubicBezTo>
                          <a:pt x="70617" y="36909"/>
                          <a:pt x="70940" y="36067"/>
                          <a:pt x="71199" y="35354"/>
                        </a:cubicBezTo>
                        <a:cubicBezTo>
                          <a:pt x="74568" y="24859"/>
                          <a:pt x="71394" y="12615"/>
                          <a:pt x="63425" y="5035"/>
                        </a:cubicBezTo>
                        <a:cubicBezTo>
                          <a:pt x="61611" y="3350"/>
                          <a:pt x="59603" y="1860"/>
                          <a:pt x="57206" y="1018"/>
                        </a:cubicBezTo>
                        <a:cubicBezTo>
                          <a:pt x="55392" y="370"/>
                          <a:pt x="53513" y="111"/>
                          <a:pt x="51634" y="46"/>
                        </a:cubicBezTo>
                        <a:cubicBezTo>
                          <a:pt x="43860" y="-343"/>
                          <a:pt x="36280" y="1795"/>
                          <a:pt x="28765" y="3933"/>
                        </a:cubicBezTo>
                        <a:cubicBezTo>
                          <a:pt x="18529" y="6848"/>
                          <a:pt x="7839" y="10023"/>
                          <a:pt x="0" y="17150"/>
                        </a:cubicBezTo>
                        <a:cubicBezTo>
                          <a:pt x="2656" y="19806"/>
                          <a:pt x="4276" y="23045"/>
                          <a:pt x="4276" y="26349"/>
                        </a:cubicBezTo>
                        <a:cubicBezTo>
                          <a:pt x="13864" y="28940"/>
                          <a:pt x="23452" y="31467"/>
                          <a:pt x="33041" y="34059"/>
                        </a:cubicBezTo>
                        <a:cubicBezTo>
                          <a:pt x="44249" y="37039"/>
                          <a:pt x="55910" y="40084"/>
                          <a:pt x="67377" y="38529"/>
                        </a:cubicBezTo>
                        <a:close/>
                      </a:path>
                    </a:pathLst>
                  </a:custGeom>
                  <a:solidFill>
                    <a:srgbClr val="DDDDDD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id="{7B068D65-834E-4647-94DC-6991FEF00E1B}"/>
                      </a:ext>
                    </a:extLst>
                  </p:cNvPr>
                  <p:cNvSpPr/>
                  <p:nvPr/>
                </p:nvSpPr>
                <p:spPr>
                  <a:xfrm>
                    <a:off x="9189574" y="3576095"/>
                    <a:ext cx="210924" cy="168338"/>
                  </a:xfrm>
                  <a:custGeom>
                    <a:avLst/>
                    <a:gdLst>
                      <a:gd name="connsiteX0" fmla="*/ 103009 w 210924"/>
                      <a:gd name="connsiteY0" fmla="*/ 159981 h 168338"/>
                      <a:gd name="connsiteX1" fmla="*/ 110848 w 210924"/>
                      <a:gd name="connsiteY1" fmla="*/ 159398 h 168338"/>
                      <a:gd name="connsiteX2" fmla="*/ 140779 w 210924"/>
                      <a:gd name="connsiteY2" fmla="*/ 129078 h 168338"/>
                      <a:gd name="connsiteX3" fmla="*/ 146286 w 210924"/>
                      <a:gd name="connsiteY3" fmla="*/ 115020 h 168338"/>
                      <a:gd name="connsiteX4" fmla="*/ 153542 w 210924"/>
                      <a:gd name="connsiteY4" fmla="*/ 106792 h 168338"/>
                      <a:gd name="connsiteX5" fmla="*/ 161575 w 210924"/>
                      <a:gd name="connsiteY5" fmla="*/ 80618 h 168338"/>
                      <a:gd name="connsiteX6" fmla="*/ 175439 w 210924"/>
                      <a:gd name="connsiteY6" fmla="*/ 66625 h 168338"/>
                      <a:gd name="connsiteX7" fmla="*/ 175763 w 210924"/>
                      <a:gd name="connsiteY7" fmla="*/ 59692 h 168338"/>
                      <a:gd name="connsiteX8" fmla="*/ 181400 w 210924"/>
                      <a:gd name="connsiteY8" fmla="*/ 56388 h 168338"/>
                      <a:gd name="connsiteX9" fmla="*/ 202585 w 210924"/>
                      <a:gd name="connsiteY9" fmla="*/ 42395 h 168338"/>
                      <a:gd name="connsiteX10" fmla="*/ 210618 w 210924"/>
                      <a:gd name="connsiteY10" fmla="*/ 17517 h 168338"/>
                      <a:gd name="connsiteX11" fmla="*/ 192802 w 210924"/>
                      <a:gd name="connsiteY11" fmla="*/ 25 h 168338"/>
                      <a:gd name="connsiteX12" fmla="*/ 178938 w 210924"/>
                      <a:gd name="connsiteY12" fmla="*/ 3329 h 168338"/>
                      <a:gd name="connsiteX13" fmla="*/ 160020 w 210924"/>
                      <a:gd name="connsiteY13" fmla="*/ 10779 h 168338"/>
                      <a:gd name="connsiteX14" fmla="*/ 153413 w 210924"/>
                      <a:gd name="connsiteY14" fmla="*/ 14666 h 168338"/>
                      <a:gd name="connsiteX15" fmla="*/ 146610 w 210924"/>
                      <a:gd name="connsiteY15" fmla="*/ 39803 h 168338"/>
                      <a:gd name="connsiteX16" fmla="*/ 138188 w 210924"/>
                      <a:gd name="connsiteY16" fmla="*/ 41358 h 168338"/>
                      <a:gd name="connsiteX17" fmla="*/ 119724 w 210924"/>
                      <a:gd name="connsiteY17" fmla="*/ 48031 h 168338"/>
                      <a:gd name="connsiteX18" fmla="*/ 112857 w 210924"/>
                      <a:gd name="connsiteY18" fmla="*/ 65847 h 168338"/>
                      <a:gd name="connsiteX19" fmla="*/ 116485 w 210924"/>
                      <a:gd name="connsiteY19" fmla="*/ 78156 h 168338"/>
                      <a:gd name="connsiteX20" fmla="*/ 104629 w 210924"/>
                      <a:gd name="connsiteY20" fmla="*/ 93057 h 168338"/>
                      <a:gd name="connsiteX21" fmla="*/ 89534 w 210924"/>
                      <a:gd name="connsiteY21" fmla="*/ 81461 h 168338"/>
                      <a:gd name="connsiteX22" fmla="*/ 88562 w 210924"/>
                      <a:gd name="connsiteY22" fmla="*/ 67272 h 168338"/>
                      <a:gd name="connsiteX23" fmla="*/ 88108 w 210924"/>
                      <a:gd name="connsiteY23" fmla="*/ 67920 h 168338"/>
                      <a:gd name="connsiteX24" fmla="*/ 85452 w 210924"/>
                      <a:gd name="connsiteY24" fmla="*/ 68892 h 168338"/>
                      <a:gd name="connsiteX25" fmla="*/ 51116 w 210924"/>
                      <a:gd name="connsiteY25" fmla="*/ 64422 h 168338"/>
                      <a:gd name="connsiteX26" fmla="*/ 22351 w 210924"/>
                      <a:gd name="connsiteY26" fmla="*/ 56712 h 168338"/>
                      <a:gd name="connsiteX27" fmla="*/ 21379 w 210924"/>
                      <a:gd name="connsiteY27" fmla="*/ 60923 h 168338"/>
                      <a:gd name="connsiteX28" fmla="*/ 6932 w 210924"/>
                      <a:gd name="connsiteY28" fmla="*/ 71743 h 168338"/>
                      <a:gd name="connsiteX29" fmla="*/ 0 w 210924"/>
                      <a:gd name="connsiteY29" fmla="*/ 83793 h 168338"/>
                      <a:gd name="connsiteX30" fmla="*/ 7450 w 210924"/>
                      <a:gd name="connsiteY30" fmla="*/ 83339 h 168338"/>
                      <a:gd name="connsiteX31" fmla="*/ 16455 w 210924"/>
                      <a:gd name="connsiteY31" fmla="*/ 86643 h 168338"/>
                      <a:gd name="connsiteX32" fmla="*/ 33429 w 210924"/>
                      <a:gd name="connsiteY32" fmla="*/ 90466 h 168338"/>
                      <a:gd name="connsiteX33" fmla="*/ 45091 w 210924"/>
                      <a:gd name="connsiteY33" fmla="*/ 104330 h 168338"/>
                      <a:gd name="connsiteX34" fmla="*/ 54938 w 210924"/>
                      <a:gd name="connsiteY34" fmla="*/ 104136 h 168338"/>
                      <a:gd name="connsiteX35" fmla="*/ 55975 w 210924"/>
                      <a:gd name="connsiteY35" fmla="*/ 107893 h 168338"/>
                      <a:gd name="connsiteX36" fmla="*/ 56558 w 210924"/>
                      <a:gd name="connsiteY36" fmla="*/ 121239 h 168338"/>
                      <a:gd name="connsiteX37" fmla="*/ 105924 w 210924"/>
                      <a:gd name="connsiteY37" fmla="*/ 116380 h 168338"/>
                      <a:gd name="connsiteX38" fmla="*/ 109293 w 210924"/>
                      <a:gd name="connsiteY38" fmla="*/ 128495 h 168338"/>
                      <a:gd name="connsiteX39" fmla="*/ 103398 w 210924"/>
                      <a:gd name="connsiteY39" fmla="*/ 138861 h 168338"/>
                      <a:gd name="connsiteX40" fmla="*/ 97567 w 210924"/>
                      <a:gd name="connsiteY40" fmla="*/ 140610 h 168338"/>
                      <a:gd name="connsiteX41" fmla="*/ 92643 w 210924"/>
                      <a:gd name="connsiteY41" fmla="*/ 157195 h 168338"/>
                      <a:gd name="connsiteX42" fmla="*/ 92449 w 210924"/>
                      <a:gd name="connsiteY42" fmla="*/ 158815 h 168338"/>
                      <a:gd name="connsiteX43" fmla="*/ 94911 w 210924"/>
                      <a:gd name="connsiteY43" fmla="*/ 158167 h 168338"/>
                      <a:gd name="connsiteX44" fmla="*/ 91672 w 210924"/>
                      <a:gd name="connsiteY44" fmla="*/ 168338 h 168338"/>
                      <a:gd name="connsiteX45" fmla="*/ 95688 w 210924"/>
                      <a:gd name="connsiteY45" fmla="*/ 164645 h 168338"/>
                      <a:gd name="connsiteX46" fmla="*/ 102944 w 210924"/>
                      <a:gd name="connsiteY46" fmla="*/ 159916 h 1683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210924" h="168338">
                        <a:moveTo>
                          <a:pt x="103009" y="159981"/>
                        </a:moveTo>
                        <a:cubicBezTo>
                          <a:pt x="105536" y="159268"/>
                          <a:pt x="108192" y="159527"/>
                          <a:pt x="110848" y="159398"/>
                        </a:cubicBezTo>
                        <a:cubicBezTo>
                          <a:pt x="126008" y="158556"/>
                          <a:pt x="136568" y="143655"/>
                          <a:pt x="140779" y="129078"/>
                        </a:cubicBezTo>
                        <a:cubicBezTo>
                          <a:pt x="142204" y="124219"/>
                          <a:pt x="143241" y="119036"/>
                          <a:pt x="146286" y="115020"/>
                        </a:cubicBezTo>
                        <a:cubicBezTo>
                          <a:pt x="148489" y="112104"/>
                          <a:pt x="151533" y="109901"/>
                          <a:pt x="153542" y="106792"/>
                        </a:cubicBezTo>
                        <a:cubicBezTo>
                          <a:pt x="158530" y="99017"/>
                          <a:pt x="155486" y="87550"/>
                          <a:pt x="161575" y="80618"/>
                        </a:cubicBezTo>
                        <a:cubicBezTo>
                          <a:pt x="166045" y="75500"/>
                          <a:pt x="174921" y="73427"/>
                          <a:pt x="175439" y="66625"/>
                        </a:cubicBezTo>
                        <a:cubicBezTo>
                          <a:pt x="175634" y="64292"/>
                          <a:pt x="174662" y="61766"/>
                          <a:pt x="175763" y="59692"/>
                        </a:cubicBezTo>
                        <a:cubicBezTo>
                          <a:pt x="176800" y="57684"/>
                          <a:pt x="179262" y="57036"/>
                          <a:pt x="181400" y="56388"/>
                        </a:cubicBezTo>
                        <a:cubicBezTo>
                          <a:pt x="189628" y="53927"/>
                          <a:pt x="197078" y="49003"/>
                          <a:pt x="202585" y="42395"/>
                        </a:cubicBezTo>
                        <a:cubicBezTo>
                          <a:pt x="208351" y="35527"/>
                          <a:pt x="212044" y="26393"/>
                          <a:pt x="210618" y="17517"/>
                        </a:cubicBezTo>
                        <a:cubicBezTo>
                          <a:pt x="209193" y="8641"/>
                          <a:pt x="201807" y="543"/>
                          <a:pt x="192802" y="25"/>
                        </a:cubicBezTo>
                        <a:cubicBezTo>
                          <a:pt x="188008" y="-234"/>
                          <a:pt x="183408" y="1580"/>
                          <a:pt x="178938" y="3329"/>
                        </a:cubicBezTo>
                        <a:cubicBezTo>
                          <a:pt x="172654" y="5791"/>
                          <a:pt x="166305" y="8317"/>
                          <a:pt x="160020" y="10779"/>
                        </a:cubicBezTo>
                        <a:cubicBezTo>
                          <a:pt x="157623" y="11751"/>
                          <a:pt x="155097" y="12723"/>
                          <a:pt x="153413" y="14666"/>
                        </a:cubicBezTo>
                        <a:cubicBezTo>
                          <a:pt x="147452" y="21469"/>
                          <a:pt x="154255" y="35009"/>
                          <a:pt x="146610" y="39803"/>
                        </a:cubicBezTo>
                        <a:cubicBezTo>
                          <a:pt x="144148" y="41358"/>
                          <a:pt x="141103" y="41228"/>
                          <a:pt x="138188" y="41358"/>
                        </a:cubicBezTo>
                        <a:cubicBezTo>
                          <a:pt x="131515" y="41682"/>
                          <a:pt x="124777" y="43690"/>
                          <a:pt x="119724" y="48031"/>
                        </a:cubicBezTo>
                        <a:cubicBezTo>
                          <a:pt x="114670" y="52372"/>
                          <a:pt x="111626" y="59304"/>
                          <a:pt x="112857" y="65847"/>
                        </a:cubicBezTo>
                        <a:cubicBezTo>
                          <a:pt x="113634" y="70058"/>
                          <a:pt x="116096" y="73881"/>
                          <a:pt x="116485" y="78156"/>
                        </a:cubicBezTo>
                        <a:cubicBezTo>
                          <a:pt x="117197" y="85153"/>
                          <a:pt x="111626" y="92215"/>
                          <a:pt x="104629" y="93057"/>
                        </a:cubicBezTo>
                        <a:cubicBezTo>
                          <a:pt x="97632" y="93899"/>
                          <a:pt x="90505" y="88392"/>
                          <a:pt x="89534" y="81461"/>
                        </a:cubicBezTo>
                        <a:cubicBezTo>
                          <a:pt x="88886" y="76731"/>
                          <a:pt x="90570" y="71419"/>
                          <a:pt x="88562" y="67272"/>
                        </a:cubicBezTo>
                        <a:cubicBezTo>
                          <a:pt x="88432" y="67467"/>
                          <a:pt x="88303" y="67726"/>
                          <a:pt x="88108" y="67920"/>
                        </a:cubicBezTo>
                        <a:cubicBezTo>
                          <a:pt x="87396" y="68568"/>
                          <a:pt x="86424" y="68762"/>
                          <a:pt x="85452" y="68892"/>
                        </a:cubicBezTo>
                        <a:cubicBezTo>
                          <a:pt x="73920" y="70512"/>
                          <a:pt x="62324" y="67467"/>
                          <a:pt x="51116" y="64422"/>
                        </a:cubicBezTo>
                        <a:cubicBezTo>
                          <a:pt x="41527" y="61830"/>
                          <a:pt x="31939" y="59304"/>
                          <a:pt x="22351" y="56712"/>
                        </a:cubicBezTo>
                        <a:cubicBezTo>
                          <a:pt x="22351" y="58138"/>
                          <a:pt x="22092" y="59563"/>
                          <a:pt x="21379" y="60923"/>
                        </a:cubicBezTo>
                        <a:cubicBezTo>
                          <a:pt x="18529" y="66301"/>
                          <a:pt x="11338" y="67531"/>
                          <a:pt x="6932" y="71743"/>
                        </a:cubicBezTo>
                        <a:cubicBezTo>
                          <a:pt x="3563" y="74982"/>
                          <a:pt x="2138" y="79582"/>
                          <a:pt x="0" y="83793"/>
                        </a:cubicBezTo>
                        <a:cubicBezTo>
                          <a:pt x="2461" y="83404"/>
                          <a:pt x="4988" y="83145"/>
                          <a:pt x="7450" y="83339"/>
                        </a:cubicBezTo>
                        <a:cubicBezTo>
                          <a:pt x="10625" y="83534"/>
                          <a:pt x="13994" y="84700"/>
                          <a:pt x="16455" y="86643"/>
                        </a:cubicBezTo>
                        <a:cubicBezTo>
                          <a:pt x="22739" y="85218"/>
                          <a:pt x="29477" y="85736"/>
                          <a:pt x="33429" y="90466"/>
                        </a:cubicBezTo>
                        <a:cubicBezTo>
                          <a:pt x="37511" y="95325"/>
                          <a:pt x="38742" y="104200"/>
                          <a:pt x="45091" y="104330"/>
                        </a:cubicBezTo>
                        <a:cubicBezTo>
                          <a:pt x="48524" y="104330"/>
                          <a:pt x="52670" y="101544"/>
                          <a:pt x="54938" y="104136"/>
                        </a:cubicBezTo>
                        <a:cubicBezTo>
                          <a:pt x="55845" y="105107"/>
                          <a:pt x="55910" y="106597"/>
                          <a:pt x="55975" y="107893"/>
                        </a:cubicBezTo>
                        <a:cubicBezTo>
                          <a:pt x="56169" y="112298"/>
                          <a:pt x="56363" y="116769"/>
                          <a:pt x="56558" y="121239"/>
                        </a:cubicBezTo>
                        <a:cubicBezTo>
                          <a:pt x="73013" y="119619"/>
                          <a:pt x="89469" y="118000"/>
                          <a:pt x="105924" y="116380"/>
                        </a:cubicBezTo>
                        <a:cubicBezTo>
                          <a:pt x="107609" y="120267"/>
                          <a:pt x="109293" y="124284"/>
                          <a:pt x="109293" y="128495"/>
                        </a:cubicBezTo>
                        <a:cubicBezTo>
                          <a:pt x="109293" y="132706"/>
                          <a:pt x="107285" y="137241"/>
                          <a:pt x="103398" y="138861"/>
                        </a:cubicBezTo>
                        <a:cubicBezTo>
                          <a:pt x="101519" y="139638"/>
                          <a:pt x="99381" y="139703"/>
                          <a:pt x="97567" y="140610"/>
                        </a:cubicBezTo>
                        <a:cubicBezTo>
                          <a:pt x="92190" y="143396"/>
                          <a:pt x="93097" y="151170"/>
                          <a:pt x="92643" y="157195"/>
                        </a:cubicBezTo>
                        <a:cubicBezTo>
                          <a:pt x="92643" y="157778"/>
                          <a:pt x="92514" y="158296"/>
                          <a:pt x="92449" y="158815"/>
                        </a:cubicBezTo>
                        <a:cubicBezTo>
                          <a:pt x="93226" y="158556"/>
                          <a:pt x="94069" y="158296"/>
                          <a:pt x="94911" y="158167"/>
                        </a:cubicBezTo>
                        <a:cubicBezTo>
                          <a:pt x="93486" y="161471"/>
                          <a:pt x="92449" y="164904"/>
                          <a:pt x="91672" y="168338"/>
                        </a:cubicBezTo>
                        <a:cubicBezTo>
                          <a:pt x="92967" y="167107"/>
                          <a:pt x="94328" y="165876"/>
                          <a:pt x="95688" y="164645"/>
                        </a:cubicBezTo>
                        <a:cubicBezTo>
                          <a:pt x="97891" y="162702"/>
                          <a:pt x="100158" y="160758"/>
                          <a:pt x="102944" y="159916"/>
                        </a:cubicBezTo>
                        <a:close/>
                      </a:path>
                    </a:pathLst>
                  </a:custGeom>
                  <a:solidFill>
                    <a:srgbClr val="DDDDDD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27" name="Freeform: Shape 26">
                    <a:extLst>
                      <a:ext uri="{FF2B5EF4-FFF2-40B4-BE49-F238E27FC236}">
                        <a16:creationId xmlns:a16="http://schemas.microsoft.com/office/drawing/2014/main" id="{D9BD725E-F68E-43AC-969B-B470A528DD82}"/>
                      </a:ext>
                    </a:extLst>
                  </p:cNvPr>
                  <p:cNvSpPr/>
                  <p:nvPr/>
                </p:nvSpPr>
                <p:spPr>
                  <a:xfrm>
                    <a:off x="8959131" y="3373431"/>
                    <a:ext cx="57906" cy="62492"/>
                  </a:xfrm>
                  <a:custGeom>
                    <a:avLst/>
                    <a:gdLst>
                      <a:gd name="connsiteX0" fmla="*/ 37770 w 57906"/>
                      <a:gd name="connsiteY0" fmla="*/ 55172 h 62492"/>
                      <a:gd name="connsiteX1" fmla="*/ 37511 w 57906"/>
                      <a:gd name="connsiteY1" fmla="*/ 51933 h 62492"/>
                      <a:gd name="connsiteX2" fmla="*/ 42046 w 57906"/>
                      <a:gd name="connsiteY2" fmla="*/ 45519 h 62492"/>
                      <a:gd name="connsiteX3" fmla="*/ 49626 w 57906"/>
                      <a:gd name="connsiteY3" fmla="*/ 42280 h 62492"/>
                      <a:gd name="connsiteX4" fmla="*/ 54290 w 57906"/>
                      <a:gd name="connsiteY4" fmla="*/ 17272 h 62492"/>
                      <a:gd name="connsiteX5" fmla="*/ 47876 w 57906"/>
                      <a:gd name="connsiteY5" fmla="*/ 12025 h 62492"/>
                      <a:gd name="connsiteX6" fmla="*/ 36021 w 57906"/>
                      <a:gd name="connsiteY6" fmla="*/ 3927 h 62492"/>
                      <a:gd name="connsiteX7" fmla="*/ 30838 w 57906"/>
                      <a:gd name="connsiteY7" fmla="*/ 946 h 62492"/>
                      <a:gd name="connsiteX8" fmla="*/ 15354 w 57906"/>
                      <a:gd name="connsiteY8" fmla="*/ 3408 h 62492"/>
                      <a:gd name="connsiteX9" fmla="*/ 5571 w 57906"/>
                      <a:gd name="connsiteY9" fmla="*/ 16236 h 62492"/>
                      <a:gd name="connsiteX10" fmla="*/ 2397 w 57906"/>
                      <a:gd name="connsiteY10" fmla="*/ 22261 h 62492"/>
                      <a:gd name="connsiteX11" fmla="*/ 0 w 57906"/>
                      <a:gd name="connsiteY11" fmla="*/ 24593 h 62492"/>
                      <a:gd name="connsiteX12" fmla="*/ 1684 w 57906"/>
                      <a:gd name="connsiteY12" fmla="*/ 30165 h 62492"/>
                      <a:gd name="connsiteX13" fmla="*/ 8292 w 57906"/>
                      <a:gd name="connsiteY13" fmla="*/ 35866 h 62492"/>
                      <a:gd name="connsiteX14" fmla="*/ 20213 w 57906"/>
                      <a:gd name="connsiteY14" fmla="*/ 54848 h 62492"/>
                      <a:gd name="connsiteX15" fmla="*/ 23258 w 57906"/>
                      <a:gd name="connsiteY15" fmla="*/ 62493 h 62492"/>
                      <a:gd name="connsiteX16" fmla="*/ 27858 w 57906"/>
                      <a:gd name="connsiteY16" fmla="*/ 61003 h 62492"/>
                      <a:gd name="connsiteX17" fmla="*/ 37770 w 57906"/>
                      <a:gd name="connsiteY17" fmla="*/ 55172 h 624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7906" h="62492">
                        <a:moveTo>
                          <a:pt x="37770" y="55172"/>
                        </a:moveTo>
                        <a:cubicBezTo>
                          <a:pt x="37835" y="54071"/>
                          <a:pt x="37511" y="53034"/>
                          <a:pt x="37511" y="51933"/>
                        </a:cubicBezTo>
                        <a:cubicBezTo>
                          <a:pt x="37511" y="49212"/>
                          <a:pt x="39649" y="46879"/>
                          <a:pt x="42046" y="45519"/>
                        </a:cubicBezTo>
                        <a:cubicBezTo>
                          <a:pt x="44443" y="44158"/>
                          <a:pt x="47164" y="43511"/>
                          <a:pt x="49626" y="42280"/>
                        </a:cubicBezTo>
                        <a:cubicBezTo>
                          <a:pt x="58242" y="37745"/>
                          <a:pt x="60704" y="24593"/>
                          <a:pt x="54290" y="17272"/>
                        </a:cubicBezTo>
                        <a:cubicBezTo>
                          <a:pt x="52476" y="15199"/>
                          <a:pt x="50144" y="13580"/>
                          <a:pt x="47876" y="12025"/>
                        </a:cubicBezTo>
                        <a:cubicBezTo>
                          <a:pt x="43925" y="9304"/>
                          <a:pt x="39973" y="6647"/>
                          <a:pt x="36021" y="3927"/>
                        </a:cubicBezTo>
                        <a:cubicBezTo>
                          <a:pt x="34401" y="2825"/>
                          <a:pt x="32717" y="1659"/>
                          <a:pt x="30838" y="946"/>
                        </a:cubicBezTo>
                        <a:cubicBezTo>
                          <a:pt x="25785" y="-1062"/>
                          <a:pt x="19824" y="298"/>
                          <a:pt x="15354" y="3408"/>
                        </a:cubicBezTo>
                        <a:cubicBezTo>
                          <a:pt x="10884" y="6518"/>
                          <a:pt x="7774" y="11247"/>
                          <a:pt x="5571" y="16236"/>
                        </a:cubicBezTo>
                        <a:cubicBezTo>
                          <a:pt x="4664" y="18309"/>
                          <a:pt x="3822" y="20512"/>
                          <a:pt x="2397" y="22261"/>
                        </a:cubicBezTo>
                        <a:cubicBezTo>
                          <a:pt x="1684" y="23168"/>
                          <a:pt x="842" y="23880"/>
                          <a:pt x="0" y="24593"/>
                        </a:cubicBezTo>
                        <a:cubicBezTo>
                          <a:pt x="389" y="26537"/>
                          <a:pt x="713" y="28545"/>
                          <a:pt x="1684" y="30165"/>
                        </a:cubicBezTo>
                        <a:cubicBezTo>
                          <a:pt x="3174" y="32691"/>
                          <a:pt x="5960" y="34052"/>
                          <a:pt x="8292" y="35866"/>
                        </a:cubicBezTo>
                        <a:cubicBezTo>
                          <a:pt x="14382" y="40401"/>
                          <a:pt x="17427" y="47851"/>
                          <a:pt x="20213" y="54848"/>
                        </a:cubicBezTo>
                        <a:cubicBezTo>
                          <a:pt x="21250" y="57375"/>
                          <a:pt x="22221" y="59901"/>
                          <a:pt x="23258" y="62493"/>
                        </a:cubicBezTo>
                        <a:cubicBezTo>
                          <a:pt x="24748" y="61910"/>
                          <a:pt x="26238" y="61327"/>
                          <a:pt x="27858" y="61003"/>
                        </a:cubicBezTo>
                        <a:cubicBezTo>
                          <a:pt x="31874" y="60096"/>
                          <a:pt x="37446" y="59318"/>
                          <a:pt x="37770" y="55172"/>
                        </a:cubicBezTo>
                        <a:close/>
                      </a:path>
                    </a:pathLst>
                  </a:custGeom>
                  <a:solidFill>
                    <a:srgbClr val="DDDDDD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grpSp>
              <p:nvGrpSpPr>
                <p:cNvPr id="28" name="Graphic 413">
                  <a:extLst>
                    <a:ext uri="{FF2B5EF4-FFF2-40B4-BE49-F238E27FC236}">
                      <a16:creationId xmlns:a16="http://schemas.microsoft.com/office/drawing/2014/main" id="{B39F5C89-2C45-43B1-B905-C8271297777A}"/>
                    </a:ext>
                  </a:extLst>
                </p:cNvPr>
                <p:cNvGrpSpPr/>
                <p:nvPr/>
              </p:nvGrpSpPr>
              <p:grpSpPr>
                <a:xfrm>
                  <a:off x="2840632" y="1314629"/>
                  <a:ext cx="8924199" cy="4743195"/>
                  <a:chOff x="2840632" y="1314629"/>
                  <a:chExt cx="8924199" cy="4743195"/>
                </a:xfrm>
              </p:grpSpPr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795A193B-5D75-441B-8531-1742092CCEAB}"/>
                      </a:ext>
                    </a:extLst>
                  </p:cNvPr>
                  <p:cNvSpPr/>
                  <p:nvPr/>
                </p:nvSpPr>
                <p:spPr>
                  <a:xfrm>
                    <a:off x="2909231" y="2732879"/>
                    <a:ext cx="43621" cy="34094"/>
                  </a:xfrm>
                  <a:custGeom>
                    <a:avLst/>
                    <a:gdLst>
                      <a:gd name="connsiteX0" fmla="*/ 30336 w 43621"/>
                      <a:gd name="connsiteY0" fmla="*/ 1610 h 34094"/>
                      <a:gd name="connsiteX1" fmla="*/ 8762 w 43621"/>
                      <a:gd name="connsiteY1" fmla="*/ 8218 h 34094"/>
                      <a:gd name="connsiteX2" fmla="*/ 2154 w 43621"/>
                      <a:gd name="connsiteY2" fmla="*/ 9060 h 34094"/>
                      <a:gd name="connsiteX3" fmla="*/ 340 w 43621"/>
                      <a:gd name="connsiteY3" fmla="*/ 13725 h 34094"/>
                      <a:gd name="connsiteX4" fmla="*/ 599 w 43621"/>
                      <a:gd name="connsiteY4" fmla="*/ 29209 h 34094"/>
                      <a:gd name="connsiteX5" fmla="*/ 5069 w 43621"/>
                      <a:gd name="connsiteY5" fmla="*/ 33873 h 34094"/>
                      <a:gd name="connsiteX6" fmla="*/ 8892 w 43621"/>
                      <a:gd name="connsiteY6" fmla="*/ 26358 h 34094"/>
                      <a:gd name="connsiteX7" fmla="*/ 17314 w 43621"/>
                      <a:gd name="connsiteY7" fmla="*/ 24155 h 34094"/>
                      <a:gd name="connsiteX8" fmla="*/ 33834 w 43621"/>
                      <a:gd name="connsiteY8" fmla="*/ 21953 h 34094"/>
                      <a:gd name="connsiteX9" fmla="*/ 36879 w 43621"/>
                      <a:gd name="connsiteY9" fmla="*/ 18001 h 34094"/>
                      <a:gd name="connsiteX10" fmla="*/ 41997 w 43621"/>
                      <a:gd name="connsiteY10" fmla="*/ 9643 h 34094"/>
                      <a:gd name="connsiteX11" fmla="*/ 43617 w 43621"/>
                      <a:gd name="connsiteY11" fmla="*/ 5691 h 34094"/>
                      <a:gd name="connsiteX12" fmla="*/ 38434 w 43621"/>
                      <a:gd name="connsiteY12" fmla="*/ 120 h 34094"/>
                      <a:gd name="connsiteX13" fmla="*/ 30401 w 43621"/>
                      <a:gd name="connsiteY13" fmla="*/ 1610 h 340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43621" h="34094">
                        <a:moveTo>
                          <a:pt x="30336" y="1610"/>
                        </a:moveTo>
                        <a:cubicBezTo>
                          <a:pt x="23339" y="4525"/>
                          <a:pt x="16342" y="8736"/>
                          <a:pt x="8762" y="8218"/>
                        </a:cubicBezTo>
                        <a:cubicBezTo>
                          <a:pt x="6495" y="8088"/>
                          <a:pt x="3903" y="7570"/>
                          <a:pt x="2154" y="9060"/>
                        </a:cubicBezTo>
                        <a:cubicBezTo>
                          <a:pt x="858" y="10162"/>
                          <a:pt x="534" y="12040"/>
                          <a:pt x="340" y="13725"/>
                        </a:cubicBezTo>
                        <a:cubicBezTo>
                          <a:pt x="-178" y="18843"/>
                          <a:pt x="-113" y="24091"/>
                          <a:pt x="599" y="29209"/>
                        </a:cubicBezTo>
                        <a:cubicBezTo>
                          <a:pt x="923" y="31735"/>
                          <a:pt x="2802" y="34975"/>
                          <a:pt x="5069" y="33873"/>
                        </a:cubicBezTo>
                        <a:cubicBezTo>
                          <a:pt x="4681" y="30958"/>
                          <a:pt x="6430" y="28042"/>
                          <a:pt x="8892" y="26358"/>
                        </a:cubicBezTo>
                        <a:cubicBezTo>
                          <a:pt x="11354" y="24674"/>
                          <a:pt x="14399" y="24155"/>
                          <a:pt x="17314" y="24155"/>
                        </a:cubicBezTo>
                        <a:cubicBezTo>
                          <a:pt x="23015" y="24155"/>
                          <a:pt x="29494" y="25710"/>
                          <a:pt x="33834" y="21953"/>
                        </a:cubicBezTo>
                        <a:cubicBezTo>
                          <a:pt x="35065" y="20851"/>
                          <a:pt x="35972" y="19426"/>
                          <a:pt x="36879" y="18001"/>
                        </a:cubicBezTo>
                        <a:cubicBezTo>
                          <a:pt x="38564" y="15215"/>
                          <a:pt x="40313" y="12429"/>
                          <a:pt x="41997" y="9643"/>
                        </a:cubicBezTo>
                        <a:cubicBezTo>
                          <a:pt x="42775" y="8412"/>
                          <a:pt x="43552" y="7117"/>
                          <a:pt x="43617" y="5691"/>
                        </a:cubicBezTo>
                        <a:cubicBezTo>
                          <a:pt x="43746" y="2906"/>
                          <a:pt x="41220" y="573"/>
                          <a:pt x="38434" y="120"/>
                        </a:cubicBezTo>
                        <a:cubicBezTo>
                          <a:pt x="35648" y="-334"/>
                          <a:pt x="32927" y="573"/>
                          <a:pt x="30401" y="1610"/>
                        </a:cubicBezTo>
                        <a:close/>
                      </a:path>
                    </a:pathLst>
                  </a:custGeom>
                  <a:solidFill>
                    <a:srgbClr val="666666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0B5A8832-833F-498F-A75E-E0C350F4216F}"/>
                      </a:ext>
                    </a:extLst>
                  </p:cNvPr>
                  <p:cNvSpPr/>
                  <p:nvPr/>
                </p:nvSpPr>
                <p:spPr>
                  <a:xfrm>
                    <a:off x="2856706" y="2524286"/>
                    <a:ext cx="37707" cy="27467"/>
                  </a:xfrm>
                  <a:custGeom>
                    <a:avLst/>
                    <a:gdLst>
                      <a:gd name="connsiteX0" fmla="*/ 25979 w 37707"/>
                      <a:gd name="connsiteY0" fmla="*/ 26989 h 27467"/>
                      <a:gd name="connsiteX1" fmla="*/ 35956 w 37707"/>
                      <a:gd name="connsiteY1" fmla="*/ 25434 h 27467"/>
                      <a:gd name="connsiteX2" fmla="*/ 36928 w 37707"/>
                      <a:gd name="connsiteY2" fmla="*/ 15003 h 27467"/>
                      <a:gd name="connsiteX3" fmla="*/ 25655 w 37707"/>
                      <a:gd name="connsiteY3" fmla="*/ 10986 h 27467"/>
                      <a:gd name="connsiteX4" fmla="*/ 23129 w 37707"/>
                      <a:gd name="connsiteY4" fmla="*/ 7229 h 27467"/>
                      <a:gd name="connsiteX5" fmla="*/ 19889 w 37707"/>
                      <a:gd name="connsiteY5" fmla="*/ 1333 h 27467"/>
                      <a:gd name="connsiteX6" fmla="*/ 3693 w 37707"/>
                      <a:gd name="connsiteY6" fmla="*/ 102 h 27467"/>
                      <a:gd name="connsiteX7" fmla="*/ 0 w 37707"/>
                      <a:gd name="connsiteY7" fmla="*/ 16169 h 27467"/>
                      <a:gd name="connsiteX8" fmla="*/ 842 w 37707"/>
                      <a:gd name="connsiteY8" fmla="*/ 19668 h 27467"/>
                      <a:gd name="connsiteX9" fmla="*/ 3628 w 37707"/>
                      <a:gd name="connsiteY9" fmla="*/ 21223 h 27467"/>
                      <a:gd name="connsiteX10" fmla="*/ 25914 w 37707"/>
                      <a:gd name="connsiteY10" fmla="*/ 26859 h 274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7707" h="27467">
                        <a:moveTo>
                          <a:pt x="25979" y="26989"/>
                        </a:moveTo>
                        <a:cubicBezTo>
                          <a:pt x="29413" y="27636"/>
                          <a:pt x="33559" y="28025"/>
                          <a:pt x="35956" y="25434"/>
                        </a:cubicBezTo>
                        <a:cubicBezTo>
                          <a:pt x="38483" y="22777"/>
                          <a:pt x="37770" y="18566"/>
                          <a:pt x="36928" y="15003"/>
                        </a:cubicBezTo>
                        <a:cubicBezTo>
                          <a:pt x="32846" y="14550"/>
                          <a:pt x="28441" y="13967"/>
                          <a:pt x="25655" y="10986"/>
                        </a:cubicBezTo>
                        <a:cubicBezTo>
                          <a:pt x="24619" y="9885"/>
                          <a:pt x="23906" y="8525"/>
                          <a:pt x="23129" y="7229"/>
                        </a:cubicBezTo>
                        <a:cubicBezTo>
                          <a:pt x="22027" y="5285"/>
                          <a:pt x="20991" y="3342"/>
                          <a:pt x="19889" y="1333"/>
                        </a:cubicBezTo>
                        <a:cubicBezTo>
                          <a:pt x="14577" y="232"/>
                          <a:pt x="9135" y="-221"/>
                          <a:pt x="3693" y="102"/>
                        </a:cubicBezTo>
                        <a:cubicBezTo>
                          <a:pt x="1361" y="5091"/>
                          <a:pt x="65" y="10598"/>
                          <a:pt x="0" y="16169"/>
                        </a:cubicBezTo>
                        <a:cubicBezTo>
                          <a:pt x="0" y="17400"/>
                          <a:pt x="0" y="18696"/>
                          <a:pt x="842" y="19668"/>
                        </a:cubicBezTo>
                        <a:cubicBezTo>
                          <a:pt x="1555" y="20510"/>
                          <a:pt x="2591" y="20899"/>
                          <a:pt x="3628" y="21223"/>
                        </a:cubicBezTo>
                        <a:cubicBezTo>
                          <a:pt x="10949" y="23555"/>
                          <a:pt x="18399" y="25498"/>
                          <a:pt x="25914" y="26859"/>
                        </a:cubicBezTo>
                        <a:close/>
                      </a:path>
                    </a:pathLst>
                  </a:custGeom>
                  <a:solidFill>
                    <a:srgbClr val="666666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78C28562-9D12-4832-BA69-B1751163B576}"/>
                      </a:ext>
                    </a:extLst>
                  </p:cNvPr>
                  <p:cNvSpPr/>
                  <p:nvPr/>
                </p:nvSpPr>
                <p:spPr>
                  <a:xfrm>
                    <a:off x="3167548" y="2597081"/>
                    <a:ext cx="67636" cy="50401"/>
                  </a:xfrm>
                  <a:custGeom>
                    <a:avLst/>
                    <a:gdLst>
                      <a:gd name="connsiteX0" fmla="*/ 7839 w 67636"/>
                      <a:gd name="connsiteY0" fmla="*/ 39517 h 50401"/>
                      <a:gd name="connsiteX1" fmla="*/ 12309 w 67636"/>
                      <a:gd name="connsiteY1" fmla="*/ 38610 h 50401"/>
                      <a:gd name="connsiteX2" fmla="*/ 21768 w 67636"/>
                      <a:gd name="connsiteY2" fmla="*/ 33039 h 50401"/>
                      <a:gd name="connsiteX3" fmla="*/ 43277 w 67636"/>
                      <a:gd name="connsiteY3" fmla="*/ 9910 h 50401"/>
                      <a:gd name="connsiteX4" fmla="*/ 48978 w 67636"/>
                      <a:gd name="connsiteY4" fmla="*/ 3626 h 50401"/>
                      <a:gd name="connsiteX5" fmla="*/ 52476 w 67636"/>
                      <a:gd name="connsiteY5" fmla="*/ 1941 h 50401"/>
                      <a:gd name="connsiteX6" fmla="*/ 67636 w 67636"/>
                      <a:gd name="connsiteY6" fmla="*/ 257 h 50401"/>
                      <a:gd name="connsiteX7" fmla="*/ 50533 w 67636"/>
                      <a:gd name="connsiteY7" fmla="*/ 18073 h 50401"/>
                      <a:gd name="connsiteX8" fmla="*/ 44508 w 67636"/>
                      <a:gd name="connsiteY8" fmla="*/ 27337 h 50401"/>
                      <a:gd name="connsiteX9" fmla="*/ 39714 w 67636"/>
                      <a:gd name="connsiteY9" fmla="*/ 33427 h 50401"/>
                      <a:gd name="connsiteX10" fmla="*/ 19241 w 67636"/>
                      <a:gd name="connsiteY10" fmla="*/ 41525 h 50401"/>
                      <a:gd name="connsiteX11" fmla="*/ 0 w 67636"/>
                      <a:gd name="connsiteY11" fmla="*/ 50401 h 50401"/>
                      <a:gd name="connsiteX12" fmla="*/ 7709 w 67636"/>
                      <a:gd name="connsiteY12" fmla="*/ 39582 h 504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7636" h="50401">
                        <a:moveTo>
                          <a:pt x="7839" y="39517"/>
                        </a:moveTo>
                        <a:cubicBezTo>
                          <a:pt x="9264" y="39064"/>
                          <a:pt x="10819" y="38934"/>
                          <a:pt x="12309" y="38610"/>
                        </a:cubicBezTo>
                        <a:cubicBezTo>
                          <a:pt x="15937" y="37768"/>
                          <a:pt x="18982" y="35436"/>
                          <a:pt x="21768" y="33039"/>
                        </a:cubicBezTo>
                        <a:cubicBezTo>
                          <a:pt x="29801" y="26171"/>
                          <a:pt x="37057" y="18397"/>
                          <a:pt x="43277" y="9910"/>
                        </a:cubicBezTo>
                        <a:cubicBezTo>
                          <a:pt x="44961" y="7643"/>
                          <a:pt x="46646" y="5245"/>
                          <a:pt x="48978" y="3626"/>
                        </a:cubicBezTo>
                        <a:cubicBezTo>
                          <a:pt x="50079" y="2913"/>
                          <a:pt x="51246" y="2395"/>
                          <a:pt x="52476" y="1941"/>
                        </a:cubicBezTo>
                        <a:cubicBezTo>
                          <a:pt x="57335" y="192"/>
                          <a:pt x="62583" y="-391"/>
                          <a:pt x="67636" y="257"/>
                        </a:cubicBezTo>
                        <a:cubicBezTo>
                          <a:pt x="65563" y="8614"/>
                          <a:pt x="58761" y="15676"/>
                          <a:pt x="50533" y="18073"/>
                        </a:cubicBezTo>
                        <a:cubicBezTo>
                          <a:pt x="48525" y="21183"/>
                          <a:pt x="46516" y="24228"/>
                          <a:pt x="44508" y="27337"/>
                        </a:cubicBezTo>
                        <a:cubicBezTo>
                          <a:pt x="43083" y="29475"/>
                          <a:pt x="41657" y="31678"/>
                          <a:pt x="39714" y="33427"/>
                        </a:cubicBezTo>
                        <a:cubicBezTo>
                          <a:pt x="34207" y="38351"/>
                          <a:pt x="25979" y="38416"/>
                          <a:pt x="19241" y="41525"/>
                        </a:cubicBezTo>
                        <a:cubicBezTo>
                          <a:pt x="12763" y="44506"/>
                          <a:pt x="7126" y="50466"/>
                          <a:pt x="0" y="50401"/>
                        </a:cubicBezTo>
                        <a:cubicBezTo>
                          <a:pt x="907" y="45866"/>
                          <a:pt x="3304" y="41072"/>
                          <a:pt x="7709" y="39582"/>
                        </a:cubicBezTo>
                        <a:close/>
                      </a:path>
                    </a:pathLst>
                  </a:custGeom>
                  <a:solidFill>
                    <a:srgbClr val="666666"/>
                  </a:solidFill>
                  <a:ln w="6472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grpSp>
                <p:nvGrpSpPr>
                  <p:cNvPr id="32" name="Graphic 413">
                    <a:extLst>
                      <a:ext uri="{FF2B5EF4-FFF2-40B4-BE49-F238E27FC236}">
                        <a16:creationId xmlns:a16="http://schemas.microsoft.com/office/drawing/2014/main" id="{A42C0394-115B-454D-AB65-2D1C3FF5A042}"/>
                      </a:ext>
                    </a:extLst>
                  </p:cNvPr>
                  <p:cNvGrpSpPr/>
                  <p:nvPr/>
                </p:nvGrpSpPr>
                <p:grpSpPr>
                  <a:xfrm>
                    <a:off x="2840632" y="1314629"/>
                    <a:ext cx="8924199" cy="4743195"/>
                    <a:chOff x="2840632" y="1314629"/>
                    <a:chExt cx="8924199" cy="4743195"/>
                  </a:xfrm>
                </p:grpSpPr>
                <p:sp>
                  <p:nvSpPr>
                    <p:cNvPr id="33" name="Freeform: Shape 32">
                      <a:extLst>
                        <a:ext uri="{FF2B5EF4-FFF2-40B4-BE49-F238E27FC236}">
                          <a16:creationId xmlns:a16="http://schemas.microsoft.com/office/drawing/2014/main" id="{22DEC7F5-C26E-40AB-B5BD-D4BFFD3479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56890" y="1776616"/>
                      <a:ext cx="36446" cy="35033"/>
                    </a:xfrm>
                    <a:custGeom>
                      <a:avLst/>
                      <a:gdLst>
                        <a:gd name="connsiteX0" fmla="*/ 23294 w 36446"/>
                        <a:gd name="connsiteY0" fmla="*/ 24051 h 35033"/>
                        <a:gd name="connsiteX1" fmla="*/ 36186 w 36446"/>
                        <a:gd name="connsiteY1" fmla="*/ 18220 h 35033"/>
                        <a:gd name="connsiteX2" fmla="*/ 35733 w 36446"/>
                        <a:gd name="connsiteY2" fmla="*/ 7336 h 35033"/>
                        <a:gd name="connsiteX3" fmla="*/ 31846 w 36446"/>
                        <a:gd name="connsiteY3" fmla="*/ 1959 h 35033"/>
                        <a:gd name="connsiteX4" fmla="*/ 28153 w 36446"/>
                        <a:gd name="connsiteY4" fmla="*/ 275 h 35033"/>
                        <a:gd name="connsiteX5" fmla="*/ 21739 w 36446"/>
                        <a:gd name="connsiteY5" fmla="*/ 9021 h 35033"/>
                        <a:gd name="connsiteX6" fmla="*/ 16232 w 36446"/>
                        <a:gd name="connsiteY6" fmla="*/ 12066 h 35033"/>
                        <a:gd name="connsiteX7" fmla="*/ 3858 w 36446"/>
                        <a:gd name="connsiteY7" fmla="*/ 16018 h 35033"/>
                        <a:gd name="connsiteX8" fmla="*/ 2433 w 36446"/>
                        <a:gd name="connsiteY8" fmla="*/ 25671 h 35033"/>
                        <a:gd name="connsiteX9" fmla="*/ 360 w 36446"/>
                        <a:gd name="connsiteY9" fmla="*/ 27938 h 35033"/>
                        <a:gd name="connsiteX10" fmla="*/ 1979 w 36446"/>
                        <a:gd name="connsiteY10" fmla="*/ 33056 h 35033"/>
                        <a:gd name="connsiteX11" fmla="*/ 7551 w 36446"/>
                        <a:gd name="connsiteY11" fmla="*/ 34741 h 35033"/>
                        <a:gd name="connsiteX12" fmla="*/ 16297 w 36446"/>
                        <a:gd name="connsiteY12" fmla="*/ 33769 h 35033"/>
                        <a:gd name="connsiteX13" fmla="*/ 17333 w 36446"/>
                        <a:gd name="connsiteY13" fmla="*/ 26707 h 35033"/>
                        <a:gd name="connsiteX14" fmla="*/ 23294 w 36446"/>
                        <a:gd name="connsiteY14" fmla="*/ 23922 h 350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6446" h="35033">
                          <a:moveTo>
                            <a:pt x="23294" y="24051"/>
                          </a:moveTo>
                          <a:cubicBezTo>
                            <a:pt x="28023" y="23274"/>
                            <a:pt x="32493" y="21201"/>
                            <a:pt x="36186" y="18220"/>
                          </a:cubicBezTo>
                          <a:cubicBezTo>
                            <a:pt x="36640" y="14592"/>
                            <a:pt x="36510" y="10900"/>
                            <a:pt x="35733" y="7336"/>
                          </a:cubicBezTo>
                          <a:cubicBezTo>
                            <a:pt x="35279" y="5004"/>
                            <a:pt x="34178" y="2413"/>
                            <a:pt x="31846" y="1959"/>
                          </a:cubicBezTo>
                          <a:cubicBezTo>
                            <a:pt x="32105" y="275"/>
                            <a:pt x="29643" y="-438"/>
                            <a:pt x="28153" y="275"/>
                          </a:cubicBezTo>
                          <a:cubicBezTo>
                            <a:pt x="24849" y="1894"/>
                            <a:pt x="24266" y="6365"/>
                            <a:pt x="21739" y="9021"/>
                          </a:cubicBezTo>
                          <a:cubicBezTo>
                            <a:pt x="20249" y="10511"/>
                            <a:pt x="18240" y="11353"/>
                            <a:pt x="16232" y="12066"/>
                          </a:cubicBezTo>
                          <a:cubicBezTo>
                            <a:pt x="12151" y="13556"/>
                            <a:pt x="8004" y="14852"/>
                            <a:pt x="3858" y="16018"/>
                          </a:cubicBezTo>
                          <a:cubicBezTo>
                            <a:pt x="4312" y="19322"/>
                            <a:pt x="4636" y="23144"/>
                            <a:pt x="2433" y="25671"/>
                          </a:cubicBezTo>
                          <a:cubicBezTo>
                            <a:pt x="1720" y="26448"/>
                            <a:pt x="813" y="27031"/>
                            <a:pt x="360" y="27938"/>
                          </a:cubicBezTo>
                          <a:cubicBezTo>
                            <a:pt x="-547" y="29688"/>
                            <a:pt x="360" y="31955"/>
                            <a:pt x="1979" y="33056"/>
                          </a:cubicBezTo>
                          <a:cubicBezTo>
                            <a:pt x="3599" y="34223"/>
                            <a:pt x="5607" y="34546"/>
                            <a:pt x="7551" y="34741"/>
                          </a:cubicBezTo>
                          <a:cubicBezTo>
                            <a:pt x="10531" y="35130"/>
                            <a:pt x="13770" y="35389"/>
                            <a:pt x="16297" y="33769"/>
                          </a:cubicBezTo>
                          <a:cubicBezTo>
                            <a:pt x="17722" y="31825"/>
                            <a:pt x="16232" y="28910"/>
                            <a:pt x="17333" y="26707"/>
                          </a:cubicBezTo>
                          <a:cubicBezTo>
                            <a:pt x="18370" y="24634"/>
                            <a:pt x="21091" y="24310"/>
                            <a:pt x="23294" y="23922"/>
                          </a:cubicBez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6472" cap="flat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a-DK"/>
                    </a:p>
                  </p:txBody>
                </p:sp>
                <p:sp>
                  <p:nvSpPr>
                    <p:cNvPr id="34" name="Freeform: Shape 33">
                      <a:extLst>
                        <a:ext uri="{FF2B5EF4-FFF2-40B4-BE49-F238E27FC236}">
                          <a16:creationId xmlns:a16="http://schemas.microsoft.com/office/drawing/2014/main" id="{EF5028B2-544F-4FB5-AE82-E8F2BE7EBD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99973" y="1635957"/>
                      <a:ext cx="53484" cy="17063"/>
                    </a:xfrm>
                    <a:custGeom>
                      <a:avLst/>
                      <a:gdLst>
                        <a:gd name="connsiteX0" fmla="*/ 47229 w 53484"/>
                        <a:gd name="connsiteY0" fmla="*/ 16999 h 17063"/>
                        <a:gd name="connsiteX1" fmla="*/ 53124 w 53484"/>
                        <a:gd name="connsiteY1" fmla="*/ 14861 h 17063"/>
                        <a:gd name="connsiteX2" fmla="*/ 51051 w 53484"/>
                        <a:gd name="connsiteY2" fmla="*/ 9225 h 17063"/>
                        <a:gd name="connsiteX3" fmla="*/ 45285 w 53484"/>
                        <a:gd name="connsiteY3" fmla="*/ 6115 h 17063"/>
                        <a:gd name="connsiteX4" fmla="*/ 41916 w 53484"/>
                        <a:gd name="connsiteY4" fmla="*/ 3200 h 17063"/>
                        <a:gd name="connsiteX5" fmla="*/ 29931 w 53484"/>
                        <a:gd name="connsiteY5" fmla="*/ 90 h 17063"/>
                        <a:gd name="connsiteX6" fmla="*/ 17881 w 53484"/>
                        <a:gd name="connsiteY6" fmla="*/ 4042 h 17063"/>
                        <a:gd name="connsiteX7" fmla="*/ 5053 w 53484"/>
                        <a:gd name="connsiteY7" fmla="*/ 11946 h 17063"/>
                        <a:gd name="connsiteX8" fmla="*/ 0 w 53484"/>
                        <a:gd name="connsiteY8" fmla="*/ 13630 h 17063"/>
                        <a:gd name="connsiteX9" fmla="*/ 25266 w 53484"/>
                        <a:gd name="connsiteY9" fmla="*/ 16869 h 17063"/>
                        <a:gd name="connsiteX10" fmla="*/ 47164 w 53484"/>
                        <a:gd name="connsiteY10" fmla="*/ 17064 h 170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53484" h="17063">
                          <a:moveTo>
                            <a:pt x="47229" y="16999"/>
                          </a:moveTo>
                          <a:cubicBezTo>
                            <a:pt x="49432" y="16999"/>
                            <a:pt x="52088" y="16805"/>
                            <a:pt x="53124" y="14861"/>
                          </a:cubicBezTo>
                          <a:cubicBezTo>
                            <a:pt x="54161" y="12917"/>
                            <a:pt x="52800" y="10520"/>
                            <a:pt x="51051" y="9225"/>
                          </a:cubicBezTo>
                          <a:cubicBezTo>
                            <a:pt x="49302" y="7929"/>
                            <a:pt x="47099" y="7346"/>
                            <a:pt x="45285" y="6115"/>
                          </a:cubicBezTo>
                          <a:cubicBezTo>
                            <a:pt x="44054" y="5273"/>
                            <a:pt x="43082" y="4171"/>
                            <a:pt x="41916" y="3200"/>
                          </a:cubicBezTo>
                          <a:cubicBezTo>
                            <a:pt x="38612" y="543"/>
                            <a:pt x="34142" y="-299"/>
                            <a:pt x="29931" y="90"/>
                          </a:cubicBezTo>
                          <a:cubicBezTo>
                            <a:pt x="25720" y="543"/>
                            <a:pt x="21703" y="2098"/>
                            <a:pt x="17881" y="4042"/>
                          </a:cubicBezTo>
                          <a:cubicBezTo>
                            <a:pt x="13411" y="6309"/>
                            <a:pt x="9070" y="8901"/>
                            <a:pt x="5053" y="11946"/>
                          </a:cubicBezTo>
                          <a:cubicBezTo>
                            <a:pt x="3563" y="13047"/>
                            <a:pt x="1684" y="14278"/>
                            <a:pt x="0" y="13630"/>
                          </a:cubicBezTo>
                          <a:cubicBezTo>
                            <a:pt x="7969" y="16675"/>
                            <a:pt x="16715" y="16805"/>
                            <a:pt x="25266" y="16869"/>
                          </a:cubicBezTo>
                          <a:cubicBezTo>
                            <a:pt x="32587" y="16869"/>
                            <a:pt x="39908" y="16999"/>
                            <a:pt x="47164" y="17064"/>
                          </a:cubicBez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6472" cap="flat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a-DK"/>
                    </a:p>
                  </p:txBody>
                </p:sp>
                <p:grpSp>
                  <p:nvGrpSpPr>
                    <p:cNvPr id="35" name="Graphic 413">
                      <a:extLst>
                        <a:ext uri="{FF2B5EF4-FFF2-40B4-BE49-F238E27FC236}">
                          <a16:creationId xmlns:a16="http://schemas.microsoft.com/office/drawing/2014/main" id="{ED23D733-02C0-4622-A247-F0108FAD1B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40632" y="1314629"/>
                      <a:ext cx="8924199" cy="4743195"/>
                      <a:chOff x="2840632" y="1314629"/>
                      <a:chExt cx="8924199" cy="4743195"/>
                    </a:xfrm>
                  </p:grpSpPr>
                  <p:sp>
                    <p:nvSpPr>
                      <p:cNvPr id="36" name="Freeform: Shape 35">
                        <a:extLst>
                          <a:ext uri="{FF2B5EF4-FFF2-40B4-BE49-F238E27FC236}">
                            <a16:creationId xmlns:a16="http://schemas.microsoft.com/office/drawing/2014/main" id="{BB35C2FC-1CCE-4E52-B073-327F16B38F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31797" y="1682670"/>
                        <a:ext cx="67731" cy="27811"/>
                      </a:xfrm>
                      <a:custGeom>
                        <a:avLst/>
                        <a:gdLst>
                          <a:gd name="connsiteX0" fmla="*/ 38066 w 67731"/>
                          <a:gd name="connsiteY0" fmla="*/ 23346 h 27811"/>
                          <a:gd name="connsiteX1" fmla="*/ 42796 w 67731"/>
                          <a:gd name="connsiteY1" fmla="*/ 20171 h 27811"/>
                          <a:gd name="connsiteX2" fmla="*/ 45581 w 67731"/>
                          <a:gd name="connsiteY2" fmla="*/ 19847 h 27811"/>
                          <a:gd name="connsiteX3" fmla="*/ 58927 w 67731"/>
                          <a:gd name="connsiteY3" fmla="*/ 14859 h 27811"/>
                          <a:gd name="connsiteX4" fmla="*/ 65341 w 67731"/>
                          <a:gd name="connsiteY4" fmla="*/ 10389 h 27811"/>
                          <a:gd name="connsiteX5" fmla="*/ 67544 w 67731"/>
                          <a:gd name="connsiteY5" fmla="*/ 3197 h 27811"/>
                          <a:gd name="connsiteX6" fmla="*/ 41111 w 67731"/>
                          <a:gd name="connsiteY6" fmla="*/ 23 h 27811"/>
                          <a:gd name="connsiteX7" fmla="*/ 37937 w 67731"/>
                          <a:gd name="connsiteY7" fmla="*/ 865 h 27811"/>
                          <a:gd name="connsiteX8" fmla="*/ 36447 w 67731"/>
                          <a:gd name="connsiteY8" fmla="*/ 3068 h 27811"/>
                          <a:gd name="connsiteX9" fmla="*/ 26146 w 67731"/>
                          <a:gd name="connsiteY9" fmla="*/ 6113 h 27811"/>
                          <a:gd name="connsiteX10" fmla="*/ 15067 w 67731"/>
                          <a:gd name="connsiteY10" fmla="*/ 6566 h 27811"/>
                          <a:gd name="connsiteX11" fmla="*/ 3795 w 67731"/>
                          <a:gd name="connsiteY11" fmla="*/ 10259 h 27811"/>
                          <a:gd name="connsiteX12" fmla="*/ 815 w 67731"/>
                          <a:gd name="connsiteY12" fmla="*/ 20884 h 27811"/>
                          <a:gd name="connsiteX13" fmla="*/ 19343 w 67731"/>
                          <a:gd name="connsiteY13" fmla="*/ 27427 h 27811"/>
                          <a:gd name="connsiteX14" fmla="*/ 38066 w 67731"/>
                          <a:gd name="connsiteY14" fmla="*/ 23411 h 2781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67731" h="27811">
                            <a:moveTo>
                              <a:pt x="38066" y="23346"/>
                            </a:moveTo>
                            <a:cubicBezTo>
                              <a:pt x="39556" y="22180"/>
                              <a:pt x="40917" y="20690"/>
                              <a:pt x="42796" y="20171"/>
                            </a:cubicBezTo>
                            <a:cubicBezTo>
                              <a:pt x="43703" y="19912"/>
                              <a:pt x="44610" y="19912"/>
                              <a:pt x="45581" y="19847"/>
                            </a:cubicBezTo>
                            <a:cubicBezTo>
                              <a:pt x="50376" y="19523"/>
                              <a:pt x="54716" y="17126"/>
                              <a:pt x="58927" y="14859"/>
                            </a:cubicBezTo>
                            <a:cubicBezTo>
                              <a:pt x="61195" y="13628"/>
                              <a:pt x="63592" y="12332"/>
                              <a:pt x="65341" y="10389"/>
                            </a:cubicBezTo>
                            <a:cubicBezTo>
                              <a:pt x="67090" y="8445"/>
                              <a:pt x="68192" y="5724"/>
                              <a:pt x="67544" y="3197"/>
                            </a:cubicBezTo>
                            <a:cubicBezTo>
                              <a:pt x="58927" y="865"/>
                              <a:pt x="50052" y="-171"/>
                              <a:pt x="41111" y="23"/>
                            </a:cubicBezTo>
                            <a:cubicBezTo>
                              <a:pt x="40010" y="23"/>
                              <a:pt x="38779" y="153"/>
                              <a:pt x="37937" y="865"/>
                            </a:cubicBezTo>
                            <a:cubicBezTo>
                              <a:pt x="37289" y="1448"/>
                              <a:pt x="36900" y="2290"/>
                              <a:pt x="36447" y="3068"/>
                            </a:cubicBezTo>
                            <a:cubicBezTo>
                              <a:pt x="34374" y="6178"/>
                              <a:pt x="29838" y="6178"/>
                              <a:pt x="26146" y="6113"/>
                            </a:cubicBezTo>
                            <a:cubicBezTo>
                              <a:pt x="22453" y="6048"/>
                              <a:pt x="18760" y="6178"/>
                              <a:pt x="15067" y="6566"/>
                            </a:cubicBezTo>
                            <a:cubicBezTo>
                              <a:pt x="11051" y="7020"/>
                              <a:pt x="6904" y="7797"/>
                              <a:pt x="3795" y="10259"/>
                            </a:cubicBezTo>
                            <a:cubicBezTo>
                              <a:pt x="620" y="12721"/>
                              <a:pt x="-1129" y="17386"/>
                              <a:pt x="815" y="20884"/>
                            </a:cubicBezTo>
                            <a:cubicBezTo>
                              <a:pt x="6775" y="23605"/>
                              <a:pt x="12865" y="26391"/>
                              <a:pt x="19343" y="27427"/>
                            </a:cubicBezTo>
                            <a:cubicBezTo>
                              <a:pt x="25822" y="28464"/>
                              <a:pt x="32948" y="27492"/>
                              <a:pt x="38066" y="23411"/>
                            </a:cubicBezTo>
                            <a:close/>
                          </a:path>
                        </a:pathLst>
                      </a:custGeom>
                      <a:solidFill>
                        <a:srgbClr val="DDDDDD"/>
                      </a:solidFill>
                      <a:ln w="6472" cap="flat">
                        <a:solidFill>
                          <a:srgbClr val="FFFFF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da-DK"/>
                      </a:p>
                    </p:txBody>
                  </p:sp>
                  <p:grpSp>
                    <p:nvGrpSpPr>
                      <p:cNvPr id="37" name="Graphic 413">
                        <a:extLst>
                          <a:ext uri="{FF2B5EF4-FFF2-40B4-BE49-F238E27FC236}">
                            <a16:creationId xmlns:a16="http://schemas.microsoft.com/office/drawing/2014/main" id="{18143067-48CF-46B7-83C1-DC4FA9B91BE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2840632" y="1314629"/>
                        <a:ext cx="8924199" cy="4743195"/>
                        <a:chOff x="2840632" y="1314629"/>
                        <a:chExt cx="8924199" cy="4743195"/>
                      </a:xfrm>
                    </p:grpSpPr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5DAE5E16-0F3F-43CD-AFB9-47894A6BA1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193526" y="2108529"/>
                          <a:ext cx="26730" cy="16205"/>
                        </a:xfrm>
                        <a:custGeom>
                          <a:avLst/>
                          <a:gdLst>
                            <a:gd name="connsiteX0" fmla="*/ 18983 w 26730"/>
                            <a:gd name="connsiteY0" fmla="*/ 0 h 16205"/>
                            <a:gd name="connsiteX1" fmla="*/ 26174 w 26730"/>
                            <a:gd name="connsiteY1" fmla="*/ 4729 h 16205"/>
                            <a:gd name="connsiteX2" fmla="*/ 24489 w 26730"/>
                            <a:gd name="connsiteY2" fmla="*/ 13151 h 16205"/>
                            <a:gd name="connsiteX3" fmla="*/ 13670 w 26730"/>
                            <a:gd name="connsiteY3" fmla="*/ 16196 h 16205"/>
                            <a:gd name="connsiteX4" fmla="*/ 0 w 26730"/>
                            <a:gd name="connsiteY4" fmla="*/ 12374 h 16205"/>
                            <a:gd name="connsiteX5" fmla="*/ 7386 w 26730"/>
                            <a:gd name="connsiteY5" fmla="*/ 12050 h 16205"/>
                            <a:gd name="connsiteX6" fmla="*/ 13799 w 26730"/>
                            <a:gd name="connsiteY6" fmla="*/ 9070 h 16205"/>
                            <a:gd name="connsiteX7" fmla="*/ 16521 w 26730"/>
                            <a:gd name="connsiteY7" fmla="*/ 777 h 16205"/>
                            <a:gd name="connsiteX8" fmla="*/ 18983 w 26730"/>
                            <a:gd name="connsiteY8" fmla="*/ 65 h 1620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26730" h="16205">
                              <a:moveTo>
                                <a:pt x="18983" y="0"/>
                              </a:moveTo>
                              <a:cubicBezTo>
                                <a:pt x="22027" y="0"/>
                                <a:pt x="25007" y="1879"/>
                                <a:pt x="26174" y="4729"/>
                              </a:cubicBezTo>
                              <a:cubicBezTo>
                                <a:pt x="27339" y="7515"/>
                                <a:pt x="26627" y="11014"/>
                                <a:pt x="24489" y="13151"/>
                              </a:cubicBezTo>
                              <a:cubicBezTo>
                                <a:pt x="21768" y="15872"/>
                                <a:pt x="17493" y="16132"/>
                                <a:pt x="13670" y="16196"/>
                              </a:cubicBezTo>
                              <a:cubicBezTo>
                                <a:pt x="8746" y="16261"/>
                                <a:pt x="3239" y="16067"/>
                                <a:pt x="0" y="12374"/>
                              </a:cubicBezTo>
                              <a:cubicBezTo>
                                <a:pt x="2397" y="11661"/>
                                <a:pt x="4924" y="12115"/>
                                <a:pt x="7386" y="12050"/>
                              </a:cubicBezTo>
                              <a:cubicBezTo>
                                <a:pt x="9848" y="12050"/>
                                <a:pt x="12634" y="11208"/>
                                <a:pt x="13799" y="9070"/>
                              </a:cubicBezTo>
                              <a:cubicBezTo>
                                <a:pt x="15289" y="6479"/>
                                <a:pt x="14124" y="2462"/>
                                <a:pt x="16521" y="777"/>
                              </a:cubicBezTo>
                              <a:cubicBezTo>
                                <a:pt x="17233" y="259"/>
                                <a:pt x="18140" y="130"/>
                                <a:pt x="18983" y="65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DDDDDD"/>
                        </a:solidFill>
                        <a:ln w="6472" cap="flat">
                          <a:solidFill>
                            <a:srgbClr val="FFFFFF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da-DK"/>
                        </a:p>
                      </p:txBody>
                    </p:sp>
                    <p:sp>
                      <p:nvSpPr>
                        <p:cNvPr id="39" name="Freeform: Shape 38">
                          <a:extLst>
                            <a:ext uri="{FF2B5EF4-FFF2-40B4-BE49-F238E27FC236}">
                              <a16:creationId xmlns:a16="http://schemas.microsoft.com/office/drawing/2014/main" id="{42AC192C-0B53-4568-A521-E9E2AE47D1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449364" y="2028725"/>
                          <a:ext cx="94191" cy="36636"/>
                        </a:xfrm>
                        <a:custGeom>
                          <a:avLst/>
                          <a:gdLst>
                            <a:gd name="connsiteX0" fmla="*/ 1685 w 94191"/>
                            <a:gd name="connsiteY0" fmla="*/ 32640 h 36636"/>
                            <a:gd name="connsiteX1" fmla="*/ 4536 w 94191"/>
                            <a:gd name="connsiteY1" fmla="*/ 16055 h 36636"/>
                            <a:gd name="connsiteX2" fmla="*/ 19436 w 94191"/>
                            <a:gd name="connsiteY2" fmla="*/ 10224 h 36636"/>
                            <a:gd name="connsiteX3" fmla="*/ 23064 w 94191"/>
                            <a:gd name="connsiteY3" fmla="*/ 6013 h 36636"/>
                            <a:gd name="connsiteX4" fmla="*/ 32782 w 94191"/>
                            <a:gd name="connsiteY4" fmla="*/ 2903 h 36636"/>
                            <a:gd name="connsiteX5" fmla="*/ 55457 w 94191"/>
                            <a:gd name="connsiteY5" fmla="*/ 765 h 36636"/>
                            <a:gd name="connsiteX6" fmla="*/ 88757 w 94191"/>
                            <a:gd name="connsiteY6" fmla="*/ 5171 h 36636"/>
                            <a:gd name="connsiteX7" fmla="*/ 94004 w 94191"/>
                            <a:gd name="connsiteY7" fmla="*/ 14824 h 36636"/>
                            <a:gd name="connsiteX8" fmla="*/ 87980 w 94191"/>
                            <a:gd name="connsiteY8" fmla="*/ 20266 h 36636"/>
                            <a:gd name="connsiteX9" fmla="*/ 79557 w 94191"/>
                            <a:gd name="connsiteY9" fmla="*/ 20460 h 36636"/>
                            <a:gd name="connsiteX10" fmla="*/ 51894 w 94191"/>
                            <a:gd name="connsiteY10" fmla="*/ 17739 h 36636"/>
                            <a:gd name="connsiteX11" fmla="*/ 34855 w 94191"/>
                            <a:gd name="connsiteY11" fmla="*/ 21043 h 36636"/>
                            <a:gd name="connsiteX12" fmla="*/ 31616 w 94191"/>
                            <a:gd name="connsiteY12" fmla="*/ 24736 h 36636"/>
                            <a:gd name="connsiteX13" fmla="*/ 17558 w 94191"/>
                            <a:gd name="connsiteY13" fmla="*/ 31344 h 36636"/>
                            <a:gd name="connsiteX14" fmla="*/ 4666 w 94191"/>
                            <a:gd name="connsiteY14" fmla="*/ 36074 h 36636"/>
                            <a:gd name="connsiteX15" fmla="*/ 1490 w 94191"/>
                            <a:gd name="connsiteY15" fmla="*/ 32575 h 3663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</a:cxnLst>
                          <a:rect l="l" t="t" r="r" b="b"/>
                          <a:pathLst>
                            <a:path w="94191" h="36636">
                              <a:moveTo>
                                <a:pt x="1685" y="32640"/>
                              </a:moveTo>
                              <a:cubicBezTo>
                                <a:pt x="-1165" y="27198"/>
                                <a:pt x="-518" y="19553"/>
                                <a:pt x="4536" y="16055"/>
                              </a:cubicBezTo>
                              <a:cubicBezTo>
                                <a:pt x="9006" y="13010"/>
                                <a:pt x="15484" y="13917"/>
                                <a:pt x="19436" y="10224"/>
                              </a:cubicBezTo>
                              <a:cubicBezTo>
                                <a:pt x="20797" y="8993"/>
                                <a:pt x="21703" y="7244"/>
                                <a:pt x="23064" y="6013"/>
                              </a:cubicBezTo>
                              <a:cubicBezTo>
                                <a:pt x="25656" y="3681"/>
                                <a:pt x="29348" y="3227"/>
                                <a:pt x="32782" y="2903"/>
                              </a:cubicBezTo>
                              <a:cubicBezTo>
                                <a:pt x="40362" y="2191"/>
                                <a:pt x="47877" y="1478"/>
                                <a:pt x="55457" y="765"/>
                              </a:cubicBezTo>
                              <a:cubicBezTo>
                                <a:pt x="66860" y="-336"/>
                                <a:pt x="79233" y="-1178"/>
                                <a:pt x="88757" y="5171"/>
                              </a:cubicBezTo>
                              <a:cubicBezTo>
                                <a:pt x="91997" y="7374"/>
                                <a:pt x="94976" y="11001"/>
                                <a:pt x="94004" y="14824"/>
                              </a:cubicBezTo>
                              <a:cubicBezTo>
                                <a:pt x="93357" y="17545"/>
                                <a:pt x="90765" y="19488"/>
                                <a:pt x="87980" y="20266"/>
                              </a:cubicBezTo>
                              <a:cubicBezTo>
                                <a:pt x="85259" y="20978"/>
                                <a:pt x="82344" y="20719"/>
                                <a:pt x="79557" y="20460"/>
                              </a:cubicBezTo>
                              <a:cubicBezTo>
                                <a:pt x="70358" y="19553"/>
                                <a:pt x="61094" y="18646"/>
                                <a:pt x="51894" y="17739"/>
                              </a:cubicBezTo>
                              <a:cubicBezTo>
                                <a:pt x="45934" y="17156"/>
                                <a:pt x="39131" y="16832"/>
                                <a:pt x="34855" y="21043"/>
                              </a:cubicBezTo>
                              <a:cubicBezTo>
                                <a:pt x="33689" y="22209"/>
                                <a:pt x="32782" y="23635"/>
                                <a:pt x="31616" y="24736"/>
                              </a:cubicBezTo>
                              <a:cubicBezTo>
                                <a:pt x="27923" y="28429"/>
                                <a:pt x="22092" y="28753"/>
                                <a:pt x="17558" y="31344"/>
                              </a:cubicBezTo>
                              <a:cubicBezTo>
                                <a:pt x="13411" y="33741"/>
                                <a:pt x="9006" y="38212"/>
                                <a:pt x="4666" y="36074"/>
                              </a:cubicBezTo>
                              <a:cubicBezTo>
                                <a:pt x="3240" y="35361"/>
                                <a:pt x="2268" y="34000"/>
                                <a:pt x="1490" y="32575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DDDDDD"/>
                        </a:solidFill>
                        <a:ln w="6472" cap="flat">
                          <a:solidFill>
                            <a:srgbClr val="FFFFFF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da-DK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B1586A81-857A-4F25-BFBC-B0EC0592E2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687646" y="2394948"/>
                          <a:ext cx="76286" cy="21317"/>
                        </a:xfrm>
                        <a:custGeom>
                          <a:avLst/>
                          <a:gdLst>
                            <a:gd name="connsiteX0" fmla="*/ 49821 w 76286"/>
                            <a:gd name="connsiteY0" fmla="*/ 3044 h 21317"/>
                            <a:gd name="connsiteX1" fmla="*/ 51569 w 76286"/>
                            <a:gd name="connsiteY1" fmla="*/ 9263 h 21317"/>
                            <a:gd name="connsiteX2" fmla="*/ 59214 w 76286"/>
                            <a:gd name="connsiteY2" fmla="*/ 9846 h 21317"/>
                            <a:gd name="connsiteX3" fmla="*/ 75605 w 76286"/>
                            <a:gd name="connsiteY3" fmla="*/ 17621 h 21317"/>
                            <a:gd name="connsiteX4" fmla="*/ 75605 w 76286"/>
                            <a:gd name="connsiteY4" fmla="*/ 20342 h 21317"/>
                            <a:gd name="connsiteX5" fmla="*/ 72496 w 76286"/>
                            <a:gd name="connsiteY5" fmla="*/ 21119 h 21317"/>
                            <a:gd name="connsiteX6" fmla="*/ 55651 w 76286"/>
                            <a:gd name="connsiteY6" fmla="*/ 21313 h 21317"/>
                            <a:gd name="connsiteX7" fmla="*/ 40491 w 76286"/>
                            <a:gd name="connsiteY7" fmla="*/ 15288 h 21317"/>
                            <a:gd name="connsiteX8" fmla="*/ 130 w 76286"/>
                            <a:gd name="connsiteY8" fmla="*/ 11596 h 21317"/>
                            <a:gd name="connsiteX9" fmla="*/ 0 w 76286"/>
                            <a:gd name="connsiteY9" fmla="*/ 3627 h 21317"/>
                            <a:gd name="connsiteX10" fmla="*/ 21573 w 76286"/>
                            <a:gd name="connsiteY10" fmla="*/ 2331 h 21317"/>
                            <a:gd name="connsiteX11" fmla="*/ 36021 w 76286"/>
                            <a:gd name="connsiteY11" fmla="*/ 193 h 21317"/>
                            <a:gd name="connsiteX12" fmla="*/ 49950 w 76286"/>
                            <a:gd name="connsiteY12" fmla="*/ 3044 h 2131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</a:cxnLst>
                          <a:rect l="l" t="t" r="r" b="b"/>
                          <a:pathLst>
                            <a:path w="76286" h="21317">
                              <a:moveTo>
                                <a:pt x="49821" y="3044"/>
                              </a:moveTo>
                              <a:cubicBezTo>
                                <a:pt x="47812" y="4664"/>
                                <a:pt x="49237" y="8162"/>
                                <a:pt x="51569" y="9263"/>
                              </a:cubicBezTo>
                              <a:cubicBezTo>
                                <a:pt x="53901" y="10300"/>
                                <a:pt x="56623" y="9846"/>
                                <a:pt x="59214" y="9846"/>
                              </a:cubicBezTo>
                              <a:cubicBezTo>
                                <a:pt x="65433" y="9846"/>
                                <a:pt x="71653" y="12762"/>
                                <a:pt x="75605" y="17621"/>
                              </a:cubicBezTo>
                              <a:cubicBezTo>
                                <a:pt x="76576" y="18074"/>
                                <a:pt x="76447" y="19694"/>
                                <a:pt x="75605" y="20342"/>
                              </a:cubicBezTo>
                              <a:cubicBezTo>
                                <a:pt x="74763" y="21054"/>
                                <a:pt x="73596" y="21054"/>
                                <a:pt x="72496" y="21119"/>
                              </a:cubicBezTo>
                              <a:cubicBezTo>
                                <a:pt x="66859" y="21184"/>
                                <a:pt x="61287" y="21249"/>
                                <a:pt x="55651" y="21313"/>
                              </a:cubicBezTo>
                              <a:cubicBezTo>
                                <a:pt x="49885" y="21378"/>
                                <a:pt x="42758" y="20666"/>
                                <a:pt x="40491" y="15288"/>
                              </a:cubicBezTo>
                              <a:cubicBezTo>
                                <a:pt x="26951" y="14770"/>
                                <a:pt x="13475" y="13539"/>
                                <a:pt x="130" y="11596"/>
                              </a:cubicBezTo>
                              <a:cubicBezTo>
                                <a:pt x="130" y="8939"/>
                                <a:pt x="65" y="6283"/>
                                <a:pt x="0" y="3627"/>
                              </a:cubicBezTo>
                              <a:cubicBezTo>
                                <a:pt x="6608" y="582"/>
                                <a:pt x="14317" y="2720"/>
                                <a:pt x="21573" y="2331"/>
                              </a:cubicBezTo>
                              <a:cubicBezTo>
                                <a:pt x="26432" y="2072"/>
                                <a:pt x="31162" y="712"/>
                                <a:pt x="36021" y="193"/>
                              </a:cubicBezTo>
                              <a:cubicBezTo>
                                <a:pt x="40880" y="-325"/>
                                <a:pt x="46063" y="64"/>
                                <a:pt x="49950" y="304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DDDDDD"/>
                        </a:solidFill>
                        <a:ln w="6472" cap="flat">
                          <a:solidFill>
                            <a:srgbClr val="FFFFFF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da-DK"/>
                        </a:p>
                      </p:txBody>
                    </p:sp>
                    <p:grpSp>
                      <p:nvGrpSpPr>
                        <p:cNvPr id="41" name="Graphic 413">
                          <a:extLst>
                            <a:ext uri="{FF2B5EF4-FFF2-40B4-BE49-F238E27FC236}">
                              <a16:creationId xmlns:a16="http://schemas.microsoft.com/office/drawing/2014/main" id="{CD8A4A4C-72D9-4532-88DC-F9D07BA2BA22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2840632" y="1314629"/>
                          <a:ext cx="8924199" cy="4743195"/>
                          <a:chOff x="2840632" y="1314629"/>
                          <a:chExt cx="8924199" cy="4743195"/>
                        </a:xfrm>
                      </p:grpSpPr>
                      <p:sp>
                        <p:nvSpPr>
                          <p:cNvPr id="42" name="Freeform: Shape 41">
                            <a:extLst>
                              <a:ext uri="{FF2B5EF4-FFF2-40B4-BE49-F238E27FC236}">
                                <a16:creationId xmlns:a16="http://schemas.microsoft.com/office/drawing/2014/main" id="{FC580ED3-50BD-40D7-8436-74F4D48D76F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0489629" y="1904489"/>
                            <a:ext cx="83080" cy="33136"/>
                          </a:xfrm>
                          <a:custGeom>
                            <a:avLst/>
                            <a:gdLst>
                              <a:gd name="connsiteX0" fmla="*/ 12634 w 83080"/>
                              <a:gd name="connsiteY0" fmla="*/ 10072 h 33136"/>
                              <a:gd name="connsiteX1" fmla="*/ 12634 w 83080"/>
                              <a:gd name="connsiteY1" fmla="*/ 7481 h 33136"/>
                              <a:gd name="connsiteX2" fmla="*/ 15031 w 83080"/>
                              <a:gd name="connsiteY2" fmla="*/ 5602 h 33136"/>
                              <a:gd name="connsiteX3" fmla="*/ 27728 w 83080"/>
                              <a:gd name="connsiteY3" fmla="*/ 1585 h 33136"/>
                              <a:gd name="connsiteX4" fmla="*/ 54550 w 83080"/>
                              <a:gd name="connsiteY4" fmla="*/ 225 h 33136"/>
                              <a:gd name="connsiteX5" fmla="*/ 60381 w 83080"/>
                              <a:gd name="connsiteY5" fmla="*/ 1391 h 33136"/>
                              <a:gd name="connsiteX6" fmla="*/ 62454 w 83080"/>
                              <a:gd name="connsiteY6" fmla="*/ 6444 h 33136"/>
                              <a:gd name="connsiteX7" fmla="*/ 60964 w 83080"/>
                              <a:gd name="connsiteY7" fmla="*/ 9554 h 33136"/>
                              <a:gd name="connsiteX8" fmla="*/ 66212 w 83080"/>
                              <a:gd name="connsiteY8" fmla="*/ 11303 h 33136"/>
                              <a:gd name="connsiteX9" fmla="*/ 72042 w 83080"/>
                              <a:gd name="connsiteY9" fmla="*/ 18300 h 33136"/>
                              <a:gd name="connsiteX10" fmla="*/ 82991 w 83080"/>
                              <a:gd name="connsiteY10" fmla="*/ 24196 h 33136"/>
                              <a:gd name="connsiteX11" fmla="*/ 78391 w 83080"/>
                              <a:gd name="connsiteY11" fmla="*/ 31711 h 33136"/>
                              <a:gd name="connsiteX12" fmla="*/ 69062 w 83080"/>
                              <a:gd name="connsiteY12" fmla="*/ 33071 h 33136"/>
                              <a:gd name="connsiteX13" fmla="*/ 14124 w 83080"/>
                              <a:gd name="connsiteY13" fmla="*/ 33136 h 33136"/>
                              <a:gd name="connsiteX14" fmla="*/ 8487 w 83080"/>
                              <a:gd name="connsiteY14" fmla="*/ 29897 h 33136"/>
                              <a:gd name="connsiteX15" fmla="*/ 11597 w 83080"/>
                              <a:gd name="connsiteY15" fmla="*/ 22835 h 33136"/>
                              <a:gd name="connsiteX16" fmla="*/ 0 w 83080"/>
                              <a:gd name="connsiteY16" fmla="*/ 15709 h 33136"/>
                              <a:gd name="connsiteX17" fmla="*/ 9589 w 83080"/>
                              <a:gd name="connsiteY17" fmla="*/ 12534 h 33136"/>
                              <a:gd name="connsiteX18" fmla="*/ 12699 w 83080"/>
                              <a:gd name="connsiteY18" fmla="*/ 10072 h 3313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</a:cxnLst>
                            <a:rect l="l" t="t" r="r" b="b"/>
                            <a:pathLst>
                              <a:path w="83080" h="33136">
                                <a:moveTo>
                                  <a:pt x="12634" y="10072"/>
                                </a:moveTo>
                                <a:cubicBezTo>
                                  <a:pt x="12828" y="9230"/>
                                  <a:pt x="12374" y="8323"/>
                                  <a:pt x="12634" y="7481"/>
                                </a:cubicBezTo>
                                <a:cubicBezTo>
                                  <a:pt x="12957" y="6444"/>
                                  <a:pt x="14059" y="5991"/>
                                  <a:pt x="15031" y="5602"/>
                                </a:cubicBezTo>
                                <a:cubicBezTo>
                                  <a:pt x="19177" y="4047"/>
                                  <a:pt x="23388" y="2557"/>
                                  <a:pt x="27728" y="1585"/>
                                </a:cubicBezTo>
                                <a:cubicBezTo>
                                  <a:pt x="36474" y="-358"/>
                                  <a:pt x="45545" y="-99"/>
                                  <a:pt x="54550" y="225"/>
                                </a:cubicBezTo>
                                <a:cubicBezTo>
                                  <a:pt x="56559" y="290"/>
                                  <a:pt x="58631" y="419"/>
                                  <a:pt x="60381" y="1391"/>
                                </a:cubicBezTo>
                                <a:cubicBezTo>
                                  <a:pt x="62130" y="2363"/>
                                  <a:pt x="63296" y="4630"/>
                                  <a:pt x="62454" y="6444"/>
                                </a:cubicBezTo>
                                <a:cubicBezTo>
                                  <a:pt x="61936" y="7546"/>
                                  <a:pt x="60834" y="8388"/>
                                  <a:pt x="60964" y="9554"/>
                                </a:cubicBezTo>
                                <a:cubicBezTo>
                                  <a:pt x="61158" y="11562"/>
                                  <a:pt x="64138" y="11238"/>
                                  <a:pt x="66212" y="11303"/>
                                </a:cubicBezTo>
                                <a:cubicBezTo>
                                  <a:pt x="69645" y="11433"/>
                                  <a:pt x="72560" y="14867"/>
                                  <a:pt x="72042" y="18300"/>
                                </a:cubicBezTo>
                                <a:cubicBezTo>
                                  <a:pt x="76577" y="18171"/>
                                  <a:pt x="82149" y="19725"/>
                                  <a:pt x="82991" y="24196"/>
                                </a:cubicBezTo>
                                <a:cubicBezTo>
                                  <a:pt x="83574" y="27305"/>
                                  <a:pt x="81242" y="30350"/>
                                  <a:pt x="78391" y="31711"/>
                                </a:cubicBezTo>
                                <a:cubicBezTo>
                                  <a:pt x="75540" y="33071"/>
                                  <a:pt x="72236" y="33071"/>
                                  <a:pt x="69062" y="33071"/>
                                </a:cubicBezTo>
                                <a:cubicBezTo>
                                  <a:pt x="50728" y="33071"/>
                                  <a:pt x="32458" y="33071"/>
                                  <a:pt x="14124" y="33136"/>
                                </a:cubicBezTo>
                                <a:cubicBezTo>
                                  <a:pt x="11662" y="33136"/>
                                  <a:pt x="8358" y="32294"/>
                                  <a:pt x="8487" y="29897"/>
                                </a:cubicBezTo>
                                <a:cubicBezTo>
                                  <a:pt x="8617" y="27111"/>
                                  <a:pt x="13346" y="24973"/>
                                  <a:pt x="11597" y="22835"/>
                                </a:cubicBezTo>
                                <a:cubicBezTo>
                                  <a:pt x="6933" y="22382"/>
                                  <a:pt x="2527" y="19661"/>
                                  <a:pt x="0" y="15709"/>
                                </a:cubicBezTo>
                                <a:cubicBezTo>
                                  <a:pt x="3174" y="14672"/>
                                  <a:pt x="6414" y="13571"/>
                                  <a:pt x="9589" y="12534"/>
                                </a:cubicBezTo>
                                <a:cubicBezTo>
                                  <a:pt x="10884" y="12081"/>
                                  <a:pt x="12439" y="11433"/>
                                  <a:pt x="12699" y="10072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3" name="Freeform: Shape 42">
                            <a:extLst>
                              <a:ext uri="{FF2B5EF4-FFF2-40B4-BE49-F238E27FC236}">
                                <a16:creationId xmlns:a16="http://schemas.microsoft.com/office/drawing/2014/main" id="{FBE20A21-707C-4C59-88D6-408F73493E4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0477079" y="1877439"/>
                            <a:ext cx="33253" cy="25395"/>
                          </a:xfrm>
                          <a:custGeom>
                            <a:avLst/>
                            <a:gdLst>
                              <a:gd name="connsiteX0" fmla="*/ 26155 w 33253"/>
                              <a:gd name="connsiteY0" fmla="*/ 454 h 25395"/>
                              <a:gd name="connsiteX1" fmla="*/ 14234 w 33253"/>
                              <a:gd name="connsiteY1" fmla="*/ 1037 h 25395"/>
                              <a:gd name="connsiteX2" fmla="*/ 13910 w 33253"/>
                              <a:gd name="connsiteY2" fmla="*/ 1037 h 25395"/>
                              <a:gd name="connsiteX3" fmla="*/ 13716 w 33253"/>
                              <a:gd name="connsiteY3" fmla="*/ 1360 h 25395"/>
                              <a:gd name="connsiteX4" fmla="*/ 11772 w 33253"/>
                              <a:gd name="connsiteY4" fmla="*/ 7321 h 25395"/>
                              <a:gd name="connsiteX5" fmla="*/ 7820 w 33253"/>
                              <a:gd name="connsiteY5" fmla="*/ 8293 h 25395"/>
                              <a:gd name="connsiteX6" fmla="*/ 3156 w 33253"/>
                              <a:gd name="connsiteY6" fmla="*/ 9264 h 25395"/>
                              <a:gd name="connsiteX7" fmla="*/ 46 w 33253"/>
                              <a:gd name="connsiteY7" fmla="*/ 14642 h 25395"/>
                              <a:gd name="connsiteX8" fmla="*/ 759 w 33253"/>
                              <a:gd name="connsiteY8" fmla="*/ 20408 h 25395"/>
                              <a:gd name="connsiteX9" fmla="*/ 889 w 33253"/>
                              <a:gd name="connsiteY9" fmla="*/ 20731 h 25395"/>
                              <a:gd name="connsiteX10" fmla="*/ 4711 w 33253"/>
                              <a:gd name="connsiteY10" fmla="*/ 24165 h 25395"/>
                              <a:gd name="connsiteX11" fmla="*/ 10152 w 33253"/>
                              <a:gd name="connsiteY11" fmla="*/ 25396 h 25395"/>
                              <a:gd name="connsiteX12" fmla="*/ 18251 w 33253"/>
                              <a:gd name="connsiteY12" fmla="*/ 23971 h 25395"/>
                              <a:gd name="connsiteX13" fmla="*/ 21684 w 33253"/>
                              <a:gd name="connsiteY13" fmla="*/ 22027 h 25395"/>
                              <a:gd name="connsiteX14" fmla="*/ 22202 w 33253"/>
                              <a:gd name="connsiteY14" fmla="*/ 18075 h 25395"/>
                              <a:gd name="connsiteX15" fmla="*/ 22138 w 33253"/>
                              <a:gd name="connsiteY15" fmla="*/ 16196 h 25395"/>
                              <a:gd name="connsiteX16" fmla="*/ 24859 w 33253"/>
                              <a:gd name="connsiteY16" fmla="*/ 12957 h 25395"/>
                              <a:gd name="connsiteX17" fmla="*/ 29718 w 33253"/>
                              <a:gd name="connsiteY17" fmla="*/ 12439 h 25395"/>
                              <a:gd name="connsiteX18" fmla="*/ 31985 w 33253"/>
                              <a:gd name="connsiteY18" fmla="*/ 12050 h 25395"/>
                              <a:gd name="connsiteX19" fmla="*/ 33152 w 33253"/>
                              <a:gd name="connsiteY19" fmla="*/ 10042 h 25395"/>
                              <a:gd name="connsiteX20" fmla="*/ 26155 w 33253"/>
                              <a:gd name="connsiteY20" fmla="*/ 454 h 25395"/>
                              <a:gd name="connsiteX21" fmla="*/ 30884 w 33253"/>
                              <a:gd name="connsiteY21" fmla="*/ 10431 h 25395"/>
                              <a:gd name="connsiteX22" fmla="*/ 29848 w 33253"/>
                              <a:gd name="connsiteY22" fmla="*/ 10431 h 25395"/>
                              <a:gd name="connsiteX23" fmla="*/ 24082 w 33253"/>
                              <a:gd name="connsiteY23" fmla="*/ 11143 h 25395"/>
                              <a:gd name="connsiteX24" fmla="*/ 20195 w 33253"/>
                              <a:gd name="connsiteY24" fmla="*/ 15872 h 25395"/>
                              <a:gd name="connsiteX25" fmla="*/ 20259 w 33253"/>
                              <a:gd name="connsiteY25" fmla="*/ 18205 h 25395"/>
                              <a:gd name="connsiteX26" fmla="*/ 20065 w 33253"/>
                              <a:gd name="connsiteY26" fmla="*/ 20861 h 25395"/>
                              <a:gd name="connsiteX27" fmla="*/ 17733 w 33253"/>
                              <a:gd name="connsiteY27" fmla="*/ 22027 h 25395"/>
                              <a:gd name="connsiteX28" fmla="*/ 5553 w 33253"/>
                              <a:gd name="connsiteY28" fmla="*/ 22351 h 25395"/>
                              <a:gd name="connsiteX29" fmla="*/ 2573 w 33253"/>
                              <a:gd name="connsiteY29" fmla="*/ 19760 h 25395"/>
                              <a:gd name="connsiteX30" fmla="*/ 1989 w 33253"/>
                              <a:gd name="connsiteY30" fmla="*/ 14771 h 25395"/>
                              <a:gd name="connsiteX31" fmla="*/ 4128 w 33253"/>
                              <a:gd name="connsiteY31" fmla="*/ 10884 h 25395"/>
                              <a:gd name="connsiteX32" fmla="*/ 7885 w 33253"/>
                              <a:gd name="connsiteY32" fmla="*/ 10171 h 25395"/>
                              <a:gd name="connsiteX33" fmla="*/ 13521 w 33253"/>
                              <a:gd name="connsiteY33" fmla="*/ 8163 h 25395"/>
                              <a:gd name="connsiteX34" fmla="*/ 13781 w 33253"/>
                              <a:gd name="connsiteY34" fmla="*/ 7904 h 25395"/>
                              <a:gd name="connsiteX35" fmla="*/ 13781 w 33253"/>
                              <a:gd name="connsiteY35" fmla="*/ 7515 h 25395"/>
                              <a:gd name="connsiteX36" fmla="*/ 15011 w 33253"/>
                              <a:gd name="connsiteY36" fmla="*/ 2786 h 25395"/>
                              <a:gd name="connsiteX37" fmla="*/ 25636 w 33253"/>
                              <a:gd name="connsiteY37" fmla="*/ 2267 h 25395"/>
                              <a:gd name="connsiteX38" fmla="*/ 31208 w 33253"/>
                              <a:gd name="connsiteY38" fmla="*/ 9588 h 25395"/>
                              <a:gd name="connsiteX39" fmla="*/ 30884 w 33253"/>
                              <a:gd name="connsiteY39" fmla="*/ 10366 h 2539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  <a:cxn ang="0">
                                <a:pos x="connsiteX30" y="connsiteY30"/>
                              </a:cxn>
                              <a:cxn ang="0">
                                <a:pos x="connsiteX31" y="connsiteY31"/>
                              </a:cxn>
                              <a:cxn ang="0">
                                <a:pos x="connsiteX32" y="connsiteY32"/>
                              </a:cxn>
                              <a:cxn ang="0">
                                <a:pos x="connsiteX33" y="connsiteY33"/>
                              </a:cxn>
                              <a:cxn ang="0">
                                <a:pos x="connsiteX34" y="connsiteY34"/>
                              </a:cxn>
                              <a:cxn ang="0">
                                <a:pos x="connsiteX35" y="connsiteY35"/>
                              </a:cxn>
                              <a:cxn ang="0">
                                <a:pos x="connsiteX36" y="connsiteY36"/>
                              </a:cxn>
                              <a:cxn ang="0">
                                <a:pos x="connsiteX37" y="connsiteY37"/>
                              </a:cxn>
                              <a:cxn ang="0">
                                <a:pos x="connsiteX38" y="connsiteY38"/>
                              </a:cxn>
                              <a:cxn ang="0">
                                <a:pos x="connsiteX39" y="connsiteY39"/>
                              </a:cxn>
                            </a:cxnLst>
                            <a:rect l="l" t="t" r="r" b="b"/>
                            <a:pathLst>
                              <a:path w="33253" h="25395">
                                <a:moveTo>
                                  <a:pt x="26155" y="454"/>
                                </a:moveTo>
                                <a:cubicBezTo>
                                  <a:pt x="22592" y="-518"/>
                                  <a:pt x="17797" y="259"/>
                                  <a:pt x="14234" y="1037"/>
                                </a:cubicBezTo>
                                <a:lnTo>
                                  <a:pt x="13910" y="1037"/>
                                </a:lnTo>
                                <a:cubicBezTo>
                                  <a:pt x="13910" y="1037"/>
                                  <a:pt x="13716" y="1360"/>
                                  <a:pt x="13716" y="1360"/>
                                </a:cubicBezTo>
                                <a:cubicBezTo>
                                  <a:pt x="12356" y="3045"/>
                                  <a:pt x="11707" y="5183"/>
                                  <a:pt x="11772" y="7321"/>
                                </a:cubicBezTo>
                                <a:cubicBezTo>
                                  <a:pt x="10865" y="8163"/>
                                  <a:pt x="9440" y="8228"/>
                                  <a:pt x="7820" y="8293"/>
                                </a:cubicBezTo>
                                <a:cubicBezTo>
                                  <a:pt x="6201" y="8357"/>
                                  <a:pt x="4581" y="8487"/>
                                  <a:pt x="3156" y="9264"/>
                                </a:cubicBezTo>
                                <a:cubicBezTo>
                                  <a:pt x="1407" y="10236"/>
                                  <a:pt x="241" y="12245"/>
                                  <a:pt x="46" y="14642"/>
                                </a:cubicBezTo>
                                <a:cubicBezTo>
                                  <a:pt x="-148" y="16650"/>
                                  <a:pt x="306" y="18593"/>
                                  <a:pt x="759" y="20408"/>
                                </a:cubicBezTo>
                                <a:lnTo>
                                  <a:pt x="889" y="20731"/>
                                </a:lnTo>
                                <a:cubicBezTo>
                                  <a:pt x="1796" y="22157"/>
                                  <a:pt x="3156" y="23388"/>
                                  <a:pt x="4711" y="24165"/>
                                </a:cubicBezTo>
                                <a:cubicBezTo>
                                  <a:pt x="6265" y="25007"/>
                                  <a:pt x="8080" y="25396"/>
                                  <a:pt x="10152" y="25396"/>
                                </a:cubicBezTo>
                                <a:cubicBezTo>
                                  <a:pt x="12874" y="25396"/>
                                  <a:pt x="15660" y="24683"/>
                                  <a:pt x="18251" y="23971"/>
                                </a:cubicBezTo>
                                <a:cubicBezTo>
                                  <a:pt x="19287" y="23712"/>
                                  <a:pt x="20842" y="23258"/>
                                  <a:pt x="21684" y="22027"/>
                                </a:cubicBezTo>
                                <a:cubicBezTo>
                                  <a:pt x="22527" y="20796"/>
                                  <a:pt x="22332" y="19306"/>
                                  <a:pt x="22202" y="18075"/>
                                </a:cubicBezTo>
                                <a:cubicBezTo>
                                  <a:pt x="22138" y="17363"/>
                                  <a:pt x="22074" y="16715"/>
                                  <a:pt x="22138" y="16196"/>
                                </a:cubicBezTo>
                                <a:cubicBezTo>
                                  <a:pt x="22267" y="14836"/>
                                  <a:pt x="23304" y="13605"/>
                                  <a:pt x="24859" y="12957"/>
                                </a:cubicBezTo>
                                <a:cubicBezTo>
                                  <a:pt x="26090" y="12439"/>
                                  <a:pt x="27840" y="12309"/>
                                  <a:pt x="29718" y="12439"/>
                                </a:cubicBezTo>
                                <a:cubicBezTo>
                                  <a:pt x="30560" y="12504"/>
                                  <a:pt x="31402" y="12439"/>
                                  <a:pt x="31985" y="12050"/>
                                </a:cubicBezTo>
                                <a:cubicBezTo>
                                  <a:pt x="32569" y="11661"/>
                                  <a:pt x="32957" y="10949"/>
                                  <a:pt x="33152" y="10042"/>
                                </a:cubicBezTo>
                                <a:cubicBezTo>
                                  <a:pt x="33929" y="5572"/>
                                  <a:pt x="30107" y="1620"/>
                                  <a:pt x="26155" y="454"/>
                                </a:cubicBezTo>
                                <a:close/>
                                <a:moveTo>
                                  <a:pt x="30884" y="10431"/>
                                </a:moveTo>
                                <a:cubicBezTo>
                                  <a:pt x="30884" y="10431"/>
                                  <a:pt x="30301" y="10560"/>
                                  <a:pt x="29848" y="10431"/>
                                </a:cubicBezTo>
                                <a:cubicBezTo>
                                  <a:pt x="27710" y="10301"/>
                                  <a:pt x="25636" y="10431"/>
                                  <a:pt x="24082" y="11143"/>
                                </a:cubicBezTo>
                                <a:cubicBezTo>
                                  <a:pt x="21944" y="12050"/>
                                  <a:pt x="20454" y="13864"/>
                                  <a:pt x="20195" y="15872"/>
                                </a:cubicBezTo>
                                <a:cubicBezTo>
                                  <a:pt x="20065" y="16650"/>
                                  <a:pt x="20195" y="17492"/>
                                  <a:pt x="20259" y="18205"/>
                                </a:cubicBezTo>
                                <a:cubicBezTo>
                                  <a:pt x="20389" y="19306"/>
                                  <a:pt x="20519" y="20213"/>
                                  <a:pt x="20065" y="20861"/>
                                </a:cubicBezTo>
                                <a:cubicBezTo>
                                  <a:pt x="19677" y="21509"/>
                                  <a:pt x="18705" y="21768"/>
                                  <a:pt x="17733" y="22027"/>
                                </a:cubicBezTo>
                                <a:cubicBezTo>
                                  <a:pt x="13521" y="23193"/>
                                  <a:pt x="8727" y="23971"/>
                                  <a:pt x="5553" y="22351"/>
                                </a:cubicBezTo>
                                <a:cubicBezTo>
                                  <a:pt x="4386" y="21768"/>
                                  <a:pt x="3350" y="20861"/>
                                  <a:pt x="2573" y="19760"/>
                                </a:cubicBezTo>
                                <a:cubicBezTo>
                                  <a:pt x="2249" y="18075"/>
                                  <a:pt x="1860" y="16391"/>
                                  <a:pt x="1989" y="14771"/>
                                </a:cubicBezTo>
                                <a:cubicBezTo>
                                  <a:pt x="2119" y="13411"/>
                                  <a:pt x="2703" y="11661"/>
                                  <a:pt x="4128" y="10884"/>
                                </a:cubicBezTo>
                                <a:cubicBezTo>
                                  <a:pt x="5165" y="10301"/>
                                  <a:pt x="6460" y="10236"/>
                                  <a:pt x="7885" y="10171"/>
                                </a:cubicBezTo>
                                <a:cubicBezTo>
                                  <a:pt x="9894" y="10042"/>
                                  <a:pt x="12096" y="9977"/>
                                  <a:pt x="13521" y="8163"/>
                                </a:cubicBezTo>
                                <a:lnTo>
                                  <a:pt x="13781" y="7904"/>
                                </a:lnTo>
                                <a:lnTo>
                                  <a:pt x="13781" y="7515"/>
                                </a:lnTo>
                                <a:cubicBezTo>
                                  <a:pt x="13586" y="5831"/>
                                  <a:pt x="14040" y="4146"/>
                                  <a:pt x="15011" y="2786"/>
                                </a:cubicBezTo>
                                <a:cubicBezTo>
                                  <a:pt x="18315" y="2073"/>
                                  <a:pt x="22527" y="1425"/>
                                  <a:pt x="25636" y="2267"/>
                                </a:cubicBezTo>
                                <a:cubicBezTo>
                                  <a:pt x="28811" y="3174"/>
                                  <a:pt x="31791" y="6349"/>
                                  <a:pt x="31208" y="9588"/>
                                </a:cubicBezTo>
                                <a:cubicBezTo>
                                  <a:pt x="31208" y="10171"/>
                                  <a:pt x="30949" y="10366"/>
                                  <a:pt x="30884" y="10366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4" name="Freeform: Shape 43">
                            <a:extLst>
                              <a:ext uri="{FF2B5EF4-FFF2-40B4-BE49-F238E27FC236}">
                                <a16:creationId xmlns:a16="http://schemas.microsoft.com/office/drawing/2014/main" id="{4EF6AFA6-CD44-4E2F-BEA8-3EDF62B9BB7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0424414" y="1789387"/>
                            <a:ext cx="120085" cy="65722"/>
                          </a:xfrm>
                          <a:custGeom>
                            <a:avLst/>
                            <a:gdLst>
                              <a:gd name="connsiteX0" fmla="*/ 87761 w 120085"/>
                              <a:gd name="connsiteY0" fmla="*/ 7459 h 65722"/>
                              <a:gd name="connsiteX1" fmla="*/ 96183 w 120085"/>
                              <a:gd name="connsiteY1" fmla="*/ 13354 h 65722"/>
                              <a:gd name="connsiteX2" fmla="*/ 99681 w 120085"/>
                              <a:gd name="connsiteY2" fmla="*/ 12253 h 65722"/>
                              <a:gd name="connsiteX3" fmla="*/ 109917 w 120085"/>
                              <a:gd name="connsiteY3" fmla="*/ 15168 h 65722"/>
                              <a:gd name="connsiteX4" fmla="*/ 108751 w 120085"/>
                              <a:gd name="connsiteY4" fmla="*/ 38037 h 65722"/>
                              <a:gd name="connsiteX5" fmla="*/ 119959 w 120085"/>
                              <a:gd name="connsiteY5" fmla="*/ 47172 h 65722"/>
                              <a:gd name="connsiteX6" fmla="*/ 116914 w 120085"/>
                              <a:gd name="connsiteY6" fmla="*/ 55400 h 65722"/>
                              <a:gd name="connsiteX7" fmla="*/ 111926 w 120085"/>
                              <a:gd name="connsiteY7" fmla="*/ 55983 h 65722"/>
                              <a:gd name="connsiteX8" fmla="*/ 83355 w 120085"/>
                              <a:gd name="connsiteY8" fmla="*/ 54299 h 65722"/>
                              <a:gd name="connsiteX9" fmla="*/ 76359 w 120085"/>
                              <a:gd name="connsiteY9" fmla="*/ 55594 h 65722"/>
                              <a:gd name="connsiteX10" fmla="*/ 73508 w 120085"/>
                              <a:gd name="connsiteY10" fmla="*/ 59222 h 65722"/>
                              <a:gd name="connsiteX11" fmla="*/ 57700 w 120085"/>
                              <a:gd name="connsiteY11" fmla="*/ 56048 h 65722"/>
                              <a:gd name="connsiteX12" fmla="*/ 56599 w 120085"/>
                              <a:gd name="connsiteY12" fmla="*/ 53521 h 65722"/>
                              <a:gd name="connsiteX13" fmla="*/ 54007 w 120085"/>
                              <a:gd name="connsiteY13" fmla="*/ 52679 h 65722"/>
                              <a:gd name="connsiteX14" fmla="*/ 43966 w 120085"/>
                              <a:gd name="connsiteY14" fmla="*/ 53975 h 65722"/>
                              <a:gd name="connsiteX15" fmla="*/ 33664 w 120085"/>
                              <a:gd name="connsiteY15" fmla="*/ 65507 h 65722"/>
                              <a:gd name="connsiteX16" fmla="*/ 27057 w 120085"/>
                              <a:gd name="connsiteY16" fmla="*/ 64729 h 65722"/>
                              <a:gd name="connsiteX17" fmla="*/ 12739 w 120085"/>
                              <a:gd name="connsiteY17" fmla="*/ 60000 h 65722"/>
                              <a:gd name="connsiteX18" fmla="*/ 7621 w 120085"/>
                              <a:gd name="connsiteY18" fmla="*/ 56696 h 65722"/>
                              <a:gd name="connsiteX19" fmla="*/ 7102 w 120085"/>
                              <a:gd name="connsiteY19" fmla="*/ 49958 h 65722"/>
                              <a:gd name="connsiteX20" fmla="*/ 364 w 120085"/>
                              <a:gd name="connsiteY20" fmla="*/ 31041 h 65722"/>
                              <a:gd name="connsiteX21" fmla="*/ 5223 w 120085"/>
                              <a:gd name="connsiteY21" fmla="*/ 24821 h 65722"/>
                              <a:gd name="connsiteX22" fmla="*/ 9370 w 120085"/>
                              <a:gd name="connsiteY22" fmla="*/ 7847 h 65722"/>
                              <a:gd name="connsiteX23" fmla="*/ 27898 w 120085"/>
                              <a:gd name="connsiteY23" fmla="*/ 1174 h 65722"/>
                              <a:gd name="connsiteX24" fmla="*/ 42994 w 120085"/>
                              <a:gd name="connsiteY24" fmla="*/ 721 h 65722"/>
                              <a:gd name="connsiteX25" fmla="*/ 56663 w 120085"/>
                              <a:gd name="connsiteY25" fmla="*/ 3960 h 65722"/>
                              <a:gd name="connsiteX26" fmla="*/ 64762 w 120085"/>
                              <a:gd name="connsiteY26" fmla="*/ 8042 h 65722"/>
                              <a:gd name="connsiteX27" fmla="*/ 67288 w 120085"/>
                              <a:gd name="connsiteY27" fmla="*/ 16269 h 65722"/>
                              <a:gd name="connsiteX28" fmla="*/ 77719 w 120085"/>
                              <a:gd name="connsiteY28" fmla="*/ 13225 h 65722"/>
                              <a:gd name="connsiteX29" fmla="*/ 87696 w 120085"/>
                              <a:gd name="connsiteY29" fmla="*/ 7588 h 6572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</a:cxnLst>
                            <a:rect l="l" t="t" r="r" b="b"/>
                            <a:pathLst>
                              <a:path w="120085" h="65722">
                                <a:moveTo>
                                  <a:pt x="87761" y="7459"/>
                                </a:moveTo>
                                <a:cubicBezTo>
                                  <a:pt x="88019" y="11346"/>
                                  <a:pt x="92425" y="14455"/>
                                  <a:pt x="96183" y="13354"/>
                                </a:cubicBezTo>
                                <a:cubicBezTo>
                                  <a:pt x="97349" y="13030"/>
                                  <a:pt x="98450" y="12382"/>
                                  <a:pt x="99681" y="12253"/>
                                </a:cubicBezTo>
                                <a:cubicBezTo>
                                  <a:pt x="103244" y="11864"/>
                                  <a:pt x="106354" y="15946"/>
                                  <a:pt x="109917" y="15168"/>
                                </a:cubicBezTo>
                                <a:cubicBezTo>
                                  <a:pt x="109529" y="22813"/>
                                  <a:pt x="109140" y="30393"/>
                                  <a:pt x="108751" y="38037"/>
                                </a:cubicBezTo>
                                <a:cubicBezTo>
                                  <a:pt x="113869" y="35900"/>
                                  <a:pt x="119247" y="41601"/>
                                  <a:pt x="119959" y="47172"/>
                                </a:cubicBezTo>
                                <a:cubicBezTo>
                                  <a:pt x="120412" y="50282"/>
                                  <a:pt x="119700" y="53975"/>
                                  <a:pt x="116914" y="55400"/>
                                </a:cubicBezTo>
                                <a:cubicBezTo>
                                  <a:pt x="115424" y="56177"/>
                                  <a:pt x="113610" y="56113"/>
                                  <a:pt x="111926" y="55983"/>
                                </a:cubicBezTo>
                                <a:cubicBezTo>
                                  <a:pt x="102402" y="55400"/>
                                  <a:pt x="92878" y="54817"/>
                                  <a:pt x="83355" y="54299"/>
                                </a:cubicBezTo>
                                <a:cubicBezTo>
                                  <a:pt x="80958" y="54169"/>
                                  <a:pt x="78237" y="54104"/>
                                  <a:pt x="76359" y="55594"/>
                                </a:cubicBezTo>
                                <a:cubicBezTo>
                                  <a:pt x="75127" y="56566"/>
                                  <a:pt x="74479" y="58056"/>
                                  <a:pt x="73508" y="59222"/>
                                </a:cubicBezTo>
                                <a:cubicBezTo>
                                  <a:pt x="69361" y="64340"/>
                                  <a:pt x="59514" y="62397"/>
                                  <a:pt x="57700" y="56048"/>
                                </a:cubicBezTo>
                                <a:cubicBezTo>
                                  <a:pt x="57441" y="55141"/>
                                  <a:pt x="57311" y="54169"/>
                                  <a:pt x="56599" y="53521"/>
                                </a:cubicBezTo>
                                <a:cubicBezTo>
                                  <a:pt x="55951" y="52873"/>
                                  <a:pt x="54979" y="52744"/>
                                  <a:pt x="54007" y="52679"/>
                                </a:cubicBezTo>
                                <a:cubicBezTo>
                                  <a:pt x="50573" y="52355"/>
                                  <a:pt x="46816" y="52031"/>
                                  <a:pt x="43966" y="53975"/>
                                </a:cubicBezTo>
                                <a:cubicBezTo>
                                  <a:pt x="39625" y="56890"/>
                                  <a:pt x="38718" y="64081"/>
                                  <a:pt x="33664" y="65507"/>
                                </a:cubicBezTo>
                                <a:cubicBezTo>
                                  <a:pt x="31527" y="66090"/>
                                  <a:pt x="29194" y="65377"/>
                                  <a:pt x="27057" y="64729"/>
                                </a:cubicBezTo>
                                <a:cubicBezTo>
                                  <a:pt x="22262" y="63174"/>
                                  <a:pt x="17533" y="61619"/>
                                  <a:pt x="12739" y="60000"/>
                                </a:cubicBezTo>
                                <a:cubicBezTo>
                                  <a:pt x="10731" y="59352"/>
                                  <a:pt x="8592" y="58575"/>
                                  <a:pt x="7621" y="56696"/>
                                </a:cubicBezTo>
                                <a:cubicBezTo>
                                  <a:pt x="6519" y="54687"/>
                                  <a:pt x="7232" y="52226"/>
                                  <a:pt x="7102" y="49958"/>
                                </a:cubicBezTo>
                                <a:cubicBezTo>
                                  <a:pt x="6649" y="43091"/>
                                  <a:pt x="-1838" y="37584"/>
                                  <a:pt x="364" y="31041"/>
                                </a:cubicBezTo>
                                <a:cubicBezTo>
                                  <a:pt x="1206" y="28514"/>
                                  <a:pt x="3475" y="26830"/>
                                  <a:pt x="5223" y="24821"/>
                                </a:cubicBezTo>
                                <a:cubicBezTo>
                                  <a:pt x="9241" y="20286"/>
                                  <a:pt x="10860" y="13743"/>
                                  <a:pt x="9370" y="7847"/>
                                </a:cubicBezTo>
                                <a:cubicBezTo>
                                  <a:pt x="15913" y="9273"/>
                                  <a:pt x="21549" y="3442"/>
                                  <a:pt x="27898" y="1174"/>
                                </a:cubicBezTo>
                                <a:cubicBezTo>
                                  <a:pt x="32693" y="-510"/>
                                  <a:pt x="38005" y="-121"/>
                                  <a:pt x="42994" y="721"/>
                                </a:cubicBezTo>
                                <a:cubicBezTo>
                                  <a:pt x="47658" y="1498"/>
                                  <a:pt x="52193" y="2535"/>
                                  <a:pt x="56663" y="3960"/>
                                </a:cubicBezTo>
                                <a:cubicBezTo>
                                  <a:pt x="59578" y="4867"/>
                                  <a:pt x="62559" y="5969"/>
                                  <a:pt x="64762" y="8042"/>
                                </a:cubicBezTo>
                                <a:cubicBezTo>
                                  <a:pt x="66964" y="10115"/>
                                  <a:pt x="68325" y="13419"/>
                                  <a:pt x="67288" y="16269"/>
                                </a:cubicBezTo>
                                <a:cubicBezTo>
                                  <a:pt x="70333" y="18926"/>
                                  <a:pt x="74997" y="16205"/>
                                  <a:pt x="77719" y="13225"/>
                                </a:cubicBezTo>
                                <a:cubicBezTo>
                                  <a:pt x="80440" y="10244"/>
                                  <a:pt x="83808" y="6552"/>
                                  <a:pt x="87696" y="7588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5" name="Freeform: Shape 44">
                            <a:extLst>
                              <a:ext uri="{FF2B5EF4-FFF2-40B4-BE49-F238E27FC236}">
                                <a16:creationId xmlns:a16="http://schemas.microsoft.com/office/drawing/2014/main" id="{FAD8A15D-4ABC-472A-9A88-E64F1598296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0540097" y="1791881"/>
                            <a:ext cx="69389" cy="55952"/>
                          </a:xfrm>
                          <a:custGeom>
                            <a:avLst/>
                            <a:gdLst>
                              <a:gd name="connsiteX0" fmla="*/ 16391 w 69389"/>
                              <a:gd name="connsiteY0" fmla="*/ 5936 h 55952"/>
                              <a:gd name="connsiteX1" fmla="*/ 21444 w 69389"/>
                              <a:gd name="connsiteY1" fmla="*/ 3150 h 55952"/>
                              <a:gd name="connsiteX2" fmla="*/ 50014 w 69389"/>
                              <a:gd name="connsiteY2" fmla="*/ 7685 h 55952"/>
                              <a:gd name="connsiteX3" fmla="*/ 53254 w 69389"/>
                              <a:gd name="connsiteY3" fmla="*/ 10665 h 55952"/>
                              <a:gd name="connsiteX4" fmla="*/ 57530 w 69389"/>
                              <a:gd name="connsiteY4" fmla="*/ 11054 h 55952"/>
                              <a:gd name="connsiteX5" fmla="*/ 67960 w 69389"/>
                              <a:gd name="connsiteY5" fmla="*/ 19281 h 55952"/>
                              <a:gd name="connsiteX6" fmla="*/ 69385 w 69389"/>
                              <a:gd name="connsiteY6" fmla="*/ 22650 h 55952"/>
                              <a:gd name="connsiteX7" fmla="*/ 63361 w 69389"/>
                              <a:gd name="connsiteY7" fmla="*/ 26797 h 55952"/>
                              <a:gd name="connsiteX8" fmla="*/ 55262 w 69389"/>
                              <a:gd name="connsiteY8" fmla="*/ 29518 h 55952"/>
                              <a:gd name="connsiteX9" fmla="*/ 52995 w 69389"/>
                              <a:gd name="connsiteY9" fmla="*/ 31137 h 55952"/>
                              <a:gd name="connsiteX10" fmla="*/ 52153 w 69389"/>
                              <a:gd name="connsiteY10" fmla="*/ 34960 h 55952"/>
                              <a:gd name="connsiteX11" fmla="*/ 48914 w 69389"/>
                              <a:gd name="connsiteY11" fmla="*/ 49601 h 55952"/>
                              <a:gd name="connsiteX12" fmla="*/ 47812 w 69389"/>
                              <a:gd name="connsiteY12" fmla="*/ 51674 h 55952"/>
                              <a:gd name="connsiteX13" fmla="*/ 45998 w 69389"/>
                              <a:gd name="connsiteY13" fmla="*/ 52517 h 55952"/>
                              <a:gd name="connsiteX14" fmla="*/ 18983 w 69389"/>
                              <a:gd name="connsiteY14" fmla="*/ 54395 h 55952"/>
                              <a:gd name="connsiteX15" fmla="*/ 21120 w 69389"/>
                              <a:gd name="connsiteY15" fmla="*/ 46103 h 55952"/>
                              <a:gd name="connsiteX16" fmla="*/ 9330 w 69389"/>
                              <a:gd name="connsiteY16" fmla="*/ 25242 h 55952"/>
                              <a:gd name="connsiteX17" fmla="*/ 0 w 69389"/>
                              <a:gd name="connsiteY17" fmla="*/ 20383 h 55952"/>
                              <a:gd name="connsiteX18" fmla="*/ 9783 w 69389"/>
                              <a:gd name="connsiteY18" fmla="*/ 6324 h 55952"/>
                              <a:gd name="connsiteX19" fmla="*/ 16456 w 69389"/>
                              <a:gd name="connsiteY19" fmla="*/ 6000 h 5595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</a:cxnLst>
                            <a:rect l="l" t="t" r="r" b="b"/>
                            <a:pathLst>
                              <a:path w="69389" h="55952">
                                <a:moveTo>
                                  <a:pt x="16391" y="5936"/>
                                </a:moveTo>
                                <a:cubicBezTo>
                                  <a:pt x="18270" y="5482"/>
                                  <a:pt x="19825" y="4186"/>
                                  <a:pt x="21444" y="3150"/>
                                </a:cubicBezTo>
                                <a:cubicBezTo>
                                  <a:pt x="30385" y="-2422"/>
                                  <a:pt x="43277" y="-413"/>
                                  <a:pt x="50014" y="7685"/>
                                </a:cubicBezTo>
                                <a:cubicBezTo>
                                  <a:pt x="50986" y="8851"/>
                                  <a:pt x="51893" y="10147"/>
                                  <a:pt x="53254" y="10665"/>
                                </a:cubicBezTo>
                                <a:cubicBezTo>
                                  <a:pt x="54615" y="11183"/>
                                  <a:pt x="56105" y="10924"/>
                                  <a:pt x="57530" y="11054"/>
                                </a:cubicBezTo>
                                <a:cubicBezTo>
                                  <a:pt x="62064" y="11442"/>
                                  <a:pt x="65304" y="15524"/>
                                  <a:pt x="67960" y="19281"/>
                                </a:cubicBezTo>
                                <a:cubicBezTo>
                                  <a:pt x="68673" y="20318"/>
                                  <a:pt x="69450" y="21419"/>
                                  <a:pt x="69385" y="22650"/>
                                </a:cubicBezTo>
                                <a:cubicBezTo>
                                  <a:pt x="69256" y="25307"/>
                                  <a:pt x="65952" y="26278"/>
                                  <a:pt x="63361" y="26797"/>
                                </a:cubicBezTo>
                                <a:cubicBezTo>
                                  <a:pt x="60574" y="27380"/>
                                  <a:pt x="57854" y="28287"/>
                                  <a:pt x="55262" y="29518"/>
                                </a:cubicBezTo>
                                <a:cubicBezTo>
                                  <a:pt x="54420" y="29906"/>
                                  <a:pt x="53513" y="30360"/>
                                  <a:pt x="52995" y="31137"/>
                                </a:cubicBezTo>
                                <a:cubicBezTo>
                                  <a:pt x="52218" y="32174"/>
                                  <a:pt x="52218" y="33599"/>
                                  <a:pt x="52153" y="34960"/>
                                </a:cubicBezTo>
                                <a:cubicBezTo>
                                  <a:pt x="51958" y="39948"/>
                                  <a:pt x="50403" y="44807"/>
                                  <a:pt x="48914" y="49601"/>
                                </a:cubicBezTo>
                                <a:cubicBezTo>
                                  <a:pt x="48654" y="50379"/>
                                  <a:pt x="48395" y="51156"/>
                                  <a:pt x="47812" y="51674"/>
                                </a:cubicBezTo>
                                <a:cubicBezTo>
                                  <a:pt x="47294" y="52128"/>
                                  <a:pt x="46645" y="52322"/>
                                  <a:pt x="45998" y="52517"/>
                                </a:cubicBezTo>
                                <a:cubicBezTo>
                                  <a:pt x="37187" y="55108"/>
                                  <a:pt x="27534" y="57699"/>
                                  <a:pt x="18983" y="54395"/>
                                </a:cubicBezTo>
                                <a:cubicBezTo>
                                  <a:pt x="20602" y="51998"/>
                                  <a:pt x="21380" y="48953"/>
                                  <a:pt x="21120" y="46103"/>
                                </a:cubicBezTo>
                                <a:cubicBezTo>
                                  <a:pt x="12763" y="43317"/>
                                  <a:pt x="7386" y="33793"/>
                                  <a:pt x="9330" y="25242"/>
                                </a:cubicBezTo>
                                <a:cubicBezTo>
                                  <a:pt x="6219" y="23622"/>
                                  <a:pt x="3110" y="22002"/>
                                  <a:pt x="0" y="20383"/>
                                </a:cubicBezTo>
                                <a:cubicBezTo>
                                  <a:pt x="1295" y="14423"/>
                                  <a:pt x="3757" y="7296"/>
                                  <a:pt x="9783" y="6324"/>
                                </a:cubicBezTo>
                                <a:cubicBezTo>
                                  <a:pt x="11985" y="5936"/>
                                  <a:pt x="14253" y="6583"/>
                                  <a:pt x="16456" y="600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6" name="Freeform: Shape 45">
                            <a:extLst>
                              <a:ext uri="{FF2B5EF4-FFF2-40B4-BE49-F238E27FC236}">
                                <a16:creationId xmlns:a16="http://schemas.microsoft.com/office/drawing/2014/main" id="{14EE395A-02B2-4240-B791-F2C128FD37F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0632248" y="1816876"/>
                            <a:ext cx="121141" cy="44548"/>
                          </a:xfrm>
                          <a:custGeom>
                            <a:avLst/>
                            <a:gdLst>
                              <a:gd name="connsiteX0" fmla="*/ 14486 w 121141"/>
                              <a:gd name="connsiteY0" fmla="*/ 24153 h 44548"/>
                              <a:gd name="connsiteX1" fmla="*/ 5545 w 121141"/>
                              <a:gd name="connsiteY1" fmla="*/ 18128 h 44548"/>
                              <a:gd name="connsiteX2" fmla="*/ 363 w 121141"/>
                              <a:gd name="connsiteY2" fmla="*/ 9641 h 44548"/>
                              <a:gd name="connsiteX3" fmla="*/ 3667 w 121141"/>
                              <a:gd name="connsiteY3" fmla="*/ 6402 h 44548"/>
                              <a:gd name="connsiteX4" fmla="*/ 7295 w 121141"/>
                              <a:gd name="connsiteY4" fmla="*/ 3940 h 44548"/>
                              <a:gd name="connsiteX5" fmla="*/ 20964 w 121141"/>
                              <a:gd name="connsiteY5" fmla="*/ 1154 h 44548"/>
                              <a:gd name="connsiteX6" fmla="*/ 26018 w 121141"/>
                              <a:gd name="connsiteY6" fmla="*/ 5948 h 44548"/>
                              <a:gd name="connsiteX7" fmla="*/ 30942 w 121141"/>
                              <a:gd name="connsiteY7" fmla="*/ 7049 h 44548"/>
                              <a:gd name="connsiteX8" fmla="*/ 63205 w 121141"/>
                              <a:gd name="connsiteY8" fmla="*/ 9058 h 44548"/>
                              <a:gd name="connsiteX9" fmla="*/ 74219 w 121141"/>
                              <a:gd name="connsiteY9" fmla="*/ 14953 h 44548"/>
                              <a:gd name="connsiteX10" fmla="*/ 106028 w 121141"/>
                              <a:gd name="connsiteY10" fmla="*/ 15990 h 44548"/>
                              <a:gd name="connsiteX11" fmla="*/ 120476 w 121141"/>
                              <a:gd name="connsiteY11" fmla="*/ 22080 h 44548"/>
                              <a:gd name="connsiteX12" fmla="*/ 114710 w 121141"/>
                              <a:gd name="connsiteY12" fmla="*/ 34583 h 44548"/>
                              <a:gd name="connsiteX13" fmla="*/ 99679 w 121141"/>
                              <a:gd name="connsiteY13" fmla="*/ 35749 h 44548"/>
                              <a:gd name="connsiteX14" fmla="*/ 94367 w 121141"/>
                              <a:gd name="connsiteY14" fmla="*/ 44431 h 44548"/>
                              <a:gd name="connsiteX15" fmla="*/ 85297 w 121141"/>
                              <a:gd name="connsiteY15" fmla="*/ 39701 h 44548"/>
                              <a:gd name="connsiteX16" fmla="*/ 56986 w 121141"/>
                              <a:gd name="connsiteY16" fmla="*/ 35944 h 44548"/>
                              <a:gd name="connsiteX17" fmla="*/ 53876 w 121141"/>
                              <a:gd name="connsiteY17" fmla="*/ 36073 h 44548"/>
                              <a:gd name="connsiteX18" fmla="*/ 51219 w 121141"/>
                              <a:gd name="connsiteY18" fmla="*/ 33158 h 44548"/>
                              <a:gd name="connsiteX19" fmla="*/ 39687 w 121141"/>
                              <a:gd name="connsiteY19" fmla="*/ 28493 h 44548"/>
                              <a:gd name="connsiteX20" fmla="*/ 20317 w 121141"/>
                              <a:gd name="connsiteY20" fmla="*/ 29141 h 44548"/>
                              <a:gd name="connsiteX21" fmla="*/ 17207 w 121141"/>
                              <a:gd name="connsiteY21" fmla="*/ 28947 h 44548"/>
                              <a:gd name="connsiteX22" fmla="*/ 14486 w 121141"/>
                              <a:gd name="connsiteY22" fmla="*/ 24218 h 4454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</a:cxnLst>
                            <a:rect l="l" t="t" r="r" b="b"/>
                            <a:pathLst>
                              <a:path w="121141" h="44548">
                                <a:moveTo>
                                  <a:pt x="14486" y="24153"/>
                                </a:moveTo>
                                <a:cubicBezTo>
                                  <a:pt x="12866" y="20849"/>
                                  <a:pt x="8849" y="19683"/>
                                  <a:pt x="5545" y="18128"/>
                                </a:cubicBezTo>
                                <a:cubicBezTo>
                                  <a:pt x="2242" y="16573"/>
                                  <a:pt x="-1127" y="13010"/>
                                  <a:pt x="363" y="9641"/>
                                </a:cubicBezTo>
                                <a:cubicBezTo>
                                  <a:pt x="1011" y="8216"/>
                                  <a:pt x="2371" y="7244"/>
                                  <a:pt x="3667" y="6402"/>
                                </a:cubicBezTo>
                                <a:cubicBezTo>
                                  <a:pt x="4898" y="5559"/>
                                  <a:pt x="6064" y="4782"/>
                                  <a:pt x="7295" y="3940"/>
                                </a:cubicBezTo>
                                <a:cubicBezTo>
                                  <a:pt x="11376" y="1154"/>
                                  <a:pt x="16819" y="-1632"/>
                                  <a:pt x="20964" y="1154"/>
                                </a:cubicBezTo>
                                <a:cubicBezTo>
                                  <a:pt x="22908" y="2450"/>
                                  <a:pt x="24010" y="4782"/>
                                  <a:pt x="26018" y="5948"/>
                                </a:cubicBezTo>
                                <a:cubicBezTo>
                                  <a:pt x="27508" y="6790"/>
                                  <a:pt x="29257" y="6920"/>
                                  <a:pt x="30942" y="7049"/>
                                </a:cubicBezTo>
                                <a:cubicBezTo>
                                  <a:pt x="41696" y="7697"/>
                                  <a:pt x="52451" y="8345"/>
                                  <a:pt x="63205" y="9058"/>
                                </a:cubicBezTo>
                                <a:cubicBezTo>
                                  <a:pt x="63852" y="13528"/>
                                  <a:pt x="69683" y="14759"/>
                                  <a:pt x="74219" y="14953"/>
                                </a:cubicBezTo>
                                <a:cubicBezTo>
                                  <a:pt x="84844" y="15277"/>
                                  <a:pt x="95403" y="15666"/>
                                  <a:pt x="106028" y="15990"/>
                                </a:cubicBezTo>
                                <a:cubicBezTo>
                                  <a:pt x="111535" y="16184"/>
                                  <a:pt x="118143" y="17026"/>
                                  <a:pt x="120476" y="22080"/>
                                </a:cubicBezTo>
                                <a:cubicBezTo>
                                  <a:pt x="122613" y="26744"/>
                                  <a:pt x="119309" y="32445"/>
                                  <a:pt x="114710" y="34583"/>
                                </a:cubicBezTo>
                                <a:cubicBezTo>
                                  <a:pt x="110109" y="36786"/>
                                  <a:pt x="104733" y="36397"/>
                                  <a:pt x="99679" y="35749"/>
                                </a:cubicBezTo>
                                <a:cubicBezTo>
                                  <a:pt x="99161" y="39313"/>
                                  <a:pt x="97930" y="43653"/>
                                  <a:pt x="94367" y="44431"/>
                                </a:cubicBezTo>
                                <a:cubicBezTo>
                                  <a:pt x="90933" y="45208"/>
                                  <a:pt x="88018" y="41969"/>
                                  <a:pt x="85297" y="39701"/>
                                </a:cubicBezTo>
                                <a:cubicBezTo>
                                  <a:pt x="77717" y="33352"/>
                                  <a:pt x="66574" y="33547"/>
                                  <a:pt x="56986" y="35944"/>
                                </a:cubicBezTo>
                                <a:cubicBezTo>
                                  <a:pt x="55949" y="36203"/>
                                  <a:pt x="54848" y="36462"/>
                                  <a:pt x="53876" y="36073"/>
                                </a:cubicBezTo>
                                <a:cubicBezTo>
                                  <a:pt x="52645" y="35555"/>
                                  <a:pt x="51997" y="34195"/>
                                  <a:pt x="51219" y="33158"/>
                                </a:cubicBezTo>
                                <a:cubicBezTo>
                                  <a:pt x="48693" y="29724"/>
                                  <a:pt x="43964" y="28817"/>
                                  <a:pt x="39687" y="28493"/>
                                </a:cubicBezTo>
                                <a:cubicBezTo>
                                  <a:pt x="33274" y="28040"/>
                                  <a:pt x="26730" y="28234"/>
                                  <a:pt x="20317" y="29141"/>
                                </a:cubicBezTo>
                                <a:cubicBezTo>
                                  <a:pt x="19280" y="29271"/>
                                  <a:pt x="18114" y="29465"/>
                                  <a:pt x="17207" y="28947"/>
                                </a:cubicBezTo>
                                <a:cubicBezTo>
                                  <a:pt x="15587" y="28105"/>
                                  <a:pt x="15328" y="25902"/>
                                  <a:pt x="14486" y="24218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7" name="Freeform: Shape 46">
                            <a:extLst>
                              <a:ext uri="{FF2B5EF4-FFF2-40B4-BE49-F238E27FC236}">
                                <a16:creationId xmlns:a16="http://schemas.microsoft.com/office/drawing/2014/main" id="{1357B2F9-2F2C-428E-B39F-B8AE36C9524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1191712" y="2107557"/>
                            <a:ext cx="29451" cy="18140"/>
                          </a:xfrm>
                          <a:custGeom>
                            <a:avLst/>
                            <a:gdLst>
                              <a:gd name="connsiteX0" fmla="*/ 28830 w 29451"/>
                              <a:gd name="connsiteY0" fmla="*/ 5312 h 18140"/>
                              <a:gd name="connsiteX1" fmla="*/ 20732 w 29451"/>
                              <a:gd name="connsiteY1" fmla="*/ 0 h 18140"/>
                              <a:gd name="connsiteX2" fmla="*/ 17752 w 29451"/>
                              <a:gd name="connsiteY2" fmla="*/ 907 h 18140"/>
                              <a:gd name="connsiteX3" fmla="*/ 15484 w 29451"/>
                              <a:gd name="connsiteY3" fmla="*/ 6155 h 18140"/>
                              <a:gd name="connsiteX4" fmla="*/ 14706 w 29451"/>
                              <a:gd name="connsiteY4" fmla="*/ 9524 h 18140"/>
                              <a:gd name="connsiteX5" fmla="*/ 9070 w 29451"/>
                              <a:gd name="connsiteY5" fmla="*/ 11985 h 18140"/>
                              <a:gd name="connsiteX6" fmla="*/ 8552 w 29451"/>
                              <a:gd name="connsiteY6" fmla="*/ 11985 h 18140"/>
                              <a:gd name="connsiteX7" fmla="*/ 6868 w 29451"/>
                              <a:gd name="connsiteY7" fmla="*/ 11985 h 18140"/>
                              <a:gd name="connsiteX8" fmla="*/ 5183 w 29451"/>
                              <a:gd name="connsiteY8" fmla="*/ 11985 h 18140"/>
                              <a:gd name="connsiteX9" fmla="*/ 1426 w 29451"/>
                              <a:gd name="connsiteY9" fmla="*/ 12439 h 18140"/>
                              <a:gd name="connsiteX10" fmla="*/ 0 w 29451"/>
                              <a:gd name="connsiteY10" fmla="*/ 12828 h 18140"/>
                              <a:gd name="connsiteX11" fmla="*/ 972 w 29451"/>
                              <a:gd name="connsiteY11" fmla="*/ 13994 h 18140"/>
                              <a:gd name="connsiteX12" fmla="*/ 14124 w 29451"/>
                              <a:gd name="connsiteY12" fmla="*/ 18140 h 18140"/>
                              <a:gd name="connsiteX13" fmla="*/ 15419 w 29451"/>
                              <a:gd name="connsiteY13" fmla="*/ 18140 h 18140"/>
                              <a:gd name="connsiteX14" fmla="*/ 26951 w 29451"/>
                              <a:gd name="connsiteY14" fmla="*/ 14836 h 18140"/>
                              <a:gd name="connsiteX15" fmla="*/ 28830 w 29451"/>
                              <a:gd name="connsiteY15" fmla="*/ 5377 h 18140"/>
                              <a:gd name="connsiteX16" fmla="*/ 15419 w 29451"/>
                              <a:gd name="connsiteY16" fmla="*/ 16132 h 18140"/>
                              <a:gd name="connsiteX17" fmla="*/ 14124 w 29451"/>
                              <a:gd name="connsiteY17" fmla="*/ 16132 h 18140"/>
                              <a:gd name="connsiteX18" fmla="*/ 3888 w 29451"/>
                              <a:gd name="connsiteY18" fmla="*/ 13864 h 18140"/>
                              <a:gd name="connsiteX19" fmla="*/ 6803 w 29451"/>
                              <a:gd name="connsiteY19" fmla="*/ 13864 h 18140"/>
                              <a:gd name="connsiteX20" fmla="*/ 8552 w 29451"/>
                              <a:gd name="connsiteY20" fmla="*/ 13929 h 18140"/>
                              <a:gd name="connsiteX21" fmla="*/ 9135 w 29451"/>
                              <a:gd name="connsiteY21" fmla="*/ 13929 h 18140"/>
                              <a:gd name="connsiteX22" fmla="*/ 16391 w 29451"/>
                              <a:gd name="connsiteY22" fmla="*/ 10431 h 18140"/>
                              <a:gd name="connsiteX23" fmla="*/ 17428 w 29451"/>
                              <a:gd name="connsiteY23" fmla="*/ 6349 h 18140"/>
                              <a:gd name="connsiteX24" fmla="*/ 18853 w 29451"/>
                              <a:gd name="connsiteY24" fmla="*/ 2462 h 18140"/>
                              <a:gd name="connsiteX25" fmla="*/ 20862 w 29451"/>
                              <a:gd name="connsiteY25" fmla="*/ 1944 h 18140"/>
                              <a:gd name="connsiteX26" fmla="*/ 27016 w 29451"/>
                              <a:gd name="connsiteY26" fmla="*/ 6025 h 18140"/>
                              <a:gd name="connsiteX27" fmla="*/ 25591 w 29451"/>
                              <a:gd name="connsiteY27" fmla="*/ 13411 h 18140"/>
                              <a:gd name="connsiteX28" fmla="*/ 15419 w 29451"/>
                              <a:gd name="connsiteY28" fmla="*/ 16132 h 1814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</a:cxnLst>
                            <a:rect l="l" t="t" r="r" b="b"/>
                            <a:pathLst>
                              <a:path w="29451" h="18140">
                                <a:moveTo>
                                  <a:pt x="28830" y="5312"/>
                                </a:moveTo>
                                <a:cubicBezTo>
                                  <a:pt x="27534" y="2203"/>
                                  <a:pt x="24231" y="0"/>
                                  <a:pt x="20732" y="0"/>
                                </a:cubicBezTo>
                                <a:cubicBezTo>
                                  <a:pt x="19501" y="0"/>
                                  <a:pt x="18529" y="324"/>
                                  <a:pt x="17752" y="907"/>
                                </a:cubicBezTo>
                                <a:cubicBezTo>
                                  <a:pt x="15938" y="2138"/>
                                  <a:pt x="15678" y="4276"/>
                                  <a:pt x="15484" y="6155"/>
                                </a:cubicBezTo>
                                <a:cubicBezTo>
                                  <a:pt x="15354" y="7386"/>
                                  <a:pt x="15225" y="8552"/>
                                  <a:pt x="14706" y="9524"/>
                                </a:cubicBezTo>
                                <a:cubicBezTo>
                                  <a:pt x="13476" y="11661"/>
                                  <a:pt x="10366" y="11921"/>
                                  <a:pt x="9070" y="11985"/>
                                </a:cubicBezTo>
                                <a:lnTo>
                                  <a:pt x="8552" y="11985"/>
                                </a:lnTo>
                                <a:cubicBezTo>
                                  <a:pt x="7969" y="11985"/>
                                  <a:pt x="7451" y="11985"/>
                                  <a:pt x="6868" y="11985"/>
                                </a:cubicBezTo>
                                <a:lnTo>
                                  <a:pt x="5183" y="11985"/>
                                </a:lnTo>
                                <a:cubicBezTo>
                                  <a:pt x="4146" y="11985"/>
                                  <a:pt x="2786" y="11985"/>
                                  <a:pt x="1426" y="12439"/>
                                </a:cubicBezTo>
                                <a:lnTo>
                                  <a:pt x="0" y="12828"/>
                                </a:lnTo>
                                <a:lnTo>
                                  <a:pt x="972" y="13994"/>
                                </a:lnTo>
                                <a:cubicBezTo>
                                  <a:pt x="4276" y="17687"/>
                                  <a:pt x="9459" y="18140"/>
                                  <a:pt x="14124" y="18140"/>
                                </a:cubicBezTo>
                                <a:lnTo>
                                  <a:pt x="15419" y="18140"/>
                                </a:lnTo>
                                <a:cubicBezTo>
                                  <a:pt x="19630" y="18075"/>
                                  <a:pt x="23971" y="17751"/>
                                  <a:pt x="26951" y="14836"/>
                                </a:cubicBezTo>
                                <a:cubicBezTo>
                                  <a:pt x="29348" y="12439"/>
                                  <a:pt x="30126" y="8552"/>
                                  <a:pt x="28830" y="5377"/>
                                </a:cubicBezTo>
                                <a:close/>
                                <a:moveTo>
                                  <a:pt x="15419" y="16132"/>
                                </a:moveTo>
                                <a:lnTo>
                                  <a:pt x="14124" y="16132"/>
                                </a:lnTo>
                                <a:cubicBezTo>
                                  <a:pt x="10560" y="16132"/>
                                  <a:pt x="6608" y="15873"/>
                                  <a:pt x="3888" y="13864"/>
                                </a:cubicBezTo>
                                <a:cubicBezTo>
                                  <a:pt x="4730" y="13864"/>
                                  <a:pt x="5831" y="13864"/>
                                  <a:pt x="6803" y="13864"/>
                                </a:cubicBezTo>
                                <a:cubicBezTo>
                                  <a:pt x="7386" y="13929"/>
                                  <a:pt x="7969" y="13929"/>
                                  <a:pt x="8552" y="13929"/>
                                </a:cubicBezTo>
                                <a:lnTo>
                                  <a:pt x="9135" y="13929"/>
                                </a:lnTo>
                                <a:cubicBezTo>
                                  <a:pt x="11144" y="13864"/>
                                  <a:pt x="14771" y="13346"/>
                                  <a:pt x="16391" y="10431"/>
                                </a:cubicBezTo>
                                <a:cubicBezTo>
                                  <a:pt x="17104" y="9200"/>
                                  <a:pt x="17233" y="7774"/>
                                  <a:pt x="17428" y="6349"/>
                                </a:cubicBezTo>
                                <a:cubicBezTo>
                                  <a:pt x="17622" y="4665"/>
                                  <a:pt x="17752" y="3239"/>
                                  <a:pt x="18853" y="2462"/>
                                </a:cubicBezTo>
                                <a:cubicBezTo>
                                  <a:pt x="19307" y="2138"/>
                                  <a:pt x="19955" y="1944"/>
                                  <a:pt x="20862" y="1944"/>
                                </a:cubicBezTo>
                                <a:cubicBezTo>
                                  <a:pt x="23452" y="1944"/>
                                  <a:pt x="26044" y="3628"/>
                                  <a:pt x="27016" y="6025"/>
                                </a:cubicBezTo>
                                <a:cubicBezTo>
                                  <a:pt x="28053" y="8487"/>
                                  <a:pt x="27405" y="11532"/>
                                  <a:pt x="25591" y="13411"/>
                                </a:cubicBezTo>
                                <a:cubicBezTo>
                                  <a:pt x="23129" y="15808"/>
                                  <a:pt x="19177" y="16067"/>
                                  <a:pt x="15419" y="16132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8" name="Freeform: Shape 47">
                            <a:extLst>
                              <a:ext uri="{FF2B5EF4-FFF2-40B4-BE49-F238E27FC236}">
                                <a16:creationId xmlns:a16="http://schemas.microsoft.com/office/drawing/2014/main" id="{F362CB6F-9581-4669-85F0-87A92CF082F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1448358" y="2027871"/>
                            <a:ext cx="96198" cy="38612"/>
                          </a:xfrm>
                          <a:custGeom>
                            <a:avLst/>
                            <a:gdLst>
                              <a:gd name="connsiteX0" fmla="*/ 90347 w 96198"/>
                              <a:gd name="connsiteY0" fmla="*/ 5377 h 38612"/>
                              <a:gd name="connsiteX1" fmla="*/ 69032 w 96198"/>
                              <a:gd name="connsiteY1" fmla="*/ 0 h 38612"/>
                              <a:gd name="connsiteX2" fmla="*/ 56399 w 96198"/>
                              <a:gd name="connsiteY2" fmla="*/ 777 h 38612"/>
                              <a:gd name="connsiteX3" fmla="*/ 33659 w 96198"/>
                              <a:gd name="connsiteY3" fmla="*/ 2915 h 38612"/>
                              <a:gd name="connsiteX4" fmla="*/ 23423 w 96198"/>
                              <a:gd name="connsiteY4" fmla="*/ 6284 h 38612"/>
                              <a:gd name="connsiteX5" fmla="*/ 21415 w 96198"/>
                              <a:gd name="connsiteY5" fmla="*/ 8552 h 38612"/>
                              <a:gd name="connsiteX6" fmla="*/ 19730 w 96198"/>
                              <a:gd name="connsiteY6" fmla="*/ 10495 h 38612"/>
                              <a:gd name="connsiteX7" fmla="*/ 12280 w 96198"/>
                              <a:gd name="connsiteY7" fmla="*/ 13540 h 38612"/>
                              <a:gd name="connsiteX8" fmla="*/ 4959 w 96198"/>
                              <a:gd name="connsiteY8" fmla="*/ 16196 h 38612"/>
                              <a:gd name="connsiteX9" fmla="*/ 1784 w 96198"/>
                              <a:gd name="connsiteY9" fmla="*/ 34013 h 38612"/>
                              <a:gd name="connsiteX10" fmla="*/ 5348 w 96198"/>
                              <a:gd name="connsiteY10" fmla="*/ 37900 h 38612"/>
                              <a:gd name="connsiteX11" fmla="*/ 8198 w 96198"/>
                              <a:gd name="connsiteY11" fmla="*/ 38612 h 38612"/>
                              <a:gd name="connsiteX12" fmla="*/ 16361 w 96198"/>
                              <a:gd name="connsiteY12" fmla="*/ 34984 h 38612"/>
                              <a:gd name="connsiteX13" fmla="*/ 19147 w 96198"/>
                              <a:gd name="connsiteY13" fmla="*/ 33170 h 38612"/>
                              <a:gd name="connsiteX14" fmla="*/ 24848 w 96198"/>
                              <a:gd name="connsiteY14" fmla="*/ 30838 h 38612"/>
                              <a:gd name="connsiteX15" fmla="*/ 33400 w 96198"/>
                              <a:gd name="connsiteY15" fmla="*/ 26368 h 38612"/>
                              <a:gd name="connsiteX16" fmla="*/ 35084 w 96198"/>
                              <a:gd name="connsiteY16" fmla="*/ 24424 h 38612"/>
                              <a:gd name="connsiteX17" fmla="*/ 36639 w 96198"/>
                              <a:gd name="connsiteY17" fmla="*/ 22675 h 38612"/>
                              <a:gd name="connsiteX18" fmla="*/ 47264 w 96198"/>
                              <a:gd name="connsiteY18" fmla="*/ 19306 h 38612"/>
                              <a:gd name="connsiteX19" fmla="*/ 52835 w 96198"/>
                              <a:gd name="connsiteY19" fmla="*/ 19630 h 38612"/>
                              <a:gd name="connsiteX20" fmla="*/ 80499 w 96198"/>
                              <a:gd name="connsiteY20" fmla="*/ 22351 h 38612"/>
                              <a:gd name="connsiteX21" fmla="*/ 85035 w 96198"/>
                              <a:gd name="connsiteY21" fmla="*/ 22675 h 38612"/>
                              <a:gd name="connsiteX22" fmla="*/ 89310 w 96198"/>
                              <a:gd name="connsiteY22" fmla="*/ 22157 h 38612"/>
                              <a:gd name="connsiteX23" fmla="*/ 95983 w 96198"/>
                              <a:gd name="connsiteY23" fmla="*/ 16002 h 38612"/>
                              <a:gd name="connsiteX24" fmla="*/ 90347 w 96198"/>
                              <a:gd name="connsiteY24" fmla="*/ 5377 h 38612"/>
                              <a:gd name="connsiteX25" fmla="*/ 80694 w 96198"/>
                              <a:gd name="connsiteY25" fmla="*/ 20407 h 38612"/>
                              <a:gd name="connsiteX26" fmla="*/ 53030 w 96198"/>
                              <a:gd name="connsiteY26" fmla="*/ 17686 h 38612"/>
                              <a:gd name="connsiteX27" fmla="*/ 47264 w 96198"/>
                              <a:gd name="connsiteY27" fmla="*/ 17363 h 38612"/>
                              <a:gd name="connsiteX28" fmla="*/ 35279 w 96198"/>
                              <a:gd name="connsiteY28" fmla="*/ 21315 h 38612"/>
                              <a:gd name="connsiteX29" fmla="*/ 33594 w 96198"/>
                              <a:gd name="connsiteY29" fmla="*/ 23258 h 38612"/>
                              <a:gd name="connsiteX30" fmla="*/ 32039 w 96198"/>
                              <a:gd name="connsiteY30" fmla="*/ 25007 h 38612"/>
                              <a:gd name="connsiteX31" fmla="*/ 24201 w 96198"/>
                              <a:gd name="connsiteY31" fmla="*/ 29024 h 38612"/>
                              <a:gd name="connsiteX32" fmla="*/ 18175 w 96198"/>
                              <a:gd name="connsiteY32" fmla="*/ 31486 h 38612"/>
                              <a:gd name="connsiteX33" fmla="*/ 15260 w 96198"/>
                              <a:gd name="connsiteY33" fmla="*/ 33365 h 38612"/>
                              <a:gd name="connsiteX34" fmla="*/ 6255 w 96198"/>
                              <a:gd name="connsiteY34" fmla="*/ 36150 h 38612"/>
                              <a:gd name="connsiteX35" fmla="*/ 3534 w 96198"/>
                              <a:gd name="connsiteY35" fmla="*/ 33106 h 38612"/>
                              <a:gd name="connsiteX36" fmla="*/ 6060 w 96198"/>
                              <a:gd name="connsiteY36" fmla="*/ 17816 h 38612"/>
                              <a:gd name="connsiteX37" fmla="*/ 12733 w 96198"/>
                              <a:gd name="connsiteY37" fmla="*/ 15419 h 38612"/>
                              <a:gd name="connsiteX38" fmla="*/ 21090 w 96198"/>
                              <a:gd name="connsiteY38" fmla="*/ 11921 h 38612"/>
                              <a:gd name="connsiteX39" fmla="*/ 22969 w 96198"/>
                              <a:gd name="connsiteY39" fmla="*/ 9718 h 38612"/>
                              <a:gd name="connsiteX40" fmla="*/ 24719 w 96198"/>
                              <a:gd name="connsiteY40" fmla="*/ 7709 h 38612"/>
                              <a:gd name="connsiteX41" fmla="*/ 33854 w 96198"/>
                              <a:gd name="connsiteY41" fmla="*/ 4859 h 38612"/>
                              <a:gd name="connsiteX42" fmla="*/ 56594 w 96198"/>
                              <a:gd name="connsiteY42" fmla="*/ 2721 h 38612"/>
                              <a:gd name="connsiteX43" fmla="*/ 69032 w 96198"/>
                              <a:gd name="connsiteY43" fmla="*/ 1944 h 38612"/>
                              <a:gd name="connsiteX44" fmla="*/ 89245 w 96198"/>
                              <a:gd name="connsiteY44" fmla="*/ 6997 h 38612"/>
                              <a:gd name="connsiteX45" fmla="*/ 94104 w 96198"/>
                              <a:gd name="connsiteY45" fmla="*/ 15549 h 38612"/>
                              <a:gd name="connsiteX46" fmla="*/ 88792 w 96198"/>
                              <a:gd name="connsiteY46" fmla="*/ 20278 h 38612"/>
                              <a:gd name="connsiteX47" fmla="*/ 80694 w 96198"/>
                              <a:gd name="connsiteY47" fmla="*/ 20407 h 3861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  <a:cxn ang="0">
                                <a:pos x="connsiteX30" y="connsiteY30"/>
                              </a:cxn>
                              <a:cxn ang="0">
                                <a:pos x="connsiteX31" y="connsiteY31"/>
                              </a:cxn>
                              <a:cxn ang="0">
                                <a:pos x="connsiteX32" y="connsiteY32"/>
                              </a:cxn>
                              <a:cxn ang="0">
                                <a:pos x="connsiteX33" y="connsiteY33"/>
                              </a:cxn>
                              <a:cxn ang="0">
                                <a:pos x="connsiteX34" y="connsiteY34"/>
                              </a:cxn>
                              <a:cxn ang="0">
                                <a:pos x="connsiteX35" y="connsiteY35"/>
                              </a:cxn>
                              <a:cxn ang="0">
                                <a:pos x="connsiteX36" y="connsiteY36"/>
                              </a:cxn>
                              <a:cxn ang="0">
                                <a:pos x="connsiteX37" y="connsiteY37"/>
                              </a:cxn>
                              <a:cxn ang="0">
                                <a:pos x="connsiteX38" y="connsiteY38"/>
                              </a:cxn>
                              <a:cxn ang="0">
                                <a:pos x="connsiteX39" y="connsiteY39"/>
                              </a:cxn>
                              <a:cxn ang="0">
                                <a:pos x="connsiteX40" y="connsiteY40"/>
                              </a:cxn>
                              <a:cxn ang="0">
                                <a:pos x="connsiteX41" y="connsiteY41"/>
                              </a:cxn>
                              <a:cxn ang="0">
                                <a:pos x="connsiteX42" y="connsiteY42"/>
                              </a:cxn>
                              <a:cxn ang="0">
                                <a:pos x="connsiteX43" y="connsiteY43"/>
                              </a:cxn>
                              <a:cxn ang="0">
                                <a:pos x="connsiteX44" y="connsiteY44"/>
                              </a:cxn>
                              <a:cxn ang="0">
                                <a:pos x="connsiteX45" y="connsiteY45"/>
                              </a:cxn>
                              <a:cxn ang="0">
                                <a:pos x="connsiteX46" y="connsiteY46"/>
                              </a:cxn>
                              <a:cxn ang="0">
                                <a:pos x="connsiteX47" y="connsiteY47"/>
                              </a:cxn>
                            </a:cxnLst>
                            <a:rect l="l" t="t" r="r" b="b"/>
                            <a:pathLst>
                              <a:path w="96198" h="38612">
                                <a:moveTo>
                                  <a:pt x="90347" y="5377"/>
                                </a:moveTo>
                                <a:cubicBezTo>
                                  <a:pt x="84840" y="1684"/>
                                  <a:pt x="78102" y="0"/>
                                  <a:pt x="69032" y="0"/>
                                </a:cubicBezTo>
                                <a:cubicBezTo>
                                  <a:pt x="64692" y="0"/>
                                  <a:pt x="60221" y="389"/>
                                  <a:pt x="56399" y="777"/>
                                </a:cubicBezTo>
                                <a:lnTo>
                                  <a:pt x="33659" y="2915"/>
                                </a:lnTo>
                                <a:cubicBezTo>
                                  <a:pt x="30614" y="3239"/>
                                  <a:pt x="26338" y="3628"/>
                                  <a:pt x="23423" y="6284"/>
                                </a:cubicBezTo>
                                <a:cubicBezTo>
                                  <a:pt x="22646" y="6932"/>
                                  <a:pt x="21997" y="7774"/>
                                  <a:pt x="21415" y="8552"/>
                                </a:cubicBezTo>
                                <a:cubicBezTo>
                                  <a:pt x="20897" y="9264"/>
                                  <a:pt x="20378" y="9912"/>
                                  <a:pt x="19730" y="10495"/>
                                </a:cubicBezTo>
                                <a:cubicBezTo>
                                  <a:pt x="17787" y="12244"/>
                                  <a:pt x="15131" y="12892"/>
                                  <a:pt x="12280" y="13540"/>
                                </a:cubicBezTo>
                                <a:cubicBezTo>
                                  <a:pt x="9753" y="14123"/>
                                  <a:pt x="7162" y="14706"/>
                                  <a:pt x="4959" y="16196"/>
                                </a:cubicBezTo>
                                <a:cubicBezTo>
                                  <a:pt x="-742" y="20084"/>
                                  <a:pt x="-1131" y="28441"/>
                                  <a:pt x="1784" y="34013"/>
                                </a:cubicBezTo>
                                <a:cubicBezTo>
                                  <a:pt x="2821" y="35891"/>
                                  <a:pt x="3988" y="37187"/>
                                  <a:pt x="5348" y="37900"/>
                                </a:cubicBezTo>
                                <a:cubicBezTo>
                                  <a:pt x="6255" y="38353"/>
                                  <a:pt x="7227" y="38612"/>
                                  <a:pt x="8198" y="38612"/>
                                </a:cubicBezTo>
                                <a:cubicBezTo>
                                  <a:pt x="11049" y="38612"/>
                                  <a:pt x="13770" y="36733"/>
                                  <a:pt x="16361" y="34984"/>
                                </a:cubicBezTo>
                                <a:cubicBezTo>
                                  <a:pt x="17333" y="34336"/>
                                  <a:pt x="18240" y="33689"/>
                                  <a:pt x="19147" y="33170"/>
                                </a:cubicBezTo>
                                <a:cubicBezTo>
                                  <a:pt x="20897" y="32198"/>
                                  <a:pt x="22904" y="31486"/>
                                  <a:pt x="24848" y="30838"/>
                                </a:cubicBezTo>
                                <a:cubicBezTo>
                                  <a:pt x="27893" y="29801"/>
                                  <a:pt x="31003" y="28765"/>
                                  <a:pt x="33400" y="26368"/>
                                </a:cubicBezTo>
                                <a:cubicBezTo>
                                  <a:pt x="33983" y="25785"/>
                                  <a:pt x="34566" y="25137"/>
                                  <a:pt x="35084" y="24424"/>
                                </a:cubicBezTo>
                                <a:cubicBezTo>
                                  <a:pt x="35603" y="23841"/>
                                  <a:pt x="36056" y="23193"/>
                                  <a:pt x="36639" y="22675"/>
                                </a:cubicBezTo>
                                <a:cubicBezTo>
                                  <a:pt x="38971" y="20407"/>
                                  <a:pt x="42340" y="19306"/>
                                  <a:pt x="47264" y="19306"/>
                                </a:cubicBezTo>
                                <a:cubicBezTo>
                                  <a:pt x="49208" y="19306"/>
                                  <a:pt x="51216" y="19500"/>
                                  <a:pt x="52835" y="19630"/>
                                </a:cubicBezTo>
                                <a:lnTo>
                                  <a:pt x="80499" y="22351"/>
                                </a:lnTo>
                                <a:cubicBezTo>
                                  <a:pt x="81924" y="22481"/>
                                  <a:pt x="83479" y="22675"/>
                                  <a:pt x="85035" y="22675"/>
                                </a:cubicBezTo>
                                <a:cubicBezTo>
                                  <a:pt x="86589" y="22675"/>
                                  <a:pt x="88014" y="22481"/>
                                  <a:pt x="89310" y="22157"/>
                                </a:cubicBezTo>
                                <a:cubicBezTo>
                                  <a:pt x="91966" y="21444"/>
                                  <a:pt x="95141" y="19436"/>
                                  <a:pt x="95983" y="16002"/>
                                </a:cubicBezTo>
                                <a:cubicBezTo>
                                  <a:pt x="97085" y="11661"/>
                                  <a:pt x="93780" y="7645"/>
                                  <a:pt x="90347" y="5377"/>
                                </a:cubicBezTo>
                                <a:close/>
                                <a:moveTo>
                                  <a:pt x="80694" y="20407"/>
                                </a:moveTo>
                                <a:lnTo>
                                  <a:pt x="53030" y="17686"/>
                                </a:lnTo>
                                <a:cubicBezTo>
                                  <a:pt x="51346" y="17557"/>
                                  <a:pt x="49273" y="17363"/>
                                  <a:pt x="47264" y="17363"/>
                                </a:cubicBezTo>
                                <a:cubicBezTo>
                                  <a:pt x="41822" y="17363"/>
                                  <a:pt x="38000" y="18593"/>
                                  <a:pt x="35279" y="21315"/>
                                </a:cubicBezTo>
                                <a:cubicBezTo>
                                  <a:pt x="34631" y="21898"/>
                                  <a:pt x="34112" y="22545"/>
                                  <a:pt x="33594" y="23258"/>
                                </a:cubicBezTo>
                                <a:cubicBezTo>
                                  <a:pt x="33076" y="23841"/>
                                  <a:pt x="32622" y="24489"/>
                                  <a:pt x="32039" y="25007"/>
                                </a:cubicBezTo>
                                <a:cubicBezTo>
                                  <a:pt x="29967" y="27080"/>
                                  <a:pt x="27181" y="27987"/>
                                  <a:pt x="24201" y="29024"/>
                                </a:cubicBezTo>
                                <a:cubicBezTo>
                                  <a:pt x="22192" y="29672"/>
                                  <a:pt x="20054" y="30384"/>
                                  <a:pt x="18175" y="31486"/>
                                </a:cubicBezTo>
                                <a:cubicBezTo>
                                  <a:pt x="17203" y="32069"/>
                                  <a:pt x="16231" y="32717"/>
                                  <a:pt x="15260" y="33365"/>
                                </a:cubicBezTo>
                                <a:cubicBezTo>
                                  <a:pt x="12151" y="35438"/>
                                  <a:pt x="8911" y="37511"/>
                                  <a:pt x="6255" y="36150"/>
                                </a:cubicBezTo>
                                <a:cubicBezTo>
                                  <a:pt x="5218" y="35632"/>
                                  <a:pt x="4311" y="34660"/>
                                  <a:pt x="3534" y="33106"/>
                                </a:cubicBezTo>
                                <a:cubicBezTo>
                                  <a:pt x="942" y="28311"/>
                                  <a:pt x="1201" y="21055"/>
                                  <a:pt x="6060" y="17816"/>
                                </a:cubicBezTo>
                                <a:cubicBezTo>
                                  <a:pt x="7939" y="16520"/>
                                  <a:pt x="10272" y="16002"/>
                                  <a:pt x="12733" y="15419"/>
                                </a:cubicBezTo>
                                <a:cubicBezTo>
                                  <a:pt x="15713" y="14771"/>
                                  <a:pt x="18758" y="14058"/>
                                  <a:pt x="21090" y="11921"/>
                                </a:cubicBezTo>
                                <a:cubicBezTo>
                                  <a:pt x="21804" y="11208"/>
                                  <a:pt x="22386" y="10431"/>
                                  <a:pt x="22969" y="9718"/>
                                </a:cubicBezTo>
                                <a:cubicBezTo>
                                  <a:pt x="23552" y="9005"/>
                                  <a:pt x="24071" y="8293"/>
                                  <a:pt x="24719" y="7709"/>
                                </a:cubicBezTo>
                                <a:cubicBezTo>
                                  <a:pt x="26986" y="5636"/>
                                  <a:pt x="30225" y="5183"/>
                                  <a:pt x="33854" y="4859"/>
                                </a:cubicBezTo>
                                <a:lnTo>
                                  <a:pt x="56594" y="2721"/>
                                </a:lnTo>
                                <a:cubicBezTo>
                                  <a:pt x="60351" y="2332"/>
                                  <a:pt x="64757" y="1944"/>
                                  <a:pt x="69032" y="1944"/>
                                </a:cubicBezTo>
                                <a:cubicBezTo>
                                  <a:pt x="77714" y="1944"/>
                                  <a:pt x="84127" y="3563"/>
                                  <a:pt x="89245" y="6997"/>
                                </a:cubicBezTo>
                                <a:cubicBezTo>
                                  <a:pt x="92031" y="8811"/>
                                  <a:pt x="94946" y="12180"/>
                                  <a:pt x="94104" y="15549"/>
                                </a:cubicBezTo>
                                <a:cubicBezTo>
                                  <a:pt x="93586" y="17686"/>
                                  <a:pt x="91513" y="19565"/>
                                  <a:pt x="88792" y="20278"/>
                                </a:cubicBezTo>
                                <a:cubicBezTo>
                                  <a:pt x="86589" y="20861"/>
                                  <a:pt x="83350" y="20667"/>
                                  <a:pt x="80694" y="2040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sp>
                        <p:nvSpPr>
                          <p:cNvPr id="49" name="Freeform: Shape 48">
                            <a:extLst>
                              <a:ext uri="{FF2B5EF4-FFF2-40B4-BE49-F238E27FC236}">
                                <a16:creationId xmlns:a16="http://schemas.microsoft.com/office/drawing/2014/main" id="{A2184635-FEA5-46E5-AEC8-7E5437CF321C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1686545" y="2393951"/>
                            <a:ext cx="78286" cy="23217"/>
                          </a:xfrm>
                          <a:custGeom>
                            <a:avLst/>
                            <a:gdLst>
                              <a:gd name="connsiteX0" fmla="*/ 77290 w 78286"/>
                              <a:gd name="connsiteY0" fmla="*/ 17841 h 23217"/>
                              <a:gd name="connsiteX1" fmla="*/ 60251 w 78286"/>
                              <a:gd name="connsiteY1" fmla="*/ 9872 h 23217"/>
                              <a:gd name="connsiteX2" fmla="*/ 58437 w 78286"/>
                              <a:gd name="connsiteY2" fmla="*/ 9872 h 23217"/>
                              <a:gd name="connsiteX3" fmla="*/ 56623 w 78286"/>
                              <a:gd name="connsiteY3" fmla="*/ 9937 h 23217"/>
                              <a:gd name="connsiteX4" fmla="*/ 53060 w 78286"/>
                              <a:gd name="connsiteY4" fmla="*/ 9289 h 23217"/>
                              <a:gd name="connsiteX5" fmla="*/ 50986 w 78286"/>
                              <a:gd name="connsiteY5" fmla="*/ 6438 h 23217"/>
                              <a:gd name="connsiteX6" fmla="*/ 51505 w 78286"/>
                              <a:gd name="connsiteY6" fmla="*/ 4754 h 23217"/>
                              <a:gd name="connsiteX7" fmla="*/ 52477 w 78286"/>
                              <a:gd name="connsiteY7" fmla="*/ 3976 h 23217"/>
                              <a:gd name="connsiteX8" fmla="*/ 51505 w 78286"/>
                              <a:gd name="connsiteY8" fmla="*/ 3199 h 23217"/>
                              <a:gd name="connsiteX9" fmla="*/ 36863 w 78286"/>
                              <a:gd name="connsiteY9" fmla="*/ 219 h 23217"/>
                              <a:gd name="connsiteX10" fmla="*/ 30708 w 78286"/>
                              <a:gd name="connsiteY10" fmla="*/ 1191 h 23217"/>
                              <a:gd name="connsiteX11" fmla="*/ 22481 w 78286"/>
                              <a:gd name="connsiteY11" fmla="*/ 2357 h 23217"/>
                              <a:gd name="connsiteX12" fmla="*/ 15484 w 78286"/>
                              <a:gd name="connsiteY12" fmla="*/ 2162 h 23217"/>
                              <a:gd name="connsiteX13" fmla="*/ 10042 w 78286"/>
                              <a:gd name="connsiteY13" fmla="*/ 1903 h 23217"/>
                              <a:gd name="connsiteX14" fmla="*/ 584 w 78286"/>
                              <a:gd name="connsiteY14" fmla="*/ 3717 h 23217"/>
                              <a:gd name="connsiteX15" fmla="*/ 0 w 78286"/>
                              <a:gd name="connsiteY15" fmla="*/ 3976 h 23217"/>
                              <a:gd name="connsiteX16" fmla="*/ 195 w 78286"/>
                              <a:gd name="connsiteY16" fmla="*/ 13435 h 23217"/>
                              <a:gd name="connsiteX17" fmla="*/ 972 w 78286"/>
                              <a:gd name="connsiteY17" fmla="*/ 13435 h 23217"/>
                              <a:gd name="connsiteX18" fmla="*/ 40880 w 78286"/>
                              <a:gd name="connsiteY18" fmla="*/ 17193 h 23217"/>
                              <a:gd name="connsiteX19" fmla="*/ 55975 w 78286"/>
                              <a:gd name="connsiteY19" fmla="*/ 23218 h 23217"/>
                              <a:gd name="connsiteX20" fmla="*/ 73532 w 78286"/>
                              <a:gd name="connsiteY20" fmla="*/ 23023 h 23217"/>
                              <a:gd name="connsiteX21" fmla="*/ 77290 w 78286"/>
                              <a:gd name="connsiteY21" fmla="*/ 22052 h 23217"/>
                              <a:gd name="connsiteX22" fmla="*/ 78262 w 78286"/>
                              <a:gd name="connsiteY22" fmla="*/ 19460 h 23217"/>
                              <a:gd name="connsiteX23" fmla="*/ 77290 w 78286"/>
                              <a:gd name="connsiteY23" fmla="*/ 17776 h 23217"/>
                              <a:gd name="connsiteX24" fmla="*/ 76058 w 78286"/>
                              <a:gd name="connsiteY24" fmla="*/ 20626 h 23217"/>
                              <a:gd name="connsiteX25" fmla="*/ 73532 w 78286"/>
                              <a:gd name="connsiteY25" fmla="*/ 21145 h 23217"/>
                              <a:gd name="connsiteX26" fmla="*/ 56688 w 78286"/>
                              <a:gd name="connsiteY26" fmla="*/ 21339 h 23217"/>
                              <a:gd name="connsiteX27" fmla="*/ 55975 w 78286"/>
                              <a:gd name="connsiteY27" fmla="*/ 21339 h 23217"/>
                              <a:gd name="connsiteX28" fmla="*/ 42435 w 78286"/>
                              <a:gd name="connsiteY28" fmla="*/ 15962 h 23217"/>
                              <a:gd name="connsiteX29" fmla="*/ 42176 w 78286"/>
                              <a:gd name="connsiteY29" fmla="*/ 15379 h 23217"/>
                              <a:gd name="connsiteX30" fmla="*/ 41528 w 78286"/>
                              <a:gd name="connsiteY30" fmla="*/ 15379 h 23217"/>
                              <a:gd name="connsiteX31" fmla="*/ 2074 w 78286"/>
                              <a:gd name="connsiteY31" fmla="*/ 11815 h 23217"/>
                              <a:gd name="connsiteX32" fmla="*/ 1944 w 78286"/>
                              <a:gd name="connsiteY32" fmla="*/ 5272 h 23217"/>
                              <a:gd name="connsiteX33" fmla="*/ 10042 w 78286"/>
                              <a:gd name="connsiteY33" fmla="*/ 3912 h 23217"/>
                              <a:gd name="connsiteX34" fmla="*/ 15354 w 78286"/>
                              <a:gd name="connsiteY34" fmla="*/ 4171 h 23217"/>
                              <a:gd name="connsiteX35" fmla="*/ 22610 w 78286"/>
                              <a:gd name="connsiteY35" fmla="*/ 4365 h 23217"/>
                              <a:gd name="connsiteX36" fmla="*/ 31033 w 78286"/>
                              <a:gd name="connsiteY36" fmla="*/ 3199 h 23217"/>
                              <a:gd name="connsiteX37" fmla="*/ 37058 w 78286"/>
                              <a:gd name="connsiteY37" fmla="*/ 2227 h 23217"/>
                              <a:gd name="connsiteX38" fmla="*/ 49496 w 78286"/>
                              <a:gd name="connsiteY38" fmla="*/ 4236 h 23217"/>
                              <a:gd name="connsiteX39" fmla="*/ 49043 w 78286"/>
                              <a:gd name="connsiteY39" fmla="*/ 6762 h 23217"/>
                              <a:gd name="connsiteX40" fmla="*/ 52283 w 78286"/>
                              <a:gd name="connsiteY40" fmla="*/ 11168 h 23217"/>
                              <a:gd name="connsiteX41" fmla="*/ 56623 w 78286"/>
                              <a:gd name="connsiteY41" fmla="*/ 11945 h 23217"/>
                              <a:gd name="connsiteX42" fmla="*/ 58567 w 78286"/>
                              <a:gd name="connsiteY42" fmla="*/ 11880 h 23217"/>
                              <a:gd name="connsiteX43" fmla="*/ 60381 w 78286"/>
                              <a:gd name="connsiteY43" fmla="*/ 11815 h 23217"/>
                              <a:gd name="connsiteX44" fmla="*/ 75865 w 78286"/>
                              <a:gd name="connsiteY44" fmla="*/ 19266 h 23217"/>
                              <a:gd name="connsiteX45" fmla="*/ 76253 w 78286"/>
                              <a:gd name="connsiteY45" fmla="*/ 19525 h 23217"/>
                              <a:gd name="connsiteX46" fmla="*/ 76383 w 78286"/>
                              <a:gd name="connsiteY46" fmla="*/ 19719 h 23217"/>
                              <a:gd name="connsiteX47" fmla="*/ 76058 w 78286"/>
                              <a:gd name="connsiteY47" fmla="*/ 20626 h 2321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  <a:cxn ang="0">
                                <a:pos x="connsiteX30" y="connsiteY30"/>
                              </a:cxn>
                              <a:cxn ang="0">
                                <a:pos x="connsiteX31" y="connsiteY31"/>
                              </a:cxn>
                              <a:cxn ang="0">
                                <a:pos x="connsiteX32" y="connsiteY32"/>
                              </a:cxn>
                              <a:cxn ang="0">
                                <a:pos x="connsiteX33" y="connsiteY33"/>
                              </a:cxn>
                              <a:cxn ang="0">
                                <a:pos x="connsiteX34" y="connsiteY34"/>
                              </a:cxn>
                              <a:cxn ang="0">
                                <a:pos x="connsiteX35" y="connsiteY35"/>
                              </a:cxn>
                              <a:cxn ang="0">
                                <a:pos x="connsiteX36" y="connsiteY36"/>
                              </a:cxn>
                              <a:cxn ang="0">
                                <a:pos x="connsiteX37" y="connsiteY37"/>
                              </a:cxn>
                              <a:cxn ang="0">
                                <a:pos x="connsiteX38" y="connsiteY38"/>
                              </a:cxn>
                              <a:cxn ang="0">
                                <a:pos x="connsiteX39" y="connsiteY39"/>
                              </a:cxn>
                              <a:cxn ang="0">
                                <a:pos x="connsiteX40" y="connsiteY40"/>
                              </a:cxn>
                              <a:cxn ang="0">
                                <a:pos x="connsiteX41" y="connsiteY41"/>
                              </a:cxn>
                              <a:cxn ang="0">
                                <a:pos x="connsiteX42" y="connsiteY42"/>
                              </a:cxn>
                              <a:cxn ang="0">
                                <a:pos x="connsiteX43" y="connsiteY43"/>
                              </a:cxn>
                              <a:cxn ang="0">
                                <a:pos x="connsiteX44" y="connsiteY44"/>
                              </a:cxn>
                              <a:cxn ang="0">
                                <a:pos x="connsiteX45" y="connsiteY45"/>
                              </a:cxn>
                              <a:cxn ang="0">
                                <a:pos x="connsiteX46" y="connsiteY46"/>
                              </a:cxn>
                              <a:cxn ang="0">
                                <a:pos x="connsiteX47" y="connsiteY47"/>
                              </a:cxn>
                            </a:cxnLst>
                            <a:rect l="l" t="t" r="r" b="b"/>
                            <a:pathLst>
                              <a:path w="78286" h="23217">
                                <a:moveTo>
                                  <a:pt x="77290" y="17841"/>
                                </a:moveTo>
                                <a:cubicBezTo>
                                  <a:pt x="73143" y="12852"/>
                                  <a:pt x="66859" y="9872"/>
                                  <a:pt x="60251" y="9872"/>
                                </a:cubicBezTo>
                                <a:cubicBezTo>
                                  <a:pt x="59668" y="9872"/>
                                  <a:pt x="59085" y="9872"/>
                                  <a:pt x="58437" y="9872"/>
                                </a:cubicBezTo>
                                <a:cubicBezTo>
                                  <a:pt x="57854" y="9872"/>
                                  <a:pt x="57206" y="9937"/>
                                  <a:pt x="56623" y="9937"/>
                                </a:cubicBezTo>
                                <a:cubicBezTo>
                                  <a:pt x="55068" y="9937"/>
                                  <a:pt x="53967" y="9742"/>
                                  <a:pt x="53060" y="9289"/>
                                </a:cubicBezTo>
                                <a:cubicBezTo>
                                  <a:pt x="52023" y="8835"/>
                                  <a:pt x="51116" y="7604"/>
                                  <a:pt x="50986" y="6438"/>
                                </a:cubicBezTo>
                                <a:cubicBezTo>
                                  <a:pt x="50922" y="5920"/>
                                  <a:pt x="50922" y="5207"/>
                                  <a:pt x="51505" y="4754"/>
                                </a:cubicBezTo>
                                <a:lnTo>
                                  <a:pt x="52477" y="3976"/>
                                </a:lnTo>
                                <a:lnTo>
                                  <a:pt x="51505" y="3199"/>
                                </a:lnTo>
                                <a:cubicBezTo>
                                  <a:pt x="48006" y="543"/>
                                  <a:pt x="42953" y="-494"/>
                                  <a:pt x="36863" y="219"/>
                                </a:cubicBezTo>
                                <a:cubicBezTo>
                                  <a:pt x="34790" y="413"/>
                                  <a:pt x="32717" y="802"/>
                                  <a:pt x="30708" y="1191"/>
                                </a:cubicBezTo>
                                <a:cubicBezTo>
                                  <a:pt x="27988" y="1709"/>
                                  <a:pt x="25267" y="2227"/>
                                  <a:pt x="22481" y="2357"/>
                                </a:cubicBezTo>
                                <a:cubicBezTo>
                                  <a:pt x="20213" y="2422"/>
                                  <a:pt x="17816" y="2292"/>
                                  <a:pt x="15484" y="2162"/>
                                </a:cubicBezTo>
                                <a:cubicBezTo>
                                  <a:pt x="13670" y="2033"/>
                                  <a:pt x="11856" y="1903"/>
                                  <a:pt x="10042" y="1903"/>
                                </a:cubicBezTo>
                                <a:cubicBezTo>
                                  <a:pt x="6155" y="1903"/>
                                  <a:pt x="3239" y="2486"/>
                                  <a:pt x="584" y="3717"/>
                                </a:cubicBezTo>
                                <a:lnTo>
                                  <a:pt x="0" y="3976"/>
                                </a:lnTo>
                                <a:lnTo>
                                  <a:pt x="195" y="13435"/>
                                </a:lnTo>
                                <a:lnTo>
                                  <a:pt x="972" y="13435"/>
                                </a:lnTo>
                                <a:cubicBezTo>
                                  <a:pt x="14188" y="15443"/>
                                  <a:pt x="27599" y="16674"/>
                                  <a:pt x="40880" y="17193"/>
                                </a:cubicBezTo>
                                <a:cubicBezTo>
                                  <a:pt x="42953" y="21274"/>
                                  <a:pt x="47877" y="23218"/>
                                  <a:pt x="55975" y="23218"/>
                                </a:cubicBezTo>
                                <a:lnTo>
                                  <a:pt x="73532" y="23023"/>
                                </a:lnTo>
                                <a:cubicBezTo>
                                  <a:pt x="74568" y="23023"/>
                                  <a:pt x="76123" y="23023"/>
                                  <a:pt x="77290" y="22052"/>
                                </a:cubicBezTo>
                                <a:cubicBezTo>
                                  <a:pt x="78002" y="21469"/>
                                  <a:pt x="78391" y="20367"/>
                                  <a:pt x="78262" y="19460"/>
                                </a:cubicBezTo>
                                <a:cubicBezTo>
                                  <a:pt x="78197" y="18748"/>
                                  <a:pt x="77808" y="18164"/>
                                  <a:pt x="77290" y="17776"/>
                                </a:cubicBezTo>
                                <a:close/>
                                <a:moveTo>
                                  <a:pt x="76058" y="20626"/>
                                </a:moveTo>
                                <a:cubicBezTo>
                                  <a:pt x="75476" y="21080"/>
                                  <a:pt x="74504" y="21145"/>
                                  <a:pt x="73532" y="21145"/>
                                </a:cubicBezTo>
                                <a:lnTo>
                                  <a:pt x="56688" y="21339"/>
                                </a:lnTo>
                                <a:lnTo>
                                  <a:pt x="55975" y="21339"/>
                                </a:lnTo>
                                <a:cubicBezTo>
                                  <a:pt x="48396" y="21339"/>
                                  <a:pt x="43990" y="19590"/>
                                  <a:pt x="42435" y="15962"/>
                                </a:cubicBezTo>
                                <a:lnTo>
                                  <a:pt x="42176" y="15379"/>
                                </a:lnTo>
                                <a:lnTo>
                                  <a:pt x="41528" y="15379"/>
                                </a:lnTo>
                                <a:cubicBezTo>
                                  <a:pt x="28376" y="14860"/>
                                  <a:pt x="15160" y="13629"/>
                                  <a:pt x="2074" y="11815"/>
                                </a:cubicBezTo>
                                <a:lnTo>
                                  <a:pt x="1944" y="5272"/>
                                </a:lnTo>
                                <a:cubicBezTo>
                                  <a:pt x="4211" y="4365"/>
                                  <a:pt x="6738" y="3912"/>
                                  <a:pt x="10042" y="3912"/>
                                </a:cubicBezTo>
                                <a:cubicBezTo>
                                  <a:pt x="11791" y="3912"/>
                                  <a:pt x="13606" y="4041"/>
                                  <a:pt x="15354" y="4171"/>
                                </a:cubicBezTo>
                                <a:cubicBezTo>
                                  <a:pt x="17751" y="4300"/>
                                  <a:pt x="20213" y="4430"/>
                                  <a:pt x="22610" y="4365"/>
                                </a:cubicBezTo>
                                <a:cubicBezTo>
                                  <a:pt x="25461" y="4236"/>
                                  <a:pt x="28311" y="3652"/>
                                  <a:pt x="31033" y="3199"/>
                                </a:cubicBezTo>
                                <a:cubicBezTo>
                                  <a:pt x="33041" y="2810"/>
                                  <a:pt x="35049" y="2422"/>
                                  <a:pt x="37058" y="2227"/>
                                </a:cubicBezTo>
                                <a:cubicBezTo>
                                  <a:pt x="42176" y="1644"/>
                                  <a:pt x="46452" y="2357"/>
                                  <a:pt x="49496" y="4236"/>
                                </a:cubicBezTo>
                                <a:cubicBezTo>
                                  <a:pt x="49043" y="4948"/>
                                  <a:pt x="48914" y="5855"/>
                                  <a:pt x="49043" y="6762"/>
                                </a:cubicBezTo>
                                <a:cubicBezTo>
                                  <a:pt x="49303" y="8641"/>
                                  <a:pt x="50598" y="10390"/>
                                  <a:pt x="52283" y="11168"/>
                                </a:cubicBezTo>
                                <a:cubicBezTo>
                                  <a:pt x="53772" y="11815"/>
                                  <a:pt x="55392" y="11945"/>
                                  <a:pt x="56623" y="11945"/>
                                </a:cubicBezTo>
                                <a:cubicBezTo>
                                  <a:pt x="57271" y="11945"/>
                                  <a:pt x="57919" y="11880"/>
                                  <a:pt x="58567" y="11880"/>
                                </a:cubicBezTo>
                                <a:cubicBezTo>
                                  <a:pt x="59085" y="11880"/>
                                  <a:pt x="59733" y="11815"/>
                                  <a:pt x="60381" y="11815"/>
                                </a:cubicBezTo>
                                <a:cubicBezTo>
                                  <a:pt x="66276" y="11815"/>
                                  <a:pt x="72171" y="14666"/>
                                  <a:pt x="75865" y="19266"/>
                                </a:cubicBezTo>
                                <a:lnTo>
                                  <a:pt x="76253" y="19525"/>
                                </a:lnTo>
                                <a:cubicBezTo>
                                  <a:pt x="76253" y="19525"/>
                                  <a:pt x="76318" y="19590"/>
                                  <a:pt x="76383" y="19719"/>
                                </a:cubicBezTo>
                                <a:cubicBezTo>
                                  <a:pt x="76383" y="20043"/>
                                  <a:pt x="76253" y="20432"/>
                                  <a:pt x="76058" y="20626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DDDDDD"/>
                          </a:solidFill>
                          <a:ln w="6472" cap="flat">
                            <a:solidFill>
                              <a:srgbClr val="FFFFFF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da-DK"/>
                          </a:p>
                        </p:txBody>
                      </p:sp>
                      <p:grpSp>
                        <p:nvGrpSpPr>
                          <p:cNvPr id="50" name="Graphic 413">
                            <a:extLst>
                              <a:ext uri="{FF2B5EF4-FFF2-40B4-BE49-F238E27FC236}">
                                <a16:creationId xmlns:a16="http://schemas.microsoft.com/office/drawing/2014/main" id="{B3E83C54-F628-4D7F-A8CF-CBD38AE33C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840632" y="1314629"/>
                            <a:ext cx="8882290" cy="4743195"/>
                            <a:chOff x="2840632" y="1314629"/>
                            <a:chExt cx="8882290" cy="4743195"/>
                          </a:xfrm>
                        </p:grpSpPr>
                        <p:sp>
                          <p:nvSpPr>
                            <p:cNvPr id="51" name="Freeform: Shape 50">
                              <a:extLst>
                                <a:ext uri="{FF2B5EF4-FFF2-40B4-BE49-F238E27FC236}">
                                  <a16:creationId xmlns:a16="http://schemas.microsoft.com/office/drawing/2014/main" id="{362EFD02-A18B-49CE-9A07-9A2F930853D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5071217" y="3695326"/>
                              <a:ext cx="19433" cy="38008"/>
                            </a:xfrm>
                            <a:custGeom>
                              <a:avLst/>
                              <a:gdLst>
                                <a:gd name="connsiteX0" fmla="*/ 11072 w 19433"/>
                                <a:gd name="connsiteY0" fmla="*/ 3174 h 38008"/>
                                <a:gd name="connsiteX1" fmla="*/ 2262 w 19433"/>
                                <a:gd name="connsiteY1" fmla="*/ 0 h 38008"/>
                                <a:gd name="connsiteX2" fmla="*/ 3298 w 19433"/>
                                <a:gd name="connsiteY2" fmla="*/ 23388 h 38008"/>
                                <a:gd name="connsiteX3" fmla="*/ 11008 w 19433"/>
                                <a:gd name="connsiteY3" fmla="*/ 32458 h 38008"/>
                                <a:gd name="connsiteX4" fmla="*/ 11591 w 19433"/>
                                <a:gd name="connsiteY4" fmla="*/ 35243 h 38008"/>
                                <a:gd name="connsiteX5" fmla="*/ 16903 w 19433"/>
                                <a:gd name="connsiteY5" fmla="*/ 37835 h 38008"/>
                                <a:gd name="connsiteX6" fmla="*/ 17292 w 19433"/>
                                <a:gd name="connsiteY6" fmla="*/ 17168 h 38008"/>
                                <a:gd name="connsiteX7" fmla="*/ 13275 w 19433"/>
                                <a:gd name="connsiteY7" fmla="*/ 8293 h 38008"/>
                                <a:gd name="connsiteX8" fmla="*/ 12433 w 19433"/>
                                <a:gd name="connsiteY8" fmla="*/ 4794 h 38008"/>
                                <a:gd name="connsiteX9" fmla="*/ 10943 w 19433"/>
                                <a:gd name="connsiteY9" fmla="*/ 3174 h 3800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</a:cxnLst>
                              <a:rect l="l" t="t" r="r" b="b"/>
                              <a:pathLst>
                                <a:path w="19433" h="38008">
                                  <a:moveTo>
                                    <a:pt x="11072" y="3174"/>
                                  </a:moveTo>
                                  <a:cubicBezTo>
                                    <a:pt x="8611" y="1166"/>
                                    <a:pt x="5436" y="65"/>
                                    <a:pt x="2262" y="0"/>
                                  </a:cubicBezTo>
                                  <a:cubicBezTo>
                                    <a:pt x="59" y="7839"/>
                                    <a:pt x="-1885" y="17104"/>
                                    <a:pt x="3298" y="23388"/>
                                  </a:cubicBezTo>
                                  <a:cubicBezTo>
                                    <a:pt x="5890" y="26497"/>
                                    <a:pt x="10036" y="28571"/>
                                    <a:pt x="11008" y="32458"/>
                                  </a:cubicBezTo>
                                  <a:cubicBezTo>
                                    <a:pt x="11267" y="33365"/>
                                    <a:pt x="11267" y="34336"/>
                                    <a:pt x="11591" y="35243"/>
                                  </a:cubicBezTo>
                                  <a:cubicBezTo>
                                    <a:pt x="12368" y="37252"/>
                                    <a:pt x="14830" y="38483"/>
                                    <a:pt x="16903" y="37835"/>
                                  </a:cubicBezTo>
                                  <a:cubicBezTo>
                                    <a:pt x="20143" y="31486"/>
                                    <a:pt x="20272" y="23647"/>
                                    <a:pt x="17292" y="17168"/>
                                  </a:cubicBezTo>
                                  <a:cubicBezTo>
                                    <a:pt x="15931" y="14188"/>
                                    <a:pt x="13923" y="11467"/>
                                    <a:pt x="13275" y="8293"/>
                                  </a:cubicBezTo>
                                  <a:cubicBezTo>
                                    <a:pt x="13016" y="7126"/>
                                    <a:pt x="13016" y="5831"/>
                                    <a:pt x="12433" y="4794"/>
                                  </a:cubicBezTo>
                                  <a:cubicBezTo>
                                    <a:pt x="12044" y="4146"/>
                                    <a:pt x="11526" y="3628"/>
                                    <a:pt x="10943" y="3174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DDDDDD"/>
                            </a:solidFill>
                            <a:ln w="6472" cap="flat">
                              <a:solidFill>
                                <a:srgbClr val="FFFFFF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da-DK"/>
                            </a:p>
                          </p:txBody>
                        </p:sp>
                        <p:sp>
                          <p:nvSpPr>
                            <p:cNvPr id="52" name="Freeform: Shape 51">
                              <a:extLst>
                                <a:ext uri="{FF2B5EF4-FFF2-40B4-BE49-F238E27FC236}">
                                  <a16:creationId xmlns:a16="http://schemas.microsoft.com/office/drawing/2014/main" id="{7F6D7DDD-86B3-4F60-B033-941113A676A0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74805" y="4090519"/>
                              <a:ext cx="95016" cy="68608"/>
                            </a:xfrm>
                            <a:custGeom>
                              <a:avLst/>
                              <a:gdLst>
                                <a:gd name="connsiteX0" fmla="*/ 84586 w 95016"/>
                                <a:gd name="connsiteY0" fmla="*/ 62907 h 68608"/>
                                <a:gd name="connsiteX1" fmla="*/ 87955 w 95016"/>
                                <a:gd name="connsiteY1" fmla="*/ 47034 h 68608"/>
                                <a:gd name="connsiteX2" fmla="*/ 93268 w 95016"/>
                                <a:gd name="connsiteY2" fmla="*/ 44184 h 68608"/>
                                <a:gd name="connsiteX3" fmla="*/ 95017 w 95016"/>
                                <a:gd name="connsiteY3" fmla="*/ 41398 h 68608"/>
                                <a:gd name="connsiteX4" fmla="*/ 84262 w 95016"/>
                                <a:gd name="connsiteY4" fmla="*/ 29931 h 68608"/>
                                <a:gd name="connsiteX5" fmla="*/ 63013 w 95016"/>
                                <a:gd name="connsiteY5" fmla="*/ 65 h 68608"/>
                                <a:gd name="connsiteX6" fmla="*/ 56858 w 95016"/>
                                <a:gd name="connsiteY6" fmla="*/ 1231 h 68608"/>
                                <a:gd name="connsiteX7" fmla="*/ 43123 w 95016"/>
                                <a:gd name="connsiteY7" fmla="*/ 1360 h 68608"/>
                                <a:gd name="connsiteX8" fmla="*/ 14164 w 95016"/>
                                <a:gd name="connsiteY8" fmla="*/ 0 h 68608"/>
                                <a:gd name="connsiteX9" fmla="*/ 14035 w 95016"/>
                                <a:gd name="connsiteY9" fmla="*/ 1101 h 68608"/>
                                <a:gd name="connsiteX10" fmla="*/ 1337 w 95016"/>
                                <a:gd name="connsiteY10" fmla="*/ 9005 h 68608"/>
                                <a:gd name="connsiteX11" fmla="*/ 4122 w 95016"/>
                                <a:gd name="connsiteY11" fmla="*/ 20926 h 68608"/>
                                <a:gd name="connsiteX12" fmla="*/ 17079 w 95016"/>
                                <a:gd name="connsiteY12" fmla="*/ 24618 h 68608"/>
                                <a:gd name="connsiteX13" fmla="*/ 46622 w 95016"/>
                                <a:gd name="connsiteY13" fmla="*/ 27534 h 68608"/>
                                <a:gd name="connsiteX14" fmla="*/ 63596 w 95016"/>
                                <a:gd name="connsiteY14" fmla="*/ 49496 h 68608"/>
                                <a:gd name="connsiteX15" fmla="*/ 72925 w 95016"/>
                                <a:gd name="connsiteY15" fmla="*/ 68608 h 68608"/>
                                <a:gd name="connsiteX16" fmla="*/ 73702 w 95016"/>
                                <a:gd name="connsiteY16" fmla="*/ 68479 h 68608"/>
                                <a:gd name="connsiteX17" fmla="*/ 84651 w 95016"/>
                                <a:gd name="connsiteY17" fmla="*/ 62907 h 68608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</a:cxnLst>
                              <a:rect l="l" t="t" r="r" b="b"/>
                              <a:pathLst>
                                <a:path w="95016" h="68608">
                                  <a:moveTo>
                                    <a:pt x="84586" y="62907"/>
                                  </a:moveTo>
                                  <a:cubicBezTo>
                                    <a:pt x="87113" y="57983"/>
                                    <a:pt x="83614" y="50533"/>
                                    <a:pt x="87955" y="47034"/>
                                  </a:cubicBezTo>
                                  <a:cubicBezTo>
                                    <a:pt x="89510" y="45804"/>
                                    <a:pt x="91713" y="45480"/>
                                    <a:pt x="93268" y="44184"/>
                                  </a:cubicBezTo>
                                  <a:cubicBezTo>
                                    <a:pt x="94174" y="43471"/>
                                    <a:pt x="94628" y="42499"/>
                                    <a:pt x="95017" y="41398"/>
                                  </a:cubicBezTo>
                                  <a:cubicBezTo>
                                    <a:pt x="91259" y="37705"/>
                                    <a:pt x="87696" y="33818"/>
                                    <a:pt x="84262" y="29931"/>
                                  </a:cubicBezTo>
                                  <a:cubicBezTo>
                                    <a:pt x="76229" y="20926"/>
                                    <a:pt x="67807" y="10754"/>
                                    <a:pt x="63013" y="65"/>
                                  </a:cubicBezTo>
                                  <a:cubicBezTo>
                                    <a:pt x="61004" y="518"/>
                                    <a:pt x="58931" y="972"/>
                                    <a:pt x="56858" y="1231"/>
                                  </a:cubicBezTo>
                                  <a:cubicBezTo>
                                    <a:pt x="52323" y="1749"/>
                                    <a:pt x="47723" y="1555"/>
                                    <a:pt x="43123" y="1360"/>
                                  </a:cubicBezTo>
                                  <a:cubicBezTo>
                                    <a:pt x="33470" y="907"/>
                                    <a:pt x="23817" y="454"/>
                                    <a:pt x="14164" y="0"/>
                                  </a:cubicBezTo>
                                  <a:cubicBezTo>
                                    <a:pt x="14164" y="389"/>
                                    <a:pt x="14164" y="713"/>
                                    <a:pt x="14035" y="1101"/>
                                  </a:cubicBezTo>
                                  <a:cubicBezTo>
                                    <a:pt x="12480" y="6090"/>
                                    <a:pt x="6455" y="7969"/>
                                    <a:pt x="1337" y="9005"/>
                                  </a:cubicBezTo>
                                  <a:cubicBezTo>
                                    <a:pt x="-1449" y="12568"/>
                                    <a:pt x="430" y="18205"/>
                                    <a:pt x="4122" y="20926"/>
                                  </a:cubicBezTo>
                                  <a:cubicBezTo>
                                    <a:pt x="7815" y="23647"/>
                                    <a:pt x="12544" y="24165"/>
                                    <a:pt x="17079" y="24618"/>
                                  </a:cubicBezTo>
                                  <a:cubicBezTo>
                                    <a:pt x="26927" y="25590"/>
                                    <a:pt x="36774" y="26562"/>
                                    <a:pt x="46622" y="27534"/>
                                  </a:cubicBezTo>
                                  <a:cubicBezTo>
                                    <a:pt x="44419" y="37835"/>
                                    <a:pt x="53100" y="49043"/>
                                    <a:pt x="63596" y="49496"/>
                                  </a:cubicBezTo>
                                  <a:cubicBezTo>
                                    <a:pt x="59968" y="56623"/>
                                    <a:pt x="65604" y="64656"/>
                                    <a:pt x="72925" y="68608"/>
                                  </a:cubicBezTo>
                                  <a:cubicBezTo>
                                    <a:pt x="73184" y="68608"/>
                                    <a:pt x="73443" y="68608"/>
                                    <a:pt x="73702" y="68479"/>
                                  </a:cubicBezTo>
                                  <a:cubicBezTo>
                                    <a:pt x="77913" y="67896"/>
                                    <a:pt x="82707" y="66729"/>
                                    <a:pt x="84651" y="6290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DDDDDD"/>
                            </a:solidFill>
                            <a:ln w="6472" cap="flat">
                              <a:solidFill>
                                <a:srgbClr val="FFFFFF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da-DK"/>
                            </a:p>
                          </p:txBody>
                        </p:sp>
                        <p:grpSp>
                          <p:nvGrpSpPr>
                            <p:cNvPr id="53" name="Graphic 413">
                              <a:extLst>
                                <a:ext uri="{FF2B5EF4-FFF2-40B4-BE49-F238E27FC236}">
                                  <a16:creationId xmlns:a16="http://schemas.microsoft.com/office/drawing/2014/main" id="{B7DE0A16-0300-4BFF-B8EB-6C6811E6537D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2840632" y="1314629"/>
                              <a:ext cx="8882290" cy="4743195"/>
                              <a:chOff x="2840632" y="1314629"/>
                              <a:chExt cx="8882290" cy="4743195"/>
                            </a:xfrm>
                          </p:grpSpPr>
                          <p:sp>
                            <p:nvSpPr>
                              <p:cNvPr id="54" name="Freeform: Shape 53">
                                <a:extLst>
                                  <a:ext uri="{FF2B5EF4-FFF2-40B4-BE49-F238E27FC236}">
                                    <a16:creationId xmlns:a16="http://schemas.microsoft.com/office/drawing/2014/main" id="{11BAF142-6A77-443F-9C7B-D8ED42C4D16B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8999660" y="4133682"/>
                                <a:ext cx="49983" cy="93796"/>
                              </a:xfrm>
                              <a:custGeom>
                                <a:avLst/>
                                <a:gdLst>
                                  <a:gd name="connsiteX0" fmla="*/ 481 w 49983"/>
                                  <a:gd name="connsiteY0" fmla="*/ 64381 h 93796"/>
                                  <a:gd name="connsiteX1" fmla="*/ 352 w 49983"/>
                                  <a:gd name="connsiteY1" fmla="*/ 19744 h 93796"/>
                                  <a:gd name="connsiteX2" fmla="*/ 9681 w 49983"/>
                                  <a:gd name="connsiteY2" fmla="*/ 18902 h 93796"/>
                                  <a:gd name="connsiteX3" fmla="*/ 9875 w 49983"/>
                                  <a:gd name="connsiteY3" fmla="*/ 6009 h 93796"/>
                                  <a:gd name="connsiteX4" fmla="*/ 10393 w 49983"/>
                                  <a:gd name="connsiteY4" fmla="*/ 1863 h 93796"/>
                                  <a:gd name="connsiteX5" fmla="*/ 19204 w 49983"/>
                                  <a:gd name="connsiteY5" fmla="*/ 1150 h 93796"/>
                                  <a:gd name="connsiteX6" fmla="*/ 25164 w 49983"/>
                                  <a:gd name="connsiteY6" fmla="*/ 6204 h 93796"/>
                                  <a:gd name="connsiteX7" fmla="*/ 25618 w 49983"/>
                                  <a:gd name="connsiteY7" fmla="*/ 8860 h 93796"/>
                                  <a:gd name="connsiteX8" fmla="*/ 30347 w 49983"/>
                                  <a:gd name="connsiteY8" fmla="*/ 12423 h 93796"/>
                                  <a:gd name="connsiteX9" fmla="*/ 32420 w 49983"/>
                                  <a:gd name="connsiteY9" fmla="*/ 24668 h 93796"/>
                                  <a:gd name="connsiteX10" fmla="*/ 40907 w 49983"/>
                                  <a:gd name="connsiteY10" fmla="*/ 32248 h 93796"/>
                                  <a:gd name="connsiteX11" fmla="*/ 41879 w 49983"/>
                                  <a:gd name="connsiteY11" fmla="*/ 35681 h 93796"/>
                                  <a:gd name="connsiteX12" fmla="*/ 46868 w 49983"/>
                                  <a:gd name="connsiteY12" fmla="*/ 39827 h 93796"/>
                                  <a:gd name="connsiteX13" fmla="*/ 49977 w 49983"/>
                                  <a:gd name="connsiteY13" fmla="*/ 50323 h 93796"/>
                                  <a:gd name="connsiteX14" fmla="*/ 39935 w 49983"/>
                                  <a:gd name="connsiteY14" fmla="*/ 88935 h 93796"/>
                                  <a:gd name="connsiteX15" fmla="*/ 35271 w 49983"/>
                                  <a:gd name="connsiteY15" fmla="*/ 93535 h 93796"/>
                                  <a:gd name="connsiteX16" fmla="*/ 28080 w 49983"/>
                                  <a:gd name="connsiteY16" fmla="*/ 90490 h 93796"/>
                                  <a:gd name="connsiteX17" fmla="*/ 27497 w 49983"/>
                                  <a:gd name="connsiteY17" fmla="*/ 82327 h 93796"/>
                                  <a:gd name="connsiteX18" fmla="*/ 18556 w 49983"/>
                                  <a:gd name="connsiteY18" fmla="*/ 80772 h 93796"/>
                                  <a:gd name="connsiteX19" fmla="*/ 14540 w 49983"/>
                                  <a:gd name="connsiteY19" fmla="*/ 73322 h 93796"/>
                                  <a:gd name="connsiteX20" fmla="*/ 1518 w 49983"/>
                                  <a:gd name="connsiteY20" fmla="*/ 69888 h 93796"/>
                                  <a:gd name="connsiteX21" fmla="*/ 416 w 49983"/>
                                  <a:gd name="connsiteY21" fmla="*/ 64381 h 93796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  <a:cxn ang="0">
                                    <a:pos x="connsiteX19" y="connsiteY19"/>
                                  </a:cxn>
                                  <a:cxn ang="0">
                                    <a:pos x="connsiteX20" y="connsiteY20"/>
                                  </a:cxn>
                                  <a:cxn ang="0">
                                    <a:pos x="connsiteX21" y="connsiteY21"/>
                                  </a:cxn>
                                </a:cxnLst>
                                <a:rect l="l" t="t" r="r" b="b"/>
                                <a:pathLst>
                                  <a:path w="49983" h="93796">
                                    <a:moveTo>
                                      <a:pt x="481" y="64381"/>
                                    </a:moveTo>
                                    <a:cubicBezTo>
                                      <a:pt x="-102" y="49480"/>
                                      <a:pt x="-167" y="34645"/>
                                      <a:pt x="352" y="19744"/>
                                    </a:cubicBezTo>
                                    <a:cubicBezTo>
                                      <a:pt x="3461" y="20003"/>
                                      <a:pt x="6636" y="19744"/>
                                      <a:pt x="9681" y="18902"/>
                                    </a:cubicBezTo>
                                    <a:cubicBezTo>
                                      <a:pt x="10069" y="14626"/>
                                      <a:pt x="10134" y="10285"/>
                                      <a:pt x="9875" y="6009"/>
                                    </a:cubicBezTo>
                                    <a:cubicBezTo>
                                      <a:pt x="9810" y="4584"/>
                                      <a:pt x="9681" y="3094"/>
                                      <a:pt x="10393" y="1863"/>
                                    </a:cubicBezTo>
                                    <a:cubicBezTo>
                                      <a:pt x="12013" y="-923"/>
                                      <a:pt x="16224" y="-81"/>
                                      <a:pt x="19204" y="1150"/>
                                    </a:cubicBezTo>
                                    <a:cubicBezTo>
                                      <a:pt x="21731" y="2187"/>
                                      <a:pt x="24516" y="3547"/>
                                      <a:pt x="25164" y="6204"/>
                                    </a:cubicBezTo>
                                    <a:cubicBezTo>
                                      <a:pt x="25359" y="7046"/>
                                      <a:pt x="25294" y="8018"/>
                                      <a:pt x="25618" y="8860"/>
                                    </a:cubicBezTo>
                                    <a:cubicBezTo>
                                      <a:pt x="26331" y="10739"/>
                                      <a:pt x="28663" y="11387"/>
                                      <a:pt x="30347" y="12423"/>
                                    </a:cubicBezTo>
                                    <a:cubicBezTo>
                                      <a:pt x="34364" y="14885"/>
                                      <a:pt x="35400" y="21040"/>
                                      <a:pt x="32420" y="24668"/>
                                    </a:cubicBezTo>
                                    <a:cubicBezTo>
                                      <a:pt x="36437" y="25186"/>
                                      <a:pt x="39935" y="28360"/>
                                      <a:pt x="40907" y="32248"/>
                                    </a:cubicBezTo>
                                    <a:cubicBezTo>
                                      <a:pt x="41166" y="33414"/>
                                      <a:pt x="41296" y="34645"/>
                                      <a:pt x="41879" y="35681"/>
                                    </a:cubicBezTo>
                                    <a:cubicBezTo>
                                      <a:pt x="42916" y="37560"/>
                                      <a:pt x="45248" y="38337"/>
                                      <a:pt x="46868" y="39827"/>
                                    </a:cubicBezTo>
                                    <a:cubicBezTo>
                                      <a:pt x="49653" y="42354"/>
                                      <a:pt x="50042" y="46565"/>
                                      <a:pt x="49977" y="50323"/>
                                    </a:cubicBezTo>
                                    <a:cubicBezTo>
                                      <a:pt x="49848" y="63798"/>
                                      <a:pt x="46868" y="77403"/>
                                      <a:pt x="39935" y="88935"/>
                                    </a:cubicBezTo>
                                    <a:cubicBezTo>
                                      <a:pt x="38769" y="90814"/>
                                      <a:pt x="37409" y="92822"/>
                                      <a:pt x="35271" y="93535"/>
                                    </a:cubicBezTo>
                                    <a:cubicBezTo>
                                      <a:pt x="32615" y="94442"/>
                                      <a:pt x="29505" y="92887"/>
                                      <a:pt x="28080" y="90490"/>
                                    </a:cubicBezTo>
                                    <a:cubicBezTo>
                                      <a:pt x="26655" y="88093"/>
                                      <a:pt x="26655" y="84983"/>
                                      <a:pt x="27497" y="82327"/>
                                    </a:cubicBezTo>
                                    <a:cubicBezTo>
                                      <a:pt x="24452" y="82262"/>
                                      <a:pt x="21277" y="82132"/>
                                      <a:pt x="18556" y="80772"/>
                                    </a:cubicBezTo>
                                    <a:cubicBezTo>
                                      <a:pt x="15835" y="79347"/>
                                      <a:pt x="13762" y="76237"/>
                                      <a:pt x="14540" y="73322"/>
                                    </a:cubicBezTo>
                                    <a:cubicBezTo>
                                      <a:pt x="9810" y="73969"/>
                                      <a:pt x="3850" y="74099"/>
                                      <a:pt x="1518" y="69888"/>
                                    </a:cubicBezTo>
                                    <a:cubicBezTo>
                                      <a:pt x="611" y="68268"/>
                                      <a:pt x="481" y="66260"/>
                                      <a:pt x="416" y="64381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DDDDDD"/>
                              </a:solidFill>
                              <a:ln w="6472" cap="flat">
                                <a:solidFill>
                                  <a:srgbClr val="FFFFFF"/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da-DK"/>
                              </a:p>
                            </p:txBody>
                          </p:sp>
                          <p:sp>
                            <p:nvSpPr>
                              <p:cNvPr id="55" name="Freeform: Shape 54">
                                <a:extLst>
                                  <a:ext uri="{FF2B5EF4-FFF2-40B4-BE49-F238E27FC236}">
                                    <a16:creationId xmlns:a16="http://schemas.microsoft.com/office/drawing/2014/main" id="{25AD1591-07F5-468D-A0E4-89EB715B6C86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6598340" y="3616806"/>
                                <a:ext cx="214635" cy="183861"/>
                              </a:xfrm>
                              <a:custGeom>
                                <a:avLst/>
                                <a:gdLst>
                                  <a:gd name="connsiteX0" fmla="*/ 211590 w 214635"/>
                                  <a:gd name="connsiteY0" fmla="*/ 0 h 183861"/>
                                  <a:gd name="connsiteX1" fmla="*/ 210035 w 214635"/>
                                  <a:gd name="connsiteY1" fmla="*/ 3434 h 183861"/>
                                  <a:gd name="connsiteX2" fmla="*/ 107220 w 214635"/>
                                  <a:gd name="connsiteY2" fmla="*/ 3174 h 183861"/>
                                  <a:gd name="connsiteX3" fmla="*/ 94717 w 214635"/>
                                  <a:gd name="connsiteY3" fmla="*/ 23517 h 183861"/>
                                  <a:gd name="connsiteX4" fmla="*/ 79751 w 214635"/>
                                  <a:gd name="connsiteY4" fmla="*/ 53513 h 183861"/>
                                  <a:gd name="connsiteX5" fmla="*/ 72819 w 214635"/>
                                  <a:gd name="connsiteY5" fmla="*/ 64786 h 183861"/>
                                  <a:gd name="connsiteX6" fmla="*/ 64138 w 214635"/>
                                  <a:gd name="connsiteY6" fmla="*/ 74633 h 183861"/>
                                  <a:gd name="connsiteX7" fmla="*/ 59149 w 214635"/>
                                  <a:gd name="connsiteY7" fmla="*/ 92708 h 183861"/>
                                  <a:gd name="connsiteX8" fmla="*/ 47164 w 214635"/>
                                  <a:gd name="connsiteY8" fmla="*/ 102880 h 183861"/>
                                  <a:gd name="connsiteX9" fmla="*/ 39649 w 214635"/>
                                  <a:gd name="connsiteY9" fmla="*/ 123805 h 183861"/>
                                  <a:gd name="connsiteX10" fmla="*/ 26951 w 214635"/>
                                  <a:gd name="connsiteY10" fmla="*/ 131385 h 183861"/>
                                  <a:gd name="connsiteX11" fmla="*/ 18270 w 214635"/>
                                  <a:gd name="connsiteY11" fmla="*/ 151858 h 183861"/>
                                  <a:gd name="connsiteX12" fmla="*/ 0 w 214635"/>
                                  <a:gd name="connsiteY12" fmla="*/ 183862 h 183861"/>
                                  <a:gd name="connsiteX13" fmla="*/ 98669 w 214635"/>
                                  <a:gd name="connsiteY13" fmla="*/ 180104 h 183861"/>
                                  <a:gd name="connsiteX14" fmla="*/ 117262 w 214635"/>
                                  <a:gd name="connsiteY14" fmla="*/ 130349 h 183861"/>
                                  <a:gd name="connsiteX15" fmla="*/ 124907 w 214635"/>
                                  <a:gd name="connsiteY15" fmla="*/ 124065 h 183861"/>
                                  <a:gd name="connsiteX16" fmla="*/ 126786 w 214635"/>
                                  <a:gd name="connsiteY16" fmla="*/ 114152 h 183861"/>
                                  <a:gd name="connsiteX17" fmla="*/ 127174 w 214635"/>
                                  <a:gd name="connsiteY17" fmla="*/ 51505 h 183861"/>
                                  <a:gd name="connsiteX18" fmla="*/ 208869 w 214635"/>
                                  <a:gd name="connsiteY18" fmla="*/ 53124 h 183861"/>
                                  <a:gd name="connsiteX19" fmla="*/ 211007 w 214635"/>
                                  <a:gd name="connsiteY19" fmla="*/ 12115 h 183861"/>
                                  <a:gd name="connsiteX20" fmla="*/ 214635 w 214635"/>
                                  <a:gd name="connsiteY20" fmla="*/ 12115 h 183861"/>
                                  <a:gd name="connsiteX21" fmla="*/ 212756 w 214635"/>
                                  <a:gd name="connsiteY21" fmla="*/ 4794 h 183861"/>
                                  <a:gd name="connsiteX22" fmla="*/ 211461 w 214635"/>
                                  <a:gd name="connsiteY22" fmla="*/ 65 h 183861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  <a:cxn ang="0">
                                    <a:pos x="connsiteX19" y="connsiteY19"/>
                                  </a:cxn>
                                  <a:cxn ang="0">
                                    <a:pos x="connsiteX20" y="connsiteY20"/>
                                  </a:cxn>
                                  <a:cxn ang="0">
                                    <a:pos x="connsiteX21" y="connsiteY21"/>
                                  </a:cxn>
                                  <a:cxn ang="0">
                                    <a:pos x="connsiteX22" y="connsiteY22"/>
                                  </a:cxn>
                                </a:cxnLst>
                                <a:rect l="l" t="t" r="r" b="b"/>
                                <a:pathLst>
                                  <a:path w="214635" h="183861">
                                    <a:moveTo>
                                      <a:pt x="211590" y="0"/>
                                    </a:moveTo>
                                    <a:cubicBezTo>
                                      <a:pt x="211072" y="1166"/>
                                      <a:pt x="210554" y="2268"/>
                                      <a:pt x="210035" y="3434"/>
                                    </a:cubicBezTo>
                                    <a:lnTo>
                                      <a:pt x="107220" y="3174"/>
                                    </a:lnTo>
                                    <a:cubicBezTo>
                                      <a:pt x="102038" y="9070"/>
                                      <a:pt x="98280" y="16391"/>
                                      <a:pt x="94717" y="23517"/>
                                    </a:cubicBezTo>
                                    <a:cubicBezTo>
                                      <a:pt x="89728" y="33494"/>
                                      <a:pt x="84740" y="43471"/>
                                      <a:pt x="79751" y="53513"/>
                                    </a:cubicBezTo>
                                    <a:cubicBezTo>
                                      <a:pt x="77743" y="57465"/>
                                      <a:pt x="75735" y="61482"/>
                                      <a:pt x="72819" y="64786"/>
                                    </a:cubicBezTo>
                                    <a:cubicBezTo>
                                      <a:pt x="69904" y="68090"/>
                                      <a:pt x="66146" y="70681"/>
                                      <a:pt x="64138" y="74633"/>
                                    </a:cubicBezTo>
                                    <a:cubicBezTo>
                                      <a:pt x="61287" y="80269"/>
                                      <a:pt x="62777" y="87526"/>
                                      <a:pt x="59149" y="92708"/>
                                    </a:cubicBezTo>
                                    <a:cubicBezTo>
                                      <a:pt x="56104" y="97049"/>
                                      <a:pt x="50339" y="98669"/>
                                      <a:pt x="47164" y="102880"/>
                                    </a:cubicBezTo>
                                    <a:cubicBezTo>
                                      <a:pt x="42629" y="108905"/>
                                      <a:pt x="44702" y="118234"/>
                                      <a:pt x="39649" y="123805"/>
                                    </a:cubicBezTo>
                                    <a:cubicBezTo>
                                      <a:pt x="36280" y="127433"/>
                                      <a:pt x="30773" y="128276"/>
                                      <a:pt x="26951" y="131385"/>
                                    </a:cubicBezTo>
                                    <a:cubicBezTo>
                                      <a:pt x="21120" y="136180"/>
                                      <a:pt x="20732" y="144731"/>
                                      <a:pt x="18270" y="151858"/>
                                    </a:cubicBezTo>
                                    <a:cubicBezTo>
                                      <a:pt x="14318" y="163260"/>
                                      <a:pt x="4211" y="173172"/>
                                      <a:pt x="0" y="183862"/>
                                    </a:cubicBezTo>
                                    <a:cubicBezTo>
                                      <a:pt x="32911" y="182631"/>
                                      <a:pt x="65758" y="181335"/>
                                      <a:pt x="98669" y="180104"/>
                                    </a:cubicBezTo>
                                    <a:cubicBezTo>
                                      <a:pt x="93615" y="161835"/>
                                      <a:pt x="101454" y="140779"/>
                                      <a:pt x="117262" y="130349"/>
                                    </a:cubicBezTo>
                                    <a:cubicBezTo>
                                      <a:pt x="120048" y="128535"/>
                                      <a:pt x="123158" y="126850"/>
                                      <a:pt x="124907" y="124065"/>
                                    </a:cubicBezTo>
                                    <a:cubicBezTo>
                                      <a:pt x="126721" y="121149"/>
                                      <a:pt x="126786" y="117586"/>
                                      <a:pt x="126786" y="114152"/>
                                    </a:cubicBezTo>
                                    <a:cubicBezTo>
                                      <a:pt x="126915" y="93291"/>
                                      <a:pt x="127045" y="72366"/>
                                      <a:pt x="127174" y="51505"/>
                                    </a:cubicBezTo>
                                    <a:cubicBezTo>
                                      <a:pt x="154384" y="53319"/>
                                      <a:pt x="181659" y="53837"/>
                                      <a:pt x="208869" y="53124"/>
                                    </a:cubicBezTo>
                                    <a:cubicBezTo>
                                      <a:pt x="207833" y="39454"/>
                                      <a:pt x="208545" y="25590"/>
                                      <a:pt x="211007" y="12115"/>
                                    </a:cubicBezTo>
                                    <a:cubicBezTo>
                                      <a:pt x="212238" y="11532"/>
                                      <a:pt x="213469" y="11661"/>
                                      <a:pt x="214635" y="12115"/>
                                    </a:cubicBezTo>
                                    <a:cubicBezTo>
                                      <a:pt x="213987" y="9653"/>
                                      <a:pt x="213339" y="7256"/>
                                      <a:pt x="212756" y="4794"/>
                                    </a:cubicBezTo>
                                    <a:cubicBezTo>
                                      <a:pt x="212368" y="3239"/>
                                      <a:pt x="211914" y="1620"/>
                                      <a:pt x="211461" y="65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DDDDDD"/>
                              </a:solidFill>
                              <a:ln w="6472" cap="flat">
                                <a:solidFill>
                                  <a:srgbClr val="FFFFFF"/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da-DK"/>
                              </a:p>
                            </p:txBody>
                          </p:sp>
                          <p:grpSp>
                            <p:nvGrpSpPr>
                              <p:cNvPr id="56" name="Graphic 413">
                                <a:extLst>
                                  <a:ext uri="{FF2B5EF4-FFF2-40B4-BE49-F238E27FC236}">
                                    <a16:creationId xmlns:a16="http://schemas.microsoft.com/office/drawing/2014/main" id="{C9E06D92-620A-4AC6-BACA-8728A4434E83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2840632" y="1314629"/>
                                <a:ext cx="8882290" cy="4743195"/>
                                <a:chOff x="2840632" y="1314629"/>
                                <a:chExt cx="8882290" cy="4743195"/>
                              </a:xfrm>
                            </p:grpSpPr>
                            <p:sp>
                              <p:nvSpPr>
                                <p:cNvPr id="57" name="Freeform: Shape 56">
                                  <a:extLst>
                                    <a:ext uri="{FF2B5EF4-FFF2-40B4-BE49-F238E27FC236}">
                                      <a16:creationId xmlns:a16="http://schemas.microsoft.com/office/drawing/2014/main" id="{C8C3A2CB-4135-4F07-BF0B-E129C710F454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8302787" y="3706404"/>
                                  <a:ext cx="188920" cy="222409"/>
                                </a:xfrm>
                                <a:custGeom>
                                  <a:avLst/>
                                  <a:gdLst>
                                    <a:gd name="connsiteX0" fmla="*/ 103333 w 188920"/>
                                    <a:gd name="connsiteY0" fmla="*/ 7386 h 222409"/>
                                    <a:gd name="connsiteX1" fmla="*/ 98733 w 188920"/>
                                    <a:gd name="connsiteY1" fmla="*/ 13670 h 222409"/>
                                    <a:gd name="connsiteX2" fmla="*/ 91866 w 188920"/>
                                    <a:gd name="connsiteY2" fmla="*/ 20861 h 222409"/>
                                    <a:gd name="connsiteX3" fmla="*/ 91413 w 188920"/>
                                    <a:gd name="connsiteY3" fmla="*/ 29866 h 222409"/>
                                    <a:gd name="connsiteX4" fmla="*/ 78196 w 188920"/>
                                    <a:gd name="connsiteY4" fmla="*/ 42111 h 222409"/>
                                    <a:gd name="connsiteX5" fmla="*/ 82278 w 188920"/>
                                    <a:gd name="connsiteY5" fmla="*/ 56104 h 222409"/>
                                    <a:gd name="connsiteX6" fmla="*/ 93032 w 188920"/>
                                    <a:gd name="connsiteY6" fmla="*/ 67377 h 222409"/>
                                    <a:gd name="connsiteX7" fmla="*/ 93421 w 188920"/>
                                    <a:gd name="connsiteY7" fmla="*/ 85776 h 222409"/>
                                    <a:gd name="connsiteX8" fmla="*/ 82861 w 188920"/>
                                    <a:gd name="connsiteY8" fmla="*/ 118558 h 222409"/>
                                    <a:gd name="connsiteX9" fmla="*/ 66341 w 188920"/>
                                    <a:gd name="connsiteY9" fmla="*/ 134754 h 222409"/>
                                    <a:gd name="connsiteX10" fmla="*/ 58501 w 188920"/>
                                    <a:gd name="connsiteY10" fmla="*/ 135013 h 222409"/>
                                    <a:gd name="connsiteX11" fmla="*/ 54938 w 188920"/>
                                    <a:gd name="connsiteY11" fmla="*/ 137864 h 222409"/>
                                    <a:gd name="connsiteX12" fmla="*/ 29672 w 188920"/>
                                    <a:gd name="connsiteY12" fmla="*/ 145638 h 222409"/>
                                    <a:gd name="connsiteX13" fmla="*/ 26562 w 188920"/>
                                    <a:gd name="connsiteY13" fmla="*/ 147129 h 222409"/>
                                    <a:gd name="connsiteX14" fmla="*/ 24813 w 188920"/>
                                    <a:gd name="connsiteY14" fmla="*/ 149979 h 222409"/>
                                    <a:gd name="connsiteX15" fmla="*/ 8422 w 188920"/>
                                    <a:gd name="connsiteY15" fmla="*/ 157883 h 222409"/>
                                    <a:gd name="connsiteX16" fmla="*/ 2332 w 188920"/>
                                    <a:gd name="connsiteY16" fmla="*/ 160993 h 222409"/>
                                    <a:gd name="connsiteX17" fmla="*/ 324 w 188920"/>
                                    <a:gd name="connsiteY17" fmla="*/ 164556 h 222409"/>
                                    <a:gd name="connsiteX18" fmla="*/ 0 w 188920"/>
                                    <a:gd name="connsiteY18" fmla="*/ 165204 h 222409"/>
                                    <a:gd name="connsiteX19" fmla="*/ 2073 w 188920"/>
                                    <a:gd name="connsiteY19" fmla="*/ 165851 h 222409"/>
                                    <a:gd name="connsiteX20" fmla="*/ 8357 w 188920"/>
                                    <a:gd name="connsiteY20" fmla="*/ 171617 h 222409"/>
                                    <a:gd name="connsiteX21" fmla="*/ 20083 w 188920"/>
                                    <a:gd name="connsiteY21" fmla="*/ 198633 h 222409"/>
                                    <a:gd name="connsiteX22" fmla="*/ 32782 w 188920"/>
                                    <a:gd name="connsiteY22" fmla="*/ 222409 h 222409"/>
                                    <a:gd name="connsiteX23" fmla="*/ 68349 w 188920"/>
                                    <a:gd name="connsiteY23" fmla="*/ 209906 h 222409"/>
                                    <a:gd name="connsiteX24" fmla="*/ 136179 w 188920"/>
                                    <a:gd name="connsiteY24" fmla="*/ 160993 h 222409"/>
                                    <a:gd name="connsiteX25" fmla="*/ 141621 w 188920"/>
                                    <a:gd name="connsiteY25" fmla="*/ 150821 h 222409"/>
                                    <a:gd name="connsiteX26" fmla="*/ 139289 w 188920"/>
                                    <a:gd name="connsiteY26" fmla="*/ 136504 h 222409"/>
                                    <a:gd name="connsiteX27" fmla="*/ 146675 w 188920"/>
                                    <a:gd name="connsiteY27" fmla="*/ 120825 h 222409"/>
                                    <a:gd name="connsiteX28" fmla="*/ 180946 w 188920"/>
                                    <a:gd name="connsiteY28" fmla="*/ 77549 h 222409"/>
                                    <a:gd name="connsiteX29" fmla="*/ 188850 w 188920"/>
                                    <a:gd name="connsiteY29" fmla="*/ 62518 h 222409"/>
                                    <a:gd name="connsiteX30" fmla="*/ 179845 w 188920"/>
                                    <a:gd name="connsiteY30" fmla="*/ 50209 h 222409"/>
                                    <a:gd name="connsiteX31" fmla="*/ 183732 w 188920"/>
                                    <a:gd name="connsiteY31" fmla="*/ 38936 h 222409"/>
                                    <a:gd name="connsiteX32" fmla="*/ 141751 w 188920"/>
                                    <a:gd name="connsiteY32" fmla="*/ 16650 h 222409"/>
                                    <a:gd name="connsiteX33" fmla="*/ 135920 w 188920"/>
                                    <a:gd name="connsiteY33" fmla="*/ 13540 h 222409"/>
                                    <a:gd name="connsiteX34" fmla="*/ 111950 w 188920"/>
                                    <a:gd name="connsiteY34" fmla="*/ 842 h 222409"/>
                                    <a:gd name="connsiteX35" fmla="*/ 112403 w 188920"/>
                                    <a:gd name="connsiteY35" fmla="*/ 0 h 222409"/>
                                    <a:gd name="connsiteX36" fmla="*/ 103333 w 188920"/>
                                    <a:gd name="connsiteY36" fmla="*/ 7256 h 22240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  <a:cxn ang="0">
                                      <a:pos x="connsiteX34" y="connsiteY34"/>
                                    </a:cxn>
                                    <a:cxn ang="0">
                                      <a:pos x="connsiteX35" y="connsiteY35"/>
                                    </a:cxn>
                                    <a:cxn ang="0">
                                      <a:pos x="connsiteX36" y="connsiteY36"/>
                                    </a:cxn>
                                  </a:cxnLst>
                                  <a:rect l="l" t="t" r="r" b="b"/>
                                  <a:pathLst>
                                    <a:path w="188920" h="222409">
                                      <a:moveTo>
                                        <a:pt x="103333" y="7386"/>
                                      </a:moveTo>
                                      <a:cubicBezTo>
                                        <a:pt x="101778" y="9459"/>
                                        <a:pt x="100612" y="11856"/>
                                        <a:pt x="98733" y="13670"/>
                                      </a:cubicBezTo>
                                      <a:cubicBezTo>
                                        <a:pt x="96401" y="16067"/>
                                        <a:pt x="92967" y="17687"/>
                                        <a:pt x="91866" y="20861"/>
                                      </a:cubicBezTo>
                                      <a:cubicBezTo>
                                        <a:pt x="90894" y="23712"/>
                                        <a:pt x="92190" y="26951"/>
                                        <a:pt x="91413" y="29866"/>
                                      </a:cubicBezTo>
                                      <a:cubicBezTo>
                                        <a:pt x="89793" y="35826"/>
                                        <a:pt x="81111" y="36734"/>
                                        <a:pt x="78196" y="42111"/>
                                      </a:cubicBezTo>
                                      <a:cubicBezTo>
                                        <a:pt x="75735" y="46711"/>
                                        <a:pt x="78585" y="52412"/>
                                        <a:pt x="82278" y="56104"/>
                                      </a:cubicBezTo>
                                      <a:cubicBezTo>
                                        <a:pt x="85970" y="59797"/>
                                        <a:pt x="90635" y="62713"/>
                                        <a:pt x="93032" y="67377"/>
                                      </a:cubicBezTo>
                                      <a:cubicBezTo>
                                        <a:pt x="95883" y="72949"/>
                                        <a:pt x="94846" y="79687"/>
                                        <a:pt x="93421" y="85776"/>
                                      </a:cubicBezTo>
                                      <a:cubicBezTo>
                                        <a:pt x="90829" y="96984"/>
                                        <a:pt x="87266" y="107933"/>
                                        <a:pt x="82861" y="118558"/>
                                      </a:cubicBezTo>
                                      <a:cubicBezTo>
                                        <a:pt x="79751" y="126138"/>
                                        <a:pt x="74504" y="134625"/>
                                        <a:pt x="66341" y="134754"/>
                                      </a:cubicBezTo>
                                      <a:cubicBezTo>
                                        <a:pt x="63684" y="134754"/>
                                        <a:pt x="60898" y="133912"/>
                                        <a:pt x="58501" y="135013"/>
                                      </a:cubicBezTo>
                                      <a:cubicBezTo>
                                        <a:pt x="57076" y="135661"/>
                                        <a:pt x="56039" y="136827"/>
                                        <a:pt x="54938" y="137864"/>
                                      </a:cubicBezTo>
                                      <a:cubicBezTo>
                                        <a:pt x="48265" y="143824"/>
                                        <a:pt x="38288" y="143241"/>
                                        <a:pt x="29672" y="145638"/>
                                      </a:cubicBezTo>
                                      <a:cubicBezTo>
                                        <a:pt x="28570" y="145962"/>
                                        <a:pt x="27404" y="146351"/>
                                        <a:pt x="26562" y="147129"/>
                                      </a:cubicBezTo>
                                      <a:cubicBezTo>
                                        <a:pt x="25785" y="147906"/>
                                        <a:pt x="25331" y="149007"/>
                                        <a:pt x="24813" y="149979"/>
                                      </a:cubicBezTo>
                                      <a:cubicBezTo>
                                        <a:pt x="21703" y="155356"/>
                                        <a:pt x="14512" y="156328"/>
                                        <a:pt x="8422" y="157883"/>
                                      </a:cubicBezTo>
                                      <a:cubicBezTo>
                                        <a:pt x="6219" y="158466"/>
                                        <a:pt x="3887" y="159243"/>
                                        <a:pt x="2332" y="160993"/>
                                      </a:cubicBezTo>
                                      <a:cubicBezTo>
                                        <a:pt x="1425" y="162029"/>
                                        <a:pt x="842" y="163325"/>
                                        <a:pt x="324" y="164556"/>
                                      </a:cubicBezTo>
                                      <a:cubicBezTo>
                                        <a:pt x="259" y="164750"/>
                                        <a:pt x="129" y="165009"/>
                                        <a:pt x="0" y="165204"/>
                                      </a:cubicBezTo>
                                      <a:cubicBezTo>
                                        <a:pt x="713" y="165398"/>
                                        <a:pt x="1425" y="165528"/>
                                        <a:pt x="2073" y="165851"/>
                                      </a:cubicBezTo>
                                      <a:cubicBezTo>
                                        <a:pt x="4664" y="167082"/>
                                        <a:pt x="6673" y="169285"/>
                                        <a:pt x="8357" y="171617"/>
                                      </a:cubicBezTo>
                                      <a:cubicBezTo>
                                        <a:pt x="14058" y="179651"/>
                                        <a:pt x="16455" y="189434"/>
                                        <a:pt x="20083" y="198633"/>
                                      </a:cubicBezTo>
                                      <a:cubicBezTo>
                                        <a:pt x="23388" y="206990"/>
                                        <a:pt x="27858" y="214829"/>
                                        <a:pt x="32782" y="222409"/>
                                      </a:cubicBezTo>
                                      <a:cubicBezTo>
                                        <a:pt x="44313" y="217810"/>
                                        <a:pt x="56688" y="214441"/>
                                        <a:pt x="68349" y="209906"/>
                                      </a:cubicBezTo>
                                      <a:cubicBezTo>
                                        <a:pt x="94652" y="199734"/>
                                        <a:pt x="118039" y="182566"/>
                                        <a:pt x="136179" y="160993"/>
                                      </a:cubicBezTo>
                                      <a:cubicBezTo>
                                        <a:pt x="138706" y="158012"/>
                                        <a:pt x="141168" y="154708"/>
                                        <a:pt x="141621" y="150821"/>
                                      </a:cubicBezTo>
                                      <a:cubicBezTo>
                                        <a:pt x="142140" y="146027"/>
                                        <a:pt x="139354" y="141362"/>
                                        <a:pt x="139289" y="136504"/>
                                      </a:cubicBezTo>
                                      <a:cubicBezTo>
                                        <a:pt x="139224" y="130608"/>
                                        <a:pt x="143047" y="125490"/>
                                        <a:pt x="146675" y="120825"/>
                                      </a:cubicBezTo>
                                      <a:cubicBezTo>
                                        <a:pt x="158077" y="106378"/>
                                        <a:pt x="169544" y="91996"/>
                                        <a:pt x="180946" y="77549"/>
                                      </a:cubicBezTo>
                                      <a:cubicBezTo>
                                        <a:pt x="184510" y="73078"/>
                                        <a:pt x="188202" y="68219"/>
                                        <a:pt x="188850" y="62518"/>
                                      </a:cubicBezTo>
                                      <a:cubicBezTo>
                                        <a:pt x="189498" y="56817"/>
                                        <a:pt x="185611" y="50209"/>
                                        <a:pt x="179845" y="50209"/>
                                      </a:cubicBezTo>
                                      <a:cubicBezTo>
                                        <a:pt x="181141" y="46451"/>
                                        <a:pt x="182436" y="42694"/>
                                        <a:pt x="183732" y="38936"/>
                                      </a:cubicBezTo>
                                      <a:cubicBezTo>
                                        <a:pt x="169738" y="31486"/>
                                        <a:pt x="155745" y="24100"/>
                                        <a:pt x="141751" y="16650"/>
                                      </a:cubicBezTo>
                                      <a:cubicBezTo>
                                        <a:pt x="139807" y="15613"/>
                                        <a:pt x="137864" y="14577"/>
                                        <a:pt x="135920" y="13540"/>
                                      </a:cubicBezTo>
                                      <a:cubicBezTo>
                                        <a:pt x="127952" y="9329"/>
                                        <a:pt x="119983" y="5053"/>
                                        <a:pt x="111950" y="842"/>
                                      </a:cubicBezTo>
                                      <a:cubicBezTo>
                                        <a:pt x="112079" y="583"/>
                                        <a:pt x="112209" y="259"/>
                                        <a:pt x="112403" y="0"/>
                                      </a:cubicBezTo>
                                      <a:cubicBezTo>
                                        <a:pt x="108840" y="1749"/>
                                        <a:pt x="105730" y="4017"/>
                                        <a:pt x="103333" y="7256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DDDDDD"/>
                                </a:solidFill>
                                <a:ln w="6472" cap="flat">
                                  <a:solidFill>
                                    <a:srgbClr val="FFFFFF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da-DK"/>
                                </a:p>
                              </p:txBody>
                            </p:sp>
                            <p:sp>
                              <p:nvSpPr>
                                <p:cNvPr id="58" name="Freeform: Shape 57">
                                  <a:extLst>
                                    <a:ext uri="{FF2B5EF4-FFF2-40B4-BE49-F238E27FC236}">
                                      <a16:creationId xmlns:a16="http://schemas.microsoft.com/office/drawing/2014/main" id="{1F91C1BB-423E-4C87-8342-770802E6275B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9018852" y="3542503"/>
                                  <a:ext cx="193126" cy="118865"/>
                                </a:xfrm>
                                <a:custGeom>
                                  <a:avLst/>
                                  <a:gdLst>
                                    <a:gd name="connsiteX0" fmla="*/ 192037 w 193126"/>
                                    <a:gd name="connsiteY0" fmla="*/ 94580 h 118865"/>
                                    <a:gd name="connsiteX1" fmla="*/ 179662 w 193126"/>
                                    <a:gd name="connsiteY1" fmla="*/ 75728 h 118865"/>
                                    <a:gd name="connsiteX2" fmla="*/ 154396 w 193126"/>
                                    <a:gd name="connsiteY2" fmla="*/ 70286 h 118865"/>
                                    <a:gd name="connsiteX3" fmla="*/ 145974 w 193126"/>
                                    <a:gd name="connsiteY3" fmla="*/ 65232 h 118865"/>
                                    <a:gd name="connsiteX4" fmla="*/ 131203 w 193126"/>
                                    <a:gd name="connsiteY4" fmla="*/ 62900 h 118865"/>
                                    <a:gd name="connsiteX5" fmla="*/ 73414 w 193126"/>
                                    <a:gd name="connsiteY5" fmla="*/ 31284 h 118865"/>
                                    <a:gd name="connsiteX6" fmla="*/ 49767 w 193126"/>
                                    <a:gd name="connsiteY6" fmla="*/ 11266 h 118865"/>
                                    <a:gd name="connsiteX7" fmla="*/ 30137 w 193126"/>
                                    <a:gd name="connsiteY7" fmla="*/ 187 h 118865"/>
                                    <a:gd name="connsiteX8" fmla="*/ 6879 w 193126"/>
                                    <a:gd name="connsiteY8" fmla="*/ 6860 h 118865"/>
                                    <a:gd name="connsiteX9" fmla="*/ 3251 w 193126"/>
                                    <a:gd name="connsiteY9" fmla="*/ 8739 h 118865"/>
                                    <a:gd name="connsiteX10" fmla="*/ 2797 w 193126"/>
                                    <a:gd name="connsiteY10" fmla="*/ 18975 h 118865"/>
                                    <a:gd name="connsiteX11" fmla="*/ 984 w 193126"/>
                                    <a:gd name="connsiteY11" fmla="*/ 50915 h 118865"/>
                                    <a:gd name="connsiteX12" fmla="*/ 38559 w 193126"/>
                                    <a:gd name="connsiteY12" fmla="*/ 75339 h 118865"/>
                                    <a:gd name="connsiteX13" fmla="*/ 50804 w 193126"/>
                                    <a:gd name="connsiteY13" fmla="*/ 77088 h 118865"/>
                                    <a:gd name="connsiteX14" fmla="*/ 59031 w 193126"/>
                                    <a:gd name="connsiteY14" fmla="*/ 85769 h 118865"/>
                                    <a:gd name="connsiteX15" fmla="*/ 66612 w 193126"/>
                                    <a:gd name="connsiteY15" fmla="*/ 88426 h 118865"/>
                                    <a:gd name="connsiteX16" fmla="*/ 97320 w 193126"/>
                                    <a:gd name="connsiteY16" fmla="*/ 94515 h 118865"/>
                                    <a:gd name="connsiteX17" fmla="*/ 134248 w 193126"/>
                                    <a:gd name="connsiteY17" fmla="*/ 114275 h 118865"/>
                                    <a:gd name="connsiteX18" fmla="*/ 161717 w 193126"/>
                                    <a:gd name="connsiteY18" fmla="*/ 118745 h 118865"/>
                                    <a:gd name="connsiteX19" fmla="*/ 170657 w 193126"/>
                                    <a:gd name="connsiteY19" fmla="*/ 117514 h 118865"/>
                                    <a:gd name="connsiteX20" fmla="*/ 177590 w 193126"/>
                                    <a:gd name="connsiteY20" fmla="*/ 105464 h 118865"/>
                                    <a:gd name="connsiteX21" fmla="*/ 192037 w 193126"/>
                                    <a:gd name="connsiteY21" fmla="*/ 94645 h 118865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</a:cxnLst>
                                  <a:rect l="l" t="t" r="r" b="b"/>
                                  <a:pathLst>
                                    <a:path w="193126" h="118865">
                                      <a:moveTo>
                                        <a:pt x="192037" y="94580"/>
                                      </a:moveTo>
                                      <a:cubicBezTo>
                                        <a:pt x="196118" y="86935"/>
                                        <a:pt x="188020" y="77995"/>
                                        <a:pt x="179662" y="75728"/>
                                      </a:cubicBezTo>
                                      <a:cubicBezTo>
                                        <a:pt x="171305" y="73395"/>
                                        <a:pt x="162041" y="74367"/>
                                        <a:pt x="154396" y="70286"/>
                                      </a:cubicBezTo>
                                      <a:cubicBezTo>
                                        <a:pt x="151481" y="68731"/>
                                        <a:pt x="148954" y="66528"/>
                                        <a:pt x="145974" y="65232"/>
                                      </a:cubicBezTo>
                                      <a:cubicBezTo>
                                        <a:pt x="141374" y="63224"/>
                                        <a:pt x="136191" y="63353"/>
                                        <a:pt x="131203" y="62900"/>
                                      </a:cubicBezTo>
                                      <a:cubicBezTo>
                                        <a:pt x="108981" y="60762"/>
                                        <a:pt x="90453" y="45732"/>
                                        <a:pt x="73414" y="31284"/>
                                      </a:cubicBezTo>
                                      <a:cubicBezTo>
                                        <a:pt x="65510" y="24612"/>
                                        <a:pt x="57671" y="17939"/>
                                        <a:pt x="49767" y="11266"/>
                                      </a:cubicBezTo>
                                      <a:cubicBezTo>
                                        <a:pt x="43937" y="6342"/>
                                        <a:pt x="37717" y="1224"/>
                                        <a:pt x="30137" y="187"/>
                                      </a:cubicBezTo>
                                      <a:cubicBezTo>
                                        <a:pt x="22039" y="-914"/>
                                        <a:pt x="14135" y="3038"/>
                                        <a:pt x="6879" y="6860"/>
                                      </a:cubicBezTo>
                                      <a:cubicBezTo>
                                        <a:pt x="5648" y="7508"/>
                                        <a:pt x="4482" y="8091"/>
                                        <a:pt x="3251" y="8739"/>
                                      </a:cubicBezTo>
                                      <a:cubicBezTo>
                                        <a:pt x="3381" y="12173"/>
                                        <a:pt x="3251" y="15671"/>
                                        <a:pt x="2797" y="18975"/>
                                      </a:cubicBezTo>
                                      <a:cubicBezTo>
                                        <a:pt x="1437" y="29600"/>
                                        <a:pt x="-1543" y="40484"/>
                                        <a:pt x="984" y="50915"/>
                                      </a:cubicBezTo>
                                      <a:cubicBezTo>
                                        <a:pt x="15884" y="53895"/>
                                        <a:pt x="23464" y="73525"/>
                                        <a:pt x="38559" y="75339"/>
                                      </a:cubicBezTo>
                                      <a:cubicBezTo>
                                        <a:pt x="42706" y="75857"/>
                                        <a:pt x="47240" y="74950"/>
                                        <a:pt x="50804" y="77088"/>
                                      </a:cubicBezTo>
                                      <a:cubicBezTo>
                                        <a:pt x="54237" y="79096"/>
                                        <a:pt x="55792" y="83372"/>
                                        <a:pt x="59031" y="85769"/>
                                      </a:cubicBezTo>
                                      <a:cubicBezTo>
                                        <a:pt x="61234" y="87324"/>
                                        <a:pt x="63955" y="87907"/>
                                        <a:pt x="66612" y="88426"/>
                                      </a:cubicBezTo>
                                      <a:cubicBezTo>
                                        <a:pt x="76847" y="90434"/>
                                        <a:pt x="87084" y="92442"/>
                                        <a:pt x="97320" y="94515"/>
                                      </a:cubicBezTo>
                                      <a:cubicBezTo>
                                        <a:pt x="105937" y="105788"/>
                                        <a:pt x="120578" y="110388"/>
                                        <a:pt x="134248" y="114275"/>
                                      </a:cubicBezTo>
                                      <a:cubicBezTo>
                                        <a:pt x="143188" y="116867"/>
                                        <a:pt x="152388" y="119458"/>
                                        <a:pt x="161717" y="118745"/>
                                      </a:cubicBezTo>
                                      <a:cubicBezTo>
                                        <a:pt x="164697" y="118486"/>
                                        <a:pt x="167677" y="117903"/>
                                        <a:pt x="170657" y="117514"/>
                                      </a:cubicBezTo>
                                      <a:cubicBezTo>
                                        <a:pt x="172731" y="113303"/>
                                        <a:pt x="174221" y="108703"/>
                                        <a:pt x="177590" y="105464"/>
                                      </a:cubicBezTo>
                                      <a:cubicBezTo>
                                        <a:pt x="181995" y="101253"/>
                                        <a:pt x="189121" y="99957"/>
                                        <a:pt x="192037" y="94645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chemeClr val="accent4"/>
                                </a:solidFill>
                                <a:ln w="6472" cap="flat">
                                  <a:solidFill>
                                    <a:srgbClr val="FFFFFF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da-DK"/>
                                </a:p>
                              </p:txBody>
                            </p:sp>
                            <p:grpSp>
                              <p:nvGrpSpPr>
                                <p:cNvPr id="59" name="Graphic 413">
                                  <a:extLst>
                                    <a:ext uri="{FF2B5EF4-FFF2-40B4-BE49-F238E27FC236}">
                                      <a16:creationId xmlns:a16="http://schemas.microsoft.com/office/drawing/2014/main" id="{7494F056-6374-43C4-80A2-21318769D91B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2840632" y="1314629"/>
                                  <a:ext cx="8882290" cy="4743195"/>
                                  <a:chOff x="2840632" y="1314629"/>
                                  <a:chExt cx="8882290" cy="4743195"/>
                                </a:xfrm>
                              </p:grpSpPr>
                              <p:sp>
                                <p:nvSpPr>
                                  <p:cNvPr id="60" name="Freeform: Shape 59">
                                    <a:extLst>
                                      <a:ext uri="{FF2B5EF4-FFF2-40B4-BE49-F238E27FC236}">
                                        <a16:creationId xmlns:a16="http://schemas.microsoft.com/office/drawing/2014/main" id="{C03D2B79-4AAC-47F3-85D8-AC46A6FEAB37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7638021" y="4797396"/>
                                    <a:ext cx="192024" cy="202390"/>
                                  </a:xfrm>
                                  <a:custGeom>
                                    <a:avLst/>
                                    <a:gdLst>
                                      <a:gd name="connsiteX0" fmla="*/ 159114 w 192024"/>
                                      <a:gd name="connsiteY0" fmla="*/ 183473 h 202390"/>
                                      <a:gd name="connsiteX1" fmla="*/ 169868 w 192024"/>
                                      <a:gd name="connsiteY1" fmla="*/ 162871 h 202390"/>
                                      <a:gd name="connsiteX2" fmla="*/ 170840 w 192024"/>
                                      <a:gd name="connsiteY2" fmla="*/ 157300 h 202390"/>
                                      <a:gd name="connsiteX3" fmla="*/ 175310 w 192024"/>
                                      <a:gd name="connsiteY3" fmla="*/ 155486 h 202390"/>
                                      <a:gd name="connsiteX4" fmla="*/ 179910 w 192024"/>
                                      <a:gd name="connsiteY4" fmla="*/ 142205 h 202390"/>
                                      <a:gd name="connsiteX5" fmla="*/ 182761 w 192024"/>
                                      <a:gd name="connsiteY5" fmla="*/ 140326 h 202390"/>
                                      <a:gd name="connsiteX6" fmla="*/ 185223 w 192024"/>
                                      <a:gd name="connsiteY6" fmla="*/ 136244 h 202390"/>
                                      <a:gd name="connsiteX7" fmla="*/ 190340 w 192024"/>
                                      <a:gd name="connsiteY7" fmla="*/ 123222 h 202390"/>
                                      <a:gd name="connsiteX8" fmla="*/ 191766 w 192024"/>
                                      <a:gd name="connsiteY8" fmla="*/ 116938 h 202390"/>
                                      <a:gd name="connsiteX9" fmla="*/ 185676 w 192024"/>
                                      <a:gd name="connsiteY9" fmla="*/ 107739 h 202390"/>
                                      <a:gd name="connsiteX10" fmla="*/ 182307 w 192024"/>
                                      <a:gd name="connsiteY10" fmla="*/ 97697 h 202390"/>
                                      <a:gd name="connsiteX11" fmla="*/ 185352 w 192024"/>
                                      <a:gd name="connsiteY11" fmla="*/ 93745 h 202390"/>
                                      <a:gd name="connsiteX12" fmla="*/ 188267 w 192024"/>
                                      <a:gd name="connsiteY12" fmla="*/ 71524 h 202390"/>
                                      <a:gd name="connsiteX13" fmla="*/ 192025 w 192024"/>
                                      <a:gd name="connsiteY13" fmla="*/ 61028 h 202390"/>
                                      <a:gd name="connsiteX14" fmla="*/ 190600 w 192024"/>
                                      <a:gd name="connsiteY14" fmla="*/ 55068 h 202390"/>
                                      <a:gd name="connsiteX15" fmla="*/ 184639 w 192024"/>
                                      <a:gd name="connsiteY15" fmla="*/ 39519 h 202390"/>
                                      <a:gd name="connsiteX16" fmla="*/ 182825 w 192024"/>
                                      <a:gd name="connsiteY16" fmla="*/ 36539 h 202390"/>
                                      <a:gd name="connsiteX17" fmla="*/ 179586 w 192024"/>
                                      <a:gd name="connsiteY17" fmla="*/ 35567 h 202390"/>
                                      <a:gd name="connsiteX18" fmla="*/ 167730 w 192024"/>
                                      <a:gd name="connsiteY18" fmla="*/ 34142 h 202390"/>
                                      <a:gd name="connsiteX19" fmla="*/ 159697 w 192024"/>
                                      <a:gd name="connsiteY19" fmla="*/ 27145 h 202390"/>
                                      <a:gd name="connsiteX20" fmla="*/ 147906 w 192024"/>
                                      <a:gd name="connsiteY20" fmla="*/ 25266 h 202390"/>
                                      <a:gd name="connsiteX21" fmla="*/ 141946 w 192024"/>
                                      <a:gd name="connsiteY21" fmla="*/ 19177 h 202390"/>
                                      <a:gd name="connsiteX22" fmla="*/ 132940 w 192024"/>
                                      <a:gd name="connsiteY22" fmla="*/ 19177 h 202390"/>
                                      <a:gd name="connsiteX23" fmla="*/ 124389 w 192024"/>
                                      <a:gd name="connsiteY23" fmla="*/ 11921 h 202390"/>
                                      <a:gd name="connsiteX24" fmla="*/ 122899 w 192024"/>
                                      <a:gd name="connsiteY24" fmla="*/ 259 h 202390"/>
                                      <a:gd name="connsiteX25" fmla="*/ 106378 w 192024"/>
                                      <a:gd name="connsiteY25" fmla="*/ 7191 h 202390"/>
                                      <a:gd name="connsiteX26" fmla="*/ 102556 w 192024"/>
                                      <a:gd name="connsiteY26" fmla="*/ 12633 h 202390"/>
                                      <a:gd name="connsiteX27" fmla="*/ 94458 w 192024"/>
                                      <a:gd name="connsiteY27" fmla="*/ 16974 h 202390"/>
                                      <a:gd name="connsiteX28" fmla="*/ 85582 w 192024"/>
                                      <a:gd name="connsiteY28" fmla="*/ 29348 h 202390"/>
                                      <a:gd name="connsiteX29" fmla="*/ 78780 w 192024"/>
                                      <a:gd name="connsiteY29" fmla="*/ 32004 h 202390"/>
                                      <a:gd name="connsiteX30" fmla="*/ 76706 w 192024"/>
                                      <a:gd name="connsiteY30" fmla="*/ 37057 h 202390"/>
                                      <a:gd name="connsiteX31" fmla="*/ 59149 w 192024"/>
                                      <a:gd name="connsiteY31" fmla="*/ 54938 h 202390"/>
                                      <a:gd name="connsiteX32" fmla="*/ 58307 w 192024"/>
                                      <a:gd name="connsiteY32" fmla="*/ 59344 h 202390"/>
                                      <a:gd name="connsiteX33" fmla="*/ 44896 w 192024"/>
                                      <a:gd name="connsiteY33" fmla="*/ 68867 h 202390"/>
                                      <a:gd name="connsiteX34" fmla="*/ 42564 w 192024"/>
                                      <a:gd name="connsiteY34" fmla="*/ 74568 h 202390"/>
                                      <a:gd name="connsiteX35" fmla="*/ 36798 w 192024"/>
                                      <a:gd name="connsiteY35" fmla="*/ 77289 h 202390"/>
                                      <a:gd name="connsiteX36" fmla="*/ 0 w 192024"/>
                                      <a:gd name="connsiteY36" fmla="*/ 81889 h 202390"/>
                                      <a:gd name="connsiteX37" fmla="*/ 4989 w 192024"/>
                                      <a:gd name="connsiteY37" fmla="*/ 82472 h 202390"/>
                                      <a:gd name="connsiteX38" fmla="*/ 11726 w 192024"/>
                                      <a:gd name="connsiteY38" fmla="*/ 96596 h 202390"/>
                                      <a:gd name="connsiteX39" fmla="*/ 17752 w 192024"/>
                                      <a:gd name="connsiteY39" fmla="*/ 111237 h 202390"/>
                                      <a:gd name="connsiteX40" fmla="*/ 29737 w 192024"/>
                                      <a:gd name="connsiteY40" fmla="*/ 113569 h 202390"/>
                                      <a:gd name="connsiteX41" fmla="*/ 36928 w 192024"/>
                                      <a:gd name="connsiteY41" fmla="*/ 131321 h 202390"/>
                                      <a:gd name="connsiteX42" fmla="*/ 47618 w 192024"/>
                                      <a:gd name="connsiteY42" fmla="*/ 133588 h 202390"/>
                                      <a:gd name="connsiteX43" fmla="*/ 49950 w 192024"/>
                                      <a:gd name="connsiteY43" fmla="*/ 142788 h 202390"/>
                                      <a:gd name="connsiteX44" fmla="*/ 56558 w 192024"/>
                                      <a:gd name="connsiteY44" fmla="*/ 145897 h 202390"/>
                                      <a:gd name="connsiteX45" fmla="*/ 59927 w 192024"/>
                                      <a:gd name="connsiteY45" fmla="*/ 160798 h 202390"/>
                                      <a:gd name="connsiteX46" fmla="*/ 65693 w 192024"/>
                                      <a:gd name="connsiteY46" fmla="*/ 164426 h 202390"/>
                                      <a:gd name="connsiteX47" fmla="*/ 65758 w 192024"/>
                                      <a:gd name="connsiteY47" fmla="*/ 168896 h 202390"/>
                                      <a:gd name="connsiteX48" fmla="*/ 70487 w 192024"/>
                                      <a:gd name="connsiteY48" fmla="*/ 172200 h 202390"/>
                                      <a:gd name="connsiteX49" fmla="*/ 79168 w 192024"/>
                                      <a:gd name="connsiteY49" fmla="*/ 174403 h 202390"/>
                                      <a:gd name="connsiteX50" fmla="*/ 90895 w 192024"/>
                                      <a:gd name="connsiteY50" fmla="*/ 181206 h 202390"/>
                                      <a:gd name="connsiteX51" fmla="*/ 85129 w 192024"/>
                                      <a:gd name="connsiteY51" fmla="*/ 201548 h 202390"/>
                                      <a:gd name="connsiteX52" fmla="*/ 84740 w 192024"/>
                                      <a:gd name="connsiteY52" fmla="*/ 202326 h 202390"/>
                                      <a:gd name="connsiteX53" fmla="*/ 87720 w 192024"/>
                                      <a:gd name="connsiteY53" fmla="*/ 200706 h 202390"/>
                                      <a:gd name="connsiteX54" fmla="*/ 108646 w 192024"/>
                                      <a:gd name="connsiteY54" fmla="*/ 191960 h 202390"/>
                                      <a:gd name="connsiteX55" fmla="*/ 146221 w 192024"/>
                                      <a:gd name="connsiteY55" fmla="*/ 202390 h 202390"/>
                                      <a:gd name="connsiteX56" fmla="*/ 152571 w 192024"/>
                                      <a:gd name="connsiteY56" fmla="*/ 190988 h 202390"/>
                                      <a:gd name="connsiteX57" fmla="*/ 159373 w 192024"/>
                                      <a:gd name="connsiteY57" fmla="*/ 183603 h 202390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  <a:cxn ang="0">
                                        <a:pos x="connsiteX49" y="connsiteY49"/>
                                      </a:cxn>
                                      <a:cxn ang="0">
                                        <a:pos x="connsiteX50" y="connsiteY50"/>
                                      </a:cxn>
                                      <a:cxn ang="0">
                                        <a:pos x="connsiteX51" y="connsiteY51"/>
                                      </a:cxn>
                                      <a:cxn ang="0">
                                        <a:pos x="connsiteX52" y="connsiteY52"/>
                                      </a:cxn>
                                      <a:cxn ang="0">
                                        <a:pos x="connsiteX53" y="connsiteY53"/>
                                      </a:cxn>
                                      <a:cxn ang="0">
                                        <a:pos x="connsiteX54" y="connsiteY54"/>
                                      </a:cxn>
                                      <a:cxn ang="0">
                                        <a:pos x="connsiteX55" y="connsiteY55"/>
                                      </a:cxn>
                                      <a:cxn ang="0">
                                        <a:pos x="connsiteX56" y="connsiteY56"/>
                                      </a:cxn>
                                      <a:cxn ang="0">
                                        <a:pos x="connsiteX57" y="connsiteY57"/>
                                      </a:cxn>
                                    </a:cxnLst>
                                    <a:rect l="l" t="t" r="r" b="b"/>
                                    <a:pathLst>
                                      <a:path w="192024" h="202390">
                                        <a:moveTo>
                                          <a:pt x="159114" y="183473"/>
                                        </a:moveTo>
                                        <a:cubicBezTo>
                                          <a:pt x="164491" y="177578"/>
                                          <a:pt x="170192" y="170840"/>
                                          <a:pt x="169868" y="162871"/>
                                        </a:cubicBezTo>
                                        <a:cubicBezTo>
                                          <a:pt x="169804" y="160928"/>
                                          <a:pt x="169415" y="158660"/>
                                          <a:pt x="170840" y="157300"/>
                                        </a:cubicBezTo>
                                        <a:cubicBezTo>
                                          <a:pt x="172006" y="156198"/>
                                          <a:pt x="173950" y="156328"/>
                                          <a:pt x="175310" y="155486"/>
                                        </a:cubicBezTo>
                                        <a:cubicBezTo>
                                          <a:pt x="179521" y="153089"/>
                                          <a:pt x="176282" y="145444"/>
                                          <a:pt x="179910" y="142205"/>
                                        </a:cubicBezTo>
                                        <a:cubicBezTo>
                                          <a:pt x="180752" y="141427"/>
                                          <a:pt x="181918" y="141038"/>
                                          <a:pt x="182761" y="140326"/>
                                        </a:cubicBezTo>
                                        <a:cubicBezTo>
                                          <a:pt x="183992" y="139289"/>
                                          <a:pt x="184639" y="137734"/>
                                          <a:pt x="185223" y="136244"/>
                                        </a:cubicBezTo>
                                        <a:cubicBezTo>
                                          <a:pt x="186907" y="131903"/>
                                          <a:pt x="188656" y="127563"/>
                                          <a:pt x="190340" y="123222"/>
                                        </a:cubicBezTo>
                                        <a:cubicBezTo>
                                          <a:pt x="191118" y="121214"/>
                                          <a:pt x="191960" y="119141"/>
                                          <a:pt x="191766" y="116938"/>
                                        </a:cubicBezTo>
                                        <a:cubicBezTo>
                                          <a:pt x="191442" y="113181"/>
                                          <a:pt x="188267" y="110459"/>
                                          <a:pt x="185676" y="107739"/>
                                        </a:cubicBezTo>
                                        <a:cubicBezTo>
                                          <a:pt x="183084" y="105018"/>
                                          <a:pt x="180687" y="101130"/>
                                          <a:pt x="182307" y="97697"/>
                                        </a:cubicBezTo>
                                        <a:cubicBezTo>
                                          <a:pt x="183020" y="96207"/>
                                          <a:pt x="184380" y="95105"/>
                                          <a:pt x="185352" y="93745"/>
                                        </a:cubicBezTo>
                                        <a:cubicBezTo>
                                          <a:pt x="189887" y="87655"/>
                                          <a:pt x="186000" y="78779"/>
                                          <a:pt x="188267" y="71524"/>
                                        </a:cubicBezTo>
                                        <a:cubicBezTo>
                                          <a:pt x="189369" y="67960"/>
                                          <a:pt x="191960" y="64786"/>
                                          <a:pt x="192025" y="61028"/>
                                        </a:cubicBezTo>
                                        <a:cubicBezTo>
                                          <a:pt x="192025" y="58955"/>
                                          <a:pt x="191312" y="56947"/>
                                          <a:pt x="190600" y="55068"/>
                                        </a:cubicBezTo>
                                        <a:cubicBezTo>
                                          <a:pt x="188592" y="49885"/>
                                          <a:pt x="186648" y="44702"/>
                                          <a:pt x="184639" y="39519"/>
                                        </a:cubicBezTo>
                                        <a:cubicBezTo>
                                          <a:pt x="184186" y="38418"/>
                                          <a:pt x="183733" y="37252"/>
                                          <a:pt x="182825" y="36539"/>
                                        </a:cubicBezTo>
                                        <a:cubicBezTo>
                                          <a:pt x="181918" y="35827"/>
                                          <a:pt x="180687" y="35697"/>
                                          <a:pt x="179586" y="35567"/>
                                        </a:cubicBezTo>
                                        <a:cubicBezTo>
                                          <a:pt x="175634" y="35114"/>
                                          <a:pt x="171682" y="34596"/>
                                          <a:pt x="167730" y="34142"/>
                                        </a:cubicBezTo>
                                        <a:cubicBezTo>
                                          <a:pt x="168637" y="30190"/>
                                          <a:pt x="163714" y="27340"/>
                                          <a:pt x="159697" y="27145"/>
                                        </a:cubicBezTo>
                                        <a:cubicBezTo>
                                          <a:pt x="155615" y="26951"/>
                                          <a:pt x="151080" y="27793"/>
                                          <a:pt x="147906" y="25266"/>
                                        </a:cubicBezTo>
                                        <a:cubicBezTo>
                                          <a:pt x="145639" y="23517"/>
                                          <a:pt x="144537" y="20407"/>
                                          <a:pt x="141946" y="19177"/>
                                        </a:cubicBezTo>
                                        <a:cubicBezTo>
                                          <a:pt x="139160" y="17881"/>
                                          <a:pt x="135921" y="19371"/>
                                          <a:pt x="132940" y="19177"/>
                                        </a:cubicBezTo>
                                        <a:cubicBezTo>
                                          <a:pt x="128989" y="18853"/>
                                          <a:pt x="125814" y="15613"/>
                                          <a:pt x="124389" y="11921"/>
                                        </a:cubicBezTo>
                                        <a:cubicBezTo>
                                          <a:pt x="122964" y="8228"/>
                                          <a:pt x="122899" y="4211"/>
                                          <a:pt x="122899" y="259"/>
                                        </a:cubicBezTo>
                                        <a:cubicBezTo>
                                          <a:pt x="116679" y="-907"/>
                                          <a:pt x="109877" y="1943"/>
                                          <a:pt x="106378" y="7191"/>
                                        </a:cubicBezTo>
                                        <a:cubicBezTo>
                                          <a:pt x="105147" y="9070"/>
                                          <a:pt x="104240" y="11208"/>
                                          <a:pt x="102556" y="12633"/>
                                        </a:cubicBezTo>
                                        <a:cubicBezTo>
                                          <a:pt x="100224" y="14641"/>
                                          <a:pt x="96855" y="15030"/>
                                          <a:pt x="94458" y="16974"/>
                                        </a:cubicBezTo>
                                        <a:cubicBezTo>
                                          <a:pt x="90441" y="20213"/>
                                          <a:pt x="90182" y="27080"/>
                                          <a:pt x="85582" y="29348"/>
                                        </a:cubicBezTo>
                                        <a:cubicBezTo>
                                          <a:pt x="83379" y="30449"/>
                                          <a:pt x="80464" y="30255"/>
                                          <a:pt x="78780" y="32004"/>
                                        </a:cubicBezTo>
                                        <a:cubicBezTo>
                                          <a:pt x="77484" y="33300"/>
                                          <a:pt x="77354" y="35308"/>
                                          <a:pt x="76706" y="37057"/>
                                        </a:cubicBezTo>
                                        <a:cubicBezTo>
                                          <a:pt x="73726" y="45091"/>
                                          <a:pt x="61093" y="46581"/>
                                          <a:pt x="59149" y="54938"/>
                                        </a:cubicBezTo>
                                        <a:cubicBezTo>
                                          <a:pt x="58826" y="56428"/>
                                          <a:pt x="58826" y="57983"/>
                                          <a:pt x="58307" y="59344"/>
                                        </a:cubicBezTo>
                                        <a:cubicBezTo>
                                          <a:pt x="56234" y="64591"/>
                                          <a:pt x="47683" y="64008"/>
                                          <a:pt x="44896" y="68867"/>
                                        </a:cubicBezTo>
                                        <a:cubicBezTo>
                                          <a:pt x="43860" y="70681"/>
                                          <a:pt x="43795" y="72884"/>
                                          <a:pt x="42564" y="74568"/>
                                        </a:cubicBezTo>
                                        <a:cubicBezTo>
                                          <a:pt x="41268" y="76318"/>
                                          <a:pt x="38936" y="76900"/>
                                          <a:pt x="36798" y="77289"/>
                                        </a:cubicBezTo>
                                        <a:cubicBezTo>
                                          <a:pt x="24748" y="79622"/>
                                          <a:pt x="11856" y="79362"/>
                                          <a:pt x="0" y="81889"/>
                                        </a:cubicBezTo>
                                        <a:cubicBezTo>
                                          <a:pt x="1684" y="82084"/>
                                          <a:pt x="3369" y="81954"/>
                                          <a:pt x="4989" y="82472"/>
                                        </a:cubicBezTo>
                                        <a:cubicBezTo>
                                          <a:pt x="10366" y="84092"/>
                                          <a:pt x="11597" y="91024"/>
                                          <a:pt x="11726" y="96596"/>
                                        </a:cubicBezTo>
                                        <a:cubicBezTo>
                                          <a:pt x="11856" y="102167"/>
                                          <a:pt x="12633" y="109034"/>
                                          <a:pt x="17752" y="111237"/>
                                        </a:cubicBezTo>
                                        <a:cubicBezTo>
                                          <a:pt x="21574" y="112857"/>
                                          <a:pt x="26433" y="111108"/>
                                          <a:pt x="29737" y="113569"/>
                                        </a:cubicBezTo>
                                        <a:cubicBezTo>
                                          <a:pt x="35049" y="117586"/>
                                          <a:pt x="30903" y="128470"/>
                                          <a:pt x="36928" y="131321"/>
                                        </a:cubicBezTo>
                                        <a:cubicBezTo>
                                          <a:pt x="40297" y="132940"/>
                                          <a:pt x="45221" y="130737"/>
                                          <a:pt x="47618" y="133588"/>
                                        </a:cubicBezTo>
                                        <a:cubicBezTo>
                                          <a:pt x="49691" y="136115"/>
                                          <a:pt x="47812" y="140391"/>
                                          <a:pt x="49950" y="142788"/>
                                        </a:cubicBezTo>
                                        <a:cubicBezTo>
                                          <a:pt x="51570" y="144666"/>
                                          <a:pt x="54679" y="144343"/>
                                          <a:pt x="56558" y="145897"/>
                                        </a:cubicBezTo>
                                        <a:cubicBezTo>
                                          <a:pt x="60640" y="149331"/>
                                          <a:pt x="55781" y="157494"/>
                                          <a:pt x="59927" y="160798"/>
                                        </a:cubicBezTo>
                                        <a:cubicBezTo>
                                          <a:pt x="61741" y="162288"/>
                                          <a:pt x="64851" y="162288"/>
                                          <a:pt x="65693" y="164426"/>
                                        </a:cubicBezTo>
                                        <a:cubicBezTo>
                                          <a:pt x="66211" y="165852"/>
                                          <a:pt x="65369" y="167471"/>
                                          <a:pt x="65758" y="168896"/>
                                        </a:cubicBezTo>
                                        <a:cubicBezTo>
                                          <a:pt x="66276" y="170840"/>
                                          <a:pt x="68543" y="171682"/>
                                          <a:pt x="70487" y="172200"/>
                                        </a:cubicBezTo>
                                        <a:cubicBezTo>
                                          <a:pt x="73402" y="172913"/>
                                          <a:pt x="76253" y="173690"/>
                                          <a:pt x="79168" y="174403"/>
                                        </a:cubicBezTo>
                                        <a:cubicBezTo>
                                          <a:pt x="83703" y="175569"/>
                                          <a:pt x="88757" y="177124"/>
                                          <a:pt x="90895" y="181206"/>
                                        </a:cubicBezTo>
                                        <a:cubicBezTo>
                                          <a:pt x="94393" y="187749"/>
                                          <a:pt x="88562" y="195005"/>
                                          <a:pt x="85129" y="201548"/>
                                        </a:cubicBezTo>
                                        <a:cubicBezTo>
                                          <a:pt x="84999" y="201808"/>
                                          <a:pt x="84870" y="202067"/>
                                          <a:pt x="84740" y="202326"/>
                                        </a:cubicBezTo>
                                        <a:lnTo>
                                          <a:pt x="87720" y="200706"/>
                                        </a:lnTo>
                                        <a:cubicBezTo>
                                          <a:pt x="94393" y="197143"/>
                                          <a:pt x="101260" y="193515"/>
                                          <a:pt x="108646" y="191960"/>
                                        </a:cubicBezTo>
                                        <a:cubicBezTo>
                                          <a:pt x="121862" y="189239"/>
                                          <a:pt x="135856" y="193709"/>
                                          <a:pt x="146221" y="202390"/>
                                        </a:cubicBezTo>
                                        <a:cubicBezTo>
                                          <a:pt x="148554" y="198698"/>
                                          <a:pt x="150692" y="194940"/>
                                          <a:pt x="152571" y="190988"/>
                                        </a:cubicBezTo>
                                        <a:cubicBezTo>
                                          <a:pt x="154838" y="188527"/>
                                          <a:pt x="157105" y="186065"/>
                                          <a:pt x="159373" y="183603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rgbClr val="DDDDDD"/>
                                  </a:solidFill>
                                  <a:ln w="6472" cap="flat">
                                    <a:solidFill>
                                      <a:srgbClr val="FFFFFF"/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da-DK"/>
                                  </a:p>
                                </p:txBody>
                              </p:sp>
                              <p:grpSp>
                                <p:nvGrpSpPr>
                                  <p:cNvPr id="61" name="Graphic 413">
                                    <a:extLst>
                                      <a:ext uri="{FF2B5EF4-FFF2-40B4-BE49-F238E27FC236}">
                                        <a16:creationId xmlns:a16="http://schemas.microsoft.com/office/drawing/2014/main" id="{43A6C214-0808-409C-BA1A-933FDE5F4007}"/>
                                      </a:ext>
                                    </a:extLst>
                                  </p:cNvPr>
                                  <p:cNvGrpSpPr/>
                                  <p:nvPr/>
                                </p:nvGrpSpPr>
                                <p:grpSpPr>
                                  <a:xfrm>
                                    <a:off x="2840632" y="1314629"/>
                                    <a:ext cx="8882290" cy="4743195"/>
                                    <a:chOff x="2840632" y="1314629"/>
                                    <a:chExt cx="8882290" cy="4743195"/>
                                  </a:xfrm>
                                </p:grpSpPr>
                                <p:sp>
                                  <p:nvSpPr>
                                    <p:cNvPr id="62" name="Freeform: Shape 61">
                                      <a:extLst>
                                        <a:ext uri="{FF2B5EF4-FFF2-40B4-BE49-F238E27FC236}">
                                          <a16:creationId xmlns:a16="http://schemas.microsoft.com/office/drawing/2014/main" id="{1B90DA68-58FF-42DA-96A3-1DF47D12DCEF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3982802" y="1694090"/>
                                      <a:ext cx="160962" cy="101992"/>
                                    </a:xfrm>
                                    <a:custGeom>
                                      <a:avLst/>
                                      <a:gdLst>
                                        <a:gd name="connsiteX0" fmla="*/ 13744 w 160962"/>
                                        <a:gd name="connsiteY0" fmla="*/ 98091 h 101992"/>
                                        <a:gd name="connsiteX1" fmla="*/ 16724 w 160962"/>
                                        <a:gd name="connsiteY1" fmla="*/ 97832 h 101992"/>
                                        <a:gd name="connsiteX2" fmla="*/ 18019 w 160962"/>
                                        <a:gd name="connsiteY2" fmla="*/ 95370 h 101992"/>
                                        <a:gd name="connsiteX3" fmla="*/ 24692 w 160962"/>
                                        <a:gd name="connsiteY3" fmla="*/ 85393 h 101992"/>
                                        <a:gd name="connsiteX4" fmla="*/ 35188 w 160962"/>
                                        <a:gd name="connsiteY4" fmla="*/ 88178 h 101992"/>
                                        <a:gd name="connsiteX5" fmla="*/ 35965 w 160962"/>
                                        <a:gd name="connsiteY5" fmla="*/ 95240 h 101992"/>
                                        <a:gd name="connsiteX6" fmla="*/ 44582 w 160962"/>
                                        <a:gd name="connsiteY6" fmla="*/ 101978 h 101992"/>
                                        <a:gd name="connsiteX7" fmla="*/ 52421 w 160962"/>
                                        <a:gd name="connsiteY7" fmla="*/ 94333 h 101992"/>
                                        <a:gd name="connsiteX8" fmla="*/ 52356 w 160962"/>
                                        <a:gd name="connsiteY8" fmla="*/ 85846 h 101992"/>
                                        <a:gd name="connsiteX9" fmla="*/ 62268 w 160962"/>
                                        <a:gd name="connsiteY9" fmla="*/ 81246 h 101992"/>
                                        <a:gd name="connsiteX10" fmla="*/ 73929 w 160962"/>
                                        <a:gd name="connsiteY10" fmla="*/ 81570 h 101992"/>
                                        <a:gd name="connsiteX11" fmla="*/ 83323 w 160962"/>
                                        <a:gd name="connsiteY11" fmla="*/ 68872 h 101992"/>
                                        <a:gd name="connsiteX12" fmla="*/ 88247 w 160962"/>
                                        <a:gd name="connsiteY12" fmla="*/ 53194 h 101992"/>
                                        <a:gd name="connsiteX13" fmla="*/ 107683 w 160962"/>
                                        <a:gd name="connsiteY13" fmla="*/ 47558 h 101992"/>
                                        <a:gd name="connsiteX14" fmla="*/ 112088 w 160962"/>
                                        <a:gd name="connsiteY14" fmla="*/ 51121 h 101992"/>
                                        <a:gd name="connsiteX15" fmla="*/ 113967 w 160962"/>
                                        <a:gd name="connsiteY15" fmla="*/ 70816 h 101992"/>
                                        <a:gd name="connsiteX16" fmla="*/ 125952 w 160962"/>
                                        <a:gd name="connsiteY16" fmla="*/ 70103 h 101992"/>
                                        <a:gd name="connsiteX17" fmla="*/ 131200 w 160962"/>
                                        <a:gd name="connsiteY17" fmla="*/ 59284 h 101992"/>
                                        <a:gd name="connsiteX18" fmla="*/ 131265 w 160962"/>
                                        <a:gd name="connsiteY18" fmla="*/ 56887 h 101992"/>
                                        <a:gd name="connsiteX19" fmla="*/ 139039 w 160962"/>
                                        <a:gd name="connsiteY19" fmla="*/ 55267 h 101992"/>
                                        <a:gd name="connsiteX20" fmla="*/ 146360 w 160962"/>
                                        <a:gd name="connsiteY20" fmla="*/ 47687 h 101992"/>
                                        <a:gd name="connsiteX21" fmla="*/ 151672 w 160962"/>
                                        <a:gd name="connsiteY21" fmla="*/ 38099 h 101992"/>
                                        <a:gd name="connsiteX22" fmla="*/ 154329 w 160962"/>
                                        <a:gd name="connsiteY22" fmla="*/ 36091 h 101992"/>
                                        <a:gd name="connsiteX23" fmla="*/ 151996 w 160962"/>
                                        <a:gd name="connsiteY23" fmla="*/ 28640 h 101992"/>
                                        <a:gd name="connsiteX24" fmla="*/ 148368 w 160962"/>
                                        <a:gd name="connsiteY24" fmla="*/ 21384 h 101992"/>
                                        <a:gd name="connsiteX25" fmla="*/ 160418 w 160962"/>
                                        <a:gd name="connsiteY25" fmla="*/ 19506 h 101992"/>
                                        <a:gd name="connsiteX26" fmla="*/ 153681 w 160962"/>
                                        <a:gd name="connsiteY26" fmla="*/ 3568 h 101992"/>
                                        <a:gd name="connsiteX27" fmla="*/ 135670 w 160962"/>
                                        <a:gd name="connsiteY27" fmla="*/ 135 h 101992"/>
                                        <a:gd name="connsiteX28" fmla="*/ 125952 w 160962"/>
                                        <a:gd name="connsiteY28" fmla="*/ 22615 h 101992"/>
                                        <a:gd name="connsiteX29" fmla="*/ 108784 w 160962"/>
                                        <a:gd name="connsiteY29" fmla="*/ 16849 h 101992"/>
                                        <a:gd name="connsiteX30" fmla="*/ 106517 w 160962"/>
                                        <a:gd name="connsiteY30" fmla="*/ 12509 h 101992"/>
                                        <a:gd name="connsiteX31" fmla="*/ 102111 w 160962"/>
                                        <a:gd name="connsiteY31" fmla="*/ 11213 h 101992"/>
                                        <a:gd name="connsiteX32" fmla="*/ 82092 w 160962"/>
                                        <a:gd name="connsiteY32" fmla="*/ 15489 h 101992"/>
                                        <a:gd name="connsiteX33" fmla="*/ 73152 w 160962"/>
                                        <a:gd name="connsiteY33" fmla="*/ 19700 h 101992"/>
                                        <a:gd name="connsiteX34" fmla="*/ 69135 w 160962"/>
                                        <a:gd name="connsiteY34" fmla="*/ 28316 h 101992"/>
                                        <a:gd name="connsiteX35" fmla="*/ 54235 w 160962"/>
                                        <a:gd name="connsiteY35" fmla="*/ 38617 h 101992"/>
                                        <a:gd name="connsiteX36" fmla="*/ 50283 w 160962"/>
                                        <a:gd name="connsiteY36" fmla="*/ 55591 h 101992"/>
                                        <a:gd name="connsiteX37" fmla="*/ 49829 w 160962"/>
                                        <a:gd name="connsiteY37" fmla="*/ 60450 h 101992"/>
                                        <a:gd name="connsiteX38" fmla="*/ 41278 w 160962"/>
                                        <a:gd name="connsiteY38" fmla="*/ 65244 h 101992"/>
                                        <a:gd name="connsiteX39" fmla="*/ 12966 w 160962"/>
                                        <a:gd name="connsiteY39" fmla="*/ 74638 h 101992"/>
                                        <a:gd name="connsiteX40" fmla="*/ 1693 w 160962"/>
                                        <a:gd name="connsiteY40" fmla="*/ 83060 h 101992"/>
                                        <a:gd name="connsiteX41" fmla="*/ 3248 w 160962"/>
                                        <a:gd name="connsiteY41" fmla="*/ 95888 h 101992"/>
                                        <a:gd name="connsiteX42" fmla="*/ 13808 w 160962"/>
                                        <a:gd name="connsiteY42" fmla="*/ 97832 h 101992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  <a:cxn ang="0">
                                          <a:pos x="connsiteX6" y="connsiteY6"/>
                                        </a:cxn>
                                        <a:cxn ang="0">
                                          <a:pos x="connsiteX7" y="connsiteY7"/>
                                        </a:cxn>
                                        <a:cxn ang="0">
                                          <a:pos x="connsiteX8" y="connsiteY8"/>
                                        </a:cxn>
                                        <a:cxn ang="0">
                                          <a:pos x="connsiteX9" y="connsiteY9"/>
                                        </a:cxn>
                                        <a:cxn ang="0">
                                          <a:pos x="connsiteX10" y="connsiteY10"/>
                                        </a:cxn>
                                        <a:cxn ang="0">
                                          <a:pos x="connsiteX11" y="connsiteY11"/>
                                        </a:cxn>
                                        <a:cxn ang="0">
                                          <a:pos x="connsiteX12" y="connsiteY12"/>
                                        </a:cxn>
                                        <a:cxn ang="0">
                                          <a:pos x="connsiteX13" y="connsiteY13"/>
                                        </a:cxn>
                                        <a:cxn ang="0">
                                          <a:pos x="connsiteX14" y="connsiteY14"/>
                                        </a:cxn>
                                        <a:cxn ang="0">
                                          <a:pos x="connsiteX15" y="connsiteY15"/>
                                        </a:cxn>
                                        <a:cxn ang="0">
                                          <a:pos x="connsiteX16" y="connsiteY16"/>
                                        </a:cxn>
                                        <a:cxn ang="0">
                                          <a:pos x="connsiteX17" y="connsiteY17"/>
                                        </a:cxn>
                                        <a:cxn ang="0">
                                          <a:pos x="connsiteX18" y="connsiteY18"/>
                                        </a:cxn>
                                        <a:cxn ang="0">
                                          <a:pos x="connsiteX19" y="connsiteY19"/>
                                        </a:cxn>
                                        <a:cxn ang="0">
                                          <a:pos x="connsiteX20" y="connsiteY20"/>
                                        </a:cxn>
                                        <a:cxn ang="0">
                                          <a:pos x="connsiteX21" y="connsiteY21"/>
                                        </a:cxn>
                                        <a:cxn ang="0">
                                          <a:pos x="connsiteX22" y="connsiteY22"/>
                                        </a:cxn>
                                        <a:cxn ang="0">
                                          <a:pos x="connsiteX23" y="connsiteY23"/>
                                        </a:cxn>
                                        <a:cxn ang="0">
                                          <a:pos x="connsiteX24" y="connsiteY24"/>
                                        </a:cxn>
                                        <a:cxn ang="0">
                                          <a:pos x="connsiteX25" y="connsiteY25"/>
                                        </a:cxn>
                                        <a:cxn ang="0">
                                          <a:pos x="connsiteX26" y="connsiteY26"/>
                                        </a:cxn>
                                        <a:cxn ang="0">
                                          <a:pos x="connsiteX27" y="connsiteY27"/>
                                        </a:cxn>
                                        <a:cxn ang="0">
                                          <a:pos x="connsiteX28" y="connsiteY28"/>
                                        </a:cxn>
                                        <a:cxn ang="0">
                                          <a:pos x="connsiteX29" y="connsiteY29"/>
                                        </a:cxn>
                                        <a:cxn ang="0">
                                          <a:pos x="connsiteX30" y="connsiteY30"/>
                                        </a:cxn>
                                        <a:cxn ang="0">
                                          <a:pos x="connsiteX31" y="connsiteY31"/>
                                        </a:cxn>
                                        <a:cxn ang="0">
                                          <a:pos x="connsiteX32" y="connsiteY32"/>
                                        </a:cxn>
                                        <a:cxn ang="0">
                                          <a:pos x="connsiteX33" y="connsiteY33"/>
                                        </a:cxn>
                                        <a:cxn ang="0">
                                          <a:pos x="connsiteX34" y="connsiteY34"/>
                                        </a:cxn>
                                        <a:cxn ang="0">
                                          <a:pos x="connsiteX35" y="connsiteY35"/>
                                        </a:cxn>
                                        <a:cxn ang="0">
                                          <a:pos x="connsiteX36" y="connsiteY36"/>
                                        </a:cxn>
                                        <a:cxn ang="0">
                                          <a:pos x="connsiteX37" y="connsiteY37"/>
                                        </a:cxn>
                                        <a:cxn ang="0">
                                          <a:pos x="connsiteX38" y="connsiteY38"/>
                                        </a:cxn>
                                        <a:cxn ang="0">
                                          <a:pos x="connsiteX39" y="connsiteY39"/>
                                        </a:cxn>
                                        <a:cxn ang="0">
                                          <a:pos x="connsiteX40" y="connsiteY40"/>
                                        </a:cxn>
                                        <a:cxn ang="0">
                                          <a:pos x="connsiteX41" y="connsiteY41"/>
                                        </a:cxn>
                                        <a:cxn ang="0">
                                          <a:pos x="connsiteX42" y="connsiteY42"/>
                                        </a:cxn>
                                      </a:cxnLst>
                                      <a:rect l="l" t="t" r="r" b="b"/>
                                      <a:pathLst>
                                        <a:path w="160962" h="101992">
                                          <a:moveTo>
                                            <a:pt x="13744" y="98091"/>
                                          </a:moveTo>
                                          <a:cubicBezTo>
                                            <a:pt x="14780" y="98285"/>
                                            <a:pt x="15881" y="98415"/>
                                            <a:pt x="16724" y="97832"/>
                                          </a:cubicBezTo>
                                          <a:cubicBezTo>
                                            <a:pt x="17501" y="97313"/>
                                            <a:pt x="17760" y="96277"/>
                                            <a:pt x="18019" y="95370"/>
                                          </a:cubicBezTo>
                                          <a:cubicBezTo>
                                            <a:pt x="19121" y="91418"/>
                                            <a:pt x="21129" y="87401"/>
                                            <a:pt x="24692" y="85393"/>
                                          </a:cubicBezTo>
                                          <a:cubicBezTo>
                                            <a:pt x="28256" y="83384"/>
                                            <a:pt x="33698" y="84356"/>
                                            <a:pt x="35188" y="88178"/>
                                          </a:cubicBezTo>
                                          <a:cubicBezTo>
                                            <a:pt x="36095" y="90381"/>
                                            <a:pt x="35512" y="92908"/>
                                            <a:pt x="35965" y="95240"/>
                                          </a:cubicBezTo>
                                          <a:cubicBezTo>
                                            <a:pt x="36742" y="99127"/>
                                            <a:pt x="40630" y="102237"/>
                                            <a:pt x="44582" y="101978"/>
                                          </a:cubicBezTo>
                                          <a:cubicBezTo>
                                            <a:pt x="48533" y="101783"/>
                                            <a:pt x="52097" y="98285"/>
                                            <a:pt x="52421" y="94333"/>
                                          </a:cubicBezTo>
                                          <a:cubicBezTo>
                                            <a:pt x="52615" y="91483"/>
                                            <a:pt x="51384" y="88502"/>
                                            <a:pt x="52356" y="85846"/>
                                          </a:cubicBezTo>
                                          <a:cubicBezTo>
                                            <a:pt x="53652" y="82153"/>
                                            <a:pt x="58381" y="80987"/>
                                            <a:pt x="62268" y="81246"/>
                                          </a:cubicBezTo>
                                          <a:cubicBezTo>
                                            <a:pt x="66155" y="81570"/>
                                            <a:pt x="70172" y="82736"/>
                                            <a:pt x="73929" y="81570"/>
                                          </a:cubicBezTo>
                                          <a:cubicBezTo>
                                            <a:pt x="79177" y="79951"/>
                                            <a:pt x="82028" y="74250"/>
                                            <a:pt x="83323" y="68872"/>
                                          </a:cubicBezTo>
                                          <a:cubicBezTo>
                                            <a:pt x="84619" y="63495"/>
                                            <a:pt x="85137" y="57794"/>
                                            <a:pt x="88247" y="53194"/>
                                          </a:cubicBezTo>
                                          <a:cubicBezTo>
                                            <a:pt x="92329" y="47169"/>
                                            <a:pt x="100945" y="44642"/>
                                            <a:pt x="107683" y="47558"/>
                                          </a:cubicBezTo>
                                          <a:cubicBezTo>
                                            <a:pt x="109432" y="48335"/>
                                            <a:pt x="111117" y="49437"/>
                                            <a:pt x="112088" y="51121"/>
                                          </a:cubicBezTo>
                                          <a:cubicBezTo>
                                            <a:pt x="115587" y="57017"/>
                                            <a:pt x="108914" y="66216"/>
                                            <a:pt x="113967" y="70816"/>
                                          </a:cubicBezTo>
                                          <a:cubicBezTo>
                                            <a:pt x="117725" y="72695"/>
                                            <a:pt x="122454" y="72436"/>
                                            <a:pt x="125952" y="70103"/>
                                          </a:cubicBezTo>
                                          <a:cubicBezTo>
                                            <a:pt x="129451" y="67771"/>
                                            <a:pt x="131524" y="63495"/>
                                            <a:pt x="131200" y="59284"/>
                                          </a:cubicBezTo>
                                          <a:cubicBezTo>
                                            <a:pt x="131200" y="58507"/>
                                            <a:pt x="131006" y="57664"/>
                                            <a:pt x="131265" y="56887"/>
                                          </a:cubicBezTo>
                                          <a:cubicBezTo>
                                            <a:pt x="132237" y="54231"/>
                                            <a:pt x="136189" y="55526"/>
                                            <a:pt x="139039" y="55267"/>
                                          </a:cubicBezTo>
                                          <a:cubicBezTo>
                                            <a:pt x="142732" y="54943"/>
                                            <a:pt x="145064" y="51186"/>
                                            <a:pt x="146360" y="47687"/>
                                          </a:cubicBezTo>
                                          <a:cubicBezTo>
                                            <a:pt x="147656" y="44189"/>
                                            <a:pt x="148627" y="40302"/>
                                            <a:pt x="151672" y="38099"/>
                                          </a:cubicBezTo>
                                          <a:cubicBezTo>
                                            <a:pt x="152579" y="37451"/>
                                            <a:pt x="153616" y="36998"/>
                                            <a:pt x="154329" y="36091"/>
                                          </a:cubicBezTo>
                                          <a:cubicBezTo>
                                            <a:pt x="156013" y="33823"/>
                                            <a:pt x="154005" y="30649"/>
                                            <a:pt x="151996" y="28640"/>
                                          </a:cubicBezTo>
                                          <a:cubicBezTo>
                                            <a:pt x="149923" y="26632"/>
                                            <a:pt x="147526" y="24105"/>
                                            <a:pt x="148368" y="21384"/>
                                          </a:cubicBezTo>
                                          <a:cubicBezTo>
                                            <a:pt x="152450" y="21644"/>
                                            <a:pt x="156596" y="20996"/>
                                            <a:pt x="160418" y="19506"/>
                                          </a:cubicBezTo>
                                          <a:cubicBezTo>
                                            <a:pt x="162362" y="13610"/>
                                            <a:pt x="158864" y="6937"/>
                                            <a:pt x="153681" y="3568"/>
                                          </a:cubicBezTo>
                                          <a:cubicBezTo>
                                            <a:pt x="148433" y="264"/>
                                            <a:pt x="141890" y="-319"/>
                                            <a:pt x="135670" y="135"/>
                                          </a:cubicBezTo>
                                          <a:cubicBezTo>
                                            <a:pt x="133597" y="8039"/>
                                            <a:pt x="130293" y="15683"/>
                                            <a:pt x="125952" y="22615"/>
                                          </a:cubicBezTo>
                                          <a:cubicBezTo>
                                            <a:pt x="119539" y="23069"/>
                                            <a:pt x="111570" y="22615"/>
                                            <a:pt x="108784" y="16849"/>
                                          </a:cubicBezTo>
                                          <a:cubicBezTo>
                                            <a:pt x="108072" y="15359"/>
                                            <a:pt x="107748" y="13610"/>
                                            <a:pt x="106517" y="12509"/>
                                          </a:cubicBezTo>
                                          <a:cubicBezTo>
                                            <a:pt x="105351" y="11472"/>
                                            <a:pt x="103666" y="11213"/>
                                            <a:pt x="102111" y="11213"/>
                                          </a:cubicBezTo>
                                          <a:cubicBezTo>
                                            <a:pt x="95244" y="11083"/>
                                            <a:pt x="88571" y="13286"/>
                                            <a:pt x="82092" y="15489"/>
                                          </a:cubicBezTo>
                                          <a:cubicBezTo>
                                            <a:pt x="78918" y="16525"/>
                                            <a:pt x="75743" y="17627"/>
                                            <a:pt x="73152" y="19700"/>
                                          </a:cubicBezTo>
                                          <a:cubicBezTo>
                                            <a:pt x="70561" y="21773"/>
                                            <a:pt x="68682" y="25012"/>
                                            <a:pt x="69135" y="28316"/>
                                          </a:cubicBezTo>
                                          <a:cubicBezTo>
                                            <a:pt x="62722" y="27474"/>
                                            <a:pt x="57150" y="32851"/>
                                            <a:pt x="54235" y="38617"/>
                                          </a:cubicBezTo>
                                          <a:cubicBezTo>
                                            <a:pt x="51578" y="43865"/>
                                            <a:pt x="50218" y="49761"/>
                                            <a:pt x="50283" y="55591"/>
                                          </a:cubicBezTo>
                                          <a:cubicBezTo>
                                            <a:pt x="50283" y="57211"/>
                                            <a:pt x="50412" y="58895"/>
                                            <a:pt x="49829" y="60450"/>
                                          </a:cubicBezTo>
                                          <a:cubicBezTo>
                                            <a:pt x="48533" y="63625"/>
                                            <a:pt x="44646" y="64596"/>
                                            <a:pt x="41278" y="65244"/>
                                          </a:cubicBezTo>
                                          <a:cubicBezTo>
                                            <a:pt x="31560" y="67317"/>
                                            <a:pt x="22036" y="70427"/>
                                            <a:pt x="12966" y="74638"/>
                                          </a:cubicBezTo>
                                          <a:cubicBezTo>
                                            <a:pt x="8625" y="76647"/>
                                            <a:pt x="4220" y="79044"/>
                                            <a:pt x="1693" y="83060"/>
                                          </a:cubicBezTo>
                                          <a:cubicBezTo>
                                            <a:pt x="-833" y="87077"/>
                                            <a:pt x="-704" y="93167"/>
                                            <a:pt x="3248" y="95888"/>
                                          </a:cubicBezTo>
                                          <a:cubicBezTo>
                                            <a:pt x="6747" y="96536"/>
                                            <a:pt x="10310" y="97184"/>
                                            <a:pt x="13808" y="97832"/>
                                          </a:cubicBezTo>
                                          <a:close/>
                                        </a:path>
                                      </a:pathLst>
                                    </a:custGeom>
                                    <a:solidFill>
                                      <a:srgbClr val="DDDDDD"/>
                                    </a:solidFill>
                                    <a:ln w="6472" cap="flat">
                                      <a:solidFill>
                                        <a:srgbClr val="FFFFFF"/>
                                      </a:solidFill>
                                      <a:prstDash val="solid"/>
                                      <a:miter/>
                                    </a:ln>
                                  </p:spPr>
                                  <p:txBody>
                                    <a:bodyPr rtlCol="0" anchor="ctr"/>
                                    <a:lstStyle/>
                                    <a:p>
                                      <a:endParaRPr lang="da-DK"/>
                                    </a:p>
                                  </p:txBody>
                                </p:sp>
                                <p:sp>
                                  <p:nvSpPr>
                                    <p:cNvPr id="63" name="Freeform: Shape 62">
                                      <a:extLst>
                                        <a:ext uri="{FF2B5EF4-FFF2-40B4-BE49-F238E27FC236}">
                                          <a16:creationId xmlns:a16="http://schemas.microsoft.com/office/drawing/2014/main" id="{0B330122-5B29-4128-BDA5-B834C7470748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6726551" y="3693560"/>
                                      <a:ext cx="411588" cy="417754"/>
                                    </a:xfrm>
                                    <a:custGeom>
                                      <a:avLst/>
                                      <a:gdLst>
                                        <a:gd name="connsiteX0" fmla="*/ 315053 w 411588"/>
                                        <a:gd name="connsiteY0" fmla="*/ 284167 h 417754"/>
                                        <a:gd name="connsiteX1" fmla="*/ 328593 w 411588"/>
                                        <a:gd name="connsiteY1" fmla="*/ 281575 h 417754"/>
                                        <a:gd name="connsiteX2" fmla="*/ 369020 w 411588"/>
                                        <a:gd name="connsiteY2" fmla="*/ 275680 h 417754"/>
                                        <a:gd name="connsiteX3" fmla="*/ 396165 w 411588"/>
                                        <a:gd name="connsiteY3" fmla="*/ 260196 h 417754"/>
                                        <a:gd name="connsiteX4" fmla="*/ 400765 w 411588"/>
                                        <a:gd name="connsiteY4" fmla="*/ 248794 h 417754"/>
                                        <a:gd name="connsiteX5" fmla="*/ 410806 w 411588"/>
                                        <a:gd name="connsiteY5" fmla="*/ 243287 h 417754"/>
                                        <a:gd name="connsiteX6" fmla="*/ 411584 w 411588"/>
                                        <a:gd name="connsiteY6" fmla="*/ 195151 h 417754"/>
                                        <a:gd name="connsiteX7" fmla="*/ 401283 w 411588"/>
                                        <a:gd name="connsiteY7" fmla="*/ 176299 h 417754"/>
                                        <a:gd name="connsiteX8" fmla="*/ 392472 w 411588"/>
                                        <a:gd name="connsiteY8" fmla="*/ 175327 h 417754"/>
                                        <a:gd name="connsiteX9" fmla="*/ 390787 w 411588"/>
                                        <a:gd name="connsiteY9" fmla="*/ 169755 h 417754"/>
                                        <a:gd name="connsiteX10" fmla="*/ 385540 w 411588"/>
                                        <a:gd name="connsiteY10" fmla="*/ 167877 h 417754"/>
                                        <a:gd name="connsiteX11" fmla="*/ 370639 w 411588"/>
                                        <a:gd name="connsiteY11" fmla="*/ 147663 h 417754"/>
                                        <a:gd name="connsiteX12" fmla="*/ 363059 w 411588"/>
                                        <a:gd name="connsiteY12" fmla="*/ 145914 h 417754"/>
                                        <a:gd name="connsiteX13" fmla="*/ 341162 w 411588"/>
                                        <a:gd name="connsiteY13" fmla="*/ 125636 h 417754"/>
                                        <a:gd name="connsiteX14" fmla="*/ 331574 w 411588"/>
                                        <a:gd name="connsiteY14" fmla="*/ 117603 h 417754"/>
                                        <a:gd name="connsiteX15" fmla="*/ 302485 w 411588"/>
                                        <a:gd name="connsiteY15" fmla="*/ 93178 h 417754"/>
                                        <a:gd name="connsiteX16" fmla="*/ 269509 w 411588"/>
                                        <a:gd name="connsiteY16" fmla="*/ 65450 h 417754"/>
                                        <a:gd name="connsiteX17" fmla="*/ 256552 w 411588"/>
                                        <a:gd name="connsiteY17" fmla="*/ 55603 h 417754"/>
                                        <a:gd name="connsiteX18" fmla="*/ 247093 w 411588"/>
                                        <a:gd name="connsiteY18" fmla="*/ 50355 h 417754"/>
                                        <a:gd name="connsiteX19" fmla="*/ 234848 w 411588"/>
                                        <a:gd name="connsiteY19" fmla="*/ 42257 h 417754"/>
                                        <a:gd name="connsiteX20" fmla="*/ 188656 w 411588"/>
                                        <a:gd name="connsiteY20" fmla="*/ 9540 h 417754"/>
                                        <a:gd name="connsiteX21" fmla="*/ 167536 w 411588"/>
                                        <a:gd name="connsiteY21" fmla="*/ 17 h 417754"/>
                                        <a:gd name="connsiteX22" fmla="*/ 158401 w 411588"/>
                                        <a:gd name="connsiteY22" fmla="*/ 1118 h 417754"/>
                                        <a:gd name="connsiteX23" fmla="*/ 136374 w 411588"/>
                                        <a:gd name="connsiteY23" fmla="*/ 5459 h 417754"/>
                                        <a:gd name="connsiteX24" fmla="*/ 150174 w 411588"/>
                                        <a:gd name="connsiteY24" fmla="*/ 105423 h 417754"/>
                                        <a:gd name="connsiteX25" fmla="*/ 157753 w 411588"/>
                                        <a:gd name="connsiteY25" fmla="*/ 201695 h 417754"/>
                                        <a:gd name="connsiteX26" fmla="*/ 163001 w 411588"/>
                                        <a:gd name="connsiteY26" fmla="*/ 240566 h 417754"/>
                                        <a:gd name="connsiteX27" fmla="*/ 173950 w 411588"/>
                                        <a:gd name="connsiteY27" fmla="*/ 256633 h 417754"/>
                                        <a:gd name="connsiteX28" fmla="*/ 165592 w 411588"/>
                                        <a:gd name="connsiteY28" fmla="*/ 259354 h 417754"/>
                                        <a:gd name="connsiteX29" fmla="*/ 164232 w 411588"/>
                                        <a:gd name="connsiteY29" fmla="*/ 269072 h 417754"/>
                                        <a:gd name="connsiteX30" fmla="*/ 153218 w 411588"/>
                                        <a:gd name="connsiteY30" fmla="*/ 268230 h 417754"/>
                                        <a:gd name="connsiteX31" fmla="*/ 52217 w 411588"/>
                                        <a:gd name="connsiteY31" fmla="*/ 267776 h 417754"/>
                                        <a:gd name="connsiteX32" fmla="*/ 42046 w 411588"/>
                                        <a:gd name="connsiteY32" fmla="*/ 273995 h 417754"/>
                                        <a:gd name="connsiteX33" fmla="*/ 40362 w 411588"/>
                                        <a:gd name="connsiteY33" fmla="*/ 276393 h 417754"/>
                                        <a:gd name="connsiteX34" fmla="*/ 25072 w 411588"/>
                                        <a:gd name="connsiteY34" fmla="*/ 276652 h 417754"/>
                                        <a:gd name="connsiteX35" fmla="*/ 22222 w 411588"/>
                                        <a:gd name="connsiteY35" fmla="*/ 282677 h 417754"/>
                                        <a:gd name="connsiteX36" fmla="*/ 6608 w 411588"/>
                                        <a:gd name="connsiteY36" fmla="*/ 285463 h 417754"/>
                                        <a:gd name="connsiteX37" fmla="*/ 4600 w 411588"/>
                                        <a:gd name="connsiteY37" fmla="*/ 287860 h 417754"/>
                                        <a:gd name="connsiteX38" fmla="*/ 0 w 411588"/>
                                        <a:gd name="connsiteY38" fmla="*/ 294856 h 417754"/>
                                        <a:gd name="connsiteX39" fmla="*/ 2721 w 411588"/>
                                        <a:gd name="connsiteY39" fmla="*/ 311636 h 417754"/>
                                        <a:gd name="connsiteX40" fmla="*/ 7710 w 411588"/>
                                        <a:gd name="connsiteY40" fmla="*/ 317208 h 417754"/>
                                        <a:gd name="connsiteX41" fmla="*/ 11986 w 411588"/>
                                        <a:gd name="connsiteY41" fmla="*/ 327508 h 417754"/>
                                        <a:gd name="connsiteX42" fmla="*/ 18011 w 411588"/>
                                        <a:gd name="connsiteY42" fmla="*/ 330618 h 417754"/>
                                        <a:gd name="connsiteX43" fmla="*/ 22481 w 411588"/>
                                        <a:gd name="connsiteY43" fmla="*/ 343705 h 417754"/>
                                        <a:gd name="connsiteX44" fmla="*/ 22546 w 411588"/>
                                        <a:gd name="connsiteY44" fmla="*/ 359448 h 417754"/>
                                        <a:gd name="connsiteX45" fmla="*/ 22546 w 411588"/>
                                        <a:gd name="connsiteY45" fmla="*/ 361586 h 417754"/>
                                        <a:gd name="connsiteX46" fmla="*/ 49496 w 411588"/>
                                        <a:gd name="connsiteY46" fmla="*/ 362298 h 417754"/>
                                        <a:gd name="connsiteX47" fmla="*/ 58307 w 411588"/>
                                        <a:gd name="connsiteY47" fmla="*/ 360744 h 417754"/>
                                        <a:gd name="connsiteX48" fmla="*/ 73726 w 411588"/>
                                        <a:gd name="connsiteY48" fmla="*/ 353488 h 417754"/>
                                        <a:gd name="connsiteX49" fmla="*/ 81630 w 411588"/>
                                        <a:gd name="connsiteY49" fmla="*/ 362298 h 417754"/>
                                        <a:gd name="connsiteX50" fmla="*/ 86683 w 411588"/>
                                        <a:gd name="connsiteY50" fmla="*/ 373506 h 417754"/>
                                        <a:gd name="connsiteX51" fmla="*/ 92968 w 411588"/>
                                        <a:gd name="connsiteY51" fmla="*/ 379531 h 417754"/>
                                        <a:gd name="connsiteX52" fmla="*/ 93551 w 411588"/>
                                        <a:gd name="connsiteY52" fmla="*/ 390675 h 417754"/>
                                        <a:gd name="connsiteX53" fmla="*/ 104111 w 411588"/>
                                        <a:gd name="connsiteY53" fmla="*/ 404474 h 417754"/>
                                        <a:gd name="connsiteX54" fmla="*/ 107545 w 411588"/>
                                        <a:gd name="connsiteY54" fmla="*/ 410499 h 417754"/>
                                        <a:gd name="connsiteX55" fmla="*/ 108257 w 411588"/>
                                        <a:gd name="connsiteY55" fmla="*/ 409722 h 417754"/>
                                        <a:gd name="connsiteX56" fmla="*/ 119918 w 411588"/>
                                        <a:gd name="connsiteY56" fmla="*/ 410758 h 417754"/>
                                        <a:gd name="connsiteX57" fmla="*/ 130155 w 411588"/>
                                        <a:gd name="connsiteY57" fmla="*/ 417755 h 417754"/>
                                        <a:gd name="connsiteX58" fmla="*/ 145639 w 411588"/>
                                        <a:gd name="connsiteY58" fmla="*/ 407972 h 417754"/>
                                        <a:gd name="connsiteX59" fmla="*/ 153024 w 411588"/>
                                        <a:gd name="connsiteY59" fmla="*/ 408102 h 417754"/>
                                        <a:gd name="connsiteX60" fmla="*/ 153348 w 411588"/>
                                        <a:gd name="connsiteY60" fmla="*/ 408296 h 417754"/>
                                        <a:gd name="connsiteX61" fmla="*/ 160280 w 411588"/>
                                        <a:gd name="connsiteY61" fmla="*/ 402336 h 417754"/>
                                        <a:gd name="connsiteX62" fmla="*/ 164880 w 411588"/>
                                        <a:gd name="connsiteY62" fmla="*/ 400975 h 417754"/>
                                        <a:gd name="connsiteX63" fmla="*/ 167665 w 411588"/>
                                        <a:gd name="connsiteY63" fmla="*/ 388213 h 417754"/>
                                        <a:gd name="connsiteX64" fmla="*/ 174403 w 411588"/>
                                        <a:gd name="connsiteY64" fmla="*/ 379143 h 417754"/>
                                        <a:gd name="connsiteX65" fmla="*/ 174403 w 411588"/>
                                        <a:gd name="connsiteY65" fmla="*/ 372599 h 417754"/>
                                        <a:gd name="connsiteX66" fmla="*/ 181659 w 411588"/>
                                        <a:gd name="connsiteY66" fmla="*/ 369490 h 417754"/>
                                        <a:gd name="connsiteX67" fmla="*/ 192090 w 411588"/>
                                        <a:gd name="connsiteY67" fmla="*/ 357504 h 417754"/>
                                        <a:gd name="connsiteX68" fmla="*/ 197467 w 411588"/>
                                        <a:gd name="connsiteY68" fmla="*/ 345065 h 417754"/>
                                        <a:gd name="connsiteX69" fmla="*/ 204011 w 411588"/>
                                        <a:gd name="connsiteY69" fmla="*/ 325111 h 417754"/>
                                        <a:gd name="connsiteX70" fmla="*/ 217097 w 411588"/>
                                        <a:gd name="connsiteY70" fmla="*/ 324852 h 417754"/>
                                        <a:gd name="connsiteX71" fmla="*/ 219624 w 411588"/>
                                        <a:gd name="connsiteY71" fmla="*/ 327703 h 417754"/>
                                        <a:gd name="connsiteX72" fmla="*/ 229536 w 411588"/>
                                        <a:gd name="connsiteY72" fmla="*/ 328804 h 417754"/>
                                        <a:gd name="connsiteX73" fmla="*/ 233423 w 411588"/>
                                        <a:gd name="connsiteY73" fmla="*/ 315070 h 417754"/>
                                        <a:gd name="connsiteX74" fmla="*/ 244631 w 411588"/>
                                        <a:gd name="connsiteY74" fmla="*/ 307101 h 417754"/>
                                        <a:gd name="connsiteX75" fmla="*/ 254090 w 411588"/>
                                        <a:gd name="connsiteY75" fmla="*/ 306518 h 417754"/>
                                        <a:gd name="connsiteX76" fmla="*/ 260957 w 411588"/>
                                        <a:gd name="connsiteY76" fmla="*/ 298549 h 417754"/>
                                        <a:gd name="connsiteX77" fmla="*/ 272554 w 411588"/>
                                        <a:gd name="connsiteY77" fmla="*/ 296670 h 417754"/>
                                        <a:gd name="connsiteX78" fmla="*/ 273914 w 411588"/>
                                        <a:gd name="connsiteY78" fmla="*/ 292395 h 417754"/>
                                        <a:gd name="connsiteX79" fmla="*/ 286029 w 411588"/>
                                        <a:gd name="connsiteY79" fmla="*/ 286629 h 417754"/>
                                        <a:gd name="connsiteX80" fmla="*/ 297431 w 411588"/>
                                        <a:gd name="connsiteY80" fmla="*/ 285916 h 417754"/>
                                        <a:gd name="connsiteX81" fmla="*/ 304169 w 411588"/>
                                        <a:gd name="connsiteY81" fmla="*/ 286823 h 417754"/>
                                        <a:gd name="connsiteX82" fmla="*/ 307149 w 411588"/>
                                        <a:gd name="connsiteY82" fmla="*/ 290840 h 417754"/>
                                        <a:gd name="connsiteX83" fmla="*/ 315183 w 411588"/>
                                        <a:gd name="connsiteY83" fmla="*/ 284232 h 417754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  <a:cxn ang="0">
                                          <a:pos x="connsiteX6" y="connsiteY6"/>
                                        </a:cxn>
                                        <a:cxn ang="0">
                                          <a:pos x="connsiteX7" y="connsiteY7"/>
                                        </a:cxn>
                                        <a:cxn ang="0">
                                          <a:pos x="connsiteX8" y="connsiteY8"/>
                                        </a:cxn>
                                        <a:cxn ang="0">
                                          <a:pos x="connsiteX9" y="connsiteY9"/>
                                        </a:cxn>
                                        <a:cxn ang="0">
                                          <a:pos x="connsiteX10" y="connsiteY10"/>
                                        </a:cxn>
                                        <a:cxn ang="0">
                                          <a:pos x="connsiteX11" y="connsiteY11"/>
                                        </a:cxn>
                                        <a:cxn ang="0">
                                          <a:pos x="connsiteX12" y="connsiteY12"/>
                                        </a:cxn>
                                        <a:cxn ang="0">
                                          <a:pos x="connsiteX13" y="connsiteY13"/>
                                        </a:cxn>
                                        <a:cxn ang="0">
                                          <a:pos x="connsiteX14" y="connsiteY14"/>
                                        </a:cxn>
                                        <a:cxn ang="0">
                                          <a:pos x="connsiteX15" y="connsiteY15"/>
                                        </a:cxn>
                                        <a:cxn ang="0">
                                          <a:pos x="connsiteX16" y="connsiteY16"/>
                                        </a:cxn>
                                        <a:cxn ang="0">
                                          <a:pos x="connsiteX17" y="connsiteY17"/>
                                        </a:cxn>
                                        <a:cxn ang="0">
                                          <a:pos x="connsiteX18" y="connsiteY18"/>
                                        </a:cxn>
                                        <a:cxn ang="0">
                                          <a:pos x="connsiteX19" y="connsiteY19"/>
                                        </a:cxn>
                                        <a:cxn ang="0">
                                          <a:pos x="connsiteX20" y="connsiteY20"/>
                                        </a:cxn>
                                        <a:cxn ang="0">
                                          <a:pos x="connsiteX21" y="connsiteY21"/>
                                        </a:cxn>
                                        <a:cxn ang="0">
                                          <a:pos x="connsiteX22" y="connsiteY22"/>
                                        </a:cxn>
                                        <a:cxn ang="0">
                                          <a:pos x="connsiteX23" y="connsiteY23"/>
                                        </a:cxn>
                                        <a:cxn ang="0">
                                          <a:pos x="connsiteX24" y="connsiteY24"/>
                                        </a:cxn>
                                        <a:cxn ang="0">
                                          <a:pos x="connsiteX25" y="connsiteY25"/>
                                        </a:cxn>
                                        <a:cxn ang="0">
                                          <a:pos x="connsiteX26" y="connsiteY26"/>
                                        </a:cxn>
                                        <a:cxn ang="0">
                                          <a:pos x="connsiteX27" y="connsiteY27"/>
                                        </a:cxn>
                                        <a:cxn ang="0">
                                          <a:pos x="connsiteX28" y="connsiteY28"/>
                                        </a:cxn>
                                        <a:cxn ang="0">
                                          <a:pos x="connsiteX29" y="connsiteY29"/>
                                        </a:cxn>
                                        <a:cxn ang="0">
                                          <a:pos x="connsiteX30" y="connsiteY30"/>
                                        </a:cxn>
                                        <a:cxn ang="0">
                                          <a:pos x="connsiteX31" y="connsiteY31"/>
                                        </a:cxn>
                                        <a:cxn ang="0">
                                          <a:pos x="connsiteX32" y="connsiteY32"/>
                                        </a:cxn>
                                        <a:cxn ang="0">
                                          <a:pos x="connsiteX33" y="connsiteY33"/>
                                        </a:cxn>
                                        <a:cxn ang="0">
                                          <a:pos x="connsiteX34" y="connsiteY34"/>
                                        </a:cxn>
                                        <a:cxn ang="0">
                                          <a:pos x="connsiteX35" y="connsiteY35"/>
                                        </a:cxn>
                                        <a:cxn ang="0">
                                          <a:pos x="connsiteX36" y="connsiteY36"/>
                                        </a:cxn>
                                        <a:cxn ang="0">
                                          <a:pos x="connsiteX37" y="connsiteY37"/>
                                        </a:cxn>
                                        <a:cxn ang="0">
                                          <a:pos x="connsiteX38" y="connsiteY38"/>
                                        </a:cxn>
                                        <a:cxn ang="0">
                                          <a:pos x="connsiteX39" y="connsiteY39"/>
                                        </a:cxn>
                                        <a:cxn ang="0">
                                          <a:pos x="connsiteX40" y="connsiteY40"/>
                                        </a:cxn>
                                        <a:cxn ang="0">
                                          <a:pos x="connsiteX41" y="connsiteY41"/>
                                        </a:cxn>
                                        <a:cxn ang="0">
                                          <a:pos x="connsiteX42" y="connsiteY42"/>
                                        </a:cxn>
                                        <a:cxn ang="0">
                                          <a:pos x="connsiteX43" y="connsiteY43"/>
                                        </a:cxn>
                                        <a:cxn ang="0">
                                          <a:pos x="connsiteX44" y="connsiteY44"/>
                                        </a:cxn>
                                        <a:cxn ang="0">
                                          <a:pos x="connsiteX45" y="connsiteY45"/>
                                        </a:cxn>
                                        <a:cxn ang="0">
                                          <a:pos x="connsiteX46" y="connsiteY46"/>
                                        </a:cxn>
                                        <a:cxn ang="0">
                                          <a:pos x="connsiteX47" y="connsiteY47"/>
                                        </a:cxn>
                                        <a:cxn ang="0">
                                          <a:pos x="connsiteX48" y="connsiteY48"/>
                                        </a:cxn>
                                        <a:cxn ang="0">
                                          <a:pos x="connsiteX49" y="connsiteY49"/>
                                        </a:cxn>
                                        <a:cxn ang="0">
                                          <a:pos x="connsiteX50" y="connsiteY50"/>
                                        </a:cxn>
                                        <a:cxn ang="0">
                                          <a:pos x="connsiteX51" y="connsiteY51"/>
                                        </a:cxn>
                                        <a:cxn ang="0">
                                          <a:pos x="connsiteX52" y="connsiteY52"/>
                                        </a:cxn>
                                        <a:cxn ang="0">
                                          <a:pos x="connsiteX53" y="connsiteY53"/>
                                        </a:cxn>
                                        <a:cxn ang="0">
                                          <a:pos x="connsiteX54" y="connsiteY54"/>
                                        </a:cxn>
                                        <a:cxn ang="0">
                                          <a:pos x="connsiteX55" y="connsiteY55"/>
                                        </a:cxn>
                                        <a:cxn ang="0">
                                          <a:pos x="connsiteX56" y="connsiteY56"/>
                                        </a:cxn>
                                        <a:cxn ang="0">
                                          <a:pos x="connsiteX57" y="connsiteY57"/>
                                        </a:cxn>
                                        <a:cxn ang="0">
                                          <a:pos x="connsiteX58" y="connsiteY58"/>
                                        </a:cxn>
                                        <a:cxn ang="0">
                                          <a:pos x="connsiteX59" y="connsiteY59"/>
                                        </a:cxn>
                                        <a:cxn ang="0">
                                          <a:pos x="connsiteX60" y="connsiteY60"/>
                                        </a:cxn>
                                        <a:cxn ang="0">
                                          <a:pos x="connsiteX61" y="connsiteY61"/>
                                        </a:cxn>
                                        <a:cxn ang="0">
                                          <a:pos x="connsiteX62" y="connsiteY62"/>
                                        </a:cxn>
                                        <a:cxn ang="0">
                                          <a:pos x="connsiteX63" y="connsiteY63"/>
                                        </a:cxn>
                                        <a:cxn ang="0">
                                          <a:pos x="connsiteX64" y="connsiteY64"/>
                                        </a:cxn>
                                        <a:cxn ang="0">
                                          <a:pos x="connsiteX65" y="connsiteY65"/>
                                        </a:cxn>
                                        <a:cxn ang="0">
                                          <a:pos x="connsiteX66" y="connsiteY66"/>
                                        </a:cxn>
                                        <a:cxn ang="0">
                                          <a:pos x="connsiteX67" y="connsiteY67"/>
                                        </a:cxn>
                                        <a:cxn ang="0">
                                          <a:pos x="connsiteX68" y="connsiteY68"/>
                                        </a:cxn>
                                        <a:cxn ang="0">
                                          <a:pos x="connsiteX69" y="connsiteY69"/>
                                        </a:cxn>
                                        <a:cxn ang="0">
                                          <a:pos x="connsiteX70" y="connsiteY70"/>
                                        </a:cxn>
                                        <a:cxn ang="0">
                                          <a:pos x="connsiteX71" y="connsiteY71"/>
                                        </a:cxn>
                                        <a:cxn ang="0">
                                          <a:pos x="connsiteX72" y="connsiteY72"/>
                                        </a:cxn>
                                        <a:cxn ang="0">
                                          <a:pos x="connsiteX73" y="connsiteY73"/>
                                        </a:cxn>
                                        <a:cxn ang="0">
                                          <a:pos x="connsiteX74" y="connsiteY74"/>
                                        </a:cxn>
                                        <a:cxn ang="0">
                                          <a:pos x="connsiteX75" y="connsiteY75"/>
                                        </a:cxn>
                                        <a:cxn ang="0">
                                          <a:pos x="connsiteX76" y="connsiteY76"/>
                                        </a:cxn>
                                        <a:cxn ang="0">
                                          <a:pos x="connsiteX77" y="connsiteY77"/>
                                        </a:cxn>
                                        <a:cxn ang="0">
                                          <a:pos x="connsiteX78" y="connsiteY78"/>
                                        </a:cxn>
                                        <a:cxn ang="0">
                                          <a:pos x="connsiteX79" y="connsiteY79"/>
                                        </a:cxn>
                                        <a:cxn ang="0">
                                          <a:pos x="connsiteX80" y="connsiteY80"/>
                                        </a:cxn>
                                        <a:cxn ang="0">
                                          <a:pos x="connsiteX81" y="connsiteY81"/>
                                        </a:cxn>
                                        <a:cxn ang="0">
                                          <a:pos x="connsiteX82" y="connsiteY82"/>
                                        </a:cxn>
                                        <a:cxn ang="0">
                                          <a:pos x="connsiteX83" y="connsiteY83"/>
                                        </a:cxn>
                                      </a:cxnLst>
                                      <a:rect l="l" t="t" r="r" b="b"/>
                                      <a:pathLst>
                                        <a:path w="411588" h="417754">
                                          <a:moveTo>
                                            <a:pt x="315053" y="284167"/>
                                          </a:moveTo>
                                          <a:cubicBezTo>
                                            <a:pt x="319264" y="282223"/>
                                            <a:pt x="323993" y="281964"/>
                                            <a:pt x="328593" y="281575"/>
                                          </a:cubicBezTo>
                                          <a:cubicBezTo>
                                            <a:pt x="342198" y="280474"/>
                                            <a:pt x="355739" y="278530"/>
                                            <a:pt x="369020" y="275680"/>
                                          </a:cubicBezTo>
                                          <a:cubicBezTo>
                                            <a:pt x="379580" y="273412"/>
                                            <a:pt x="391176" y="269784"/>
                                            <a:pt x="396165" y="260196"/>
                                          </a:cubicBezTo>
                                          <a:cubicBezTo>
                                            <a:pt x="398043" y="256568"/>
                                            <a:pt x="398821" y="252357"/>
                                            <a:pt x="400765" y="248794"/>
                                          </a:cubicBezTo>
                                          <a:cubicBezTo>
                                            <a:pt x="402773" y="245231"/>
                                            <a:pt x="406855" y="242121"/>
                                            <a:pt x="410806" y="243287"/>
                                          </a:cubicBezTo>
                                          <a:cubicBezTo>
                                            <a:pt x="411065" y="227220"/>
                                            <a:pt x="411325" y="211218"/>
                                            <a:pt x="411584" y="195151"/>
                                          </a:cubicBezTo>
                                          <a:cubicBezTo>
                                            <a:pt x="411714" y="187118"/>
                                            <a:pt x="409317" y="176299"/>
                                            <a:pt x="401283" y="176299"/>
                                          </a:cubicBezTo>
                                          <a:cubicBezTo>
                                            <a:pt x="398173" y="176299"/>
                                            <a:pt x="394221" y="177853"/>
                                            <a:pt x="392472" y="175327"/>
                                          </a:cubicBezTo>
                                          <a:cubicBezTo>
                                            <a:pt x="391371" y="173707"/>
                                            <a:pt x="392018" y="171245"/>
                                            <a:pt x="390787" y="169755"/>
                                          </a:cubicBezTo>
                                          <a:cubicBezTo>
                                            <a:pt x="389621" y="168265"/>
                                            <a:pt x="387354" y="168395"/>
                                            <a:pt x="385540" y="167877"/>
                                          </a:cubicBezTo>
                                          <a:cubicBezTo>
                                            <a:pt x="377183" y="165609"/>
                                            <a:pt x="378284" y="151745"/>
                                            <a:pt x="370639" y="147663"/>
                                          </a:cubicBezTo>
                                          <a:cubicBezTo>
                                            <a:pt x="368307" y="146432"/>
                                            <a:pt x="365651" y="146368"/>
                                            <a:pt x="363059" y="145914"/>
                                          </a:cubicBezTo>
                                          <a:cubicBezTo>
                                            <a:pt x="352693" y="144165"/>
                                            <a:pt x="343689" y="135872"/>
                                            <a:pt x="341162" y="125636"/>
                                          </a:cubicBezTo>
                                          <a:cubicBezTo>
                                            <a:pt x="337987" y="122980"/>
                                            <a:pt x="334748" y="120259"/>
                                            <a:pt x="331574" y="117603"/>
                                          </a:cubicBezTo>
                                          <a:cubicBezTo>
                                            <a:pt x="321856" y="109440"/>
                                            <a:pt x="312202" y="101342"/>
                                            <a:pt x="302485" y="93178"/>
                                          </a:cubicBezTo>
                                          <a:cubicBezTo>
                                            <a:pt x="291471" y="83914"/>
                                            <a:pt x="280522" y="74715"/>
                                            <a:pt x="269509" y="65450"/>
                                          </a:cubicBezTo>
                                          <a:cubicBezTo>
                                            <a:pt x="265362" y="61952"/>
                                            <a:pt x="261216" y="58453"/>
                                            <a:pt x="256552" y="55603"/>
                                          </a:cubicBezTo>
                                          <a:cubicBezTo>
                                            <a:pt x="253507" y="53724"/>
                                            <a:pt x="250202" y="52104"/>
                                            <a:pt x="247093" y="50355"/>
                                          </a:cubicBezTo>
                                          <a:cubicBezTo>
                                            <a:pt x="242882" y="47893"/>
                                            <a:pt x="238865" y="45108"/>
                                            <a:pt x="234848" y="42257"/>
                                          </a:cubicBezTo>
                                          <a:cubicBezTo>
                                            <a:pt x="219429" y="31373"/>
                                            <a:pt x="204011" y="20424"/>
                                            <a:pt x="188656" y="9540"/>
                                          </a:cubicBezTo>
                                          <a:cubicBezTo>
                                            <a:pt x="182242" y="5005"/>
                                            <a:pt x="175375" y="276"/>
                                            <a:pt x="167536" y="17"/>
                                          </a:cubicBezTo>
                                          <a:cubicBezTo>
                                            <a:pt x="164491" y="-113"/>
                                            <a:pt x="161381" y="535"/>
                                            <a:pt x="158401" y="1118"/>
                                          </a:cubicBezTo>
                                          <a:cubicBezTo>
                                            <a:pt x="151080" y="2543"/>
                                            <a:pt x="143695" y="3969"/>
                                            <a:pt x="136374" y="5459"/>
                                          </a:cubicBezTo>
                                          <a:cubicBezTo>
                                            <a:pt x="140974" y="38758"/>
                                            <a:pt x="145574" y="72123"/>
                                            <a:pt x="150174" y="105423"/>
                                          </a:cubicBezTo>
                                          <a:cubicBezTo>
                                            <a:pt x="154579" y="137362"/>
                                            <a:pt x="158984" y="169496"/>
                                            <a:pt x="157753" y="201695"/>
                                          </a:cubicBezTo>
                                          <a:cubicBezTo>
                                            <a:pt x="157235" y="214976"/>
                                            <a:pt x="156004" y="229293"/>
                                            <a:pt x="163001" y="240566"/>
                                          </a:cubicBezTo>
                                          <a:cubicBezTo>
                                            <a:pt x="166435" y="246073"/>
                                            <a:pt x="171682" y="250543"/>
                                            <a:pt x="173950" y="256633"/>
                                          </a:cubicBezTo>
                                          <a:cubicBezTo>
                                            <a:pt x="171293" y="254689"/>
                                            <a:pt x="167212" y="256439"/>
                                            <a:pt x="165592" y="259354"/>
                                          </a:cubicBezTo>
                                          <a:cubicBezTo>
                                            <a:pt x="163973" y="262269"/>
                                            <a:pt x="164102" y="265768"/>
                                            <a:pt x="164232" y="269072"/>
                                          </a:cubicBezTo>
                                          <a:cubicBezTo>
                                            <a:pt x="160539" y="269525"/>
                                            <a:pt x="156782" y="269266"/>
                                            <a:pt x="153218" y="268230"/>
                                          </a:cubicBezTo>
                                          <a:lnTo>
                                            <a:pt x="52217" y="267776"/>
                                          </a:lnTo>
                                          <a:cubicBezTo>
                                            <a:pt x="48136" y="268165"/>
                                            <a:pt x="44249" y="270497"/>
                                            <a:pt x="42046" y="273995"/>
                                          </a:cubicBezTo>
                                          <a:cubicBezTo>
                                            <a:pt x="41528" y="274838"/>
                                            <a:pt x="41074" y="275745"/>
                                            <a:pt x="40362" y="276393"/>
                                          </a:cubicBezTo>
                                          <a:cubicBezTo>
                                            <a:pt x="36345" y="279956"/>
                                            <a:pt x="28895" y="272894"/>
                                            <a:pt x="25072" y="276652"/>
                                          </a:cubicBezTo>
                                          <a:cubicBezTo>
                                            <a:pt x="23452" y="278207"/>
                                            <a:pt x="23582" y="280928"/>
                                            <a:pt x="22222" y="282677"/>
                                          </a:cubicBezTo>
                                          <a:cubicBezTo>
                                            <a:pt x="18853" y="287017"/>
                                            <a:pt x="10949" y="282094"/>
                                            <a:pt x="6608" y="285463"/>
                                          </a:cubicBezTo>
                                          <a:cubicBezTo>
                                            <a:pt x="5766" y="286111"/>
                                            <a:pt x="5183" y="287017"/>
                                            <a:pt x="4600" y="287860"/>
                                          </a:cubicBezTo>
                                          <a:lnTo>
                                            <a:pt x="0" y="294856"/>
                                          </a:lnTo>
                                          <a:cubicBezTo>
                                            <a:pt x="1490" y="300234"/>
                                            <a:pt x="-518" y="306907"/>
                                            <a:pt x="2721" y="311636"/>
                                          </a:cubicBezTo>
                                          <a:cubicBezTo>
                                            <a:pt x="4146" y="313709"/>
                                            <a:pt x="6414" y="315070"/>
                                            <a:pt x="7710" y="317208"/>
                                          </a:cubicBezTo>
                                          <a:cubicBezTo>
                                            <a:pt x="9653" y="320447"/>
                                            <a:pt x="9200" y="324982"/>
                                            <a:pt x="11986" y="327508"/>
                                          </a:cubicBezTo>
                                          <a:cubicBezTo>
                                            <a:pt x="13670" y="328999"/>
                                            <a:pt x="16067" y="329387"/>
                                            <a:pt x="18011" y="330618"/>
                                          </a:cubicBezTo>
                                          <a:cubicBezTo>
                                            <a:pt x="22027" y="333274"/>
                                            <a:pt x="22481" y="338911"/>
                                            <a:pt x="22481" y="343705"/>
                                          </a:cubicBezTo>
                                          <a:cubicBezTo>
                                            <a:pt x="22481" y="348953"/>
                                            <a:pt x="22481" y="354200"/>
                                            <a:pt x="22546" y="359448"/>
                                          </a:cubicBezTo>
                                          <a:cubicBezTo>
                                            <a:pt x="22546" y="360161"/>
                                            <a:pt x="22546" y="360873"/>
                                            <a:pt x="22546" y="361586"/>
                                          </a:cubicBezTo>
                                          <a:cubicBezTo>
                                            <a:pt x="31356" y="363270"/>
                                            <a:pt x="40491" y="362817"/>
                                            <a:pt x="49496" y="362298"/>
                                          </a:cubicBezTo>
                                          <a:cubicBezTo>
                                            <a:pt x="52477" y="362104"/>
                                            <a:pt x="55586" y="361910"/>
                                            <a:pt x="58307" y="360744"/>
                                          </a:cubicBezTo>
                                          <a:cubicBezTo>
                                            <a:pt x="63620" y="358411"/>
                                            <a:pt x="68025" y="352451"/>
                                            <a:pt x="73726" y="353488"/>
                                          </a:cubicBezTo>
                                          <a:cubicBezTo>
                                            <a:pt x="77808" y="354265"/>
                                            <a:pt x="80270" y="358347"/>
                                            <a:pt x="81630" y="362298"/>
                                          </a:cubicBezTo>
                                          <a:cubicBezTo>
                                            <a:pt x="82990" y="366186"/>
                                            <a:pt x="83833" y="370526"/>
                                            <a:pt x="86683" y="373506"/>
                                          </a:cubicBezTo>
                                          <a:cubicBezTo>
                                            <a:pt x="88692" y="375644"/>
                                            <a:pt x="91672" y="376940"/>
                                            <a:pt x="92968" y="379531"/>
                                          </a:cubicBezTo>
                                          <a:cubicBezTo>
                                            <a:pt x="94652" y="382900"/>
                                            <a:pt x="92968" y="386917"/>
                                            <a:pt x="93551" y="390675"/>
                                          </a:cubicBezTo>
                                          <a:cubicBezTo>
                                            <a:pt x="94458" y="396505"/>
                                            <a:pt x="100418" y="399874"/>
                                            <a:pt x="104111" y="404474"/>
                                          </a:cubicBezTo>
                                          <a:cubicBezTo>
                                            <a:pt x="105536" y="406288"/>
                                            <a:pt x="106637" y="408361"/>
                                            <a:pt x="107545" y="410499"/>
                                          </a:cubicBezTo>
                                          <a:cubicBezTo>
                                            <a:pt x="107804" y="410240"/>
                                            <a:pt x="107933" y="409916"/>
                                            <a:pt x="108257" y="409722"/>
                                          </a:cubicBezTo>
                                          <a:cubicBezTo>
                                            <a:pt x="111626" y="407325"/>
                                            <a:pt x="116420" y="408555"/>
                                            <a:pt x="119918" y="410758"/>
                                          </a:cubicBezTo>
                                          <a:cubicBezTo>
                                            <a:pt x="123417" y="412961"/>
                                            <a:pt x="126332" y="416135"/>
                                            <a:pt x="130155" y="417755"/>
                                          </a:cubicBezTo>
                                          <a:cubicBezTo>
                                            <a:pt x="131321" y="411341"/>
                                            <a:pt x="139160" y="409009"/>
                                            <a:pt x="145639" y="407972"/>
                                          </a:cubicBezTo>
                                          <a:cubicBezTo>
                                            <a:pt x="148100" y="407584"/>
                                            <a:pt x="150692" y="407195"/>
                                            <a:pt x="153024" y="408102"/>
                                          </a:cubicBezTo>
                                          <a:cubicBezTo>
                                            <a:pt x="153154" y="408102"/>
                                            <a:pt x="153218" y="408231"/>
                                            <a:pt x="153348" y="408296"/>
                                          </a:cubicBezTo>
                                          <a:cubicBezTo>
                                            <a:pt x="154838" y="405446"/>
                                            <a:pt x="157235" y="403113"/>
                                            <a:pt x="160280" y="402336"/>
                                          </a:cubicBezTo>
                                          <a:cubicBezTo>
                                            <a:pt x="161835" y="401947"/>
                                            <a:pt x="163584" y="401883"/>
                                            <a:pt x="164880" y="400975"/>
                                          </a:cubicBezTo>
                                          <a:cubicBezTo>
                                            <a:pt x="168573" y="398384"/>
                                            <a:pt x="165852" y="392294"/>
                                            <a:pt x="167665" y="388213"/>
                                          </a:cubicBezTo>
                                          <a:cubicBezTo>
                                            <a:pt x="169220" y="384714"/>
                                            <a:pt x="173950" y="382965"/>
                                            <a:pt x="174403" y="379143"/>
                                          </a:cubicBezTo>
                                          <a:cubicBezTo>
                                            <a:pt x="174662" y="376940"/>
                                            <a:pt x="173431" y="374608"/>
                                            <a:pt x="174403" y="372599"/>
                                          </a:cubicBezTo>
                                          <a:cubicBezTo>
                                            <a:pt x="175570" y="370137"/>
                                            <a:pt x="179068" y="370202"/>
                                            <a:pt x="181659" y="369490"/>
                                          </a:cubicBezTo>
                                          <a:cubicBezTo>
                                            <a:pt x="186907" y="368064"/>
                                            <a:pt x="189822" y="362493"/>
                                            <a:pt x="192090" y="357504"/>
                                          </a:cubicBezTo>
                                          <a:cubicBezTo>
                                            <a:pt x="193968" y="353358"/>
                                            <a:pt x="195783" y="349277"/>
                                            <a:pt x="197467" y="345065"/>
                                          </a:cubicBezTo>
                                          <a:cubicBezTo>
                                            <a:pt x="200058" y="338587"/>
                                            <a:pt x="202261" y="331914"/>
                                            <a:pt x="204011" y="325111"/>
                                          </a:cubicBezTo>
                                          <a:cubicBezTo>
                                            <a:pt x="207250" y="321419"/>
                                            <a:pt x="213728" y="321289"/>
                                            <a:pt x="217097" y="324852"/>
                                          </a:cubicBezTo>
                                          <a:cubicBezTo>
                                            <a:pt x="217939" y="325759"/>
                                            <a:pt x="218652" y="326861"/>
                                            <a:pt x="219624" y="327703"/>
                                          </a:cubicBezTo>
                                          <a:cubicBezTo>
                                            <a:pt x="222280" y="329906"/>
                                            <a:pt x="226167" y="329387"/>
                                            <a:pt x="229536" y="328804"/>
                                          </a:cubicBezTo>
                                          <a:cubicBezTo>
                                            <a:pt x="230314" y="324075"/>
                                            <a:pt x="231156" y="319281"/>
                                            <a:pt x="233423" y="315070"/>
                                          </a:cubicBezTo>
                                          <a:cubicBezTo>
                                            <a:pt x="235755" y="310858"/>
                                            <a:pt x="239837" y="307360"/>
                                            <a:pt x="244631" y="307101"/>
                                          </a:cubicBezTo>
                                          <a:cubicBezTo>
                                            <a:pt x="247805" y="306907"/>
                                            <a:pt x="251369" y="308138"/>
                                            <a:pt x="254090" y="306518"/>
                                          </a:cubicBezTo>
                                          <a:cubicBezTo>
                                            <a:pt x="257135" y="304704"/>
                                            <a:pt x="257718" y="300039"/>
                                            <a:pt x="260957" y="298549"/>
                                          </a:cubicBezTo>
                                          <a:cubicBezTo>
                                            <a:pt x="264650" y="296800"/>
                                            <a:pt x="270157" y="299910"/>
                                            <a:pt x="272554" y="296670"/>
                                          </a:cubicBezTo>
                                          <a:cubicBezTo>
                                            <a:pt x="273461" y="295439"/>
                                            <a:pt x="273461" y="293820"/>
                                            <a:pt x="273914" y="292395"/>
                                          </a:cubicBezTo>
                                          <a:cubicBezTo>
                                            <a:pt x="275469" y="287924"/>
                                            <a:pt x="281235" y="286888"/>
                                            <a:pt x="286029" y="286629"/>
                                          </a:cubicBezTo>
                                          <a:cubicBezTo>
                                            <a:pt x="289852" y="286370"/>
                                            <a:pt x="293609" y="286175"/>
                                            <a:pt x="297431" y="285916"/>
                                          </a:cubicBezTo>
                                          <a:cubicBezTo>
                                            <a:pt x="299699" y="285786"/>
                                            <a:pt x="302161" y="285657"/>
                                            <a:pt x="304169" y="286823"/>
                                          </a:cubicBezTo>
                                          <a:cubicBezTo>
                                            <a:pt x="305724" y="287730"/>
                                            <a:pt x="306631" y="289220"/>
                                            <a:pt x="307149" y="290840"/>
                                          </a:cubicBezTo>
                                          <a:cubicBezTo>
                                            <a:pt x="309222" y="288054"/>
                                            <a:pt x="311814" y="285786"/>
                                            <a:pt x="315183" y="284232"/>
                                          </a:cubicBezTo>
                                          <a:close/>
                                        </a:path>
                                      </a:pathLst>
                                    </a:custGeom>
                                    <a:solidFill>
                                      <a:srgbClr val="DDDDDD"/>
                                    </a:solidFill>
                                    <a:ln w="6472" cap="flat">
                                      <a:solidFill>
                                        <a:srgbClr val="FFFFFF"/>
                                      </a:solidFill>
                                      <a:prstDash val="solid"/>
                                      <a:miter/>
                                    </a:ln>
                                  </p:spPr>
                                  <p:txBody>
                                    <a:bodyPr rtlCol="0" anchor="ctr"/>
                                    <a:lstStyle/>
                                    <a:p>
                                      <a:endParaRPr lang="da-DK"/>
                                    </a:p>
                                  </p:txBody>
                                </p:sp>
                                <p:grpSp>
                                  <p:nvGrpSpPr>
                                    <p:cNvPr id="1536" name="Graphic 413">
                                      <a:extLst>
                                        <a:ext uri="{FF2B5EF4-FFF2-40B4-BE49-F238E27FC236}">
                                          <a16:creationId xmlns:a16="http://schemas.microsoft.com/office/drawing/2014/main" id="{04E480B3-D542-4F27-A19B-A3EE4B3D62D4}"/>
                                        </a:ext>
                                      </a:extLst>
                                    </p:cNvPr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2840632" y="1314629"/>
                                      <a:ext cx="8882290" cy="4743195"/>
                                      <a:chOff x="2840632" y="1314629"/>
                                      <a:chExt cx="8882290" cy="4743195"/>
                                    </a:xfrm>
                                  </p:grpSpPr>
                                  <p:sp>
                                    <p:nvSpPr>
                                      <p:cNvPr id="1537" name="Freeform: Shape 1536">
                                        <a:extLst>
                                          <a:ext uri="{FF2B5EF4-FFF2-40B4-BE49-F238E27FC236}">
                                            <a16:creationId xmlns:a16="http://schemas.microsoft.com/office/drawing/2014/main" id="{91A53F8C-E357-40ED-A728-0A2D91D935CF}"/>
                                          </a:ext>
                                        </a:extLst>
                                      </p:cNvPr>
                                      <p:cNvSpPr/>
                                      <p:nvPr/>
                                    </p:nvSpPr>
                                    <p:spPr>
                                      <a:xfrm>
                                        <a:off x="6751493" y="4153853"/>
                                        <a:ext cx="100871" cy="97548"/>
                                      </a:xfrm>
                                      <a:custGeom>
                                        <a:avLst/>
                                        <a:gdLst>
                                          <a:gd name="connsiteX0" fmla="*/ 55586 w 100871"/>
                                          <a:gd name="connsiteY0" fmla="*/ 32160 h 97548"/>
                                          <a:gd name="connsiteX1" fmla="*/ 53772 w 100871"/>
                                          <a:gd name="connsiteY1" fmla="*/ 28013 h 97548"/>
                                          <a:gd name="connsiteX2" fmla="*/ 47941 w 100871"/>
                                          <a:gd name="connsiteY2" fmla="*/ 29050 h 97548"/>
                                          <a:gd name="connsiteX3" fmla="*/ 41333 w 100871"/>
                                          <a:gd name="connsiteY3" fmla="*/ 21859 h 97548"/>
                                          <a:gd name="connsiteX4" fmla="*/ 41981 w 100871"/>
                                          <a:gd name="connsiteY4" fmla="*/ 10780 h 97548"/>
                                          <a:gd name="connsiteX5" fmla="*/ 31874 w 100871"/>
                                          <a:gd name="connsiteY5" fmla="*/ 350 h 97548"/>
                                          <a:gd name="connsiteX6" fmla="*/ 23647 w 100871"/>
                                          <a:gd name="connsiteY6" fmla="*/ 2229 h 97548"/>
                                          <a:gd name="connsiteX7" fmla="*/ 19630 w 100871"/>
                                          <a:gd name="connsiteY7" fmla="*/ 12983 h 97548"/>
                                          <a:gd name="connsiteX8" fmla="*/ 17427 w 100871"/>
                                          <a:gd name="connsiteY8" fmla="*/ 14538 h 97548"/>
                                          <a:gd name="connsiteX9" fmla="*/ 12633 w 100871"/>
                                          <a:gd name="connsiteY9" fmla="*/ 25098 h 97548"/>
                                          <a:gd name="connsiteX10" fmla="*/ 4794 w 100871"/>
                                          <a:gd name="connsiteY10" fmla="*/ 27625 h 97548"/>
                                          <a:gd name="connsiteX11" fmla="*/ 3239 w 100871"/>
                                          <a:gd name="connsiteY11" fmla="*/ 30087 h 97548"/>
                                          <a:gd name="connsiteX12" fmla="*/ 0 w 100871"/>
                                          <a:gd name="connsiteY12" fmla="*/ 46218 h 97548"/>
                                          <a:gd name="connsiteX13" fmla="*/ 79103 w 100871"/>
                                          <a:gd name="connsiteY13" fmla="*/ 93123 h 97548"/>
                                          <a:gd name="connsiteX14" fmla="*/ 93745 w 100871"/>
                                          <a:gd name="connsiteY14" fmla="*/ 97528 h 97548"/>
                                          <a:gd name="connsiteX15" fmla="*/ 100871 w 100871"/>
                                          <a:gd name="connsiteY15" fmla="*/ 95585 h 97548"/>
                                          <a:gd name="connsiteX16" fmla="*/ 99576 w 100871"/>
                                          <a:gd name="connsiteY16" fmla="*/ 92410 h 97548"/>
                                          <a:gd name="connsiteX17" fmla="*/ 95753 w 100871"/>
                                          <a:gd name="connsiteY17" fmla="*/ 87551 h 97548"/>
                                          <a:gd name="connsiteX18" fmla="*/ 95300 w 100871"/>
                                          <a:gd name="connsiteY18" fmla="*/ 79583 h 97548"/>
                                          <a:gd name="connsiteX19" fmla="*/ 87849 w 100871"/>
                                          <a:gd name="connsiteY19" fmla="*/ 70837 h 97548"/>
                                          <a:gd name="connsiteX20" fmla="*/ 77354 w 100871"/>
                                          <a:gd name="connsiteY20" fmla="*/ 65265 h 97548"/>
                                          <a:gd name="connsiteX21" fmla="*/ 71199 w 100871"/>
                                          <a:gd name="connsiteY21" fmla="*/ 52049 h 97548"/>
                                          <a:gd name="connsiteX22" fmla="*/ 71329 w 100871"/>
                                          <a:gd name="connsiteY22" fmla="*/ 45505 h 97548"/>
                                          <a:gd name="connsiteX23" fmla="*/ 66341 w 100871"/>
                                          <a:gd name="connsiteY23" fmla="*/ 34945 h 97548"/>
                                          <a:gd name="connsiteX24" fmla="*/ 63555 w 100871"/>
                                          <a:gd name="connsiteY24" fmla="*/ 34751 h 97548"/>
                                          <a:gd name="connsiteX25" fmla="*/ 55716 w 100871"/>
                                          <a:gd name="connsiteY25" fmla="*/ 32289 h 97548"/>
                                        </a:gdLst>
                                        <a:ahLst/>
                                        <a:cxnLst>
                                          <a:cxn ang="0">
                                            <a:pos x="connsiteX0" y="connsiteY0"/>
                                          </a:cxn>
                                          <a:cxn ang="0">
                                            <a:pos x="connsiteX1" y="connsiteY1"/>
                                          </a:cxn>
                                          <a:cxn ang="0">
                                            <a:pos x="connsiteX2" y="connsiteY2"/>
                                          </a:cxn>
                                          <a:cxn ang="0">
                                            <a:pos x="connsiteX3" y="connsiteY3"/>
                                          </a:cxn>
                                          <a:cxn ang="0">
                                            <a:pos x="connsiteX4" y="connsiteY4"/>
                                          </a:cxn>
                                          <a:cxn ang="0">
                                            <a:pos x="connsiteX5" y="connsiteY5"/>
                                          </a:cxn>
                                          <a:cxn ang="0">
                                            <a:pos x="connsiteX6" y="connsiteY6"/>
                                          </a:cxn>
                                          <a:cxn ang="0">
                                            <a:pos x="connsiteX7" y="connsiteY7"/>
                                          </a:cxn>
                                          <a:cxn ang="0">
                                            <a:pos x="connsiteX8" y="connsiteY8"/>
                                          </a:cxn>
                                          <a:cxn ang="0">
                                            <a:pos x="connsiteX9" y="connsiteY9"/>
                                          </a:cxn>
                                          <a:cxn ang="0">
                                            <a:pos x="connsiteX10" y="connsiteY10"/>
                                          </a:cxn>
                                          <a:cxn ang="0">
                                            <a:pos x="connsiteX11" y="connsiteY11"/>
                                          </a:cxn>
                                          <a:cxn ang="0">
                                            <a:pos x="connsiteX12" y="connsiteY12"/>
                                          </a:cxn>
                                          <a:cxn ang="0">
                                            <a:pos x="connsiteX13" y="connsiteY13"/>
                                          </a:cxn>
                                          <a:cxn ang="0">
                                            <a:pos x="connsiteX14" y="connsiteY14"/>
                                          </a:cxn>
                                          <a:cxn ang="0">
                                            <a:pos x="connsiteX15" y="connsiteY15"/>
                                          </a:cxn>
                                          <a:cxn ang="0">
                                            <a:pos x="connsiteX16" y="connsiteY16"/>
                                          </a:cxn>
                                          <a:cxn ang="0">
                                            <a:pos x="connsiteX17" y="connsiteY17"/>
                                          </a:cxn>
                                          <a:cxn ang="0">
                                            <a:pos x="connsiteX18" y="connsiteY18"/>
                                          </a:cxn>
                                          <a:cxn ang="0">
                                            <a:pos x="connsiteX19" y="connsiteY19"/>
                                          </a:cxn>
                                          <a:cxn ang="0">
                                            <a:pos x="connsiteX20" y="connsiteY20"/>
                                          </a:cxn>
                                          <a:cxn ang="0">
                                            <a:pos x="connsiteX21" y="connsiteY21"/>
                                          </a:cxn>
                                          <a:cxn ang="0">
                                            <a:pos x="connsiteX22" y="connsiteY22"/>
                                          </a:cxn>
                                          <a:cxn ang="0">
                                            <a:pos x="connsiteX23" y="connsiteY23"/>
                                          </a:cxn>
                                          <a:cxn ang="0">
                                            <a:pos x="connsiteX24" y="connsiteY24"/>
                                          </a:cxn>
                                          <a:cxn ang="0">
                                            <a:pos x="connsiteX25" y="connsiteY25"/>
                                          </a:cxn>
                                        </a:cxnLst>
                                        <a:rect l="l" t="t" r="r" b="b"/>
                                        <a:pathLst>
                                          <a:path w="100871" h="97548">
                                            <a:moveTo>
                                              <a:pt x="55586" y="32160"/>
                                            </a:moveTo>
                                            <a:cubicBezTo>
                                              <a:pt x="54873" y="30799"/>
                                              <a:pt x="55068" y="28920"/>
                                              <a:pt x="53772" y="28013"/>
                                            </a:cubicBezTo>
                                            <a:cubicBezTo>
                                              <a:pt x="52088" y="26847"/>
                                              <a:pt x="49950" y="28661"/>
                                              <a:pt x="47941" y="29050"/>
                                            </a:cubicBezTo>
                                            <a:cubicBezTo>
                                              <a:pt x="44313" y="29762"/>
                                              <a:pt x="41463" y="25551"/>
                                              <a:pt x="41333" y="21859"/>
                                            </a:cubicBezTo>
                                            <a:cubicBezTo>
                                              <a:pt x="41204" y="18166"/>
                                              <a:pt x="42564" y="14408"/>
                                              <a:pt x="41981" y="10780"/>
                                            </a:cubicBezTo>
                                            <a:cubicBezTo>
                                              <a:pt x="41268" y="5727"/>
                                              <a:pt x="36863" y="1646"/>
                                              <a:pt x="31874" y="350"/>
                                            </a:cubicBezTo>
                                            <a:cubicBezTo>
                                              <a:pt x="28959" y="-363"/>
                                              <a:pt x="25461" y="-104"/>
                                              <a:pt x="23647" y="2229"/>
                                            </a:cubicBezTo>
                                            <a:cubicBezTo>
                                              <a:pt x="21250" y="5273"/>
                                              <a:pt x="22545" y="10456"/>
                                              <a:pt x="19630" y="12983"/>
                                            </a:cubicBezTo>
                                            <a:cubicBezTo>
                                              <a:pt x="18917" y="13566"/>
                                              <a:pt x="18075" y="13955"/>
                                              <a:pt x="17427" y="14538"/>
                                            </a:cubicBezTo>
                                            <a:cubicBezTo>
                                              <a:pt x="14447" y="17129"/>
                                              <a:pt x="15808" y="22766"/>
                                              <a:pt x="12633" y="25098"/>
                                            </a:cubicBezTo>
                                            <a:cubicBezTo>
                                              <a:pt x="10366" y="26718"/>
                                              <a:pt x="6867" y="25811"/>
                                              <a:pt x="4794" y="27625"/>
                                            </a:cubicBezTo>
                                            <a:cubicBezTo>
                                              <a:pt x="4082" y="28273"/>
                                              <a:pt x="3628" y="29179"/>
                                              <a:pt x="3239" y="30087"/>
                                            </a:cubicBezTo>
                                            <a:cubicBezTo>
                                              <a:pt x="1101" y="35140"/>
                                              <a:pt x="648" y="40711"/>
                                              <a:pt x="0" y="46218"/>
                                            </a:cubicBezTo>
                                            <a:cubicBezTo>
                                              <a:pt x="23711" y="65135"/>
                                              <a:pt x="51829" y="79453"/>
                                              <a:pt x="79103" y="93123"/>
                                            </a:cubicBezTo>
                                            <a:cubicBezTo>
                                              <a:pt x="83703" y="95455"/>
                                              <a:pt x="88562" y="97787"/>
                                              <a:pt x="93745" y="97528"/>
                                            </a:cubicBezTo>
                                            <a:cubicBezTo>
                                              <a:pt x="96271" y="97399"/>
                                              <a:pt x="98604" y="96621"/>
                                              <a:pt x="100871" y="95585"/>
                                            </a:cubicBezTo>
                                            <a:cubicBezTo>
                                              <a:pt x="100677" y="94483"/>
                                              <a:pt x="100223" y="93382"/>
                                              <a:pt x="99576" y="92410"/>
                                            </a:cubicBezTo>
                                            <a:cubicBezTo>
                                              <a:pt x="98345" y="90726"/>
                                              <a:pt x="96530" y="89430"/>
                                              <a:pt x="95753" y="87551"/>
                                            </a:cubicBezTo>
                                            <a:cubicBezTo>
                                              <a:pt x="94717" y="85090"/>
                                              <a:pt x="95688" y="82239"/>
                                              <a:pt x="95300" y="79583"/>
                                            </a:cubicBezTo>
                                            <a:cubicBezTo>
                                              <a:pt x="94717" y="75631"/>
                                              <a:pt x="91348" y="72715"/>
                                              <a:pt x="87849" y="70837"/>
                                            </a:cubicBezTo>
                                            <a:cubicBezTo>
                                              <a:pt x="84351" y="68958"/>
                                              <a:pt x="80464" y="67727"/>
                                              <a:pt x="77354" y="65265"/>
                                            </a:cubicBezTo>
                                            <a:cubicBezTo>
                                              <a:pt x="73402" y="62155"/>
                                              <a:pt x="71070" y="57102"/>
                                              <a:pt x="71199" y="52049"/>
                                            </a:cubicBezTo>
                                            <a:cubicBezTo>
                                              <a:pt x="71199" y="49846"/>
                                              <a:pt x="71783" y="47643"/>
                                              <a:pt x="71329" y="45505"/>
                                            </a:cubicBezTo>
                                            <a:cubicBezTo>
                                              <a:pt x="70487" y="41683"/>
                                              <a:pt x="66794" y="38638"/>
                                              <a:pt x="66341" y="34945"/>
                                            </a:cubicBezTo>
                                            <a:cubicBezTo>
                                              <a:pt x="65433" y="34945"/>
                                              <a:pt x="64462" y="34751"/>
                                              <a:pt x="63555" y="34751"/>
                                            </a:cubicBezTo>
                                            <a:cubicBezTo>
                                              <a:pt x="60639" y="34751"/>
                                              <a:pt x="57011" y="34881"/>
                                              <a:pt x="55716" y="32289"/>
                                            </a:cubicBezTo>
                                            <a:close/>
                                          </a:path>
                                        </a:pathLst>
                                      </a:custGeom>
                                      <a:solidFill>
                                        <a:srgbClr val="DDDDDD"/>
                                      </a:solidFill>
                                      <a:ln w="6472" cap="flat">
                                        <a:solidFill>
                                          <a:srgbClr val="FFFFFF"/>
                                        </a:solidFill>
                                        <a:prstDash val="solid"/>
                                        <a:miter/>
                                      </a:ln>
                                    </p:spPr>
                                    <p:txBody>
                                      <a:bodyPr rtlCol="0" anchor="ctr"/>
                                      <a:lstStyle/>
                                      <a:p>
                                        <a:endParaRPr lang="da-DK"/>
                                      </a:p>
                                    </p:txBody>
                                  </p:sp>
                                  <p:sp>
                                    <p:nvSpPr>
                                      <p:cNvPr id="1538" name="Freeform: Shape 1537">
                                        <a:extLst>
                                          <a:ext uri="{FF2B5EF4-FFF2-40B4-BE49-F238E27FC236}">
                                            <a16:creationId xmlns:a16="http://schemas.microsoft.com/office/drawing/2014/main" id="{DAC7FD0A-DBE8-4805-B8DA-C52A8A2ED2B7}"/>
                                          </a:ext>
                                        </a:extLst>
                                      </p:cNvPr>
                                      <p:cNvSpPr/>
                                      <p:nvPr/>
                                    </p:nvSpPr>
                                    <p:spPr>
                                      <a:xfrm>
                                        <a:off x="6614822" y="4006945"/>
                                        <a:ext cx="77225" cy="20561"/>
                                      </a:xfrm>
                                      <a:custGeom>
                                        <a:avLst/>
                                        <a:gdLst>
                                          <a:gd name="connsiteX0" fmla="*/ 10533 w 77225"/>
                                          <a:gd name="connsiteY0" fmla="*/ 18982 h 20561"/>
                                          <a:gd name="connsiteX1" fmla="*/ 18826 w 77225"/>
                                          <a:gd name="connsiteY1" fmla="*/ 16002 h 20561"/>
                                          <a:gd name="connsiteX2" fmla="*/ 30228 w 77225"/>
                                          <a:gd name="connsiteY2" fmla="*/ 19241 h 20561"/>
                                          <a:gd name="connsiteX3" fmla="*/ 38650 w 77225"/>
                                          <a:gd name="connsiteY3" fmla="*/ 13864 h 20561"/>
                                          <a:gd name="connsiteX4" fmla="*/ 58086 w 77225"/>
                                          <a:gd name="connsiteY4" fmla="*/ 17298 h 20561"/>
                                          <a:gd name="connsiteX5" fmla="*/ 69618 w 77225"/>
                                          <a:gd name="connsiteY5" fmla="*/ 20537 h 20561"/>
                                          <a:gd name="connsiteX6" fmla="*/ 77133 w 77225"/>
                                          <a:gd name="connsiteY6" fmla="*/ 13022 h 20561"/>
                                          <a:gd name="connsiteX7" fmla="*/ 67415 w 77225"/>
                                          <a:gd name="connsiteY7" fmla="*/ 6802 h 20561"/>
                                          <a:gd name="connsiteX8" fmla="*/ 2565 w 77225"/>
                                          <a:gd name="connsiteY8" fmla="*/ 0 h 20561"/>
                                          <a:gd name="connsiteX9" fmla="*/ 38 w 77225"/>
                                          <a:gd name="connsiteY9" fmla="*/ 20472 h 20561"/>
                                          <a:gd name="connsiteX10" fmla="*/ 10533 w 77225"/>
                                          <a:gd name="connsiteY10" fmla="*/ 19047 h 20561"/>
                                        </a:gdLst>
                                        <a:ahLst/>
                                        <a:cxnLst>
                                          <a:cxn ang="0">
                                            <a:pos x="connsiteX0" y="connsiteY0"/>
                                          </a:cxn>
                                          <a:cxn ang="0">
                                            <a:pos x="connsiteX1" y="connsiteY1"/>
                                          </a:cxn>
                                          <a:cxn ang="0">
                                            <a:pos x="connsiteX2" y="connsiteY2"/>
                                          </a:cxn>
                                          <a:cxn ang="0">
                                            <a:pos x="connsiteX3" y="connsiteY3"/>
                                          </a:cxn>
                                          <a:cxn ang="0">
                                            <a:pos x="connsiteX4" y="connsiteY4"/>
                                          </a:cxn>
                                          <a:cxn ang="0">
                                            <a:pos x="connsiteX5" y="connsiteY5"/>
                                          </a:cxn>
                                          <a:cxn ang="0">
                                            <a:pos x="connsiteX6" y="connsiteY6"/>
                                          </a:cxn>
                                          <a:cxn ang="0">
                                            <a:pos x="connsiteX7" y="connsiteY7"/>
                                          </a:cxn>
                                          <a:cxn ang="0">
                                            <a:pos x="connsiteX8" y="connsiteY8"/>
                                          </a:cxn>
                                          <a:cxn ang="0">
                                            <a:pos x="connsiteX9" y="connsiteY9"/>
                                          </a:cxn>
                                          <a:cxn ang="0">
                                            <a:pos x="connsiteX10" y="connsiteY10"/>
                                          </a:cxn>
                                        </a:cxnLst>
                                        <a:rect l="l" t="t" r="r" b="b"/>
                                        <a:pathLst>
                                          <a:path w="77225" h="20561">
                                            <a:moveTo>
                                              <a:pt x="10533" y="18982"/>
                                            </a:moveTo>
                                            <a:cubicBezTo>
                                              <a:pt x="13254" y="17881"/>
                                              <a:pt x="15911" y="16132"/>
                                              <a:pt x="18826" y="16002"/>
                                            </a:cubicBezTo>
                                            <a:cubicBezTo>
                                              <a:pt x="22778" y="15743"/>
                                              <a:pt x="26341" y="18334"/>
                                              <a:pt x="30228" y="19241"/>
                                            </a:cubicBezTo>
                                            <a:cubicBezTo>
                                              <a:pt x="34115" y="20148"/>
                                              <a:pt x="39493" y="17751"/>
                                              <a:pt x="38650" y="13864"/>
                                            </a:cubicBezTo>
                                            <a:cubicBezTo>
                                              <a:pt x="45259" y="13735"/>
                                              <a:pt x="51931" y="14836"/>
                                              <a:pt x="58086" y="17298"/>
                                            </a:cubicBezTo>
                                            <a:cubicBezTo>
                                              <a:pt x="61844" y="18723"/>
                                              <a:pt x="65601" y="20667"/>
                                              <a:pt x="69618" y="20537"/>
                                            </a:cubicBezTo>
                                            <a:cubicBezTo>
                                              <a:pt x="73634" y="20343"/>
                                              <a:pt x="77911" y="16974"/>
                                              <a:pt x="77133" y="13022"/>
                                            </a:cubicBezTo>
                                            <a:cubicBezTo>
                                              <a:pt x="76356" y="9005"/>
                                              <a:pt x="71497" y="7450"/>
                                              <a:pt x="67415" y="6802"/>
                                            </a:cubicBezTo>
                                            <a:cubicBezTo>
                                              <a:pt x="45971" y="3239"/>
                                              <a:pt x="24268" y="1037"/>
                                              <a:pt x="2565" y="0"/>
                                            </a:cubicBezTo>
                                            <a:cubicBezTo>
                                              <a:pt x="2370" y="6802"/>
                                              <a:pt x="-351" y="14253"/>
                                              <a:pt x="38" y="20472"/>
                                            </a:cubicBezTo>
                                            <a:cubicBezTo>
                                              <a:pt x="3601" y="20731"/>
                                              <a:pt x="7165" y="20472"/>
                                              <a:pt x="10533" y="19047"/>
                                            </a:cubicBezTo>
                                            <a:close/>
                                          </a:path>
                                        </a:pathLst>
                                      </a:custGeom>
                                      <a:solidFill>
                                        <a:srgbClr val="DDDDDD"/>
                                      </a:solidFill>
                                      <a:ln w="6472" cap="flat">
                                        <a:solidFill>
                                          <a:srgbClr val="FFFFFF"/>
                                        </a:solidFill>
                                        <a:prstDash val="solid"/>
                                        <a:miter/>
                                      </a:ln>
                                    </p:spPr>
                                    <p:txBody>
                                      <a:bodyPr rtlCol="0" anchor="ctr"/>
                                      <a:lstStyle/>
                                      <a:p>
                                        <a:endParaRPr lang="da-DK"/>
                                      </a:p>
                                    </p:txBody>
                                  </p:sp>
                                  <p:grpSp>
                                    <p:nvGrpSpPr>
                                      <p:cNvPr id="1539" name="Graphic 413">
                                        <a:extLst>
                                          <a:ext uri="{FF2B5EF4-FFF2-40B4-BE49-F238E27FC236}">
                                            <a16:creationId xmlns:a16="http://schemas.microsoft.com/office/drawing/2014/main" id="{CCD65496-2A5C-408B-8655-B8EC4EAF4A08}"/>
                                          </a:ext>
                                        </a:extLst>
                                      </p:cNvPr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2840632" y="1314629"/>
                                        <a:ext cx="8882290" cy="4743195"/>
                                        <a:chOff x="2840632" y="1314629"/>
                                        <a:chExt cx="8882290" cy="4743195"/>
                                      </a:xfrm>
                                    </p:grpSpPr>
                                    <p:sp>
                                      <p:nvSpPr>
                                        <p:cNvPr id="1540" name="Freeform: Shape 1539">
                                          <a:extLst>
                                            <a:ext uri="{FF2B5EF4-FFF2-40B4-BE49-F238E27FC236}">
                                              <a16:creationId xmlns:a16="http://schemas.microsoft.com/office/drawing/2014/main" id="{27303674-05C0-4E58-815C-11E247634534}"/>
                                            </a:ext>
                                          </a:extLst>
                                        </p:cNvPr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9193526" y="2836721"/>
                                          <a:ext cx="782604" cy="365408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695410 w 782604"/>
                                            <a:gd name="connsiteY0" fmla="*/ 82472 h 365408"/>
                                            <a:gd name="connsiteX1" fmla="*/ 681352 w 782604"/>
                                            <a:gd name="connsiteY1" fmla="*/ 80853 h 365408"/>
                                            <a:gd name="connsiteX2" fmla="*/ 671828 w 782604"/>
                                            <a:gd name="connsiteY2" fmla="*/ 75087 h 365408"/>
                                            <a:gd name="connsiteX3" fmla="*/ 624534 w 782604"/>
                                            <a:gd name="connsiteY3" fmla="*/ 79103 h 365408"/>
                                            <a:gd name="connsiteX4" fmla="*/ 578860 w 782604"/>
                                            <a:gd name="connsiteY4" fmla="*/ 97632 h 365408"/>
                                            <a:gd name="connsiteX5" fmla="*/ 562534 w 782604"/>
                                            <a:gd name="connsiteY5" fmla="*/ 99187 h 365408"/>
                                            <a:gd name="connsiteX6" fmla="*/ 551002 w 782604"/>
                                            <a:gd name="connsiteY6" fmla="*/ 106313 h 365408"/>
                                            <a:gd name="connsiteX7" fmla="*/ 512714 w 782604"/>
                                            <a:gd name="connsiteY7" fmla="*/ 97438 h 365408"/>
                                            <a:gd name="connsiteX8" fmla="*/ 497684 w 782604"/>
                                            <a:gd name="connsiteY8" fmla="*/ 97697 h 365408"/>
                                            <a:gd name="connsiteX9" fmla="*/ 487901 w 782604"/>
                                            <a:gd name="connsiteY9" fmla="*/ 90700 h 365408"/>
                                            <a:gd name="connsiteX10" fmla="*/ 406401 w 782604"/>
                                            <a:gd name="connsiteY10" fmla="*/ 61611 h 365408"/>
                                            <a:gd name="connsiteX11" fmla="*/ 389297 w 782604"/>
                                            <a:gd name="connsiteY11" fmla="*/ 68932 h 365408"/>
                                            <a:gd name="connsiteX12" fmla="*/ 385863 w 782604"/>
                                            <a:gd name="connsiteY12" fmla="*/ 74568 h 365408"/>
                                            <a:gd name="connsiteX13" fmla="*/ 368371 w 782604"/>
                                            <a:gd name="connsiteY13" fmla="*/ 73402 h 365408"/>
                                            <a:gd name="connsiteX14" fmla="*/ 351398 w 782604"/>
                                            <a:gd name="connsiteY14" fmla="*/ 65563 h 365408"/>
                                            <a:gd name="connsiteX15" fmla="*/ 341680 w 782604"/>
                                            <a:gd name="connsiteY15" fmla="*/ 57141 h 365408"/>
                                            <a:gd name="connsiteX16" fmla="*/ 337339 w 782604"/>
                                            <a:gd name="connsiteY16" fmla="*/ 26821 h 365408"/>
                                            <a:gd name="connsiteX17" fmla="*/ 259596 w 782604"/>
                                            <a:gd name="connsiteY17" fmla="*/ 0 h 365408"/>
                                            <a:gd name="connsiteX18" fmla="*/ 226944 w 782604"/>
                                            <a:gd name="connsiteY18" fmla="*/ 43471 h 365408"/>
                                            <a:gd name="connsiteX19" fmla="*/ 227851 w 782604"/>
                                            <a:gd name="connsiteY19" fmla="*/ 51116 h 365408"/>
                                            <a:gd name="connsiteX20" fmla="*/ 235237 w 782604"/>
                                            <a:gd name="connsiteY20" fmla="*/ 57724 h 365408"/>
                                            <a:gd name="connsiteX21" fmla="*/ 222020 w 782604"/>
                                            <a:gd name="connsiteY21" fmla="*/ 83250 h 365408"/>
                                            <a:gd name="connsiteX22" fmla="*/ 186907 w 782604"/>
                                            <a:gd name="connsiteY22" fmla="*/ 81500 h 365408"/>
                                            <a:gd name="connsiteX23" fmla="*/ 175375 w 782604"/>
                                            <a:gd name="connsiteY23" fmla="*/ 81241 h 365408"/>
                                            <a:gd name="connsiteX24" fmla="*/ 152441 w 782604"/>
                                            <a:gd name="connsiteY24" fmla="*/ 73402 h 365408"/>
                                            <a:gd name="connsiteX25" fmla="*/ 146739 w 782604"/>
                                            <a:gd name="connsiteY25" fmla="*/ 53707 h 365408"/>
                                            <a:gd name="connsiteX26" fmla="*/ 93356 w 782604"/>
                                            <a:gd name="connsiteY26" fmla="*/ 53578 h 365408"/>
                                            <a:gd name="connsiteX27" fmla="*/ 68479 w 782604"/>
                                            <a:gd name="connsiteY27" fmla="*/ 67766 h 365408"/>
                                            <a:gd name="connsiteX28" fmla="*/ 57724 w 782604"/>
                                            <a:gd name="connsiteY28" fmla="*/ 67636 h 365408"/>
                                            <a:gd name="connsiteX29" fmla="*/ 56947 w 782604"/>
                                            <a:gd name="connsiteY29" fmla="*/ 73337 h 365408"/>
                                            <a:gd name="connsiteX30" fmla="*/ 47164 w 782604"/>
                                            <a:gd name="connsiteY30" fmla="*/ 84481 h 365408"/>
                                            <a:gd name="connsiteX31" fmla="*/ 842 w 782604"/>
                                            <a:gd name="connsiteY31" fmla="*/ 104953 h 365408"/>
                                            <a:gd name="connsiteX32" fmla="*/ 0 w 782604"/>
                                            <a:gd name="connsiteY32" fmla="*/ 108257 h 365408"/>
                                            <a:gd name="connsiteX33" fmla="*/ 5636 w 782604"/>
                                            <a:gd name="connsiteY33" fmla="*/ 119789 h 365408"/>
                                            <a:gd name="connsiteX34" fmla="*/ 15613 w 782604"/>
                                            <a:gd name="connsiteY34" fmla="*/ 127628 h 365408"/>
                                            <a:gd name="connsiteX35" fmla="*/ 26044 w 782604"/>
                                            <a:gd name="connsiteY35" fmla="*/ 139743 h 365408"/>
                                            <a:gd name="connsiteX36" fmla="*/ 47747 w 782604"/>
                                            <a:gd name="connsiteY36" fmla="*/ 142075 h 365408"/>
                                            <a:gd name="connsiteX37" fmla="*/ 67636 w 782604"/>
                                            <a:gd name="connsiteY37" fmla="*/ 159567 h 365408"/>
                                            <a:gd name="connsiteX38" fmla="*/ 85258 w 782604"/>
                                            <a:gd name="connsiteY38" fmla="*/ 186453 h 365408"/>
                                            <a:gd name="connsiteX39" fmla="*/ 70098 w 782604"/>
                                            <a:gd name="connsiteY39" fmla="*/ 223511 h 365408"/>
                                            <a:gd name="connsiteX40" fmla="*/ 69774 w 782604"/>
                                            <a:gd name="connsiteY40" fmla="*/ 234395 h 365408"/>
                                            <a:gd name="connsiteX41" fmla="*/ 82926 w 782604"/>
                                            <a:gd name="connsiteY41" fmla="*/ 240938 h 365408"/>
                                            <a:gd name="connsiteX42" fmla="*/ 84804 w 782604"/>
                                            <a:gd name="connsiteY42" fmla="*/ 245279 h 365408"/>
                                            <a:gd name="connsiteX43" fmla="*/ 88497 w 782604"/>
                                            <a:gd name="connsiteY43" fmla="*/ 246510 h 365408"/>
                                            <a:gd name="connsiteX44" fmla="*/ 143047 w 782604"/>
                                            <a:gd name="connsiteY44" fmla="*/ 250980 h 365408"/>
                                            <a:gd name="connsiteX45" fmla="*/ 143695 w 782604"/>
                                            <a:gd name="connsiteY45" fmla="*/ 264585 h 365408"/>
                                            <a:gd name="connsiteX46" fmla="*/ 172978 w 782604"/>
                                            <a:gd name="connsiteY46" fmla="*/ 282142 h 365408"/>
                                            <a:gd name="connsiteX47" fmla="*/ 176476 w 782604"/>
                                            <a:gd name="connsiteY47" fmla="*/ 289398 h 365408"/>
                                            <a:gd name="connsiteX48" fmla="*/ 185805 w 782604"/>
                                            <a:gd name="connsiteY48" fmla="*/ 294451 h 365408"/>
                                            <a:gd name="connsiteX49" fmla="*/ 187490 w 782604"/>
                                            <a:gd name="connsiteY49" fmla="*/ 300023 h 365408"/>
                                            <a:gd name="connsiteX50" fmla="*/ 198568 w 782604"/>
                                            <a:gd name="connsiteY50" fmla="*/ 321855 h 365408"/>
                                            <a:gd name="connsiteX51" fmla="*/ 212303 w 782604"/>
                                            <a:gd name="connsiteY51" fmla="*/ 327168 h 365408"/>
                                            <a:gd name="connsiteX52" fmla="*/ 314340 w 782604"/>
                                            <a:gd name="connsiteY52" fmla="*/ 327945 h 365408"/>
                                            <a:gd name="connsiteX53" fmla="*/ 332739 w 782604"/>
                                            <a:gd name="connsiteY53" fmla="*/ 339348 h 365408"/>
                                            <a:gd name="connsiteX54" fmla="*/ 341550 w 782604"/>
                                            <a:gd name="connsiteY54" fmla="*/ 341291 h 365408"/>
                                            <a:gd name="connsiteX55" fmla="*/ 355609 w 782604"/>
                                            <a:gd name="connsiteY55" fmla="*/ 349195 h 365408"/>
                                            <a:gd name="connsiteX56" fmla="*/ 365845 w 782604"/>
                                            <a:gd name="connsiteY56" fmla="*/ 350232 h 365408"/>
                                            <a:gd name="connsiteX57" fmla="*/ 378219 w 782604"/>
                                            <a:gd name="connsiteY57" fmla="*/ 356775 h 365408"/>
                                            <a:gd name="connsiteX58" fmla="*/ 401931 w 782604"/>
                                            <a:gd name="connsiteY58" fmla="*/ 358718 h 365408"/>
                                            <a:gd name="connsiteX59" fmla="*/ 416701 w 782604"/>
                                            <a:gd name="connsiteY59" fmla="*/ 364485 h 365408"/>
                                            <a:gd name="connsiteX60" fmla="*/ 432380 w 782604"/>
                                            <a:gd name="connsiteY60" fmla="*/ 345632 h 365408"/>
                                            <a:gd name="connsiteX61" fmla="*/ 498332 w 782604"/>
                                            <a:gd name="connsiteY61" fmla="*/ 334229 h 365408"/>
                                            <a:gd name="connsiteX62" fmla="*/ 523145 w 782604"/>
                                            <a:gd name="connsiteY62" fmla="*/ 335201 h 365408"/>
                                            <a:gd name="connsiteX63" fmla="*/ 532927 w 782604"/>
                                            <a:gd name="connsiteY63" fmla="*/ 333517 h 365408"/>
                                            <a:gd name="connsiteX64" fmla="*/ 537397 w 782604"/>
                                            <a:gd name="connsiteY64" fmla="*/ 325289 h 365408"/>
                                            <a:gd name="connsiteX65" fmla="*/ 559360 w 782604"/>
                                            <a:gd name="connsiteY65" fmla="*/ 308963 h 365408"/>
                                            <a:gd name="connsiteX66" fmla="*/ 577435 w 782604"/>
                                            <a:gd name="connsiteY66" fmla="*/ 289463 h 365408"/>
                                            <a:gd name="connsiteX67" fmla="*/ 569402 w 782604"/>
                                            <a:gd name="connsiteY67" fmla="*/ 258560 h 365408"/>
                                            <a:gd name="connsiteX68" fmla="*/ 585728 w 782604"/>
                                            <a:gd name="connsiteY68" fmla="*/ 247157 h 365408"/>
                                            <a:gd name="connsiteX69" fmla="*/ 606264 w 782604"/>
                                            <a:gd name="connsiteY69" fmla="*/ 252470 h 365408"/>
                                            <a:gd name="connsiteX70" fmla="*/ 617602 w 782604"/>
                                            <a:gd name="connsiteY70" fmla="*/ 255385 h 365408"/>
                                            <a:gd name="connsiteX71" fmla="*/ 626478 w 782604"/>
                                            <a:gd name="connsiteY71" fmla="*/ 248971 h 365408"/>
                                            <a:gd name="connsiteX72" fmla="*/ 657251 w 782604"/>
                                            <a:gd name="connsiteY72" fmla="*/ 239707 h 365408"/>
                                            <a:gd name="connsiteX73" fmla="*/ 683942 w 782604"/>
                                            <a:gd name="connsiteY73" fmla="*/ 230378 h 365408"/>
                                            <a:gd name="connsiteX74" fmla="*/ 689190 w 782604"/>
                                            <a:gd name="connsiteY74" fmla="*/ 217550 h 365408"/>
                                            <a:gd name="connsiteX75" fmla="*/ 694697 w 782604"/>
                                            <a:gd name="connsiteY75" fmla="*/ 211914 h 365408"/>
                                            <a:gd name="connsiteX76" fmla="*/ 724563 w 782604"/>
                                            <a:gd name="connsiteY76" fmla="*/ 197467 h 365408"/>
                                            <a:gd name="connsiteX77" fmla="*/ 735448 w 782604"/>
                                            <a:gd name="connsiteY77" fmla="*/ 198374 h 365408"/>
                                            <a:gd name="connsiteX78" fmla="*/ 752939 w 782604"/>
                                            <a:gd name="connsiteY78" fmla="*/ 192738 h 365408"/>
                                            <a:gd name="connsiteX79" fmla="*/ 782223 w 782604"/>
                                            <a:gd name="connsiteY79" fmla="*/ 196754 h 365408"/>
                                            <a:gd name="connsiteX80" fmla="*/ 773282 w 782604"/>
                                            <a:gd name="connsiteY80" fmla="*/ 177772 h 365408"/>
                                            <a:gd name="connsiteX81" fmla="*/ 755336 w 782604"/>
                                            <a:gd name="connsiteY81" fmla="*/ 164750 h 365408"/>
                                            <a:gd name="connsiteX82" fmla="*/ 735577 w 782604"/>
                                            <a:gd name="connsiteY82" fmla="*/ 146027 h 365408"/>
                                            <a:gd name="connsiteX83" fmla="*/ 715428 w 782604"/>
                                            <a:gd name="connsiteY83" fmla="*/ 153153 h 365408"/>
                                            <a:gd name="connsiteX84" fmla="*/ 688672 w 782604"/>
                                            <a:gd name="connsiteY84" fmla="*/ 153153 h 365408"/>
                                            <a:gd name="connsiteX85" fmla="*/ 674160 w 782604"/>
                                            <a:gd name="connsiteY85" fmla="*/ 142075 h 365408"/>
                                            <a:gd name="connsiteX86" fmla="*/ 675197 w 782604"/>
                                            <a:gd name="connsiteY86" fmla="*/ 138123 h 365408"/>
                                            <a:gd name="connsiteX87" fmla="*/ 682582 w 782604"/>
                                            <a:gd name="connsiteY87" fmla="*/ 117845 h 365408"/>
                                            <a:gd name="connsiteX88" fmla="*/ 703443 w 782604"/>
                                            <a:gd name="connsiteY88" fmla="*/ 91607 h 365408"/>
                                            <a:gd name="connsiteX89" fmla="*/ 703897 w 782604"/>
                                            <a:gd name="connsiteY89" fmla="*/ 91542 h 365408"/>
                                            <a:gd name="connsiteX90" fmla="*/ 695215 w 782604"/>
                                            <a:gd name="connsiteY90" fmla="*/ 82667 h 365408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  <a:cxn ang="0">
                                              <a:pos x="connsiteX5" y="connsiteY5"/>
                                            </a:cxn>
                                            <a:cxn ang="0">
                                              <a:pos x="connsiteX6" y="connsiteY6"/>
                                            </a:cxn>
                                            <a:cxn ang="0">
                                              <a:pos x="connsiteX7" y="connsiteY7"/>
                                            </a:cxn>
                                            <a:cxn ang="0">
                                              <a:pos x="connsiteX8" y="connsiteY8"/>
                                            </a:cxn>
                                            <a:cxn ang="0">
                                              <a:pos x="connsiteX9" y="connsiteY9"/>
                                            </a:cxn>
                                            <a:cxn ang="0">
                                              <a:pos x="connsiteX10" y="connsiteY10"/>
                                            </a:cxn>
                                            <a:cxn ang="0">
                                              <a:pos x="connsiteX11" y="connsiteY11"/>
                                            </a:cxn>
                                            <a:cxn ang="0">
                                              <a:pos x="connsiteX12" y="connsiteY12"/>
                                            </a:cxn>
                                            <a:cxn ang="0">
                                              <a:pos x="connsiteX13" y="connsiteY13"/>
                                            </a:cxn>
                                            <a:cxn ang="0">
                                              <a:pos x="connsiteX14" y="connsiteY14"/>
                                            </a:cxn>
                                            <a:cxn ang="0">
                                              <a:pos x="connsiteX15" y="connsiteY15"/>
                                            </a:cxn>
                                            <a:cxn ang="0">
                                              <a:pos x="connsiteX16" y="connsiteY16"/>
                                            </a:cxn>
                                            <a:cxn ang="0">
                                              <a:pos x="connsiteX17" y="connsiteY17"/>
                                            </a:cxn>
                                            <a:cxn ang="0">
                                              <a:pos x="connsiteX18" y="connsiteY18"/>
                                            </a:cxn>
                                            <a:cxn ang="0">
                                              <a:pos x="connsiteX19" y="connsiteY19"/>
                                            </a:cxn>
                                            <a:cxn ang="0">
                                              <a:pos x="connsiteX20" y="connsiteY20"/>
                                            </a:cxn>
                                            <a:cxn ang="0">
                                              <a:pos x="connsiteX21" y="connsiteY21"/>
                                            </a:cxn>
                                            <a:cxn ang="0">
                                              <a:pos x="connsiteX22" y="connsiteY22"/>
                                            </a:cxn>
                                            <a:cxn ang="0">
                                              <a:pos x="connsiteX23" y="connsiteY23"/>
                                            </a:cxn>
                                            <a:cxn ang="0">
                                              <a:pos x="connsiteX24" y="connsiteY24"/>
                                            </a:cxn>
                                            <a:cxn ang="0">
                                              <a:pos x="connsiteX25" y="connsiteY25"/>
                                            </a:cxn>
                                            <a:cxn ang="0">
                                              <a:pos x="connsiteX26" y="connsiteY26"/>
                                            </a:cxn>
                                            <a:cxn ang="0">
                                              <a:pos x="connsiteX27" y="connsiteY27"/>
                                            </a:cxn>
                                            <a:cxn ang="0">
                                              <a:pos x="connsiteX28" y="connsiteY28"/>
                                            </a:cxn>
                                            <a:cxn ang="0">
                                              <a:pos x="connsiteX29" y="connsiteY29"/>
                                            </a:cxn>
                                            <a:cxn ang="0">
                                              <a:pos x="connsiteX30" y="connsiteY30"/>
                                            </a:cxn>
                                            <a:cxn ang="0">
                                              <a:pos x="connsiteX31" y="connsiteY31"/>
                                            </a:cxn>
                                            <a:cxn ang="0">
                                              <a:pos x="connsiteX32" y="connsiteY32"/>
                                            </a:cxn>
                                            <a:cxn ang="0">
                                              <a:pos x="connsiteX33" y="connsiteY33"/>
                                            </a:cxn>
                                            <a:cxn ang="0">
                                              <a:pos x="connsiteX34" y="connsiteY34"/>
                                            </a:cxn>
                                            <a:cxn ang="0">
                                              <a:pos x="connsiteX35" y="connsiteY35"/>
                                            </a:cxn>
                                            <a:cxn ang="0">
                                              <a:pos x="connsiteX36" y="connsiteY36"/>
                                            </a:cxn>
                                            <a:cxn ang="0">
                                              <a:pos x="connsiteX37" y="connsiteY37"/>
                                            </a:cxn>
                                            <a:cxn ang="0">
                                              <a:pos x="connsiteX38" y="connsiteY38"/>
                                            </a:cxn>
                                            <a:cxn ang="0">
                                              <a:pos x="connsiteX39" y="connsiteY39"/>
                                            </a:cxn>
                                            <a:cxn ang="0">
                                              <a:pos x="connsiteX40" y="connsiteY40"/>
                                            </a:cxn>
                                            <a:cxn ang="0">
                                              <a:pos x="connsiteX41" y="connsiteY41"/>
                                            </a:cxn>
                                            <a:cxn ang="0">
                                              <a:pos x="connsiteX42" y="connsiteY42"/>
                                            </a:cxn>
                                            <a:cxn ang="0">
                                              <a:pos x="connsiteX43" y="connsiteY43"/>
                                            </a:cxn>
                                            <a:cxn ang="0">
                                              <a:pos x="connsiteX44" y="connsiteY44"/>
                                            </a:cxn>
                                            <a:cxn ang="0">
                                              <a:pos x="connsiteX45" y="connsiteY45"/>
                                            </a:cxn>
                                            <a:cxn ang="0">
                                              <a:pos x="connsiteX46" y="connsiteY46"/>
                                            </a:cxn>
                                            <a:cxn ang="0">
                                              <a:pos x="connsiteX47" y="connsiteY47"/>
                                            </a:cxn>
                                            <a:cxn ang="0">
                                              <a:pos x="connsiteX48" y="connsiteY48"/>
                                            </a:cxn>
                                            <a:cxn ang="0">
                                              <a:pos x="connsiteX49" y="connsiteY49"/>
                                            </a:cxn>
                                            <a:cxn ang="0">
                                              <a:pos x="connsiteX50" y="connsiteY50"/>
                                            </a:cxn>
                                            <a:cxn ang="0">
                                              <a:pos x="connsiteX51" y="connsiteY51"/>
                                            </a:cxn>
                                            <a:cxn ang="0">
                                              <a:pos x="connsiteX52" y="connsiteY52"/>
                                            </a:cxn>
                                            <a:cxn ang="0">
                                              <a:pos x="connsiteX53" y="connsiteY53"/>
                                            </a:cxn>
                                            <a:cxn ang="0">
                                              <a:pos x="connsiteX54" y="connsiteY54"/>
                                            </a:cxn>
                                            <a:cxn ang="0">
                                              <a:pos x="connsiteX55" y="connsiteY55"/>
                                            </a:cxn>
                                            <a:cxn ang="0">
                                              <a:pos x="connsiteX56" y="connsiteY56"/>
                                            </a:cxn>
                                            <a:cxn ang="0">
                                              <a:pos x="connsiteX57" y="connsiteY57"/>
                                            </a:cxn>
                                            <a:cxn ang="0">
                                              <a:pos x="connsiteX58" y="connsiteY58"/>
                                            </a:cxn>
                                            <a:cxn ang="0">
                                              <a:pos x="connsiteX59" y="connsiteY59"/>
                                            </a:cxn>
                                            <a:cxn ang="0">
                                              <a:pos x="connsiteX60" y="connsiteY60"/>
                                            </a:cxn>
                                            <a:cxn ang="0">
                                              <a:pos x="connsiteX61" y="connsiteY61"/>
                                            </a:cxn>
                                            <a:cxn ang="0">
                                              <a:pos x="connsiteX62" y="connsiteY62"/>
                                            </a:cxn>
                                            <a:cxn ang="0">
                                              <a:pos x="connsiteX63" y="connsiteY63"/>
                                            </a:cxn>
                                            <a:cxn ang="0">
                                              <a:pos x="connsiteX64" y="connsiteY64"/>
                                            </a:cxn>
                                            <a:cxn ang="0">
                                              <a:pos x="connsiteX65" y="connsiteY65"/>
                                            </a:cxn>
                                            <a:cxn ang="0">
                                              <a:pos x="connsiteX66" y="connsiteY66"/>
                                            </a:cxn>
                                            <a:cxn ang="0">
                                              <a:pos x="connsiteX67" y="connsiteY67"/>
                                            </a:cxn>
                                            <a:cxn ang="0">
                                              <a:pos x="connsiteX68" y="connsiteY68"/>
                                            </a:cxn>
                                            <a:cxn ang="0">
                                              <a:pos x="connsiteX69" y="connsiteY69"/>
                                            </a:cxn>
                                            <a:cxn ang="0">
                                              <a:pos x="connsiteX70" y="connsiteY70"/>
                                            </a:cxn>
                                            <a:cxn ang="0">
                                              <a:pos x="connsiteX71" y="connsiteY71"/>
                                            </a:cxn>
                                            <a:cxn ang="0">
                                              <a:pos x="connsiteX72" y="connsiteY72"/>
                                            </a:cxn>
                                            <a:cxn ang="0">
                                              <a:pos x="connsiteX73" y="connsiteY73"/>
                                            </a:cxn>
                                            <a:cxn ang="0">
                                              <a:pos x="connsiteX74" y="connsiteY74"/>
                                            </a:cxn>
                                            <a:cxn ang="0">
                                              <a:pos x="connsiteX75" y="connsiteY75"/>
                                            </a:cxn>
                                            <a:cxn ang="0">
                                              <a:pos x="connsiteX76" y="connsiteY76"/>
                                            </a:cxn>
                                            <a:cxn ang="0">
                                              <a:pos x="connsiteX77" y="connsiteY77"/>
                                            </a:cxn>
                                            <a:cxn ang="0">
                                              <a:pos x="connsiteX78" y="connsiteY78"/>
                                            </a:cxn>
                                            <a:cxn ang="0">
                                              <a:pos x="connsiteX79" y="connsiteY79"/>
                                            </a:cxn>
                                            <a:cxn ang="0">
                                              <a:pos x="connsiteX80" y="connsiteY80"/>
                                            </a:cxn>
                                            <a:cxn ang="0">
                                              <a:pos x="connsiteX81" y="connsiteY81"/>
                                            </a:cxn>
                                            <a:cxn ang="0">
                                              <a:pos x="connsiteX82" y="connsiteY82"/>
                                            </a:cxn>
                                            <a:cxn ang="0">
                                              <a:pos x="connsiteX83" y="connsiteY83"/>
                                            </a:cxn>
                                            <a:cxn ang="0">
                                              <a:pos x="connsiteX84" y="connsiteY84"/>
                                            </a:cxn>
                                            <a:cxn ang="0">
                                              <a:pos x="connsiteX85" y="connsiteY85"/>
                                            </a:cxn>
                                            <a:cxn ang="0">
                                              <a:pos x="connsiteX86" y="connsiteY86"/>
                                            </a:cxn>
                                            <a:cxn ang="0">
                                              <a:pos x="connsiteX87" y="connsiteY87"/>
                                            </a:cxn>
                                            <a:cxn ang="0">
                                              <a:pos x="connsiteX88" y="connsiteY88"/>
                                            </a:cxn>
                                            <a:cxn ang="0">
                                              <a:pos x="connsiteX89" y="connsiteY89"/>
                                            </a:cxn>
                                            <a:cxn ang="0">
                                              <a:pos x="connsiteX90" y="connsiteY90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782604" h="365408">
                                              <a:moveTo>
                                                <a:pt x="695410" y="82472"/>
                                              </a:moveTo>
                                              <a:cubicBezTo>
                                                <a:pt x="691005" y="80788"/>
                                                <a:pt x="685886" y="82213"/>
                                                <a:pt x="681352" y="80853"/>
                                              </a:cubicBezTo>
                                              <a:cubicBezTo>
                                                <a:pt x="677788" y="79751"/>
                                                <a:pt x="675002" y="77095"/>
                                                <a:pt x="671828" y="75087"/>
                                              </a:cubicBezTo>
                                              <a:cubicBezTo>
                                                <a:pt x="657834" y="66146"/>
                                                <a:pt x="639241" y="71394"/>
                                                <a:pt x="624534" y="79103"/>
                                              </a:cubicBezTo>
                                              <a:cubicBezTo>
                                                <a:pt x="609828" y="86813"/>
                                                <a:pt x="595446" y="96984"/>
                                                <a:pt x="578860" y="97632"/>
                                              </a:cubicBezTo>
                                              <a:cubicBezTo>
                                                <a:pt x="573354" y="97826"/>
                                                <a:pt x="567588" y="96984"/>
                                                <a:pt x="562534" y="99187"/>
                                              </a:cubicBezTo>
                                              <a:cubicBezTo>
                                                <a:pt x="558388" y="101001"/>
                                                <a:pt x="555213" y="104629"/>
                                                <a:pt x="551002" y="106313"/>
                                              </a:cubicBezTo>
                                              <a:cubicBezTo>
                                                <a:pt x="538564" y="111367"/>
                                                <a:pt x="526125" y="97697"/>
                                                <a:pt x="512714" y="97438"/>
                                              </a:cubicBezTo>
                                              <a:cubicBezTo>
                                                <a:pt x="507661" y="97308"/>
                                                <a:pt x="502478" y="99122"/>
                                                <a:pt x="497684" y="97697"/>
                                              </a:cubicBezTo>
                                              <a:cubicBezTo>
                                                <a:pt x="493797" y="96531"/>
                                                <a:pt x="490881" y="93486"/>
                                                <a:pt x="487901" y="90700"/>
                                              </a:cubicBezTo>
                                              <a:cubicBezTo>
                                                <a:pt x="466327" y="70293"/>
                                                <a:pt x="436007" y="59408"/>
                                                <a:pt x="406401" y="61611"/>
                                              </a:cubicBezTo>
                                              <a:cubicBezTo>
                                                <a:pt x="399987" y="62065"/>
                                                <a:pt x="392861" y="63555"/>
                                                <a:pt x="389297" y="68932"/>
                                              </a:cubicBezTo>
                                              <a:cubicBezTo>
                                                <a:pt x="388067" y="70746"/>
                                                <a:pt x="387354" y="72949"/>
                                                <a:pt x="385863" y="74568"/>
                                              </a:cubicBezTo>
                                              <a:cubicBezTo>
                                                <a:pt x="381588" y="79298"/>
                                                <a:pt x="373684" y="77030"/>
                                                <a:pt x="368371" y="73402"/>
                                              </a:cubicBezTo>
                                              <a:cubicBezTo>
                                                <a:pt x="363123" y="69839"/>
                                                <a:pt x="357747" y="64980"/>
                                                <a:pt x="351398" y="65563"/>
                                              </a:cubicBezTo>
                                              <a:cubicBezTo>
                                                <a:pt x="351981" y="60575"/>
                                                <a:pt x="346539" y="55845"/>
                                                <a:pt x="341680" y="57141"/>
                                              </a:cubicBezTo>
                                              <a:cubicBezTo>
                                                <a:pt x="340255" y="47034"/>
                                                <a:pt x="338765" y="36928"/>
                                                <a:pt x="337339" y="26821"/>
                                              </a:cubicBezTo>
                                              <a:cubicBezTo>
                                                <a:pt x="309675" y="26368"/>
                                                <a:pt x="284020" y="13022"/>
                                                <a:pt x="259596" y="0"/>
                                              </a:cubicBezTo>
                                              <a:cubicBezTo>
                                                <a:pt x="245084" y="11661"/>
                                                <a:pt x="229536" y="25072"/>
                                                <a:pt x="226944" y="43471"/>
                                              </a:cubicBezTo>
                                              <a:cubicBezTo>
                                                <a:pt x="226555" y="46063"/>
                                                <a:pt x="226555" y="48848"/>
                                                <a:pt x="227851" y="51116"/>
                                              </a:cubicBezTo>
                                              <a:cubicBezTo>
                                                <a:pt x="229536" y="53967"/>
                                                <a:pt x="232905" y="55327"/>
                                                <a:pt x="235237" y="57724"/>
                                              </a:cubicBezTo>
                                              <a:cubicBezTo>
                                                <a:pt x="243529" y="66081"/>
                                                <a:pt x="233552" y="80982"/>
                                                <a:pt x="222020" y="83250"/>
                                              </a:cubicBezTo>
                                              <a:cubicBezTo>
                                                <a:pt x="210489" y="85517"/>
                                                <a:pt x="198698" y="81047"/>
                                                <a:pt x="186907" y="81500"/>
                                              </a:cubicBezTo>
                                              <a:cubicBezTo>
                                                <a:pt x="183020" y="81630"/>
                                                <a:pt x="179068" y="82343"/>
                                                <a:pt x="175375" y="81241"/>
                                              </a:cubicBezTo>
                                              <a:cubicBezTo>
                                                <a:pt x="167147" y="78844"/>
                                                <a:pt x="159438" y="68414"/>
                                                <a:pt x="152441" y="73402"/>
                                              </a:cubicBezTo>
                                              <a:cubicBezTo>
                                                <a:pt x="150562" y="66859"/>
                                                <a:pt x="148618" y="60315"/>
                                                <a:pt x="146739" y="53707"/>
                                              </a:cubicBezTo>
                                              <a:cubicBezTo>
                                                <a:pt x="131126" y="63166"/>
                                                <a:pt x="109682" y="45285"/>
                                                <a:pt x="93356" y="53578"/>
                                              </a:cubicBezTo>
                                              <a:cubicBezTo>
                                                <a:pt x="84545" y="58048"/>
                                                <a:pt x="78132" y="69709"/>
                                                <a:pt x="68479" y="67766"/>
                                              </a:cubicBezTo>
                                              <a:cubicBezTo>
                                                <a:pt x="64721" y="66988"/>
                                                <a:pt x="59927" y="64462"/>
                                                <a:pt x="57724" y="67636"/>
                                              </a:cubicBezTo>
                                              <a:cubicBezTo>
                                                <a:pt x="56623" y="69256"/>
                                                <a:pt x="57076" y="71394"/>
                                                <a:pt x="56947" y="73337"/>
                                              </a:cubicBezTo>
                                              <a:cubicBezTo>
                                                <a:pt x="56493" y="78456"/>
                                                <a:pt x="51569" y="81824"/>
                                                <a:pt x="47164" y="84481"/>
                                              </a:cubicBezTo>
                                              <a:cubicBezTo>
                                                <a:pt x="32587" y="93227"/>
                                                <a:pt x="17557" y="102102"/>
                                                <a:pt x="842" y="104953"/>
                                              </a:cubicBezTo>
                                              <a:cubicBezTo>
                                                <a:pt x="518" y="106054"/>
                                                <a:pt x="324" y="107156"/>
                                                <a:pt x="0" y="108257"/>
                                              </a:cubicBezTo>
                                              <a:cubicBezTo>
                                                <a:pt x="1943" y="111755"/>
                                                <a:pt x="3110" y="116614"/>
                                                <a:pt x="5636" y="119789"/>
                                              </a:cubicBezTo>
                                              <a:cubicBezTo>
                                                <a:pt x="8228" y="123158"/>
                                                <a:pt x="12568" y="124713"/>
                                                <a:pt x="15613" y="127628"/>
                                              </a:cubicBezTo>
                                              <a:cubicBezTo>
                                                <a:pt x="19501" y="131321"/>
                                                <a:pt x="21314" y="137151"/>
                                                <a:pt x="26044" y="139743"/>
                                              </a:cubicBezTo>
                                              <a:cubicBezTo>
                                                <a:pt x="32522" y="143306"/>
                                                <a:pt x="41074" y="138965"/>
                                                <a:pt x="47747" y="142075"/>
                                              </a:cubicBezTo>
                                              <a:cubicBezTo>
                                                <a:pt x="56039" y="145962"/>
                                                <a:pt x="58501" y="159697"/>
                                                <a:pt x="67636" y="159567"/>
                                              </a:cubicBezTo>
                                              <a:cubicBezTo>
                                                <a:pt x="65239" y="171229"/>
                                                <a:pt x="73596" y="183991"/>
                                                <a:pt x="85258" y="186453"/>
                                              </a:cubicBezTo>
                                              <a:cubicBezTo>
                                                <a:pt x="80205" y="198827"/>
                                                <a:pt x="75151" y="211137"/>
                                                <a:pt x="70098" y="223511"/>
                                              </a:cubicBezTo>
                                              <a:cubicBezTo>
                                                <a:pt x="68673" y="227074"/>
                                                <a:pt x="67312" y="231479"/>
                                                <a:pt x="69774" y="234395"/>
                                              </a:cubicBezTo>
                                              <a:cubicBezTo>
                                                <a:pt x="73013" y="238217"/>
                                                <a:pt x="80593" y="236468"/>
                                                <a:pt x="82926" y="240938"/>
                                              </a:cubicBezTo>
                                              <a:cubicBezTo>
                                                <a:pt x="83638" y="242363"/>
                                                <a:pt x="83638" y="244177"/>
                                                <a:pt x="84804" y="245279"/>
                                              </a:cubicBezTo>
                                              <a:cubicBezTo>
                                                <a:pt x="85776" y="246186"/>
                                                <a:pt x="87201" y="246380"/>
                                                <a:pt x="88497" y="246510"/>
                                              </a:cubicBezTo>
                                              <a:cubicBezTo>
                                                <a:pt x="106702" y="248000"/>
                                                <a:pt x="124842" y="249490"/>
                                                <a:pt x="143047" y="250980"/>
                                              </a:cubicBezTo>
                                              <a:cubicBezTo>
                                                <a:pt x="143241" y="255515"/>
                                                <a:pt x="143500" y="260050"/>
                                                <a:pt x="143695" y="264585"/>
                                              </a:cubicBezTo>
                                              <a:cubicBezTo>
                                                <a:pt x="155291" y="267176"/>
                                                <a:pt x="168572" y="271128"/>
                                                <a:pt x="172978" y="282142"/>
                                              </a:cubicBezTo>
                                              <a:cubicBezTo>
                                                <a:pt x="173949" y="284668"/>
                                                <a:pt x="174468" y="287584"/>
                                                <a:pt x="176476" y="289398"/>
                                              </a:cubicBezTo>
                                              <a:cubicBezTo>
                                                <a:pt x="179132" y="291795"/>
                                                <a:pt x="183603" y="291665"/>
                                                <a:pt x="185805" y="294451"/>
                                              </a:cubicBezTo>
                                              <a:cubicBezTo>
                                                <a:pt x="186971" y="296006"/>
                                                <a:pt x="187166" y="298079"/>
                                                <a:pt x="187490" y="300023"/>
                                              </a:cubicBezTo>
                                              <a:cubicBezTo>
                                                <a:pt x="188721" y="308250"/>
                                                <a:pt x="192673" y="316025"/>
                                                <a:pt x="198568" y="321855"/>
                                              </a:cubicBezTo>
                                              <a:cubicBezTo>
                                                <a:pt x="202261" y="325483"/>
                                                <a:pt x="207314" y="328464"/>
                                                <a:pt x="212303" y="327168"/>
                                              </a:cubicBezTo>
                                              <a:lnTo>
                                                <a:pt x="314340" y="327945"/>
                                              </a:lnTo>
                                              <a:cubicBezTo>
                                                <a:pt x="318940" y="333711"/>
                                                <a:pt x="325548" y="337793"/>
                                                <a:pt x="332739" y="339348"/>
                                              </a:cubicBezTo>
                                              <a:cubicBezTo>
                                                <a:pt x="335719" y="339996"/>
                                                <a:pt x="338765" y="340190"/>
                                                <a:pt x="341550" y="341291"/>
                                              </a:cubicBezTo>
                                              <a:cubicBezTo>
                                                <a:pt x="346604" y="343299"/>
                                                <a:pt x="350361" y="347899"/>
                                                <a:pt x="355609" y="349195"/>
                                              </a:cubicBezTo>
                                              <a:cubicBezTo>
                                                <a:pt x="358978" y="350037"/>
                                                <a:pt x="362541" y="349389"/>
                                                <a:pt x="365845" y="350232"/>
                                              </a:cubicBezTo>
                                              <a:cubicBezTo>
                                                <a:pt x="370380" y="351398"/>
                                                <a:pt x="373813" y="355220"/>
                                                <a:pt x="378219" y="356775"/>
                                              </a:cubicBezTo>
                                              <a:cubicBezTo>
                                                <a:pt x="385798" y="359431"/>
                                                <a:pt x="394804" y="355026"/>
                                                <a:pt x="401931" y="358718"/>
                                              </a:cubicBezTo>
                                              <a:cubicBezTo>
                                                <a:pt x="406984" y="361375"/>
                                                <a:pt x="412102" y="367788"/>
                                                <a:pt x="416701" y="364485"/>
                                              </a:cubicBezTo>
                                              <a:cubicBezTo>
                                                <a:pt x="415601" y="355803"/>
                                                <a:pt x="424346" y="349195"/>
                                                <a:pt x="432380" y="345632"/>
                                              </a:cubicBezTo>
                                              <a:cubicBezTo>
                                                <a:pt x="452982" y="336627"/>
                                                <a:pt x="475851" y="334229"/>
                                                <a:pt x="498332" y="334229"/>
                                              </a:cubicBezTo>
                                              <a:cubicBezTo>
                                                <a:pt x="506624" y="334229"/>
                                                <a:pt x="514917" y="334553"/>
                                                <a:pt x="523145" y="335201"/>
                                              </a:cubicBezTo>
                                              <a:cubicBezTo>
                                                <a:pt x="526514" y="335460"/>
                                                <a:pt x="530271" y="335655"/>
                                                <a:pt x="532927" y="333517"/>
                                              </a:cubicBezTo>
                                              <a:cubicBezTo>
                                                <a:pt x="535389" y="331509"/>
                                                <a:pt x="536102" y="328140"/>
                                                <a:pt x="537397" y="325289"/>
                                              </a:cubicBezTo>
                                              <a:cubicBezTo>
                                                <a:pt x="541349" y="316867"/>
                                                <a:pt x="550938" y="312980"/>
                                                <a:pt x="559360" y="308963"/>
                                              </a:cubicBezTo>
                                              <a:cubicBezTo>
                                                <a:pt x="567782" y="305011"/>
                                                <a:pt x="576852" y="298727"/>
                                                <a:pt x="577435" y="289463"/>
                                              </a:cubicBezTo>
                                              <a:cubicBezTo>
                                                <a:pt x="578148" y="278643"/>
                                                <a:pt x="566810" y="269055"/>
                                                <a:pt x="569402" y="258560"/>
                                              </a:cubicBezTo>
                                              <a:cubicBezTo>
                                                <a:pt x="571086" y="251628"/>
                                                <a:pt x="578601" y="247417"/>
                                                <a:pt x="585728" y="247157"/>
                                              </a:cubicBezTo>
                                              <a:cubicBezTo>
                                                <a:pt x="592854" y="246898"/>
                                                <a:pt x="599656" y="249684"/>
                                                <a:pt x="606264" y="252470"/>
                                              </a:cubicBezTo>
                                              <a:cubicBezTo>
                                                <a:pt x="609893" y="254025"/>
                                                <a:pt x="613715" y="255580"/>
                                                <a:pt x="617602" y="255385"/>
                                              </a:cubicBezTo>
                                              <a:cubicBezTo>
                                                <a:pt x="621554" y="255191"/>
                                                <a:pt x="625700" y="252794"/>
                                                <a:pt x="626478" y="248971"/>
                                              </a:cubicBezTo>
                                              <a:cubicBezTo>
                                                <a:pt x="628486" y="239254"/>
                                                <a:pt x="647339" y="239448"/>
                                                <a:pt x="657251" y="239707"/>
                                              </a:cubicBezTo>
                                              <a:cubicBezTo>
                                                <a:pt x="667163" y="239901"/>
                                                <a:pt x="678890" y="238930"/>
                                                <a:pt x="683942" y="230378"/>
                                              </a:cubicBezTo>
                                              <a:cubicBezTo>
                                                <a:pt x="686275" y="226361"/>
                                                <a:pt x="686664" y="221438"/>
                                                <a:pt x="689190" y="217550"/>
                                              </a:cubicBezTo>
                                              <a:cubicBezTo>
                                                <a:pt x="690616" y="215348"/>
                                                <a:pt x="692689" y="213599"/>
                                                <a:pt x="694697" y="211914"/>
                                              </a:cubicBezTo>
                                              <a:cubicBezTo>
                                                <a:pt x="703378" y="204593"/>
                                                <a:pt x="713226" y="196884"/>
                                                <a:pt x="724563" y="197467"/>
                                              </a:cubicBezTo>
                                              <a:cubicBezTo>
                                                <a:pt x="728192" y="197661"/>
                                                <a:pt x="731819" y="198763"/>
                                                <a:pt x="735448" y="198374"/>
                                              </a:cubicBezTo>
                                              <a:cubicBezTo>
                                                <a:pt x="741602" y="197791"/>
                                                <a:pt x="746785" y="193191"/>
                                                <a:pt x="752939" y="192738"/>
                                              </a:cubicBezTo>
                                              <a:cubicBezTo>
                                                <a:pt x="763111" y="192025"/>
                                                <a:pt x="773800" y="202455"/>
                                                <a:pt x="782223" y="196754"/>
                                              </a:cubicBezTo>
                                              <a:cubicBezTo>
                                                <a:pt x="784037" y="189563"/>
                                                <a:pt x="779113" y="182372"/>
                                                <a:pt x="773282" y="177772"/>
                                              </a:cubicBezTo>
                                              <a:cubicBezTo>
                                                <a:pt x="767451" y="173237"/>
                                                <a:pt x="760455" y="170127"/>
                                                <a:pt x="755336" y="164750"/>
                                              </a:cubicBezTo>
                                              <a:cubicBezTo>
                                                <a:pt x="748923" y="157948"/>
                                                <a:pt x="744776" y="147258"/>
                                                <a:pt x="735577" y="146027"/>
                                              </a:cubicBezTo>
                                              <a:cubicBezTo>
                                                <a:pt x="728385" y="145055"/>
                                                <a:pt x="722166" y="150627"/>
                                                <a:pt x="715428" y="153153"/>
                                              </a:cubicBezTo>
                                              <a:cubicBezTo>
                                                <a:pt x="706942" y="156328"/>
                                                <a:pt x="697548" y="154773"/>
                                                <a:pt x="688672" y="153153"/>
                                              </a:cubicBezTo>
                                              <a:cubicBezTo>
                                                <a:pt x="682064" y="151987"/>
                                                <a:pt x="673771" y="148748"/>
                                                <a:pt x="674160" y="142075"/>
                                              </a:cubicBezTo>
                                              <a:cubicBezTo>
                                                <a:pt x="674225" y="140715"/>
                                                <a:pt x="674743" y="139419"/>
                                                <a:pt x="675197" y="138123"/>
                                              </a:cubicBezTo>
                                              <a:cubicBezTo>
                                                <a:pt x="677658" y="131385"/>
                                                <a:pt x="680120" y="124648"/>
                                                <a:pt x="682582" y="117845"/>
                                              </a:cubicBezTo>
                                              <a:cubicBezTo>
                                                <a:pt x="686599" y="106896"/>
                                                <a:pt x="692106" y="94522"/>
                                                <a:pt x="703443" y="91607"/>
                                              </a:cubicBezTo>
                                              <a:cubicBezTo>
                                                <a:pt x="703573" y="91607"/>
                                                <a:pt x="703767" y="91607"/>
                                                <a:pt x="703897" y="91542"/>
                                              </a:cubicBezTo>
                                              <a:cubicBezTo>
                                                <a:pt x="701694" y="87655"/>
                                                <a:pt x="699168" y="84157"/>
                                                <a:pt x="695215" y="82667"/>
                                              </a:cubicBezTo>
                                              <a:close/>
                                            </a:path>
                                          </a:pathLst>
                                        </a:custGeom>
                                        <a:solidFill>
                                          <a:srgbClr val="DDDDDD"/>
                                        </a:solidFill>
                                        <a:ln w="6472" cap="flat">
                                          <a:solidFill>
                                            <a:srgbClr val="FFFFFF"/>
                                          </a:solidFill>
                                          <a:prstDash val="solid"/>
                                          <a:miter/>
                                        </a:ln>
                                      </p:spPr>
                                      <p:txBody>
                                        <a:bodyPr rtlCol="0" anchor="ctr"/>
                                        <a:lstStyle/>
                                        <a:p>
                                          <a:endParaRPr lang="da-DK"/>
                                        </a:p>
                                      </p:txBody>
                                    </p:sp>
                                    <p:grpSp>
                                      <p:nvGrpSpPr>
                                        <p:cNvPr id="1541" name="Graphic 413">
                                          <a:extLst>
                                            <a:ext uri="{FF2B5EF4-FFF2-40B4-BE49-F238E27FC236}">
                                              <a16:creationId xmlns:a16="http://schemas.microsoft.com/office/drawing/2014/main" id="{97283B61-94FC-4DC6-B901-FFCE5BDE0701}"/>
                                            </a:ext>
                                          </a:extLst>
                                        </p:cNvPr>
                                        <p:cNvGrpSpPr/>
                                        <p:nvPr/>
                                      </p:nvGrpSpPr>
                                      <p:grpSpPr>
                                        <a:xfrm>
                                          <a:off x="2840632" y="1314629"/>
                                          <a:ext cx="8882290" cy="4743195"/>
                                          <a:chOff x="2840632" y="1314629"/>
                                          <a:chExt cx="8882290" cy="4743195"/>
                                        </a:xfrm>
                                      </p:grpSpPr>
                                      <p:sp>
                                        <p:nvSpPr>
                                          <p:cNvPr id="1542" name="Freeform: Shape 1541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C5F74629-D8C1-487A-8BA0-91A132E0C7A2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998688" y="4132759"/>
                                            <a:ext cx="51921" cy="95688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48487 w 51921"/>
                                              <a:gd name="connsiteY0" fmla="*/ 40038 h 95688"/>
                                              <a:gd name="connsiteX1" fmla="*/ 46414 w 51921"/>
                                              <a:gd name="connsiteY1" fmla="*/ 38548 h 95688"/>
                                              <a:gd name="connsiteX2" fmla="*/ 43693 w 51921"/>
                                              <a:gd name="connsiteY2" fmla="*/ 36151 h 95688"/>
                                              <a:gd name="connsiteX3" fmla="*/ 43110 w 51921"/>
                                              <a:gd name="connsiteY3" fmla="*/ 34013 h 95688"/>
                                              <a:gd name="connsiteX4" fmla="*/ 42851 w 51921"/>
                                              <a:gd name="connsiteY4" fmla="*/ 32976 h 95688"/>
                                              <a:gd name="connsiteX5" fmla="*/ 35012 w 51921"/>
                                              <a:gd name="connsiteY5" fmla="*/ 24943 h 95688"/>
                                              <a:gd name="connsiteX6" fmla="*/ 35984 w 51921"/>
                                              <a:gd name="connsiteY6" fmla="*/ 18918 h 95688"/>
                                              <a:gd name="connsiteX7" fmla="*/ 31837 w 51921"/>
                                              <a:gd name="connsiteY7" fmla="*/ 12568 h 95688"/>
                                              <a:gd name="connsiteX8" fmla="*/ 30347 w 51921"/>
                                              <a:gd name="connsiteY8" fmla="*/ 11726 h 95688"/>
                                              <a:gd name="connsiteX9" fmla="*/ 27497 w 51921"/>
                                              <a:gd name="connsiteY9" fmla="*/ 9459 h 95688"/>
                                              <a:gd name="connsiteX10" fmla="*/ 27303 w 51921"/>
                                              <a:gd name="connsiteY10" fmla="*/ 8163 h 95688"/>
                                              <a:gd name="connsiteX11" fmla="*/ 27108 w 51921"/>
                                              <a:gd name="connsiteY11" fmla="*/ 6932 h 95688"/>
                                              <a:gd name="connsiteX12" fmla="*/ 20565 w 51921"/>
                                              <a:gd name="connsiteY12" fmla="*/ 1231 h 95688"/>
                                              <a:gd name="connsiteX13" fmla="*/ 15187 w 51921"/>
                                              <a:gd name="connsiteY13" fmla="*/ 0 h 95688"/>
                                              <a:gd name="connsiteX14" fmla="*/ 10523 w 51921"/>
                                              <a:gd name="connsiteY14" fmla="*/ 2332 h 95688"/>
                                              <a:gd name="connsiteX15" fmla="*/ 9875 w 51921"/>
                                              <a:gd name="connsiteY15" fmla="*/ 7062 h 95688"/>
                                              <a:gd name="connsiteX16" fmla="*/ 9745 w 51921"/>
                                              <a:gd name="connsiteY16" fmla="*/ 19112 h 95688"/>
                                              <a:gd name="connsiteX17" fmla="*/ 1388 w 51921"/>
                                              <a:gd name="connsiteY17" fmla="*/ 19695 h 95688"/>
                                              <a:gd name="connsiteX18" fmla="*/ 351 w 51921"/>
                                              <a:gd name="connsiteY18" fmla="*/ 19695 h 95688"/>
                                              <a:gd name="connsiteX19" fmla="*/ 351 w 51921"/>
                                              <a:gd name="connsiteY19" fmla="*/ 20667 h 95688"/>
                                              <a:gd name="connsiteX20" fmla="*/ 481 w 51921"/>
                                              <a:gd name="connsiteY20" fmla="*/ 65369 h 95688"/>
                                              <a:gd name="connsiteX21" fmla="*/ 1712 w 51921"/>
                                              <a:gd name="connsiteY21" fmla="*/ 71264 h 95688"/>
                                              <a:gd name="connsiteX22" fmla="*/ 11171 w 51921"/>
                                              <a:gd name="connsiteY22" fmla="*/ 75540 h 95688"/>
                                              <a:gd name="connsiteX23" fmla="*/ 14410 w 51921"/>
                                              <a:gd name="connsiteY23" fmla="*/ 75346 h 95688"/>
                                              <a:gd name="connsiteX24" fmla="*/ 19139 w 51921"/>
                                              <a:gd name="connsiteY24" fmla="*/ 82537 h 95688"/>
                                              <a:gd name="connsiteX25" fmla="*/ 27238 w 51921"/>
                                              <a:gd name="connsiteY25" fmla="*/ 84157 h 95688"/>
                                              <a:gd name="connsiteX26" fmla="*/ 28209 w 51921"/>
                                              <a:gd name="connsiteY26" fmla="*/ 91931 h 95688"/>
                                              <a:gd name="connsiteX27" fmla="*/ 34623 w 51921"/>
                                              <a:gd name="connsiteY27" fmla="*/ 95689 h 95688"/>
                                              <a:gd name="connsiteX28" fmla="*/ 36567 w 51921"/>
                                              <a:gd name="connsiteY28" fmla="*/ 95365 h 95688"/>
                                              <a:gd name="connsiteX29" fmla="*/ 41750 w 51921"/>
                                              <a:gd name="connsiteY29" fmla="*/ 90376 h 95688"/>
                                              <a:gd name="connsiteX30" fmla="*/ 51921 w 51921"/>
                                              <a:gd name="connsiteY30" fmla="*/ 51246 h 95688"/>
                                              <a:gd name="connsiteX31" fmla="*/ 48487 w 51921"/>
                                              <a:gd name="connsiteY31" fmla="*/ 40038 h 95688"/>
                                              <a:gd name="connsiteX32" fmla="*/ 29894 w 51921"/>
                                              <a:gd name="connsiteY32" fmla="*/ 90894 h 95688"/>
                                              <a:gd name="connsiteX33" fmla="*/ 29440 w 51921"/>
                                              <a:gd name="connsiteY33" fmla="*/ 83509 h 95688"/>
                                              <a:gd name="connsiteX34" fmla="*/ 29764 w 51921"/>
                                              <a:gd name="connsiteY34" fmla="*/ 82278 h 95688"/>
                                              <a:gd name="connsiteX35" fmla="*/ 28533 w 51921"/>
                                              <a:gd name="connsiteY35" fmla="*/ 82278 h 95688"/>
                                              <a:gd name="connsiteX36" fmla="*/ 19982 w 51921"/>
                                              <a:gd name="connsiteY36" fmla="*/ 80788 h 95688"/>
                                              <a:gd name="connsiteX37" fmla="*/ 16483 w 51921"/>
                                              <a:gd name="connsiteY37" fmla="*/ 74439 h 95688"/>
                                              <a:gd name="connsiteX38" fmla="*/ 16937 w 51921"/>
                                              <a:gd name="connsiteY38" fmla="*/ 73014 h 95688"/>
                                              <a:gd name="connsiteX39" fmla="*/ 15447 w 51921"/>
                                              <a:gd name="connsiteY39" fmla="*/ 73273 h 95688"/>
                                              <a:gd name="connsiteX40" fmla="*/ 3397 w 51921"/>
                                              <a:gd name="connsiteY40" fmla="*/ 70293 h 95688"/>
                                              <a:gd name="connsiteX41" fmla="*/ 2425 w 51921"/>
                                              <a:gd name="connsiteY41" fmla="*/ 65304 h 95688"/>
                                              <a:gd name="connsiteX42" fmla="*/ 2230 w 51921"/>
                                              <a:gd name="connsiteY42" fmla="*/ 21703 h 95688"/>
                                              <a:gd name="connsiteX43" fmla="*/ 10847 w 51921"/>
                                              <a:gd name="connsiteY43" fmla="*/ 20796 h 95688"/>
                                              <a:gd name="connsiteX44" fmla="*/ 11559 w 51921"/>
                                              <a:gd name="connsiteY44" fmla="*/ 20602 h 95688"/>
                                              <a:gd name="connsiteX45" fmla="*/ 11559 w 51921"/>
                                              <a:gd name="connsiteY45" fmla="*/ 19954 h 95688"/>
                                              <a:gd name="connsiteX46" fmla="*/ 11819 w 51921"/>
                                              <a:gd name="connsiteY46" fmla="*/ 6867 h 95688"/>
                                              <a:gd name="connsiteX47" fmla="*/ 12207 w 51921"/>
                                              <a:gd name="connsiteY47" fmla="*/ 3369 h 95688"/>
                                              <a:gd name="connsiteX48" fmla="*/ 19852 w 51921"/>
                                              <a:gd name="connsiteY48" fmla="*/ 3045 h 95688"/>
                                              <a:gd name="connsiteX49" fmla="*/ 25165 w 51921"/>
                                              <a:gd name="connsiteY49" fmla="*/ 7386 h 95688"/>
                                              <a:gd name="connsiteX50" fmla="*/ 25359 w 51921"/>
                                              <a:gd name="connsiteY50" fmla="*/ 8357 h 95688"/>
                                              <a:gd name="connsiteX51" fmla="*/ 25683 w 51921"/>
                                              <a:gd name="connsiteY51" fmla="*/ 10171 h 95688"/>
                                              <a:gd name="connsiteX52" fmla="*/ 29440 w 51921"/>
                                              <a:gd name="connsiteY52" fmla="*/ 13476 h 95688"/>
                                              <a:gd name="connsiteX53" fmla="*/ 30866 w 51921"/>
                                              <a:gd name="connsiteY53" fmla="*/ 14188 h 95688"/>
                                              <a:gd name="connsiteX54" fmla="*/ 34040 w 51921"/>
                                              <a:gd name="connsiteY54" fmla="*/ 19241 h 95688"/>
                                              <a:gd name="connsiteX55" fmla="*/ 32679 w 51921"/>
                                              <a:gd name="connsiteY55" fmla="*/ 25007 h 95688"/>
                                              <a:gd name="connsiteX56" fmla="*/ 31578 w 51921"/>
                                              <a:gd name="connsiteY56" fmla="*/ 26368 h 95688"/>
                                              <a:gd name="connsiteX57" fmla="*/ 33263 w 51921"/>
                                              <a:gd name="connsiteY57" fmla="*/ 26562 h 95688"/>
                                              <a:gd name="connsiteX58" fmla="*/ 40972 w 51921"/>
                                              <a:gd name="connsiteY58" fmla="*/ 33429 h 95688"/>
                                              <a:gd name="connsiteX59" fmla="*/ 41166 w 51921"/>
                                              <a:gd name="connsiteY59" fmla="*/ 34401 h 95688"/>
                                              <a:gd name="connsiteX60" fmla="*/ 42009 w 51921"/>
                                              <a:gd name="connsiteY60" fmla="*/ 37057 h 95688"/>
                                              <a:gd name="connsiteX61" fmla="*/ 45313 w 51921"/>
                                              <a:gd name="connsiteY61" fmla="*/ 40167 h 95688"/>
                                              <a:gd name="connsiteX62" fmla="*/ 47191 w 51921"/>
                                              <a:gd name="connsiteY62" fmla="*/ 41463 h 95688"/>
                                              <a:gd name="connsiteX63" fmla="*/ 49978 w 51921"/>
                                              <a:gd name="connsiteY63" fmla="*/ 51246 h 95688"/>
                                              <a:gd name="connsiteX64" fmla="*/ 40065 w 51921"/>
                                              <a:gd name="connsiteY64" fmla="*/ 89404 h 95688"/>
                                              <a:gd name="connsiteX65" fmla="*/ 35919 w 51921"/>
                                              <a:gd name="connsiteY65" fmla="*/ 93551 h 95688"/>
                                              <a:gd name="connsiteX66" fmla="*/ 29894 w 51921"/>
                                              <a:gd name="connsiteY66" fmla="*/ 90894 h 95688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  <a:cxn ang="0">
                                                <a:pos x="connsiteX64" y="connsiteY64"/>
                                              </a:cxn>
                                              <a:cxn ang="0">
                                                <a:pos x="connsiteX65" y="connsiteY65"/>
                                              </a:cxn>
                                              <a:cxn ang="0">
                                                <a:pos x="connsiteX66" y="connsiteY66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51921" h="95688">
                                                <a:moveTo>
                                                  <a:pt x="48487" y="40038"/>
                                                </a:moveTo>
                                                <a:cubicBezTo>
                                                  <a:pt x="47840" y="39454"/>
                                                  <a:pt x="47127" y="39001"/>
                                                  <a:pt x="46414" y="38548"/>
                                                </a:cubicBezTo>
                                                <a:cubicBezTo>
                                                  <a:pt x="45313" y="37835"/>
                                                  <a:pt x="44276" y="37122"/>
                                                  <a:pt x="43693" y="36151"/>
                                                </a:cubicBezTo>
                                                <a:cubicBezTo>
                                                  <a:pt x="43369" y="35567"/>
                                                  <a:pt x="43240" y="34790"/>
                                                  <a:pt x="43110" y="34013"/>
                                                </a:cubicBezTo>
                                                <a:cubicBezTo>
                                                  <a:pt x="42981" y="33689"/>
                                                  <a:pt x="42916" y="33300"/>
                                                  <a:pt x="42851" y="32976"/>
                                                </a:cubicBezTo>
                                                <a:cubicBezTo>
                                                  <a:pt x="41879" y="29154"/>
                                                  <a:pt x="38769" y="26044"/>
                                                  <a:pt x="35012" y="24943"/>
                                                </a:cubicBezTo>
                                                <a:cubicBezTo>
                                                  <a:pt x="35984" y="23193"/>
                                                  <a:pt x="36307" y="21055"/>
                                                  <a:pt x="35984" y="18918"/>
                                                </a:cubicBezTo>
                                                <a:cubicBezTo>
                                                  <a:pt x="35465" y="16196"/>
                                                  <a:pt x="33975" y="13864"/>
                                                  <a:pt x="31837" y="12568"/>
                                                </a:cubicBezTo>
                                                <a:cubicBezTo>
                                                  <a:pt x="31384" y="12245"/>
                                                  <a:pt x="30866" y="11985"/>
                                                  <a:pt x="30347" y="11726"/>
                                                </a:cubicBezTo>
                                                <a:cubicBezTo>
                                                  <a:pt x="29116" y="11078"/>
                                                  <a:pt x="27885" y="10495"/>
                                                  <a:pt x="27497" y="9459"/>
                                                </a:cubicBezTo>
                                                <a:cubicBezTo>
                                                  <a:pt x="27367" y="9070"/>
                                                  <a:pt x="27303" y="8617"/>
                                                  <a:pt x="27303" y="8163"/>
                                                </a:cubicBezTo>
                                                <a:cubicBezTo>
                                                  <a:pt x="27238" y="7774"/>
                                                  <a:pt x="27173" y="7321"/>
                                                  <a:pt x="27108" y="6932"/>
                                                </a:cubicBezTo>
                                                <a:cubicBezTo>
                                                  <a:pt x="26395" y="4017"/>
                                                  <a:pt x="23545" y="2462"/>
                                                  <a:pt x="20565" y="1231"/>
                                                </a:cubicBezTo>
                                                <a:cubicBezTo>
                                                  <a:pt x="19204" y="713"/>
                                                  <a:pt x="17131" y="0"/>
                                                  <a:pt x="15187" y="0"/>
                                                </a:cubicBezTo>
                                                <a:cubicBezTo>
                                                  <a:pt x="12466" y="0"/>
                                                  <a:pt x="11171" y="1296"/>
                                                  <a:pt x="10523" y="2332"/>
                                                </a:cubicBezTo>
                                                <a:cubicBezTo>
                                                  <a:pt x="9681" y="3822"/>
                                                  <a:pt x="9745" y="5507"/>
                                                  <a:pt x="9875" y="7062"/>
                                                </a:cubicBezTo>
                                                <a:cubicBezTo>
                                                  <a:pt x="10134" y="11014"/>
                                                  <a:pt x="10069" y="15030"/>
                                                  <a:pt x="9745" y="19112"/>
                                                </a:cubicBezTo>
                                                <a:cubicBezTo>
                                                  <a:pt x="7025" y="19760"/>
                                                  <a:pt x="4174" y="19954"/>
                                                  <a:pt x="1388" y="19695"/>
                                                </a:cubicBezTo>
                                                <a:lnTo>
                                                  <a:pt x="351" y="19695"/>
                                                </a:lnTo>
                                                <a:cubicBezTo>
                                                  <a:pt x="351" y="19695"/>
                                                  <a:pt x="351" y="20667"/>
                                                  <a:pt x="351" y="20667"/>
                                                </a:cubicBezTo>
                                                <a:cubicBezTo>
                                                  <a:pt x="-167" y="35503"/>
                                                  <a:pt x="-102" y="50533"/>
                                                  <a:pt x="481" y="65369"/>
                                                </a:cubicBezTo>
                                                <a:cubicBezTo>
                                                  <a:pt x="481" y="67572"/>
                                                  <a:pt x="675" y="69515"/>
                                                  <a:pt x="1712" y="71264"/>
                                                </a:cubicBezTo>
                                                <a:cubicBezTo>
                                                  <a:pt x="3267" y="74115"/>
                                                  <a:pt x="6441" y="75540"/>
                                                  <a:pt x="11171" y="75540"/>
                                                </a:cubicBezTo>
                                                <a:cubicBezTo>
                                                  <a:pt x="12143" y="75540"/>
                                                  <a:pt x="13244" y="75476"/>
                                                  <a:pt x="14410" y="75346"/>
                                                </a:cubicBezTo>
                                                <a:cubicBezTo>
                                                  <a:pt x="14410" y="78391"/>
                                                  <a:pt x="16613" y="81241"/>
                                                  <a:pt x="19139" y="82537"/>
                                                </a:cubicBezTo>
                                                <a:cubicBezTo>
                                                  <a:pt x="21666" y="83833"/>
                                                  <a:pt x="24581" y="84092"/>
                                                  <a:pt x="27238" y="84157"/>
                                                </a:cubicBezTo>
                                                <a:cubicBezTo>
                                                  <a:pt x="26654" y="87007"/>
                                                  <a:pt x="26978" y="89793"/>
                                                  <a:pt x="28209" y="91931"/>
                                                </a:cubicBezTo>
                                                <a:cubicBezTo>
                                                  <a:pt x="29570" y="94198"/>
                                                  <a:pt x="32161" y="95689"/>
                                                  <a:pt x="34623" y="95689"/>
                                                </a:cubicBezTo>
                                                <a:cubicBezTo>
                                                  <a:pt x="35271" y="95689"/>
                                                  <a:pt x="35919" y="95624"/>
                                                  <a:pt x="36567" y="95365"/>
                                                </a:cubicBezTo>
                                                <a:cubicBezTo>
                                                  <a:pt x="38964" y="94587"/>
                                                  <a:pt x="40454" y="92514"/>
                                                  <a:pt x="41750" y="90376"/>
                                                </a:cubicBezTo>
                                                <a:cubicBezTo>
                                                  <a:pt x="48228" y="79557"/>
                                                  <a:pt x="51791" y="66017"/>
                                                  <a:pt x="51921" y="51246"/>
                                                </a:cubicBezTo>
                                                <a:cubicBezTo>
                                                  <a:pt x="51921" y="47553"/>
                                                  <a:pt x="51597" y="42888"/>
                                                  <a:pt x="48487" y="40038"/>
                                                </a:cubicBezTo>
                                                <a:close/>
                                                <a:moveTo>
                                                  <a:pt x="29894" y="90894"/>
                                                </a:moveTo>
                                                <a:cubicBezTo>
                                                  <a:pt x="28728" y="88951"/>
                                                  <a:pt x="28533" y="86230"/>
                                                  <a:pt x="29440" y="83509"/>
                                                </a:cubicBezTo>
                                                <a:lnTo>
                                                  <a:pt x="29764" y="82278"/>
                                                </a:lnTo>
                                                <a:lnTo>
                                                  <a:pt x="28533" y="82278"/>
                                                </a:lnTo>
                                                <a:cubicBezTo>
                                                  <a:pt x="25683" y="82213"/>
                                                  <a:pt x="22573" y="82084"/>
                                                  <a:pt x="19982" y="80788"/>
                                                </a:cubicBezTo>
                                                <a:cubicBezTo>
                                                  <a:pt x="17779" y="79622"/>
                                                  <a:pt x="15835" y="76965"/>
                                                  <a:pt x="16483" y="74439"/>
                                                </a:cubicBezTo>
                                                <a:lnTo>
                                                  <a:pt x="16937" y="73014"/>
                                                </a:lnTo>
                                                <a:lnTo>
                                                  <a:pt x="15447" y="73273"/>
                                                </a:lnTo>
                                                <a:cubicBezTo>
                                                  <a:pt x="8709" y="74180"/>
                                                  <a:pt x="5016" y="73273"/>
                                                  <a:pt x="3397" y="70293"/>
                                                </a:cubicBezTo>
                                                <a:cubicBezTo>
                                                  <a:pt x="2619" y="68932"/>
                                                  <a:pt x="2490" y="67248"/>
                                                  <a:pt x="2425" y="65304"/>
                                                </a:cubicBezTo>
                                                <a:cubicBezTo>
                                                  <a:pt x="1841" y="50857"/>
                                                  <a:pt x="1777" y="36215"/>
                                                  <a:pt x="2230" y="21703"/>
                                                </a:cubicBezTo>
                                                <a:cubicBezTo>
                                                  <a:pt x="5210" y="21833"/>
                                                  <a:pt x="8061" y="21509"/>
                                                  <a:pt x="10847" y="20796"/>
                                                </a:cubicBezTo>
                                                <a:lnTo>
                                                  <a:pt x="11559" y="20602"/>
                                                </a:lnTo>
                                                <a:lnTo>
                                                  <a:pt x="11559" y="19954"/>
                                                </a:lnTo>
                                                <a:cubicBezTo>
                                                  <a:pt x="12013" y="15613"/>
                                                  <a:pt x="12078" y="11208"/>
                                                  <a:pt x="11819" y="6867"/>
                                                </a:cubicBezTo>
                                                <a:cubicBezTo>
                                                  <a:pt x="11754" y="5572"/>
                                                  <a:pt x="11624" y="4276"/>
                                                  <a:pt x="12207" y="3369"/>
                                                </a:cubicBezTo>
                                                <a:cubicBezTo>
                                                  <a:pt x="13244" y="1620"/>
                                                  <a:pt x="16224" y="1555"/>
                                                  <a:pt x="19852" y="3045"/>
                                                </a:cubicBezTo>
                                                <a:cubicBezTo>
                                                  <a:pt x="22314" y="4082"/>
                                                  <a:pt x="24711" y="5312"/>
                                                  <a:pt x="25165" y="7386"/>
                                                </a:cubicBezTo>
                                                <a:cubicBezTo>
                                                  <a:pt x="25294" y="7710"/>
                                                  <a:pt x="25294" y="8034"/>
                                                  <a:pt x="25359" y="8357"/>
                                                </a:cubicBezTo>
                                                <a:cubicBezTo>
                                                  <a:pt x="25359" y="8940"/>
                                                  <a:pt x="25359" y="9524"/>
                                                  <a:pt x="25683" y="10171"/>
                                                </a:cubicBezTo>
                                                <a:cubicBezTo>
                                                  <a:pt x="26331" y="11921"/>
                                                  <a:pt x="28015" y="12763"/>
                                                  <a:pt x="29440" y="13476"/>
                                                </a:cubicBezTo>
                                                <a:cubicBezTo>
                                                  <a:pt x="29959" y="13735"/>
                                                  <a:pt x="30412" y="13929"/>
                                                  <a:pt x="30866" y="14188"/>
                                                </a:cubicBezTo>
                                                <a:cubicBezTo>
                                                  <a:pt x="32485" y="15225"/>
                                                  <a:pt x="33651" y="17039"/>
                                                  <a:pt x="34040" y="19241"/>
                                                </a:cubicBezTo>
                                                <a:cubicBezTo>
                                                  <a:pt x="34429" y="21379"/>
                                                  <a:pt x="33910" y="23517"/>
                                                  <a:pt x="32679" y="25007"/>
                                                </a:cubicBezTo>
                                                <a:lnTo>
                                                  <a:pt x="31578" y="26368"/>
                                                </a:lnTo>
                                                <a:lnTo>
                                                  <a:pt x="33263" y="26562"/>
                                                </a:lnTo>
                                                <a:cubicBezTo>
                                                  <a:pt x="36891" y="27081"/>
                                                  <a:pt x="40065" y="29931"/>
                                                  <a:pt x="40972" y="33429"/>
                                                </a:cubicBezTo>
                                                <a:cubicBezTo>
                                                  <a:pt x="40972" y="33754"/>
                                                  <a:pt x="41102" y="34077"/>
                                                  <a:pt x="41166" y="34401"/>
                                                </a:cubicBezTo>
                                                <a:cubicBezTo>
                                                  <a:pt x="41361" y="35308"/>
                                                  <a:pt x="41555" y="36215"/>
                                                  <a:pt x="42009" y="37057"/>
                                                </a:cubicBezTo>
                                                <a:cubicBezTo>
                                                  <a:pt x="42786" y="38483"/>
                                                  <a:pt x="44082" y="39325"/>
                                                  <a:pt x="45313" y="40167"/>
                                                </a:cubicBezTo>
                                                <a:cubicBezTo>
                                                  <a:pt x="46025" y="40621"/>
                                                  <a:pt x="46673" y="41009"/>
                                                  <a:pt x="47191" y="41463"/>
                                                </a:cubicBezTo>
                                                <a:cubicBezTo>
                                                  <a:pt x="49718" y="43795"/>
                                                  <a:pt x="50042" y="47682"/>
                                                  <a:pt x="49978" y="51246"/>
                                                </a:cubicBezTo>
                                                <a:cubicBezTo>
                                                  <a:pt x="49848" y="65628"/>
                                                  <a:pt x="46414" y="78844"/>
                                                  <a:pt x="40065" y="89404"/>
                                                </a:cubicBezTo>
                                                <a:cubicBezTo>
                                                  <a:pt x="38964" y="91154"/>
                                                  <a:pt x="37733" y="92968"/>
                                                  <a:pt x="35919" y="93551"/>
                                                </a:cubicBezTo>
                                                <a:cubicBezTo>
                                                  <a:pt x="33846" y="94263"/>
                                                  <a:pt x="31125" y="93032"/>
                                                  <a:pt x="29894" y="90894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3" name="Freeform: Shape 1542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428398FB-2682-48F6-A00E-3FF5A1BCB1D5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7216306" y="3340106"/>
                                            <a:ext cx="103552" cy="19824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58851 w 103552"/>
                                              <a:gd name="connsiteY0" fmla="*/ 192090 h 198244"/>
                                              <a:gd name="connsiteX1" fmla="*/ 67920 w 103552"/>
                                              <a:gd name="connsiteY1" fmla="*/ 166370 h 198244"/>
                                              <a:gd name="connsiteX2" fmla="*/ 71678 w 103552"/>
                                              <a:gd name="connsiteY2" fmla="*/ 157170 h 198244"/>
                                              <a:gd name="connsiteX3" fmla="*/ 80683 w 103552"/>
                                              <a:gd name="connsiteY3" fmla="*/ 153024 h 198244"/>
                                              <a:gd name="connsiteX4" fmla="*/ 81201 w 103552"/>
                                              <a:gd name="connsiteY4" fmla="*/ 147971 h 198244"/>
                                              <a:gd name="connsiteX5" fmla="*/ 89429 w 103552"/>
                                              <a:gd name="connsiteY5" fmla="*/ 139095 h 198244"/>
                                              <a:gd name="connsiteX6" fmla="*/ 99925 w 103552"/>
                                              <a:gd name="connsiteY6" fmla="*/ 132292 h 198244"/>
                                              <a:gd name="connsiteX7" fmla="*/ 103164 w 103552"/>
                                              <a:gd name="connsiteY7" fmla="*/ 121149 h 198244"/>
                                              <a:gd name="connsiteX8" fmla="*/ 103553 w 103552"/>
                                              <a:gd name="connsiteY8" fmla="*/ 119918 h 198244"/>
                                              <a:gd name="connsiteX9" fmla="*/ 99017 w 103552"/>
                                              <a:gd name="connsiteY9" fmla="*/ 116549 h 198244"/>
                                              <a:gd name="connsiteX10" fmla="*/ 94742 w 103552"/>
                                              <a:gd name="connsiteY10" fmla="*/ 106896 h 198244"/>
                                              <a:gd name="connsiteX11" fmla="*/ 70836 w 103552"/>
                                              <a:gd name="connsiteY11" fmla="*/ 99446 h 198244"/>
                                              <a:gd name="connsiteX12" fmla="*/ 65329 w 103552"/>
                                              <a:gd name="connsiteY12" fmla="*/ 69645 h 198244"/>
                                              <a:gd name="connsiteX13" fmla="*/ 89300 w 103552"/>
                                              <a:gd name="connsiteY13" fmla="*/ 52865 h 198244"/>
                                              <a:gd name="connsiteX14" fmla="*/ 80619 w 103552"/>
                                              <a:gd name="connsiteY14" fmla="*/ 32393 h 198244"/>
                                              <a:gd name="connsiteX15" fmla="*/ 79647 w 103552"/>
                                              <a:gd name="connsiteY15" fmla="*/ 11921 h 198244"/>
                                              <a:gd name="connsiteX16" fmla="*/ 83923 w 103552"/>
                                              <a:gd name="connsiteY16" fmla="*/ 8552 h 198244"/>
                                              <a:gd name="connsiteX17" fmla="*/ 76991 w 103552"/>
                                              <a:gd name="connsiteY17" fmla="*/ 3239 h 198244"/>
                                              <a:gd name="connsiteX18" fmla="*/ 20627 w 103552"/>
                                              <a:gd name="connsiteY18" fmla="*/ 0 h 198244"/>
                                              <a:gd name="connsiteX19" fmla="*/ 19461 w 103552"/>
                                              <a:gd name="connsiteY19" fmla="*/ 13540 h 198244"/>
                                              <a:gd name="connsiteX20" fmla="*/ 26976 w 103552"/>
                                              <a:gd name="connsiteY20" fmla="*/ 37964 h 198244"/>
                                              <a:gd name="connsiteX21" fmla="*/ 25356 w 103552"/>
                                              <a:gd name="connsiteY21" fmla="*/ 62583 h 198244"/>
                                              <a:gd name="connsiteX22" fmla="*/ 7216 w 103552"/>
                                              <a:gd name="connsiteY22" fmla="*/ 78067 h 198244"/>
                                              <a:gd name="connsiteX23" fmla="*/ 3653 w 103552"/>
                                              <a:gd name="connsiteY23" fmla="*/ 85323 h 198244"/>
                                              <a:gd name="connsiteX24" fmla="*/ 2681 w 103552"/>
                                              <a:gd name="connsiteY24" fmla="*/ 109682 h 198244"/>
                                              <a:gd name="connsiteX25" fmla="*/ 20562 w 103552"/>
                                              <a:gd name="connsiteY25" fmla="*/ 124907 h 198244"/>
                                              <a:gd name="connsiteX26" fmla="*/ 23736 w 103552"/>
                                              <a:gd name="connsiteY26" fmla="*/ 136115 h 198244"/>
                                              <a:gd name="connsiteX27" fmla="*/ 32353 w 103552"/>
                                              <a:gd name="connsiteY27" fmla="*/ 144472 h 198244"/>
                                              <a:gd name="connsiteX28" fmla="*/ 50299 w 103552"/>
                                              <a:gd name="connsiteY28" fmla="*/ 198244 h 198244"/>
                                              <a:gd name="connsiteX29" fmla="*/ 53344 w 103552"/>
                                              <a:gd name="connsiteY29" fmla="*/ 197661 h 198244"/>
                                              <a:gd name="connsiteX30" fmla="*/ 58786 w 103552"/>
                                              <a:gd name="connsiteY30" fmla="*/ 192219 h 19824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03552" h="198244">
                                                <a:moveTo>
                                                  <a:pt x="58851" y="192090"/>
                                                </a:moveTo>
                                                <a:cubicBezTo>
                                                  <a:pt x="63645" y="184315"/>
                                                  <a:pt x="66819" y="175504"/>
                                                  <a:pt x="67920" y="166370"/>
                                                </a:cubicBezTo>
                                                <a:cubicBezTo>
                                                  <a:pt x="68374" y="163001"/>
                                                  <a:pt x="68763" y="159049"/>
                                                  <a:pt x="71678" y="157170"/>
                                                </a:cubicBezTo>
                                                <a:cubicBezTo>
                                                  <a:pt x="74529" y="155356"/>
                                                  <a:pt x="79128" y="156069"/>
                                                  <a:pt x="80683" y="153024"/>
                                                </a:cubicBezTo>
                                                <a:cubicBezTo>
                                                  <a:pt x="81461" y="151534"/>
                                                  <a:pt x="81007" y="149655"/>
                                                  <a:pt x="81201" y="147971"/>
                                                </a:cubicBezTo>
                                                <a:cubicBezTo>
                                                  <a:pt x="81590" y="143759"/>
                                                  <a:pt x="85607" y="140909"/>
                                                  <a:pt x="89429" y="139095"/>
                                                </a:cubicBezTo>
                                                <a:cubicBezTo>
                                                  <a:pt x="93252" y="137281"/>
                                                  <a:pt x="97528" y="135791"/>
                                                  <a:pt x="99925" y="132292"/>
                                                </a:cubicBezTo>
                                                <a:cubicBezTo>
                                                  <a:pt x="102127" y="129053"/>
                                                  <a:pt x="102257" y="124907"/>
                                                  <a:pt x="103164" y="121149"/>
                                                </a:cubicBezTo>
                                                <a:cubicBezTo>
                                                  <a:pt x="103229" y="120696"/>
                                                  <a:pt x="103423" y="120307"/>
                                                  <a:pt x="103553" y="119918"/>
                                                </a:cubicBezTo>
                                                <a:cubicBezTo>
                                                  <a:pt x="101803" y="119141"/>
                                                  <a:pt x="100184" y="118169"/>
                                                  <a:pt x="99017" y="116549"/>
                                                </a:cubicBezTo>
                                                <a:cubicBezTo>
                                                  <a:pt x="96944" y="113699"/>
                                                  <a:pt x="96750" y="109812"/>
                                                  <a:pt x="94742" y="106896"/>
                                                </a:cubicBezTo>
                                                <a:cubicBezTo>
                                                  <a:pt x="89948" y="99770"/>
                                                  <a:pt x="78934" y="102297"/>
                                                  <a:pt x="70836" y="99446"/>
                                                </a:cubicBezTo>
                                                <a:cubicBezTo>
                                                  <a:pt x="59304" y="95365"/>
                                                  <a:pt x="56000" y="77549"/>
                                                  <a:pt x="65329" y="69645"/>
                                                </a:cubicBezTo>
                                                <a:cubicBezTo>
                                                  <a:pt x="72974" y="63166"/>
                                                  <a:pt x="86514" y="62518"/>
                                                  <a:pt x="89300" y="52865"/>
                                                </a:cubicBezTo>
                                                <a:cubicBezTo>
                                                  <a:pt x="91438" y="45480"/>
                                                  <a:pt x="85283" y="38547"/>
                                                  <a:pt x="80619" y="32393"/>
                                                </a:cubicBezTo>
                                                <a:cubicBezTo>
                                                  <a:pt x="75954" y="26238"/>
                                                  <a:pt x="73103" y="16067"/>
                                                  <a:pt x="79647" y="11921"/>
                                                </a:cubicBezTo>
                                                <a:cubicBezTo>
                                                  <a:pt x="81201" y="10884"/>
                                                  <a:pt x="83339" y="10301"/>
                                                  <a:pt x="83923" y="8552"/>
                                                </a:cubicBezTo>
                                                <a:cubicBezTo>
                                                  <a:pt x="85024" y="5377"/>
                                                  <a:pt x="80424" y="3434"/>
                                                  <a:pt x="76991" y="3239"/>
                                                </a:cubicBezTo>
                                                <a:cubicBezTo>
                                                  <a:pt x="58203" y="2138"/>
                                                  <a:pt x="39415" y="1101"/>
                                                  <a:pt x="20627" y="0"/>
                                                </a:cubicBezTo>
                                                <a:cubicBezTo>
                                                  <a:pt x="19526" y="4470"/>
                                                  <a:pt x="19007" y="8940"/>
                                                  <a:pt x="19461" y="13540"/>
                                                </a:cubicBezTo>
                                                <a:cubicBezTo>
                                                  <a:pt x="20303" y="22027"/>
                                                  <a:pt x="24385" y="29801"/>
                                                  <a:pt x="26976" y="37964"/>
                                                </a:cubicBezTo>
                                                <a:cubicBezTo>
                                                  <a:pt x="29567" y="46127"/>
                                                  <a:pt x="30410" y="55651"/>
                                                  <a:pt x="25356" y="62583"/>
                                                </a:cubicBezTo>
                                                <a:cubicBezTo>
                                                  <a:pt x="20627" y="68997"/>
                                                  <a:pt x="11881" y="71588"/>
                                                  <a:pt x="7216" y="78067"/>
                                                </a:cubicBezTo>
                                                <a:cubicBezTo>
                                                  <a:pt x="5661" y="80269"/>
                                                  <a:pt x="4625" y="82796"/>
                                                  <a:pt x="3653" y="85323"/>
                                                </a:cubicBezTo>
                                                <a:cubicBezTo>
                                                  <a:pt x="543" y="93227"/>
                                                  <a:pt x="-2243" y="102750"/>
                                                  <a:pt x="2681" y="109682"/>
                                                </a:cubicBezTo>
                                                <a:cubicBezTo>
                                                  <a:pt x="7281" y="116161"/>
                                                  <a:pt x="17129" y="117716"/>
                                                  <a:pt x="20562" y="124907"/>
                                                </a:cubicBezTo>
                                                <a:cubicBezTo>
                                                  <a:pt x="22247" y="128405"/>
                                                  <a:pt x="21988" y="132681"/>
                                                  <a:pt x="23736" y="136115"/>
                                                </a:cubicBezTo>
                                                <a:cubicBezTo>
                                                  <a:pt x="25551" y="139678"/>
                                                  <a:pt x="29244" y="141881"/>
                                                  <a:pt x="32353" y="144472"/>
                                                </a:cubicBezTo>
                                                <a:cubicBezTo>
                                                  <a:pt x="47448" y="156911"/>
                                                  <a:pt x="49392" y="178031"/>
                                                  <a:pt x="50299" y="198244"/>
                                                </a:cubicBezTo>
                                                <a:cubicBezTo>
                                                  <a:pt x="51335" y="198244"/>
                                                  <a:pt x="52372" y="198050"/>
                                                  <a:pt x="53344" y="197661"/>
                                                </a:cubicBezTo>
                                                <a:cubicBezTo>
                                                  <a:pt x="55741" y="196624"/>
                                                  <a:pt x="57425" y="194422"/>
                                                  <a:pt x="58786" y="192219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4" name="Freeform: Shape 1543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5C6B2A61-D490-4110-95B2-7C6F71B1BDA8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072474" y="3869576"/>
                                            <a:ext cx="262900" cy="168461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238671 w 262900"/>
                                              <a:gd name="connsiteY0" fmla="*/ 8510 h 168461"/>
                                              <a:gd name="connsiteX1" fmla="*/ 232386 w 262900"/>
                                              <a:gd name="connsiteY1" fmla="*/ 2744 h 168461"/>
                                              <a:gd name="connsiteX2" fmla="*/ 224677 w 262900"/>
                                              <a:gd name="connsiteY2" fmla="*/ 1189 h 168461"/>
                                              <a:gd name="connsiteX3" fmla="*/ 148295 w 262900"/>
                                              <a:gd name="connsiteY3" fmla="*/ 15183 h 168461"/>
                                              <a:gd name="connsiteX4" fmla="*/ 137670 w 262900"/>
                                              <a:gd name="connsiteY4" fmla="*/ 23541 h 168461"/>
                                              <a:gd name="connsiteX5" fmla="*/ 124518 w 262900"/>
                                              <a:gd name="connsiteY5" fmla="*/ 31315 h 168461"/>
                                              <a:gd name="connsiteX6" fmla="*/ 123223 w 262900"/>
                                              <a:gd name="connsiteY6" fmla="*/ 37599 h 168461"/>
                                              <a:gd name="connsiteX7" fmla="*/ 112274 w 262900"/>
                                              <a:gd name="connsiteY7" fmla="*/ 48677 h 168461"/>
                                              <a:gd name="connsiteX8" fmla="*/ 96207 w 262900"/>
                                              <a:gd name="connsiteY8" fmla="*/ 50686 h 168461"/>
                                              <a:gd name="connsiteX9" fmla="*/ 73208 w 262900"/>
                                              <a:gd name="connsiteY9" fmla="*/ 46280 h 168461"/>
                                              <a:gd name="connsiteX10" fmla="*/ 67183 w 262900"/>
                                              <a:gd name="connsiteY10" fmla="*/ 42328 h 168461"/>
                                              <a:gd name="connsiteX11" fmla="*/ 61871 w 262900"/>
                                              <a:gd name="connsiteY11" fmla="*/ 41422 h 168461"/>
                                              <a:gd name="connsiteX12" fmla="*/ 27210 w 262900"/>
                                              <a:gd name="connsiteY12" fmla="*/ 39154 h 168461"/>
                                              <a:gd name="connsiteX13" fmla="*/ 14901 w 262900"/>
                                              <a:gd name="connsiteY13" fmla="*/ 40385 h 168461"/>
                                              <a:gd name="connsiteX14" fmla="*/ 4859 w 262900"/>
                                              <a:gd name="connsiteY14" fmla="*/ 57229 h 168461"/>
                                              <a:gd name="connsiteX15" fmla="*/ 907 w 262900"/>
                                              <a:gd name="connsiteY15" fmla="*/ 77183 h 168461"/>
                                              <a:gd name="connsiteX16" fmla="*/ 0 w 262900"/>
                                              <a:gd name="connsiteY16" fmla="*/ 78544 h 168461"/>
                                              <a:gd name="connsiteX17" fmla="*/ 12504 w 262900"/>
                                              <a:gd name="connsiteY17" fmla="*/ 132575 h 168461"/>
                                              <a:gd name="connsiteX18" fmla="*/ 17816 w 262900"/>
                                              <a:gd name="connsiteY18" fmla="*/ 160044 h 168461"/>
                                              <a:gd name="connsiteX19" fmla="*/ 21444 w 262900"/>
                                              <a:gd name="connsiteY19" fmla="*/ 167494 h 168461"/>
                                              <a:gd name="connsiteX20" fmla="*/ 30644 w 262900"/>
                                              <a:gd name="connsiteY20" fmla="*/ 167300 h 168461"/>
                                              <a:gd name="connsiteX21" fmla="*/ 90571 w 262900"/>
                                              <a:gd name="connsiteY21" fmla="*/ 147476 h 168461"/>
                                              <a:gd name="connsiteX22" fmla="*/ 144084 w 262900"/>
                                              <a:gd name="connsiteY22" fmla="*/ 129789 h 168461"/>
                                              <a:gd name="connsiteX23" fmla="*/ 158142 w 262900"/>
                                              <a:gd name="connsiteY23" fmla="*/ 123829 h 168461"/>
                                              <a:gd name="connsiteX24" fmla="*/ 178744 w 262900"/>
                                              <a:gd name="connsiteY24" fmla="*/ 99923 h 168461"/>
                                              <a:gd name="connsiteX25" fmla="*/ 205177 w 262900"/>
                                              <a:gd name="connsiteY25" fmla="*/ 85152 h 168461"/>
                                              <a:gd name="connsiteX26" fmla="*/ 218263 w 262900"/>
                                              <a:gd name="connsiteY26" fmla="*/ 87743 h 168461"/>
                                              <a:gd name="connsiteX27" fmla="*/ 236533 w 262900"/>
                                              <a:gd name="connsiteY27" fmla="*/ 75304 h 168461"/>
                                              <a:gd name="connsiteX28" fmla="*/ 262901 w 262900"/>
                                              <a:gd name="connsiteY28" fmla="*/ 59367 h 168461"/>
                                              <a:gd name="connsiteX29" fmla="*/ 250202 w 262900"/>
                                              <a:gd name="connsiteY29" fmla="*/ 35591 h 168461"/>
                                              <a:gd name="connsiteX30" fmla="*/ 238476 w 262900"/>
                                              <a:gd name="connsiteY30" fmla="*/ 8575 h 168461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262900" h="168461">
                                                <a:moveTo>
                                                  <a:pt x="238671" y="8510"/>
                                                </a:moveTo>
                                                <a:cubicBezTo>
                                                  <a:pt x="236986" y="6178"/>
                                                  <a:pt x="234978" y="3975"/>
                                                  <a:pt x="232386" y="2744"/>
                                                </a:cubicBezTo>
                                                <a:cubicBezTo>
                                                  <a:pt x="229989" y="1578"/>
                                                  <a:pt x="227268" y="1384"/>
                                                  <a:pt x="224677" y="1189"/>
                                                </a:cubicBezTo>
                                                <a:cubicBezTo>
                                                  <a:pt x="198180" y="-948"/>
                                                  <a:pt x="168573" y="-2114"/>
                                                  <a:pt x="148295" y="15183"/>
                                                </a:cubicBezTo>
                                                <a:cubicBezTo>
                                                  <a:pt x="144861" y="18099"/>
                                                  <a:pt x="141686" y="21597"/>
                                                  <a:pt x="137670" y="23541"/>
                                                </a:cubicBezTo>
                                                <a:cubicBezTo>
                                                  <a:pt x="132940" y="25808"/>
                                                  <a:pt x="126656" y="26521"/>
                                                  <a:pt x="124518" y="31315"/>
                                                </a:cubicBezTo>
                                                <a:cubicBezTo>
                                                  <a:pt x="123611" y="33258"/>
                                                  <a:pt x="123741" y="35526"/>
                                                  <a:pt x="123223" y="37599"/>
                                                </a:cubicBezTo>
                                                <a:cubicBezTo>
                                                  <a:pt x="122056" y="42911"/>
                                                  <a:pt x="117392" y="46863"/>
                                                  <a:pt x="112274" y="48677"/>
                                                </a:cubicBezTo>
                                                <a:cubicBezTo>
                                                  <a:pt x="107156" y="50491"/>
                                                  <a:pt x="101649" y="50621"/>
                                                  <a:pt x="96207" y="50686"/>
                                                </a:cubicBezTo>
                                                <a:cubicBezTo>
                                                  <a:pt x="88303" y="50751"/>
                                                  <a:pt x="79816" y="50686"/>
                                                  <a:pt x="73208" y="46280"/>
                                                </a:cubicBezTo>
                                                <a:cubicBezTo>
                                                  <a:pt x="71200" y="44920"/>
                                                  <a:pt x="69386" y="43171"/>
                                                  <a:pt x="67183" y="42328"/>
                                                </a:cubicBezTo>
                                                <a:cubicBezTo>
                                                  <a:pt x="65499" y="41681"/>
                                                  <a:pt x="63684" y="41551"/>
                                                  <a:pt x="61871" y="41422"/>
                                                </a:cubicBezTo>
                                                <a:cubicBezTo>
                                                  <a:pt x="50339" y="40644"/>
                                                  <a:pt x="38742" y="39867"/>
                                                  <a:pt x="27210" y="39154"/>
                                                </a:cubicBezTo>
                                                <a:cubicBezTo>
                                                  <a:pt x="23064" y="38895"/>
                                                  <a:pt x="18658" y="38636"/>
                                                  <a:pt x="14901" y="40385"/>
                                                </a:cubicBezTo>
                                                <a:cubicBezTo>
                                                  <a:pt x="8681" y="43236"/>
                                                  <a:pt x="5896" y="50491"/>
                                                  <a:pt x="4859" y="57229"/>
                                                </a:cubicBezTo>
                                                <a:cubicBezTo>
                                                  <a:pt x="3823" y="63967"/>
                                                  <a:pt x="3887" y="71093"/>
                                                  <a:pt x="907" y="77183"/>
                                                </a:cubicBezTo>
                                                <a:cubicBezTo>
                                                  <a:pt x="648" y="77702"/>
                                                  <a:pt x="259" y="78090"/>
                                                  <a:pt x="0" y="78544"/>
                                                </a:cubicBezTo>
                                                <a:cubicBezTo>
                                                  <a:pt x="4470" y="96684"/>
                                                  <a:pt x="9135" y="115083"/>
                                                  <a:pt x="12504" y="132575"/>
                                                </a:cubicBezTo>
                                                <a:cubicBezTo>
                                                  <a:pt x="14253" y="141710"/>
                                                  <a:pt x="16067" y="150909"/>
                                                  <a:pt x="17816" y="160044"/>
                                                </a:cubicBezTo>
                                                <a:cubicBezTo>
                                                  <a:pt x="18334" y="162830"/>
                                                  <a:pt x="19112" y="165940"/>
                                                  <a:pt x="21444" y="167494"/>
                                                </a:cubicBezTo>
                                                <a:cubicBezTo>
                                                  <a:pt x="24100" y="169244"/>
                                                  <a:pt x="27599" y="168272"/>
                                                  <a:pt x="30644" y="167300"/>
                                                </a:cubicBezTo>
                                                <a:cubicBezTo>
                                                  <a:pt x="50598" y="160692"/>
                                                  <a:pt x="70617" y="154084"/>
                                                  <a:pt x="90571" y="147476"/>
                                                </a:cubicBezTo>
                                                <a:cubicBezTo>
                                                  <a:pt x="108387" y="141580"/>
                                                  <a:pt x="126268" y="135685"/>
                                                  <a:pt x="144084" y="129789"/>
                                                </a:cubicBezTo>
                                                <a:cubicBezTo>
                                                  <a:pt x="148943" y="128169"/>
                                                  <a:pt x="153866" y="126550"/>
                                                  <a:pt x="158142" y="123829"/>
                                                </a:cubicBezTo>
                                                <a:cubicBezTo>
                                                  <a:pt x="167083" y="118128"/>
                                                  <a:pt x="172330" y="108345"/>
                                                  <a:pt x="178744" y="99923"/>
                                                </a:cubicBezTo>
                                                <a:cubicBezTo>
                                                  <a:pt x="185223" y="91566"/>
                                                  <a:pt x="194681" y="83727"/>
                                                  <a:pt x="205177" y="85152"/>
                                                </a:cubicBezTo>
                                                <a:cubicBezTo>
                                                  <a:pt x="209582" y="85735"/>
                                                  <a:pt x="213793" y="87938"/>
                                                  <a:pt x="218263" y="87743"/>
                                                </a:cubicBezTo>
                                                <a:cubicBezTo>
                                                  <a:pt x="225778" y="87355"/>
                                                  <a:pt x="231091" y="80552"/>
                                                  <a:pt x="236533" y="75304"/>
                                                </a:cubicBezTo>
                                                <a:cubicBezTo>
                                                  <a:pt x="244048" y="68048"/>
                                                  <a:pt x="253183" y="63254"/>
                                                  <a:pt x="262901" y="59367"/>
                                                </a:cubicBezTo>
                                                <a:cubicBezTo>
                                                  <a:pt x="258042" y="51787"/>
                                                  <a:pt x="253571" y="43948"/>
                                                  <a:pt x="250202" y="35591"/>
                                                </a:cubicBezTo>
                                                <a:cubicBezTo>
                                                  <a:pt x="246574" y="26456"/>
                                                  <a:pt x="244177" y="16608"/>
                                                  <a:pt x="238476" y="8575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5" name="Freeform: Shape 1544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8C0E0B92-2D55-41B0-82D9-296B25F7BAF6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301492" y="3704396"/>
                                            <a:ext cx="191058" cy="225648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187814 w 191058"/>
                                              <a:gd name="connsiteY0" fmla="*/ 54614 h 225648"/>
                                              <a:gd name="connsiteX1" fmla="*/ 182436 w 191058"/>
                                              <a:gd name="connsiteY1" fmla="*/ 51569 h 225648"/>
                                              <a:gd name="connsiteX2" fmla="*/ 186194 w 191058"/>
                                              <a:gd name="connsiteY2" fmla="*/ 40685 h 225648"/>
                                              <a:gd name="connsiteX3" fmla="*/ 114606 w 191058"/>
                                              <a:gd name="connsiteY3" fmla="*/ 2656 h 225648"/>
                                              <a:gd name="connsiteX4" fmla="*/ 115966 w 191058"/>
                                              <a:gd name="connsiteY4" fmla="*/ 0 h 225648"/>
                                              <a:gd name="connsiteX5" fmla="*/ 114411 w 191058"/>
                                              <a:gd name="connsiteY5" fmla="*/ 777 h 225648"/>
                                              <a:gd name="connsiteX6" fmla="*/ 113310 w 191058"/>
                                              <a:gd name="connsiteY6" fmla="*/ 1360 h 225648"/>
                                              <a:gd name="connsiteX7" fmla="*/ 103851 w 191058"/>
                                              <a:gd name="connsiteY7" fmla="*/ 8876 h 225648"/>
                                              <a:gd name="connsiteX8" fmla="*/ 102167 w 191058"/>
                                              <a:gd name="connsiteY8" fmla="*/ 11338 h 225648"/>
                                              <a:gd name="connsiteX9" fmla="*/ 99317 w 191058"/>
                                              <a:gd name="connsiteY9" fmla="*/ 15095 h 225648"/>
                                              <a:gd name="connsiteX10" fmla="*/ 96919 w 191058"/>
                                              <a:gd name="connsiteY10" fmla="*/ 17168 h 225648"/>
                                              <a:gd name="connsiteX11" fmla="*/ 92255 w 191058"/>
                                              <a:gd name="connsiteY11" fmla="*/ 22610 h 225648"/>
                                              <a:gd name="connsiteX12" fmla="*/ 91931 w 191058"/>
                                              <a:gd name="connsiteY12" fmla="*/ 27664 h 225648"/>
                                              <a:gd name="connsiteX13" fmla="*/ 91801 w 191058"/>
                                              <a:gd name="connsiteY13" fmla="*/ 31680 h 225648"/>
                                              <a:gd name="connsiteX14" fmla="*/ 85517 w 191058"/>
                                              <a:gd name="connsiteY14" fmla="*/ 37835 h 225648"/>
                                              <a:gd name="connsiteX15" fmla="*/ 78650 w 191058"/>
                                              <a:gd name="connsiteY15" fmla="*/ 43795 h 225648"/>
                                              <a:gd name="connsiteX16" fmla="*/ 81241 w 191058"/>
                                              <a:gd name="connsiteY16" fmla="*/ 57012 h 225648"/>
                                              <a:gd name="connsiteX17" fmla="*/ 82926 w 191058"/>
                                              <a:gd name="connsiteY17" fmla="*/ 58890 h 225648"/>
                                              <a:gd name="connsiteX18" fmla="*/ 86554 w 191058"/>
                                              <a:gd name="connsiteY18" fmla="*/ 62194 h 225648"/>
                                              <a:gd name="connsiteX19" fmla="*/ 93486 w 191058"/>
                                              <a:gd name="connsiteY19" fmla="*/ 69904 h 225648"/>
                                              <a:gd name="connsiteX20" fmla="*/ 93745 w 191058"/>
                                              <a:gd name="connsiteY20" fmla="*/ 87655 h 225648"/>
                                              <a:gd name="connsiteX21" fmla="*/ 83249 w 191058"/>
                                              <a:gd name="connsiteY21" fmla="*/ 120307 h 225648"/>
                                              <a:gd name="connsiteX22" fmla="*/ 67507 w 191058"/>
                                              <a:gd name="connsiteY22" fmla="*/ 135921 h 225648"/>
                                              <a:gd name="connsiteX23" fmla="*/ 65174 w 191058"/>
                                              <a:gd name="connsiteY23" fmla="*/ 135726 h 225648"/>
                                              <a:gd name="connsiteX24" fmla="*/ 59408 w 191058"/>
                                              <a:gd name="connsiteY24" fmla="*/ 136244 h 225648"/>
                                              <a:gd name="connsiteX25" fmla="*/ 56364 w 191058"/>
                                              <a:gd name="connsiteY25" fmla="*/ 138512 h 225648"/>
                                              <a:gd name="connsiteX26" fmla="*/ 55586 w 191058"/>
                                              <a:gd name="connsiteY26" fmla="*/ 139225 h 225648"/>
                                              <a:gd name="connsiteX27" fmla="*/ 39066 w 191058"/>
                                              <a:gd name="connsiteY27" fmla="*/ 145120 h 225648"/>
                                              <a:gd name="connsiteX28" fmla="*/ 30708 w 191058"/>
                                              <a:gd name="connsiteY28" fmla="*/ 146804 h 225648"/>
                                              <a:gd name="connsiteX29" fmla="*/ 27210 w 191058"/>
                                              <a:gd name="connsiteY29" fmla="*/ 148554 h 225648"/>
                                              <a:gd name="connsiteX30" fmla="*/ 25720 w 191058"/>
                                              <a:gd name="connsiteY30" fmla="*/ 150821 h 225648"/>
                                              <a:gd name="connsiteX31" fmla="*/ 25266 w 191058"/>
                                              <a:gd name="connsiteY31" fmla="*/ 151599 h 225648"/>
                                              <a:gd name="connsiteX32" fmla="*/ 12115 w 191058"/>
                                              <a:gd name="connsiteY32" fmla="*/ 158401 h 225648"/>
                                              <a:gd name="connsiteX33" fmla="*/ 9523 w 191058"/>
                                              <a:gd name="connsiteY33" fmla="*/ 159049 h 225648"/>
                                              <a:gd name="connsiteX34" fmla="*/ 2980 w 191058"/>
                                              <a:gd name="connsiteY34" fmla="*/ 162418 h 225648"/>
                                              <a:gd name="connsiteX35" fmla="*/ 777 w 191058"/>
                                              <a:gd name="connsiteY35" fmla="*/ 166240 h 225648"/>
                                              <a:gd name="connsiteX36" fmla="*/ 648 w 191058"/>
                                              <a:gd name="connsiteY36" fmla="*/ 166499 h 225648"/>
                                              <a:gd name="connsiteX37" fmla="*/ 454 w 191058"/>
                                              <a:gd name="connsiteY37" fmla="*/ 166953 h 225648"/>
                                              <a:gd name="connsiteX38" fmla="*/ 454 w 191058"/>
                                              <a:gd name="connsiteY38" fmla="*/ 167082 h 225648"/>
                                              <a:gd name="connsiteX39" fmla="*/ 0 w 191058"/>
                                              <a:gd name="connsiteY39" fmla="*/ 167925 h 225648"/>
                                              <a:gd name="connsiteX40" fmla="*/ 1101 w 191058"/>
                                              <a:gd name="connsiteY40" fmla="*/ 168249 h 225648"/>
                                              <a:gd name="connsiteX41" fmla="*/ 1749 w 191058"/>
                                              <a:gd name="connsiteY41" fmla="*/ 168443 h 225648"/>
                                              <a:gd name="connsiteX42" fmla="*/ 2980 w 191058"/>
                                              <a:gd name="connsiteY42" fmla="*/ 168832 h 225648"/>
                                              <a:gd name="connsiteX43" fmla="*/ 8876 w 191058"/>
                                              <a:gd name="connsiteY43" fmla="*/ 174274 h 225648"/>
                                              <a:gd name="connsiteX44" fmla="*/ 17686 w 191058"/>
                                              <a:gd name="connsiteY44" fmla="*/ 193385 h 225648"/>
                                              <a:gd name="connsiteX45" fmla="*/ 20472 w 191058"/>
                                              <a:gd name="connsiteY45" fmla="*/ 201030 h 225648"/>
                                              <a:gd name="connsiteX46" fmla="*/ 33170 w 191058"/>
                                              <a:gd name="connsiteY46" fmla="*/ 224871 h 225648"/>
                                              <a:gd name="connsiteX47" fmla="*/ 33170 w 191058"/>
                                              <a:gd name="connsiteY47" fmla="*/ 225001 h 225648"/>
                                              <a:gd name="connsiteX48" fmla="*/ 33624 w 191058"/>
                                              <a:gd name="connsiteY48" fmla="*/ 225649 h 225648"/>
                                              <a:gd name="connsiteX49" fmla="*/ 34336 w 191058"/>
                                              <a:gd name="connsiteY49" fmla="*/ 225390 h 225648"/>
                                              <a:gd name="connsiteX50" fmla="*/ 52930 w 191058"/>
                                              <a:gd name="connsiteY50" fmla="*/ 218781 h 225648"/>
                                              <a:gd name="connsiteX51" fmla="*/ 69904 w 191058"/>
                                              <a:gd name="connsiteY51" fmla="*/ 212886 h 225648"/>
                                              <a:gd name="connsiteX52" fmla="*/ 138123 w 191058"/>
                                              <a:gd name="connsiteY52" fmla="*/ 163714 h 225648"/>
                                              <a:gd name="connsiteX53" fmla="*/ 143760 w 191058"/>
                                              <a:gd name="connsiteY53" fmla="*/ 153024 h 225648"/>
                                              <a:gd name="connsiteX54" fmla="*/ 142593 w 191058"/>
                                              <a:gd name="connsiteY54" fmla="*/ 144861 h 225648"/>
                                              <a:gd name="connsiteX55" fmla="*/ 141427 w 191058"/>
                                              <a:gd name="connsiteY55" fmla="*/ 138641 h 225648"/>
                                              <a:gd name="connsiteX56" fmla="*/ 148618 w 191058"/>
                                              <a:gd name="connsiteY56" fmla="*/ 123546 h 225648"/>
                                              <a:gd name="connsiteX57" fmla="*/ 182890 w 191058"/>
                                              <a:gd name="connsiteY57" fmla="*/ 80334 h 225648"/>
                                              <a:gd name="connsiteX58" fmla="*/ 190988 w 191058"/>
                                              <a:gd name="connsiteY58" fmla="*/ 64786 h 225648"/>
                                              <a:gd name="connsiteX59" fmla="*/ 187749 w 191058"/>
                                              <a:gd name="connsiteY59" fmla="*/ 54614 h 225648"/>
                                              <a:gd name="connsiteX60" fmla="*/ 139548 w 191058"/>
                                              <a:gd name="connsiteY60" fmla="*/ 138641 h 225648"/>
                                              <a:gd name="connsiteX61" fmla="*/ 140779 w 191058"/>
                                              <a:gd name="connsiteY61" fmla="*/ 145314 h 225648"/>
                                              <a:gd name="connsiteX62" fmla="*/ 141880 w 191058"/>
                                              <a:gd name="connsiteY62" fmla="*/ 152829 h 225648"/>
                                              <a:gd name="connsiteX63" fmla="*/ 136698 w 191058"/>
                                              <a:gd name="connsiteY63" fmla="*/ 162483 h 225648"/>
                                              <a:gd name="connsiteX64" fmla="*/ 69256 w 191058"/>
                                              <a:gd name="connsiteY64" fmla="*/ 211072 h 225648"/>
                                              <a:gd name="connsiteX65" fmla="*/ 52411 w 191058"/>
                                              <a:gd name="connsiteY65" fmla="*/ 216967 h 225648"/>
                                              <a:gd name="connsiteX66" fmla="*/ 34466 w 191058"/>
                                              <a:gd name="connsiteY66" fmla="*/ 223252 h 225648"/>
                                              <a:gd name="connsiteX67" fmla="*/ 22286 w 191058"/>
                                              <a:gd name="connsiteY67" fmla="*/ 200318 h 225648"/>
                                              <a:gd name="connsiteX68" fmla="*/ 19501 w 191058"/>
                                              <a:gd name="connsiteY68" fmla="*/ 192738 h 225648"/>
                                              <a:gd name="connsiteX69" fmla="*/ 10430 w 191058"/>
                                              <a:gd name="connsiteY69" fmla="*/ 173107 h 225648"/>
                                              <a:gd name="connsiteX70" fmla="*/ 3822 w 191058"/>
                                              <a:gd name="connsiteY70" fmla="*/ 167018 h 225648"/>
                                              <a:gd name="connsiteX71" fmla="*/ 2721 w 191058"/>
                                              <a:gd name="connsiteY71" fmla="*/ 166629 h 225648"/>
                                              <a:gd name="connsiteX72" fmla="*/ 4405 w 191058"/>
                                              <a:gd name="connsiteY72" fmla="*/ 163714 h 225648"/>
                                              <a:gd name="connsiteX73" fmla="*/ 9977 w 191058"/>
                                              <a:gd name="connsiteY73" fmla="*/ 160928 h 225648"/>
                                              <a:gd name="connsiteX74" fmla="*/ 12504 w 191058"/>
                                              <a:gd name="connsiteY74" fmla="*/ 160345 h 225648"/>
                                              <a:gd name="connsiteX75" fmla="*/ 26951 w 191058"/>
                                              <a:gd name="connsiteY75" fmla="*/ 152570 h 225648"/>
                                              <a:gd name="connsiteX76" fmla="*/ 27404 w 191058"/>
                                              <a:gd name="connsiteY76" fmla="*/ 151728 h 225648"/>
                                              <a:gd name="connsiteX77" fmla="*/ 28570 w 191058"/>
                                              <a:gd name="connsiteY77" fmla="*/ 149914 h 225648"/>
                                              <a:gd name="connsiteX78" fmla="*/ 31227 w 191058"/>
                                              <a:gd name="connsiteY78" fmla="*/ 148683 h 225648"/>
                                              <a:gd name="connsiteX79" fmla="*/ 39390 w 191058"/>
                                              <a:gd name="connsiteY79" fmla="*/ 147064 h 225648"/>
                                              <a:gd name="connsiteX80" fmla="*/ 56882 w 191058"/>
                                              <a:gd name="connsiteY80" fmla="*/ 140715 h 225648"/>
                                              <a:gd name="connsiteX81" fmla="*/ 57724 w 191058"/>
                                              <a:gd name="connsiteY81" fmla="*/ 139937 h 225648"/>
                                              <a:gd name="connsiteX82" fmla="*/ 60251 w 191058"/>
                                              <a:gd name="connsiteY82" fmla="*/ 137994 h 225648"/>
                                              <a:gd name="connsiteX83" fmla="*/ 65045 w 191058"/>
                                              <a:gd name="connsiteY83" fmla="*/ 137670 h 225648"/>
                                              <a:gd name="connsiteX84" fmla="*/ 67636 w 191058"/>
                                              <a:gd name="connsiteY84" fmla="*/ 137864 h 225648"/>
                                              <a:gd name="connsiteX85" fmla="*/ 85064 w 191058"/>
                                              <a:gd name="connsiteY85" fmla="*/ 121020 h 225648"/>
                                              <a:gd name="connsiteX86" fmla="*/ 95688 w 191058"/>
                                              <a:gd name="connsiteY86" fmla="*/ 88109 h 225648"/>
                                              <a:gd name="connsiteX87" fmla="*/ 95235 w 191058"/>
                                              <a:gd name="connsiteY87" fmla="*/ 69062 h 225648"/>
                                              <a:gd name="connsiteX88" fmla="*/ 87785 w 191058"/>
                                              <a:gd name="connsiteY88" fmla="*/ 60704 h 225648"/>
                                              <a:gd name="connsiteX89" fmla="*/ 84286 w 191058"/>
                                              <a:gd name="connsiteY89" fmla="*/ 57530 h 225648"/>
                                              <a:gd name="connsiteX90" fmla="*/ 80399 w 191058"/>
                                              <a:gd name="connsiteY90" fmla="*/ 44702 h 225648"/>
                                              <a:gd name="connsiteX91" fmla="*/ 86489 w 191058"/>
                                              <a:gd name="connsiteY91" fmla="*/ 39454 h 225648"/>
                                              <a:gd name="connsiteX92" fmla="*/ 93680 w 191058"/>
                                              <a:gd name="connsiteY92" fmla="*/ 32199 h 225648"/>
                                              <a:gd name="connsiteX93" fmla="*/ 93874 w 191058"/>
                                              <a:gd name="connsiteY93" fmla="*/ 27534 h 225648"/>
                                              <a:gd name="connsiteX94" fmla="*/ 94133 w 191058"/>
                                              <a:gd name="connsiteY94" fmla="*/ 23258 h 225648"/>
                                              <a:gd name="connsiteX95" fmla="*/ 98150 w 191058"/>
                                              <a:gd name="connsiteY95" fmla="*/ 18658 h 225648"/>
                                              <a:gd name="connsiteX96" fmla="*/ 100742 w 191058"/>
                                              <a:gd name="connsiteY96" fmla="*/ 16456 h 225648"/>
                                              <a:gd name="connsiteX97" fmla="*/ 103786 w 191058"/>
                                              <a:gd name="connsiteY97" fmla="*/ 12374 h 225648"/>
                                              <a:gd name="connsiteX98" fmla="*/ 105406 w 191058"/>
                                              <a:gd name="connsiteY98" fmla="*/ 10042 h 225648"/>
                                              <a:gd name="connsiteX99" fmla="*/ 112662 w 191058"/>
                                              <a:gd name="connsiteY99" fmla="*/ 3822 h 225648"/>
                                              <a:gd name="connsiteX100" fmla="*/ 183797 w 191058"/>
                                              <a:gd name="connsiteY100" fmla="*/ 41593 h 225648"/>
                                              <a:gd name="connsiteX101" fmla="*/ 179716 w 191058"/>
                                              <a:gd name="connsiteY101" fmla="*/ 53384 h 225648"/>
                                              <a:gd name="connsiteX102" fmla="*/ 181076 w 191058"/>
                                              <a:gd name="connsiteY102" fmla="*/ 53384 h 225648"/>
                                              <a:gd name="connsiteX103" fmla="*/ 186388 w 191058"/>
                                              <a:gd name="connsiteY103" fmla="*/ 55910 h 225648"/>
                                              <a:gd name="connsiteX104" fmla="*/ 189110 w 191058"/>
                                              <a:gd name="connsiteY104" fmla="*/ 64591 h 225648"/>
                                              <a:gd name="connsiteX105" fmla="*/ 181465 w 191058"/>
                                              <a:gd name="connsiteY105" fmla="*/ 79103 h 225648"/>
                                              <a:gd name="connsiteX106" fmla="*/ 147193 w 191058"/>
                                              <a:gd name="connsiteY106" fmla="*/ 122380 h 225648"/>
                                              <a:gd name="connsiteX107" fmla="*/ 139548 w 191058"/>
                                              <a:gd name="connsiteY107" fmla="*/ 138641 h 225648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  <a:cxn ang="0">
                                                <a:pos x="connsiteX64" y="connsiteY64"/>
                                              </a:cxn>
                                              <a:cxn ang="0">
                                                <a:pos x="connsiteX65" y="connsiteY65"/>
                                              </a:cxn>
                                              <a:cxn ang="0">
                                                <a:pos x="connsiteX66" y="connsiteY66"/>
                                              </a:cxn>
                                              <a:cxn ang="0">
                                                <a:pos x="connsiteX67" y="connsiteY67"/>
                                              </a:cxn>
                                              <a:cxn ang="0">
                                                <a:pos x="connsiteX68" y="connsiteY68"/>
                                              </a:cxn>
                                              <a:cxn ang="0">
                                                <a:pos x="connsiteX69" y="connsiteY69"/>
                                              </a:cxn>
                                              <a:cxn ang="0">
                                                <a:pos x="connsiteX70" y="connsiteY70"/>
                                              </a:cxn>
                                              <a:cxn ang="0">
                                                <a:pos x="connsiteX71" y="connsiteY71"/>
                                              </a:cxn>
                                              <a:cxn ang="0">
                                                <a:pos x="connsiteX72" y="connsiteY72"/>
                                              </a:cxn>
                                              <a:cxn ang="0">
                                                <a:pos x="connsiteX73" y="connsiteY73"/>
                                              </a:cxn>
                                              <a:cxn ang="0">
                                                <a:pos x="connsiteX74" y="connsiteY74"/>
                                              </a:cxn>
                                              <a:cxn ang="0">
                                                <a:pos x="connsiteX75" y="connsiteY75"/>
                                              </a:cxn>
                                              <a:cxn ang="0">
                                                <a:pos x="connsiteX76" y="connsiteY76"/>
                                              </a:cxn>
                                              <a:cxn ang="0">
                                                <a:pos x="connsiteX77" y="connsiteY77"/>
                                              </a:cxn>
                                              <a:cxn ang="0">
                                                <a:pos x="connsiteX78" y="connsiteY78"/>
                                              </a:cxn>
                                              <a:cxn ang="0">
                                                <a:pos x="connsiteX79" y="connsiteY79"/>
                                              </a:cxn>
                                              <a:cxn ang="0">
                                                <a:pos x="connsiteX80" y="connsiteY80"/>
                                              </a:cxn>
                                              <a:cxn ang="0">
                                                <a:pos x="connsiteX81" y="connsiteY81"/>
                                              </a:cxn>
                                              <a:cxn ang="0">
                                                <a:pos x="connsiteX82" y="connsiteY82"/>
                                              </a:cxn>
                                              <a:cxn ang="0">
                                                <a:pos x="connsiteX83" y="connsiteY83"/>
                                              </a:cxn>
                                              <a:cxn ang="0">
                                                <a:pos x="connsiteX84" y="connsiteY84"/>
                                              </a:cxn>
                                              <a:cxn ang="0">
                                                <a:pos x="connsiteX85" y="connsiteY85"/>
                                              </a:cxn>
                                              <a:cxn ang="0">
                                                <a:pos x="connsiteX86" y="connsiteY86"/>
                                              </a:cxn>
                                              <a:cxn ang="0">
                                                <a:pos x="connsiteX87" y="connsiteY87"/>
                                              </a:cxn>
                                              <a:cxn ang="0">
                                                <a:pos x="connsiteX88" y="connsiteY88"/>
                                              </a:cxn>
                                              <a:cxn ang="0">
                                                <a:pos x="connsiteX89" y="connsiteY89"/>
                                              </a:cxn>
                                              <a:cxn ang="0">
                                                <a:pos x="connsiteX90" y="connsiteY90"/>
                                              </a:cxn>
                                              <a:cxn ang="0">
                                                <a:pos x="connsiteX91" y="connsiteY91"/>
                                              </a:cxn>
                                              <a:cxn ang="0">
                                                <a:pos x="connsiteX92" y="connsiteY92"/>
                                              </a:cxn>
                                              <a:cxn ang="0">
                                                <a:pos x="connsiteX93" y="connsiteY93"/>
                                              </a:cxn>
                                              <a:cxn ang="0">
                                                <a:pos x="connsiteX94" y="connsiteY94"/>
                                              </a:cxn>
                                              <a:cxn ang="0">
                                                <a:pos x="connsiteX95" y="connsiteY95"/>
                                              </a:cxn>
                                              <a:cxn ang="0">
                                                <a:pos x="connsiteX96" y="connsiteY96"/>
                                              </a:cxn>
                                              <a:cxn ang="0">
                                                <a:pos x="connsiteX97" y="connsiteY97"/>
                                              </a:cxn>
                                              <a:cxn ang="0">
                                                <a:pos x="connsiteX98" y="connsiteY98"/>
                                              </a:cxn>
                                              <a:cxn ang="0">
                                                <a:pos x="connsiteX99" y="connsiteY99"/>
                                              </a:cxn>
                                              <a:cxn ang="0">
                                                <a:pos x="connsiteX100" y="connsiteY100"/>
                                              </a:cxn>
                                              <a:cxn ang="0">
                                                <a:pos x="connsiteX101" y="connsiteY101"/>
                                              </a:cxn>
                                              <a:cxn ang="0">
                                                <a:pos x="connsiteX102" y="connsiteY102"/>
                                              </a:cxn>
                                              <a:cxn ang="0">
                                                <a:pos x="connsiteX103" y="connsiteY103"/>
                                              </a:cxn>
                                              <a:cxn ang="0">
                                                <a:pos x="connsiteX104" y="connsiteY104"/>
                                              </a:cxn>
                                              <a:cxn ang="0">
                                                <a:pos x="connsiteX105" y="connsiteY105"/>
                                              </a:cxn>
                                              <a:cxn ang="0">
                                                <a:pos x="connsiteX106" y="connsiteY106"/>
                                              </a:cxn>
                                              <a:cxn ang="0">
                                                <a:pos x="connsiteX107" y="connsiteY107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91058" h="225648">
                                                <a:moveTo>
                                                  <a:pt x="187814" y="54614"/>
                                                </a:moveTo>
                                                <a:cubicBezTo>
                                                  <a:pt x="186324" y="52930"/>
                                                  <a:pt x="184445" y="51893"/>
                                                  <a:pt x="182436" y="51569"/>
                                                </a:cubicBezTo>
                                                <a:lnTo>
                                                  <a:pt x="186194" y="40685"/>
                                                </a:lnTo>
                                                <a:lnTo>
                                                  <a:pt x="114606" y="2656"/>
                                                </a:lnTo>
                                                <a:lnTo>
                                                  <a:pt x="115966" y="0"/>
                                                </a:lnTo>
                                                <a:lnTo>
                                                  <a:pt x="114411" y="777"/>
                                                </a:lnTo>
                                                <a:lnTo>
                                                  <a:pt x="113310" y="1360"/>
                                                </a:lnTo>
                                                <a:cubicBezTo>
                                                  <a:pt x="109229" y="3369"/>
                                                  <a:pt x="106184" y="5831"/>
                                                  <a:pt x="103851" y="8876"/>
                                                </a:cubicBezTo>
                                                <a:cubicBezTo>
                                                  <a:pt x="103204" y="9653"/>
                                                  <a:pt x="102685" y="10495"/>
                                                  <a:pt x="102167" y="11338"/>
                                                </a:cubicBezTo>
                                                <a:cubicBezTo>
                                                  <a:pt x="101260" y="12698"/>
                                                  <a:pt x="100418" y="13994"/>
                                                  <a:pt x="99317" y="15095"/>
                                                </a:cubicBezTo>
                                                <a:cubicBezTo>
                                                  <a:pt x="98604" y="15808"/>
                                                  <a:pt x="97826" y="16456"/>
                                                  <a:pt x="96919" y="17168"/>
                                                </a:cubicBezTo>
                                                <a:cubicBezTo>
                                                  <a:pt x="95041" y="18658"/>
                                                  <a:pt x="93097" y="20213"/>
                                                  <a:pt x="92255" y="22610"/>
                                                </a:cubicBezTo>
                                                <a:cubicBezTo>
                                                  <a:pt x="91672" y="24295"/>
                                                  <a:pt x="91801" y="26044"/>
                                                  <a:pt x="91931" y="27664"/>
                                                </a:cubicBezTo>
                                                <a:cubicBezTo>
                                                  <a:pt x="92060" y="29089"/>
                                                  <a:pt x="92125" y="30449"/>
                                                  <a:pt x="91801" y="31680"/>
                                                </a:cubicBezTo>
                                                <a:cubicBezTo>
                                                  <a:pt x="91024" y="34531"/>
                                                  <a:pt x="88368" y="36151"/>
                                                  <a:pt x="85517" y="37835"/>
                                                </a:cubicBezTo>
                                                <a:cubicBezTo>
                                                  <a:pt x="82861" y="39390"/>
                                                  <a:pt x="80140" y="41009"/>
                                                  <a:pt x="78650" y="43795"/>
                                                </a:cubicBezTo>
                                                <a:cubicBezTo>
                                                  <a:pt x="76317" y="48201"/>
                                                  <a:pt x="78326" y="53319"/>
                                                  <a:pt x="81241" y="57012"/>
                                                </a:cubicBezTo>
                                                <a:cubicBezTo>
                                                  <a:pt x="81824" y="57724"/>
                                                  <a:pt x="82342" y="58307"/>
                                                  <a:pt x="82926" y="58890"/>
                                                </a:cubicBezTo>
                                                <a:cubicBezTo>
                                                  <a:pt x="84092" y="60056"/>
                                                  <a:pt x="85323" y="61158"/>
                                                  <a:pt x="86554" y="62194"/>
                                                </a:cubicBezTo>
                                                <a:cubicBezTo>
                                                  <a:pt x="89275" y="64591"/>
                                                  <a:pt x="91931" y="66859"/>
                                                  <a:pt x="93486" y="69904"/>
                                                </a:cubicBezTo>
                                                <a:cubicBezTo>
                                                  <a:pt x="96142" y="75087"/>
                                                  <a:pt x="95235" y="81501"/>
                                                  <a:pt x="93745" y="87655"/>
                                                </a:cubicBezTo>
                                                <a:cubicBezTo>
                                                  <a:pt x="91154" y="98798"/>
                                                  <a:pt x="87655" y="109747"/>
                                                  <a:pt x="83249" y="120307"/>
                                                </a:cubicBezTo>
                                                <a:cubicBezTo>
                                                  <a:pt x="79039" y="130543"/>
                                                  <a:pt x="73791" y="135791"/>
                                                  <a:pt x="67507" y="135921"/>
                                                </a:cubicBezTo>
                                                <a:cubicBezTo>
                                                  <a:pt x="66729" y="135921"/>
                                                  <a:pt x="65952" y="135791"/>
                                                  <a:pt x="65174" y="135726"/>
                                                </a:cubicBezTo>
                                                <a:cubicBezTo>
                                                  <a:pt x="63036" y="135532"/>
                                                  <a:pt x="60963" y="135532"/>
                                                  <a:pt x="59408" y="136244"/>
                                                </a:cubicBezTo>
                                                <a:cubicBezTo>
                                                  <a:pt x="58242" y="136763"/>
                                                  <a:pt x="57270" y="137670"/>
                                                  <a:pt x="56364" y="138512"/>
                                                </a:cubicBezTo>
                                                <a:cubicBezTo>
                                                  <a:pt x="56104" y="138771"/>
                                                  <a:pt x="55845" y="139030"/>
                                                  <a:pt x="55586" y="139225"/>
                                                </a:cubicBezTo>
                                                <a:cubicBezTo>
                                                  <a:pt x="51180" y="143176"/>
                                                  <a:pt x="45285" y="144148"/>
                                                  <a:pt x="39066" y="145120"/>
                                                </a:cubicBezTo>
                                                <a:cubicBezTo>
                                                  <a:pt x="36280" y="145574"/>
                                                  <a:pt x="33429" y="146027"/>
                                                  <a:pt x="30708" y="146804"/>
                                                </a:cubicBezTo>
                                                <a:cubicBezTo>
                                                  <a:pt x="29477" y="147128"/>
                                                  <a:pt x="28182" y="147582"/>
                                                  <a:pt x="27210" y="148554"/>
                                                </a:cubicBezTo>
                                                <a:cubicBezTo>
                                                  <a:pt x="26497" y="149201"/>
                                                  <a:pt x="26108" y="150044"/>
                                                  <a:pt x="25720" y="150821"/>
                                                </a:cubicBezTo>
                                                <a:cubicBezTo>
                                                  <a:pt x="25590" y="151080"/>
                                                  <a:pt x="25461" y="151340"/>
                                                  <a:pt x="25266" y="151599"/>
                                                </a:cubicBezTo>
                                                <a:cubicBezTo>
                                                  <a:pt x="22804" y="155874"/>
                                                  <a:pt x="17363" y="157170"/>
                                                  <a:pt x="12115" y="158401"/>
                                                </a:cubicBezTo>
                                                <a:cubicBezTo>
                                                  <a:pt x="11208" y="158660"/>
                                                  <a:pt x="10366" y="158855"/>
                                                  <a:pt x="9523" y="159049"/>
                                                </a:cubicBezTo>
                                                <a:cubicBezTo>
                                                  <a:pt x="7256" y="159632"/>
                                                  <a:pt x="4729" y="160474"/>
                                                  <a:pt x="2980" y="162418"/>
                                                </a:cubicBezTo>
                                                <a:cubicBezTo>
                                                  <a:pt x="1943" y="163584"/>
                                                  <a:pt x="1360" y="164880"/>
                                                  <a:pt x="777" y="166240"/>
                                                </a:cubicBezTo>
                                                <a:lnTo>
                                                  <a:pt x="648" y="166499"/>
                                                </a:lnTo>
                                                <a:cubicBezTo>
                                                  <a:pt x="648" y="166499"/>
                                                  <a:pt x="518" y="166759"/>
                                                  <a:pt x="454" y="166953"/>
                                                </a:cubicBezTo>
                                                <a:lnTo>
                                                  <a:pt x="454" y="167082"/>
                                                </a:lnTo>
                                                <a:cubicBezTo>
                                                  <a:pt x="454" y="167082"/>
                                                  <a:pt x="0" y="167925"/>
                                                  <a:pt x="0" y="167925"/>
                                                </a:cubicBezTo>
                                                <a:lnTo>
                                                  <a:pt x="1101" y="168249"/>
                                                </a:lnTo>
                                                <a:cubicBezTo>
                                                  <a:pt x="1101" y="168249"/>
                                                  <a:pt x="1490" y="168378"/>
                                                  <a:pt x="1749" y="168443"/>
                                                </a:cubicBezTo>
                                                <a:cubicBezTo>
                                                  <a:pt x="2202" y="168443"/>
                                                  <a:pt x="2656" y="168637"/>
                                                  <a:pt x="2980" y="168832"/>
                                                </a:cubicBezTo>
                                                <a:cubicBezTo>
                                                  <a:pt x="5053" y="169803"/>
                                                  <a:pt x="6932" y="171488"/>
                                                  <a:pt x="8876" y="174274"/>
                                                </a:cubicBezTo>
                                                <a:cubicBezTo>
                                                  <a:pt x="12957" y="179975"/>
                                                  <a:pt x="15354" y="186777"/>
                                                  <a:pt x="17686" y="193385"/>
                                                </a:cubicBezTo>
                                                <a:cubicBezTo>
                                                  <a:pt x="18593" y="195977"/>
                                                  <a:pt x="19501" y="198504"/>
                                                  <a:pt x="20472" y="201030"/>
                                                </a:cubicBezTo>
                                                <a:cubicBezTo>
                                                  <a:pt x="23388" y="208351"/>
                                                  <a:pt x="27404" y="215931"/>
                                                  <a:pt x="33170" y="224871"/>
                                                </a:cubicBezTo>
                                                <a:cubicBezTo>
                                                  <a:pt x="33170" y="224936"/>
                                                  <a:pt x="33170" y="224936"/>
                                                  <a:pt x="33170" y="225001"/>
                                                </a:cubicBezTo>
                                                <a:lnTo>
                                                  <a:pt x="33624" y="225649"/>
                                                </a:lnTo>
                                                <a:lnTo>
                                                  <a:pt x="34336" y="225390"/>
                                                </a:lnTo>
                                                <a:cubicBezTo>
                                                  <a:pt x="40361" y="222928"/>
                                                  <a:pt x="46775" y="220854"/>
                                                  <a:pt x="52930" y="218781"/>
                                                </a:cubicBezTo>
                                                <a:cubicBezTo>
                                                  <a:pt x="58566" y="216967"/>
                                                  <a:pt x="64332" y="215024"/>
                                                  <a:pt x="69904" y="212886"/>
                                                </a:cubicBezTo>
                                                <a:cubicBezTo>
                                                  <a:pt x="95948" y="202844"/>
                                                  <a:pt x="119530" y="185805"/>
                                                  <a:pt x="138123" y="163714"/>
                                                </a:cubicBezTo>
                                                <a:cubicBezTo>
                                                  <a:pt x="140585" y="160733"/>
                                                  <a:pt x="143306" y="157170"/>
                                                  <a:pt x="143760" y="153024"/>
                                                </a:cubicBezTo>
                                                <a:cubicBezTo>
                                                  <a:pt x="144083" y="150173"/>
                                                  <a:pt x="143306" y="147452"/>
                                                  <a:pt x="142593" y="144861"/>
                                                </a:cubicBezTo>
                                                <a:cubicBezTo>
                                                  <a:pt x="142010" y="142723"/>
                                                  <a:pt x="141492" y="140650"/>
                                                  <a:pt x="141427" y="138641"/>
                                                </a:cubicBezTo>
                                                <a:cubicBezTo>
                                                  <a:pt x="141427" y="133264"/>
                                                  <a:pt x="144796" y="128405"/>
                                                  <a:pt x="148618" y="123546"/>
                                                </a:cubicBezTo>
                                                <a:lnTo>
                                                  <a:pt x="182890" y="80334"/>
                                                </a:lnTo>
                                                <a:cubicBezTo>
                                                  <a:pt x="186194" y="76123"/>
                                                  <a:pt x="190340" y="70940"/>
                                                  <a:pt x="190988" y="64786"/>
                                                </a:cubicBezTo>
                                                <a:cubicBezTo>
                                                  <a:pt x="191377" y="61223"/>
                                                  <a:pt x="190146" y="57335"/>
                                                  <a:pt x="187749" y="54614"/>
                                                </a:cubicBezTo>
                                                <a:close/>
                                                <a:moveTo>
                                                  <a:pt x="139548" y="138641"/>
                                                </a:moveTo>
                                                <a:cubicBezTo>
                                                  <a:pt x="139613" y="140974"/>
                                                  <a:pt x="140196" y="143176"/>
                                                  <a:pt x="140779" y="145314"/>
                                                </a:cubicBezTo>
                                                <a:cubicBezTo>
                                                  <a:pt x="141492" y="147906"/>
                                                  <a:pt x="142140" y="150368"/>
                                                  <a:pt x="141880" y="152829"/>
                                                </a:cubicBezTo>
                                                <a:cubicBezTo>
                                                  <a:pt x="141492" y="156457"/>
                                                  <a:pt x="139095" y="159567"/>
                                                  <a:pt x="136698" y="162483"/>
                                                </a:cubicBezTo>
                                                <a:cubicBezTo>
                                                  <a:pt x="118299" y="184315"/>
                                                  <a:pt x="94976" y="201095"/>
                                                  <a:pt x="69256" y="211072"/>
                                                </a:cubicBezTo>
                                                <a:cubicBezTo>
                                                  <a:pt x="63749" y="213210"/>
                                                  <a:pt x="57983" y="215153"/>
                                                  <a:pt x="52411" y="216967"/>
                                                </a:cubicBezTo>
                                                <a:cubicBezTo>
                                                  <a:pt x="46451" y="218911"/>
                                                  <a:pt x="40297" y="220984"/>
                                                  <a:pt x="34466" y="223252"/>
                                                </a:cubicBezTo>
                                                <a:cubicBezTo>
                                                  <a:pt x="28959" y="214700"/>
                                                  <a:pt x="25072" y="207379"/>
                                                  <a:pt x="22286" y="200318"/>
                                                </a:cubicBezTo>
                                                <a:cubicBezTo>
                                                  <a:pt x="21314" y="197856"/>
                                                  <a:pt x="20407" y="195264"/>
                                                  <a:pt x="19501" y="192738"/>
                                                </a:cubicBezTo>
                                                <a:cubicBezTo>
                                                  <a:pt x="17104" y="186000"/>
                                                  <a:pt x="14706" y="179068"/>
                                                  <a:pt x="10430" y="173107"/>
                                                </a:cubicBezTo>
                                                <a:cubicBezTo>
                                                  <a:pt x="8292" y="170127"/>
                                                  <a:pt x="6219" y="168184"/>
                                                  <a:pt x="3822" y="167018"/>
                                                </a:cubicBezTo>
                                                <a:cubicBezTo>
                                                  <a:pt x="3433" y="166888"/>
                                                  <a:pt x="3110" y="166759"/>
                                                  <a:pt x="2721" y="166629"/>
                                                </a:cubicBezTo>
                                                <a:cubicBezTo>
                                                  <a:pt x="3174" y="165592"/>
                                                  <a:pt x="3693" y="164556"/>
                                                  <a:pt x="4405" y="163714"/>
                                                </a:cubicBezTo>
                                                <a:cubicBezTo>
                                                  <a:pt x="5830" y="162159"/>
                                                  <a:pt x="8033" y="161446"/>
                                                  <a:pt x="9977" y="160928"/>
                                                </a:cubicBezTo>
                                                <a:cubicBezTo>
                                                  <a:pt x="10819" y="160733"/>
                                                  <a:pt x="11661" y="160539"/>
                                                  <a:pt x="12504" y="160345"/>
                                                </a:cubicBezTo>
                                                <a:cubicBezTo>
                                                  <a:pt x="17945" y="159049"/>
                                                  <a:pt x="24035" y="157559"/>
                                                  <a:pt x="26951" y="152570"/>
                                                </a:cubicBezTo>
                                                <a:cubicBezTo>
                                                  <a:pt x="27145" y="152311"/>
                                                  <a:pt x="27275" y="151987"/>
                                                  <a:pt x="27404" y="151728"/>
                                                </a:cubicBezTo>
                                                <a:cubicBezTo>
                                                  <a:pt x="27793" y="151015"/>
                                                  <a:pt x="28117" y="150368"/>
                                                  <a:pt x="28570" y="149914"/>
                                                </a:cubicBezTo>
                                                <a:cubicBezTo>
                                                  <a:pt x="29218" y="149331"/>
                                                  <a:pt x="30125" y="149007"/>
                                                  <a:pt x="31227" y="148683"/>
                                                </a:cubicBezTo>
                                                <a:cubicBezTo>
                                                  <a:pt x="33818" y="147971"/>
                                                  <a:pt x="36669" y="147517"/>
                                                  <a:pt x="39390" y="147064"/>
                                                </a:cubicBezTo>
                                                <a:cubicBezTo>
                                                  <a:pt x="45609" y="146027"/>
                                                  <a:pt x="52088" y="144990"/>
                                                  <a:pt x="56882" y="140715"/>
                                                </a:cubicBezTo>
                                                <a:cubicBezTo>
                                                  <a:pt x="57206" y="140455"/>
                                                  <a:pt x="57465" y="140196"/>
                                                  <a:pt x="57724" y="139937"/>
                                                </a:cubicBezTo>
                                                <a:cubicBezTo>
                                                  <a:pt x="58566" y="139160"/>
                                                  <a:pt x="59344" y="138382"/>
                                                  <a:pt x="60251" y="137994"/>
                                                </a:cubicBezTo>
                                                <a:cubicBezTo>
                                                  <a:pt x="61417" y="137475"/>
                                                  <a:pt x="63166" y="137540"/>
                                                  <a:pt x="65045" y="137670"/>
                                                </a:cubicBezTo>
                                                <a:cubicBezTo>
                                                  <a:pt x="65822" y="137670"/>
                                                  <a:pt x="66664" y="137864"/>
                                                  <a:pt x="67636" y="137864"/>
                                                </a:cubicBezTo>
                                                <a:cubicBezTo>
                                                  <a:pt x="74633" y="137734"/>
                                                  <a:pt x="80464" y="132098"/>
                                                  <a:pt x="85064" y="121020"/>
                                                </a:cubicBezTo>
                                                <a:cubicBezTo>
                                                  <a:pt x="89469" y="110395"/>
                                                  <a:pt x="93032" y="99317"/>
                                                  <a:pt x="95688" y="88109"/>
                                                </a:cubicBezTo>
                                                <a:cubicBezTo>
                                                  <a:pt x="97179" y="81565"/>
                                                  <a:pt x="98150" y="74763"/>
                                                  <a:pt x="95235" y="69062"/>
                                                </a:cubicBezTo>
                                                <a:cubicBezTo>
                                                  <a:pt x="93486" y="65628"/>
                                                  <a:pt x="90570" y="63166"/>
                                                  <a:pt x="87785" y="60704"/>
                                                </a:cubicBezTo>
                                                <a:cubicBezTo>
                                                  <a:pt x="86618" y="59732"/>
                                                  <a:pt x="85388" y="58631"/>
                                                  <a:pt x="84286" y="57530"/>
                                                </a:cubicBezTo>
                                                <a:cubicBezTo>
                                                  <a:pt x="81047" y="54290"/>
                                                  <a:pt x="78067" y="48978"/>
                                                  <a:pt x="80399" y="44702"/>
                                                </a:cubicBezTo>
                                                <a:cubicBezTo>
                                                  <a:pt x="81630" y="42435"/>
                                                  <a:pt x="83962" y="41009"/>
                                                  <a:pt x="86489" y="39454"/>
                                                </a:cubicBezTo>
                                                <a:cubicBezTo>
                                                  <a:pt x="89534" y="37640"/>
                                                  <a:pt x="92708" y="35762"/>
                                                  <a:pt x="93680" y="32199"/>
                                                </a:cubicBezTo>
                                                <a:cubicBezTo>
                                                  <a:pt x="94133" y="30644"/>
                                                  <a:pt x="94004" y="29089"/>
                                                  <a:pt x="93874" y="27534"/>
                                                </a:cubicBezTo>
                                                <a:cubicBezTo>
                                                  <a:pt x="93745" y="25979"/>
                                                  <a:pt x="93680" y="24554"/>
                                                  <a:pt x="94133" y="23258"/>
                                                </a:cubicBezTo>
                                                <a:cubicBezTo>
                                                  <a:pt x="94717" y="21379"/>
                                                  <a:pt x="96401" y="20084"/>
                                                  <a:pt x="98150" y="18658"/>
                                                </a:cubicBezTo>
                                                <a:cubicBezTo>
                                                  <a:pt x="98992" y="18010"/>
                                                  <a:pt x="99964" y="17233"/>
                                                  <a:pt x="100742" y="16456"/>
                                                </a:cubicBezTo>
                                                <a:cubicBezTo>
                                                  <a:pt x="101973" y="15225"/>
                                                  <a:pt x="102880" y="13799"/>
                                                  <a:pt x="103786" y="12374"/>
                                                </a:cubicBezTo>
                                                <a:cubicBezTo>
                                                  <a:pt x="104305" y="11597"/>
                                                  <a:pt x="104823" y="10819"/>
                                                  <a:pt x="105406" y="10042"/>
                                                </a:cubicBezTo>
                                                <a:cubicBezTo>
                                                  <a:pt x="107220" y="7580"/>
                                                  <a:pt x="109617" y="5572"/>
                                                  <a:pt x="112662" y="3822"/>
                                                </a:cubicBezTo>
                                                <a:lnTo>
                                                  <a:pt x="183797" y="41593"/>
                                                </a:lnTo>
                                                <a:lnTo>
                                                  <a:pt x="179716" y="53384"/>
                                                </a:lnTo>
                                                <a:lnTo>
                                                  <a:pt x="181076" y="53384"/>
                                                </a:lnTo>
                                                <a:cubicBezTo>
                                                  <a:pt x="183603" y="53384"/>
                                                  <a:pt x="185352" y="54744"/>
                                                  <a:pt x="186388" y="55910"/>
                                                </a:cubicBezTo>
                                                <a:cubicBezTo>
                                                  <a:pt x="188397" y="58178"/>
                                                  <a:pt x="189433" y="61546"/>
                                                  <a:pt x="189110" y="64591"/>
                                                </a:cubicBezTo>
                                                <a:cubicBezTo>
                                                  <a:pt x="188526" y="70228"/>
                                                  <a:pt x="184574" y="75151"/>
                                                  <a:pt x="181465" y="79103"/>
                                                </a:cubicBezTo>
                                                <a:lnTo>
                                                  <a:pt x="147193" y="122380"/>
                                                </a:lnTo>
                                                <a:cubicBezTo>
                                                  <a:pt x="143111" y="127498"/>
                                                  <a:pt x="139483" y="132616"/>
                                                  <a:pt x="139548" y="138641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6" name="Freeform: Shape 1545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BFE1EEC4-B9F3-4304-BB7A-B9027CE6B3A4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305763" y="3668087"/>
                                            <a:ext cx="116313" cy="9689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329 w 116313"/>
                                              <a:gd name="connsiteY0" fmla="*/ 70839 h 96894"/>
                                              <a:gd name="connsiteX1" fmla="*/ 8621 w 116313"/>
                                              <a:gd name="connsiteY1" fmla="*/ 84444 h 96894"/>
                                              <a:gd name="connsiteX2" fmla="*/ 20348 w 116313"/>
                                              <a:gd name="connsiteY2" fmla="*/ 88331 h 96894"/>
                                              <a:gd name="connsiteX3" fmla="*/ 24623 w 116313"/>
                                              <a:gd name="connsiteY3" fmla="*/ 93968 h 96894"/>
                                              <a:gd name="connsiteX4" fmla="*/ 35054 w 116313"/>
                                              <a:gd name="connsiteY4" fmla="*/ 96689 h 96894"/>
                                              <a:gd name="connsiteX5" fmla="*/ 74638 w 116313"/>
                                              <a:gd name="connsiteY5" fmla="*/ 94033 h 96894"/>
                                              <a:gd name="connsiteX6" fmla="*/ 78007 w 116313"/>
                                              <a:gd name="connsiteY6" fmla="*/ 93126 h 96894"/>
                                              <a:gd name="connsiteX7" fmla="*/ 75286 w 116313"/>
                                              <a:gd name="connsiteY7" fmla="*/ 80557 h 96894"/>
                                              <a:gd name="connsiteX8" fmla="*/ 88502 w 116313"/>
                                              <a:gd name="connsiteY8" fmla="*/ 68313 h 96894"/>
                                              <a:gd name="connsiteX9" fmla="*/ 88956 w 116313"/>
                                              <a:gd name="connsiteY9" fmla="*/ 59308 h 96894"/>
                                              <a:gd name="connsiteX10" fmla="*/ 95823 w 116313"/>
                                              <a:gd name="connsiteY10" fmla="*/ 52116 h 96894"/>
                                              <a:gd name="connsiteX11" fmla="*/ 100423 w 116313"/>
                                              <a:gd name="connsiteY11" fmla="*/ 45832 h 96894"/>
                                              <a:gd name="connsiteX12" fmla="*/ 109493 w 116313"/>
                                              <a:gd name="connsiteY12" fmla="*/ 38576 h 96894"/>
                                              <a:gd name="connsiteX13" fmla="*/ 116036 w 116313"/>
                                              <a:gd name="connsiteY13" fmla="*/ 13763 h 96894"/>
                                              <a:gd name="connsiteX14" fmla="*/ 96601 w 116313"/>
                                              <a:gd name="connsiteY14" fmla="*/ 1195 h 96894"/>
                                              <a:gd name="connsiteX15" fmla="*/ 86753 w 116313"/>
                                              <a:gd name="connsiteY15" fmla="*/ 18752 h 96894"/>
                                              <a:gd name="connsiteX16" fmla="*/ 71788 w 116313"/>
                                              <a:gd name="connsiteY16" fmla="*/ 29441 h 96894"/>
                                              <a:gd name="connsiteX17" fmla="*/ 55850 w 116313"/>
                                              <a:gd name="connsiteY17" fmla="*/ 51922 h 96894"/>
                                              <a:gd name="connsiteX18" fmla="*/ 26179 w 116313"/>
                                              <a:gd name="connsiteY18" fmla="*/ 55485 h 96894"/>
                                              <a:gd name="connsiteX19" fmla="*/ 2596 w 116313"/>
                                              <a:gd name="connsiteY19" fmla="*/ 57040 h 96894"/>
                                              <a:gd name="connsiteX20" fmla="*/ 782 w 116313"/>
                                              <a:gd name="connsiteY20" fmla="*/ 64102 h 96894"/>
                                              <a:gd name="connsiteX21" fmla="*/ 329 w 116313"/>
                                              <a:gd name="connsiteY21" fmla="*/ 70904 h 9689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16313" h="96894">
                                                <a:moveTo>
                                                  <a:pt x="329" y="70839"/>
                                                </a:moveTo>
                                                <a:cubicBezTo>
                                                  <a:pt x="2013" y="76152"/>
                                                  <a:pt x="10435" y="79132"/>
                                                  <a:pt x="8621" y="84444"/>
                                                </a:cubicBezTo>
                                                <a:cubicBezTo>
                                                  <a:pt x="12833" y="83473"/>
                                                  <a:pt x="17562" y="85028"/>
                                                  <a:pt x="20348" y="88331"/>
                                                </a:cubicBezTo>
                                                <a:cubicBezTo>
                                                  <a:pt x="21902" y="90145"/>
                                                  <a:pt x="22874" y="92413"/>
                                                  <a:pt x="24623" y="93968"/>
                                                </a:cubicBezTo>
                                                <a:cubicBezTo>
                                                  <a:pt x="27409" y="96365"/>
                                                  <a:pt x="31361" y="96624"/>
                                                  <a:pt x="35054" y="96689"/>
                                                </a:cubicBezTo>
                                                <a:cubicBezTo>
                                                  <a:pt x="48335" y="97013"/>
                                                  <a:pt x="61811" y="97401"/>
                                                  <a:pt x="74638" y="94033"/>
                                                </a:cubicBezTo>
                                                <a:cubicBezTo>
                                                  <a:pt x="75739" y="93773"/>
                                                  <a:pt x="76905" y="93450"/>
                                                  <a:pt x="78007" y="93126"/>
                                                </a:cubicBezTo>
                                                <a:cubicBezTo>
                                                  <a:pt x="75027" y="89498"/>
                                                  <a:pt x="73083" y="84639"/>
                                                  <a:pt x="75286" y="80557"/>
                                                </a:cubicBezTo>
                                                <a:cubicBezTo>
                                                  <a:pt x="78201" y="75115"/>
                                                  <a:pt x="86883" y="74208"/>
                                                  <a:pt x="88502" y="68313"/>
                                                </a:cubicBezTo>
                                                <a:cubicBezTo>
                                                  <a:pt x="89280" y="65397"/>
                                                  <a:pt x="87984" y="62158"/>
                                                  <a:pt x="88956" y="59308"/>
                                                </a:cubicBezTo>
                                                <a:cubicBezTo>
                                                  <a:pt x="90057" y="56133"/>
                                                  <a:pt x="93491" y="54513"/>
                                                  <a:pt x="95823" y="52116"/>
                                                </a:cubicBezTo>
                                                <a:cubicBezTo>
                                                  <a:pt x="97637" y="50237"/>
                                                  <a:pt x="98803" y="47905"/>
                                                  <a:pt x="100423" y="45832"/>
                                                </a:cubicBezTo>
                                                <a:cubicBezTo>
                                                  <a:pt x="102820" y="42658"/>
                                                  <a:pt x="105994" y="40325"/>
                                                  <a:pt x="109493" y="38576"/>
                                                </a:cubicBezTo>
                                                <a:cubicBezTo>
                                                  <a:pt x="113510" y="30802"/>
                                                  <a:pt x="117397" y="22380"/>
                                                  <a:pt x="116036" y="13763"/>
                                                </a:cubicBezTo>
                                                <a:cubicBezTo>
                                                  <a:pt x="114611" y="4823"/>
                                                  <a:pt x="104569" y="-3081"/>
                                                  <a:pt x="96601" y="1195"/>
                                                </a:cubicBezTo>
                                                <a:cubicBezTo>
                                                  <a:pt x="90511" y="4434"/>
                                                  <a:pt x="89085" y="12273"/>
                                                  <a:pt x="86753" y="18752"/>
                                                </a:cubicBezTo>
                                                <a:cubicBezTo>
                                                  <a:pt x="84486" y="25230"/>
                                                  <a:pt x="78136" y="32162"/>
                                                  <a:pt x="71788" y="29441"/>
                                                </a:cubicBezTo>
                                                <a:cubicBezTo>
                                                  <a:pt x="73666" y="39289"/>
                                                  <a:pt x="65244" y="48488"/>
                                                  <a:pt x="55850" y="51922"/>
                                                </a:cubicBezTo>
                                                <a:cubicBezTo>
                                                  <a:pt x="46456" y="55291"/>
                                                  <a:pt x="36155" y="54643"/>
                                                  <a:pt x="26179" y="55485"/>
                                                </a:cubicBezTo>
                                                <a:cubicBezTo>
                                                  <a:pt x="18404" y="56133"/>
                                                  <a:pt x="10241" y="57623"/>
                                                  <a:pt x="2596" y="57040"/>
                                                </a:cubicBezTo>
                                                <a:cubicBezTo>
                                                  <a:pt x="2013" y="59372"/>
                                                  <a:pt x="1365" y="61769"/>
                                                  <a:pt x="782" y="64102"/>
                                                </a:cubicBezTo>
                                                <a:cubicBezTo>
                                                  <a:pt x="199" y="66369"/>
                                                  <a:pt x="-384" y="68701"/>
                                                  <a:pt x="329" y="70904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7" name="Freeform: Shape 1546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DEB83DD8-3356-4F8D-88BE-1C384D6A1096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273245" y="3667403"/>
                                            <a:ext cx="22480" cy="41722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10625 w 22480"/>
                                              <a:gd name="connsiteY0" fmla="*/ 40750 h 41722"/>
                                              <a:gd name="connsiteX1" fmla="*/ 14965 w 22480"/>
                                              <a:gd name="connsiteY1" fmla="*/ 41722 h 41722"/>
                                              <a:gd name="connsiteX2" fmla="*/ 22351 w 22480"/>
                                              <a:gd name="connsiteY2" fmla="*/ 27275 h 41722"/>
                                              <a:gd name="connsiteX3" fmla="*/ 22480 w 22480"/>
                                              <a:gd name="connsiteY3" fmla="*/ 5960 h 41722"/>
                                              <a:gd name="connsiteX4" fmla="*/ 11208 w 22480"/>
                                              <a:gd name="connsiteY4" fmla="*/ 0 h 41722"/>
                                              <a:gd name="connsiteX5" fmla="*/ 0 w 22480"/>
                                              <a:gd name="connsiteY5" fmla="*/ 30060 h 41722"/>
                                              <a:gd name="connsiteX6" fmla="*/ 4600 w 22480"/>
                                              <a:gd name="connsiteY6" fmla="*/ 37381 h 41722"/>
                                              <a:gd name="connsiteX7" fmla="*/ 10560 w 22480"/>
                                              <a:gd name="connsiteY7" fmla="*/ 40750 h 41722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22480" h="41722">
                                                <a:moveTo>
                                                  <a:pt x="10625" y="40750"/>
                                                </a:moveTo>
                                                <a:cubicBezTo>
                                                  <a:pt x="12050" y="41204"/>
                                                  <a:pt x="13475" y="41528"/>
                                                  <a:pt x="14965" y="41722"/>
                                                </a:cubicBezTo>
                                                <a:cubicBezTo>
                                                  <a:pt x="13864" y="35243"/>
                                                  <a:pt x="16002" y="28765"/>
                                                  <a:pt x="22351" y="27275"/>
                                                </a:cubicBezTo>
                                                <a:cubicBezTo>
                                                  <a:pt x="22351" y="20148"/>
                                                  <a:pt x="22416" y="13087"/>
                                                  <a:pt x="22480" y="5960"/>
                                                </a:cubicBezTo>
                                                <a:cubicBezTo>
                                                  <a:pt x="18723" y="3952"/>
                                                  <a:pt x="14965" y="1943"/>
                                                  <a:pt x="11208" y="0"/>
                                                </a:cubicBezTo>
                                                <a:cubicBezTo>
                                                  <a:pt x="6154" y="9459"/>
                                                  <a:pt x="2397" y="19630"/>
                                                  <a:pt x="0" y="30060"/>
                                                </a:cubicBezTo>
                                                <a:cubicBezTo>
                                                  <a:pt x="1101" y="32782"/>
                                                  <a:pt x="2461" y="35438"/>
                                                  <a:pt x="4600" y="37381"/>
                                                </a:cubicBezTo>
                                                <a:cubicBezTo>
                                                  <a:pt x="6284" y="38936"/>
                                                  <a:pt x="8422" y="39973"/>
                                                  <a:pt x="10560" y="40750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8" name="Freeform: Shape 1547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088DD172-1336-4A58-9D8F-518F8DDBC0A4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265931" y="3655614"/>
                                            <a:ext cx="10999" cy="16259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10359 w 10999"/>
                                              <a:gd name="connsiteY0" fmla="*/ 2071 h 16259"/>
                                              <a:gd name="connsiteX1" fmla="*/ 9905 w 10999"/>
                                              <a:gd name="connsiteY1" fmla="*/ 970 h 16259"/>
                                              <a:gd name="connsiteX2" fmla="*/ 8674 w 10999"/>
                                              <a:gd name="connsiteY2" fmla="*/ 257 h 16259"/>
                                              <a:gd name="connsiteX3" fmla="*/ 3362 w 10999"/>
                                              <a:gd name="connsiteY3" fmla="*/ 776 h 16259"/>
                                              <a:gd name="connsiteX4" fmla="*/ 2066 w 10999"/>
                                              <a:gd name="connsiteY4" fmla="*/ 1877 h 16259"/>
                                              <a:gd name="connsiteX5" fmla="*/ 447 w 10999"/>
                                              <a:gd name="connsiteY5" fmla="*/ 10105 h 16259"/>
                                              <a:gd name="connsiteX6" fmla="*/ 641 w 10999"/>
                                              <a:gd name="connsiteY6" fmla="*/ 10558 h 16259"/>
                                              <a:gd name="connsiteX7" fmla="*/ 965 w 10999"/>
                                              <a:gd name="connsiteY7" fmla="*/ 11465 h 16259"/>
                                              <a:gd name="connsiteX8" fmla="*/ 965 w 10999"/>
                                              <a:gd name="connsiteY8" fmla="*/ 12502 h 16259"/>
                                              <a:gd name="connsiteX9" fmla="*/ 1483 w 10999"/>
                                              <a:gd name="connsiteY9" fmla="*/ 15288 h 16259"/>
                                              <a:gd name="connsiteX10" fmla="*/ 3491 w 10999"/>
                                              <a:gd name="connsiteY10" fmla="*/ 16260 h 16259"/>
                                              <a:gd name="connsiteX11" fmla="*/ 3945 w 10999"/>
                                              <a:gd name="connsiteY11" fmla="*/ 16260 h 16259"/>
                                              <a:gd name="connsiteX12" fmla="*/ 7703 w 10999"/>
                                              <a:gd name="connsiteY12" fmla="*/ 14640 h 16259"/>
                                              <a:gd name="connsiteX13" fmla="*/ 9193 w 10999"/>
                                              <a:gd name="connsiteY13" fmla="*/ 10882 h 16259"/>
                                              <a:gd name="connsiteX14" fmla="*/ 9193 w 10999"/>
                                              <a:gd name="connsiteY14" fmla="*/ 10623 h 16259"/>
                                              <a:gd name="connsiteX15" fmla="*/ 9193 w 10999"/>
                                              <a:gd name="connsiteY15" fmla="*/ 10105 h 16259"/>
                                              <a:gd name="connsiteX16" fmla="*/ 9840 w 10999"/>
                                              <a:gd name="connsiteY16" fmla="*/ 9068 h 16259"/>
                                              <a:gd name="connsiteX17" fmla="*/ 10942 w 10999"/>
                                              <a:gd name="connsiteY17" fmla="*/ 7254 h 16259"/>
                                              <a:gd name="connsiteX18" fmla="*/ 10942 w 10999"/>
                                              <a:gd name="connsiteY18" fmla="*/ 5570 h 16259"/>
                                              <a:gd name="connsiteX19" fmla="*/ 10423 w 10999"/>
                                              <a:gd name="connsiteY19" fmla="*/ 2071 h 16259"/>
                                              <a:gd name="connsiteX20" fmla="*/ 8285 w 10999"/>
                                              <a:gd name="connsiteY20" fmla="*/ 7773 h 16259"/>
                                              <a:gd name="connsiteX21" fmla="*/ 7184 w 10999"/>
                                              <a:gd name="connsiteY21" fmla="*/ 9781 h 16259"/>
                                              <a:gd name="connsiteX22" fmla="*/ 7184 w 10999"/>
                                              <a:gd name="connsiteY22" fmla="*/ 10753 h 16259"/>
                                              <a:gd name="connsiteX23" fmla="*/ 7184 w 10999"/>
                                              <a:gd name="connsiteY23" fmla="*/ 11012 h 16259"/>
                                              <a:gd name="connsiteX24" fmla="*/ 6277 w 10999"/>
                                              <a:gd name="connsiteY24" fmla="*/ 13279 h 16259"/>
                                              <a:gd name="connsiteX25" fmla="*/ 3880 w 10999"/>
                                              <a:gd name="connsiteY25" fmla="*/ 14316 h 16259"/>
                                              <a:gd name="connsiteX26" fmla="*/ 3621 w 10999"/>
                                              <a:gd name="connsiteY26" fmla="*/ 14316 h 16259"/>
                                              <a:gd name="connsiteX27" fmla="*/ 2908 w 10999"/>
                                              <a:gd name="connsiteY27" fmla="*/ 14057 h 16259"/>
                                              <a:gd name="connsiteX28" fmla="*/ 2844 w 10999"/>
                                              <a:gd name="connsiteY28" fmla="*/ 12761 h 16259"/>
                                              <a:gd name="connsiteX29" fmla="*/ 2844 w 10999"/>
                                              <a:gd name="connsiteY29" fmla="*/ 11271 h 16259"/>
                                              <a:gd name="connsiteX30" fmla="*/ 2455 w 10999"/>
                                              <a:gd name="connsiteY30" fmla="*/ 9846 h 16259"/>
                                              <a:gd name="connsiteX31" fmla="*/ 2325 w 10999"/>
                                              <a:gd name="connsiteY31" fmla="*/ 9457 h 16259"/>
                                              <a:gd name="connsiteX32" fmla="*/ 3491 w 10999"/>
                                              <a:gd name="connsiteY32" fmla="*/ 3173 h 16259"/>
                                              <a:gd name="connsiteX33" fmla="*/ 4334 w 10999"/>
                                              <a:gd name="connsiteY33" fmla="*/ 2395 h 16259"/>
                                              <a:gd name="connsiteX34" fmla="*/ 6342 w 10999"/>
                                              <a:gd name="connsiteY34" fmla="*/ 1942 h 16259"/>
                                              <a:gd name="connsiteX35" fmla="*/ 8285 w 10999"/>
                                              <a:gd name="connsiteY35" fmla="*/ 2136 h 16259"/>
                                              <a:gd name="connsiteX36" fmla="*/ 8415 w 10999"/>
                                              <a:gd name="connsiteY36" fmla="*/ 2331 h 16259"/>
                                              <a:gd name="connsiteX37" fmla="*/ 8934 w 10999"/>
                                              <a:gd name="connsiteY37" fmla="*/ 5829 h 16259"/>
                                              <a:gd name="connsiteX38" fmla="*/ 8998 w 10999"/>
                                              <a:gd name="connsiteY38" fmla="*/ 6801 h 16259"/>
                                              <a:gd name="connsiteX39" fmla="*/ 8285 w 10999"/>
                                              <a:gd name="connsiteY39" fmla="*/ 7773 h 16259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0999" h="16259">
                                                <a:moveTo>
                                                  <a:pt x="10359" y="2071"/>
                                                </a:moveTo>
                                                <a:cubicBezTo>
                                                  <a:pt x="10359" y="2071"/>
                                                  <a:pt x="10229" y="1359"/>
                                                  <a:pt x="9905" y="970"/>
                                                </a:cubicBezTo>
                                                <a:cubicBezTo>
                                                  <a:pt x="9516" y="452"/>
                                                  <a:pt x="8934" y="322"/>
                                                  <a:pt x="8674" y="257"/>
                                                </a:cubicBezTo>
                                                <a:cubicBezTo>
                                                  <a:pt x="6407" y="-196"/>
                                                  <a:pt x="4722" y="-67"/>
                                                  <a:pt x="3362" y="776"/>
                                                </a:cubicBezTo>
                                                <a:cubicBezTo>
                                                  <a:pt x="2908" y="1035"/>
                                                  <a:pt x="2455" y="1424"/>
                                                  <a:pt x="2066" y="1877"/>
                                                </a:cubicBezTo>
                                                <a:cubicBezTo>
                                                  <a:pt x="122" y="4080"/>
                                                  <a:pt x="-525" y="7384"/>
                                                  <a:pt x="447" y="10105"/>
                                                </a:cubicBezTo>
                                                <a:lnTo>
                                                  <a:pt x="641" y="10558"/>
                                                </a:lnTo>
                                                <a:cubicBezTo>
                                                  <a:pt x="770" y="10882"/>
                                                  <a:pt x="900" y="11206"/>
                                                  <a:pt x="965" y="11465"/>
                                                </a:cubicBezTo>
                                                <a:cubicBezTo>
                                                  <a:pt x="965" y="11789"/>
                                                  <a:pt x="965" y="12113"/>
                                                  <a:pt x="965" y="12502"/>
                                                </a:cubicBezTo>
                                                <a:cubicBezTo>
                                                  <a:pt x="835" y="13344"/>
                                                  <a:pt x="770" y="14446"/>
                                                  <a:pt x="1483" y="15288"/>
                                                </a:cubicBezTo>
                                                <a:cubicBezTo>
                                                  <a:pt x="1937" y="15806"/>
                                                  <a:pt x="2649" y="16195"/>
                                                  <a:pt x="3491" y="16260"/>
                                                </a:cubicBezTo>
                                                <a:lnTo>
                                                  <a:pt x="3945" y="16260"/>
                                                </a:lnTo>
                                                <a:cubicBezTo>
                                                  <a:pt x="5306" y="16260"/>
                                                  <a:pt x="6731" y="15676"/>
                                                  <a:pt x="7703" y="14640"/>
                                                </a:cubicBezTo>
                                                <a:cubicBezTo>
                                                  <a:pt x="8739" y="13603"/>
                                                  <a:pt x="9257" y="12243"/>
                                                  <a:pt x="9193" y="10882"/>
                                                </a:cubicBezTo>
                                                <a:lnTo>
                                                  <a:pt x="9193" y="10623"/>
                                                </a:lnTo>
                                                <a:cubicBezTo>
                                                  <a:pt x="9193" y="10623"/>
                                                  <a:pt x="9128" y="10234"/>
                                                  <a:pt x="9193" y="10105"/>
                                                </a:cubicBezTo>
                                                <a:cubicBezTo>
                                                  <a:pt x="9193" y="9781"/>
                                                  <a:pt x="9516" y="9457"/>
                                                  <a:pt x="9840" y="9068"/>
                                                </a:cubicBezTo>
                                                <a:cubicBezTo>
                                                  <a:pt x="10294" y="8615"/>
                                                  <a:pt x="10747" y="8032"/>
                                                  <a:pt x="10942" y="7254"/>
                                                </a:cubicBezTo>
                                                <a:cubicBezTo>
                                                  <a:pt x="11071" y="6671"/>
                                                  <a:pt x="10942" y="6088"/>
                                                  <a:pt x="10942" y="5570"/>
                                                </a:cubicBezTo>
                                                <a:lnTo>
                                                  <a:pt x="10423" y="2071"/>
                                                </a:lnTo>
                                                <a:close/>
                                                <a:moveTo>
                                                  <a:pt x="8285" y="7773"/>
                                                </a:moveTo>
                                                <a:cubicBezTo>
                                                  <a:pt x="7832" y="8291"/>
                                                  <a:pt x="7314" y="8939"/>
                                                  <a:pt x="7184" y="9781"/>
                                                </a:cubicBezTo>
                                                <a:cubicBezTo>
                                                  <a:pt x="7119" y="10105"/>
                                                  <a:pt x="7184" y="10429"/>
                                                  <a:pt x="7184" y="10753"/>
                                                </a:cubicBezTo>
                                                <a:lnTo>
                                                  <a:pt x="7184" y="11012"/>
                                                </a:lnTo>
                                                <a:cubicBezTo>
                                                  <a:pt x="7184" y="11789"/>
                                                  <a:pt x="6860" y="12632"/>
                                                  <a:pt x="6277" y="13279"/>
                                                </a:cubicBezTo>
                                                <a:cubicBezTo>
                                                  <a:pt x="5565" y="13927"/>
                                                  <a:pt x="4722" y="14316"/>
                                                  <a:pt x="3880" y="14316"/>
                                                </a:cubicBezTo>
                                                <a:lnTo>
                                                  <a:pt x="3621" y="14316"/>
                                                </a:lnTo>
                                                <a:cubicBezTo>
                                                  <a:pt x="3621" y="14316"/>
                                                  <a:pt x="3038" y="14186"/>
                                                  <a:pt x="2908" y="14057"/>
                                                </a:cubicBezTo>
                                                <a:cubicBezTo>
                                                  <a:pt x="2714" y="13798"/>
                                                  <a:pt x="2714" y="13409"/>
                                                  <a:pt x="2844" y="12761"/>
                                                </a:cubicBezTo>
                                                <a:cubicBezTo>
                                                  <a:pt x="2844" y="12307"/>
                                                  <a:pt x="2908" y="11789"/>
                                                  <a:pt x="2844" y="11271"/>
                                                </a:cubicBezTo>
                                                <a:cubicBezTo>
                                                  <a:pt x="2844" y="10688"/>
                                                  <a:pt x="2584" y="10234"/>
                                                  <a:pt x="2455" y="9846"/>
                                                </a:cubicBezTo>
                                                <a:lnTo>
                                                  <a:pt x="2325" y="9457"/>
                                                </a:lnTo>
                                                <a:cubicBezTo>
                                                  <a:pt x="1548" y="7319"/>
                                                  <a:pt x="2001" y="4792"/>
                                                  <a:pt x="3491" y="3173"/>
                                                </a:cubicBezTo>
                                                <a:cubicBezTo>
                                                  <a:pt x="3815" y="2849"/>
                                                  <a:pt x="4075" y="2590"/>
                                                  <a:pt x="4334" y="2395"/>
                                                </a:cubicBezTo>
                                                <a:cubicBezTo>
                                                  <a:pt x="4916" y="2071"/>
                                                  <a:pt x="5565" y="1942"/>
                                                  <a:pt x="6342" y="1942"/>
                                                </a:cubicBezTo>
                                                <a:cubicBezTo>
                                                  <a:pt x="6925" y="1942"/>
                                                  <a:pt x="7508" y="2007"/>
                                                  <a:pt x="8285" y="2136"/>
                                                </a:cubicBezTo>
                                                <a:cubicBezTo>
                                                  <a:pt x="8415" y="2201"/>
                                                  <a:pt x="8480" y="2201"/>
                                                  <a:pt x="8415" y="2331"/>
                                                </a:cubicBezTo>
                                                <a:lnTo>
                                                  <a:pt x="8934" y="5829"/>
                                                </a:lnTo>
                                                <a:cubicBezTo>
                                                  <a:pt x="8998" y="6218"/>
                                                  <a:pt x="9063" y="6542"/>
                                                  <a:pt x="8998" y="6801"/>
                                                </a:cubicBezTo>
                                                <a:cubicBezTo>
                                                  <a:pt x="8934" y="7125"/>
                                                  <a:pt x="8609" y="7449"/>
                                                  <a:pt x="8285" y="7773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49" name="Freeform: Shape 1548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7254DE7E-46D9-49FC-A3E9-4F3D8A0CB4C8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7877150" y="3487866"/>
                                            <a:ext cx="520697" cy="46012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321981 w 520697"/>
                                              <a:gd name="connsiteY0" fmla="*/ 101665 h 460124"/>
                                              <a:gd name="connsiteX1" fmla="*/ 314530 w 520697"/>
                                              <a:gd name="connsiteY1" fmla="*/ 92530 h 460124"/>
                                              <a:gd name="connsiteX2" fmla="*/ 295483 w 520697"/>
                                              <a:gd name="connsiteY2" fmla="*/ 90587 h 460124"/>
                                              <a:gd name="connsiteX3" fmla="*/ 254798 w 520697"/>
                                              <a:gd name="connsiteY3" fmla="*/ 86959 h 460124"/>
                                              <a:gd name="connsiteX4" fmla="*/ 246635 w 520697"/>
                                              <a:gd name="connsiteY4" fmla="*/ 82683 h 460124"/>
                                              <a:gd name="connsiteX5" fmla="*/ 241258 w 520697"/>
                                              <a:gd name="connsiteY5" fmla="*/ 76982 h 460124"/>
                                              <a:gd name="connsiteX6" fmla="*/ 228171 w 520697"/>
                                              <a:gd name="connsiteY6" fmla="*/ 72447 h 460124"/>
                                              <a:gd name="connsiteX7" fmla="*/ 226357 w 520697"/>
                                              <a:gd name="connsiteY7" fmla="*/ 67069 h 460124"/>
                                              <a:gd name="connsiteX8" fmla="*/ 207764 w 520697"/>
                                              <a:gd name="connsiteY8" fmla="*/ 56898 h 460124"/>
                                              <a:gd name="connsiteX9" fmla="*/ 196361 w 520697"/>
                                              <a:gd name="connsiteY9" fmla="*/ 43164 h 460124"/>
                                              <a:gd name="connsiteX10" fmla="*/ 182821 w 520697"/>
                                              <a:gd name="connsiteY10" fmla="*/ 36231 h 460124"/>
                                              <a:gd name="connsiteX11" fmla="*/ 177314 w 520697"/>
                                              <a:gd name="connsiteY11" fmla="*/ 28068 h 460124"/>
                                              <a:gd name="connsiteX12" fmla="*/ 164357 w 520697"/>
                                              <a:gd name="connsiteY12" fmla="*/ 22238 h 460124"/>
                                              <a:gd name="connsiteX13" fmla="*/ 159368 w 520697"/>
                                              <a:gd name="connsiteY13" fmla="*/ 15435 h 460124"/>
                                              <a:gd name="connsiteX14" fmla="*/ 150104 w 520697"/>
                                              <a:gd name="connsiteY14" fmla="*/ 11095 h 460124"/>
                                              <a:gd name="connsiteX15" fmla="*/ 148031 w 520697"/>
                                              <a:gd name="connsiteY15" fmla="*/ 5717 h 460124"/>
                                              <a:gd name="connsiteX16" fmla="*/ 139739 w 520697"/>
                                              <a:gd name="connsiteY16" fmla="*/ 1312 h 460124"/>
                                              <a:gd name="connsiteX17" fmla="*/ 98146 w 520697"/>
                                              <a:gd name="connsiteY17" fmla="*/ 3644 h 460124"/>
                                              <a:gd name="connsiteX18" fmla="*/ 89141 w 520697"/>
                                              <a:gd name="connsiteY18" fmla="*/ 5782 h 460124"/>
                                              <a:gd name="connsiteX19" fmla="*/ 76443 w 520697"/>
                                              <a:gd name="connsiteY19" fmla="*/ 5782 h 460124"/>
                                              <a:gd name="connsiteX20" fmla="*/ 67761 w 520697"/>
                                              <a:gd name="connsiteY20" fmla="*/ 13556 h 460124"/>
                                              <a:gd name="connsiteX21" fmla="*/ 56618 w 520697"/>
                                              <a:gd name="connsiteY21" fmla="*/ 21849 h 460124"/>
                                              <a:gd name="connsiteX22" fmla="*/ 74758 w 520697"/>
                                              <a:gd name="connsiteY22" fmla="*/ 37916 h 460124"/>
                                              <a:gd name="connsiteX23" fmla="*/ 72361 w 520697"/>
                                              <a:gd name="connsiteY23" fmla="*/ 52104 h 460124"/>
                                              <a:gd name="connsiteX24" fmla="*/ 58368 w 520697"/>
                                              <a:gd name="connsiteY24" fmla="*/ 57611 h 460124"/>
                                              <a:gd name="connsiteX25" fmla="*/ 48585 w 520697"/>
                                              <a:gd name="connsiteY25" fmla="*/ 61368 h 460124"/>
                                              <a:gd name="connsiteX26" fmla="*/ 48390 w 520697"/>
                                              <a:gd name="connsiteY26" fmla="*/ 67134 h 460124"/>
                                              <a:gd name="connsiteX27" fmla="*/ 36988 w 520697"/>
                                              <a:gd name="connsiteY27" fmla="*/ 72187 h 460124"/>
                                              <a:gd name="connsiteX28" fmla="*/ 35045 w 520697"/>
                                              <a:gd name="connsiteY28" fmla="*/ 83914 h 460124"/>
                                              <a:gd name="connsiteX29" fmla="*/ 23448 w 520697"/>
                                              <a:gd name="connsiteY29" fmla="*/ 86505 h 460124"/>
                                              <a:gd name="connsiteX30" fmla="*/ 22347 w 520697"/>
                                              <a:gd name="connsiteY30" fmla="*/ 80674 h 460124"/>
                                              <a:gd name="connsiteX31" fmla="*/ 17229 w 520697"/>
                                              <a:gd name="connsiteY31" fmla="*/ 78860 h 460124"/>
                                              <a:gd name="connsiteX32" fmla="*/ 125 w 520697"/>
                                              <a:gd name="connsiteY32" fmla="*/ 73095 h 460124"/>
                                              <a:gd name="connsiteX33" fmla="*/ 24744 w 520697"/>
                                              <a:gd name="connsiteY33" fmla="*/ 143970 h 460124"/>
                                              <a:gd name="connsiteX34" fmla="*/ 39709 w 520697"/>
                                              <a:gd name="connsiteY34" fmla="*/ 161397 h 460124"/>
                                              <a:gd name="connsiteX35" fmla="*/ 50205 w 520697"/>
                                              <a:gd name="connsiteY35" fmla="*/ 187959 h 460124"/>
                                              <a:gd name="connsiteX36" fmla="*/ 109159 w 520697"/>
                                              <a:gd name="connsiteY36" fmla="*/ 283000 h 460124"/>
                                              <a:gd name="connsiteX37" fmla="*/ 126846 w 520697"/>
                                              <a:gd name="connsiteY37" fmla="*/ 338651 h 460124"/>
                                              <a:gd name="connsiteX38" fmla="*/ 151724 w 520697"/>
                                              <a:gd name="connsiteY38" fmla="*/ 357115 h 460124"/>
                                              <a:gd name="connsiteX39" fmla="*/ 164811 w 520697"/>
                                              <a:gd name="connsiteY39" fmla="*/ 394820 h 460124"/>
                                              <a:gd name="connsiteX40" fmla="*/ 181720 w 520697"/>
                                              <a:gd name="connsiteY40" fmla="*/ 410110 h 460124"/>
                                              <a:gd name="connsiteX41" fmla="*/ 188004 w 520697"/>
                                              <a:gd name="connsiteY41" fmla="*/ 427408 h 460124"/>
                                              <a:gd name="connsiteX42" fmla="*/ 195519 w 520697"/>
                                              <a:gd name="connsiteY42" fmla="*/ 460124 h 460124"/>
                                              <a:gd name="connsiteX43" fmla="*/ 196426 w 520697"/>
                                              <a:gd name="connsiteY43" fmla="*/ 458764 h 460124"/>
                                              <a:gd name="connsiteX44" fmla="*/ 200378 w 520697"/>
                                              <a:gd name="connsiteY44" fmla="*/ 438810 h 460124"/>
                                              <a:gd name="connsiteX45" fmla="*/ 210420 w 520697"/>
                                              <a:gd name="connsiteY45" fmla="*/ 421965 h 460124"/>
                                              <a:gd name="connsiteX46" fmla="*/ 222729 w 520697"/>
                                              <a:gd name="connsiteY46" fmla="*/ 420735 h 460124"/>
                                              <a:gd name="connsiteX47" fmla="*/ 257389 w 520697"/>
                                              <a:gd name="connsiteY47" fmla="*/ 423002 h 460124"/>
                                              <a:gd name="connsiteX48" fmla="*/ 262702 w 520697"/>
                                              <a:gd name="connsiteY48" fmla="*/ 423909 h 460124"/>
                                              <a:gd name="connsiteX49" fmla="*/ 268727 w 520697"/>
                                              <a:gd name="connsiteY49" fmla="*/ 427861 h 460124"/>
                                              <a:gd name="connsiteX50" fmla="*/ 291726 w 520697"/>
                                              <a:gd name="connsiteY50" fmla="*/ 432267 h 460124"/>
                                              <a:gd name="connsiteX51" fmla="*/ 307793 w 520697"/>
                                              <a:gd name="connsiteY51" fmla="*/ 430258 h 460124"/>
                                              <a:gd name="connsiteX52" fmla="*/ 318742 w 520697"/>
                                              <a:gd name="connsiteY52" fmla="*/ 419180 h 460124"/>
                                              <a:gd name="connsiteX53" fmla="*/ 320037 w 520697"/>
                                              <a:gd name="connsiteY53" fmla="*/ 412895 h 460124"/>
                                              <a:gd name="connsiteX54" fmla="*/ 333189 w 520697"/>
                                              <a:gd name="connsiteY54" fmla="*/ 405121 h 460124"/>
                                              <a:gd name="connsiteX55" fmla="*/ 343814 w 520697"/>
                                              <a:gd name="connsiteY55" fmla="*/ 396764 h 460124"/>
                                              <a:gd name="connsiteX56" fmla="*/ 420196 w 520697"/>
                                              <a:gd name="connsiteY56" fmla="*/ 382770 h 460124"/>
                                              <a:gd name="connsiteX57" fmla="*/ 425832 w 520697"/>
                                              <a:gd name="connsiteY57" fmla="*/ 383742 h 460124"/>
                                              <a:gd name="connsiteX58" fmla="*/ 426156 w 520697"/>
                                              <a:gd name="connsiteY58" fmla="*/ 383094 h 460124"/>
                                              <a:gd name="connsiteX59" fmla="*/ 428164 w 520697"/>
                                              <a:gd name="connsiteY59" fmla="*/ 379531 h 460124"/>
                                              <a:gd name="connsiteX60" fmla="*/ 434254 w 520697"/>
                                              <a:gd name="connsiteY60" fmla="*/ 376421 h 460124"/>
                                              <a:gd name="connsiteX61" fmla="*/ 450645 w 520697"/>
                                              <a:gd name="connsiteY61" fmla="*/ 368517 h 460124"/>
                                              <a:gd name="connsiteX62" fmla="*/ 452394 w 520697"/>
                                              <a:gd name="connsiteY62" fmla="*/ 365667 h 460124"/>
                                              <a:gd name="connsiteX63" fmla="*/ 455504 w 520697"/>
                                              <a:gd name="connsiteY63" fmla="*/ 364177 h 460124"/>
                                              <a:gd name="connsiteX64" fmla="*/ 480770 w 520697"/>
                                              <a:gd name="connsiteY64" fmla="*/ 356402 h 460124"/>
                                              <a:gd name="connsiteX65" fmla="*/ 484334 w 520697"/>
                                              <a:gd name="connsiteY65" fmla="*/ 353552 h 460124"/>
                                              <a:gd name="connsiteX66" fmla="*/ 492173 w 520697"/>
                                              <a:gd name="connsiteY66" fmla="*/ 353293 h 460124"/>
                                              <a:gd name="connsiteX67" fmla="*/ 508693 w 520697"/>
                                              <a:gd name="connsiteY67" fmla="*/ 337096 h 460124"/>
                                              <a:gd name="connsiteX68" fmla="*/ 519253 w 520697"/>
                                              <a:gd name="connsiteY68" fmla="*/ 304315 h 460124"/>
                                              <a:gd name="connsiteX69" fmla="*/ 518864 w 520697"/>
                                              <a:gd name="connsiteY69" fmla="*/ 285915 h 460124"/>
                                              <a:gd name="connsiteX70" fmla="*/ 508110 w 520697"/>
                                              <a:gd name="connsiteY70" fmla="*/ 274643 h 460124"/>
                                              <a:gd name="connsiteX71" fmla="*/ 506749 w 520697"/>
                                              <a:gd name="connsiteY71" fmla="*/ 273153 h 460124"/>
                                              <a:gd name="connsiteX72" fmla="*/ 503381 w 520697"/>
                                              <a:gd name="connsiteY72" fmla="*/ 274060 h 460124"/>
                                              <a:gd name="connsiteX73" fmla="*/ 463796 w 520697"/>
                                              <a:gd name="connsiteY73" fmla="*/ 276716 h 460124"/>
                                              <a:gd name="connsiteX74" fmla="*/ 453366 w 520697"/>
                                              <a:gd name="connsiteY74" fmla="*/ 273995 h 460124"/>
                                              <a:gd name="connsiteX75" fmla="*/ 449090 w 520697"/>
                                              <a:gd name="connsiteY75" fmla="*/ 268359 h 460124"/>
                                              <a:gd name="connsiteX76" fmla="*/ 437364 w 520697"/>
                                              <a:gd name="connsiteY76" fmla="*/ 264471 h 460124"/>
                                              <a:gd name="connsiteX77" fmla="*/ 429071 w 520697"/>
                                              <a:gd name="connsiteY77" fmla="*/ 250867 h 460124"/>
                                              <a:gd name="connsiteX78" fmla="*/ 429525 w 520697"/>
                                              <a:gd name="connsiteY78" fmla="*/ 244064 h 460124"/>
                                              <a:gd name="connsiteX79" fmla="*/ 431339 w 520697"/>
                                              <a:gd name="connsiteY79" fmla="*/ 237002 h 460124"/>
                                              <a:gd name="connsiteX80" fmla="*/ 419937 w 520697"/>
                                              <a:gd name="connsiteY80" fmla="*/ 234022 h 460124"/>
                                              <a:gd name="connsiteX81" fmla="*/ 411255 w 520697"/>
                                              <a:gd name="connsiteY81" fmla="*/ 221130 h 460124"/>
                                              <a:gd name="connsiteX82" fmla="*/ 406915 w 520697"/>
                                              <a:gd name="connsiteY82" fmla="*/ 220158 h 460124"/>
                                              <a:gd name="connsiteX83" fmla="*/ 400955 w 520697"/>
                                              <a:gd name="connsiteY83" fmla="*/ 216789 h 460124"/>
                                              <a:gd name="connsiteX84" fmla="*/ 396355 w 520697"/>
                                              <a:gd name="connsiteY84" fmla="*/ 209468 h 460124"/>
                                              <a:gd name="connsiteX85" fmla="*/ 395577 w 520697"/>
                                              <a:gd name="connsiteY85" fmla="*/ 212708 h 460124"/>
                                              <a:gd name="connsiteX86" fmla="*/ 381259 w 520697"/>
                                              <a:gd name="connsiteY86" fmla="*/ 182194 h 460124"/>
                                              <a:gd name="connsiteX87" fmla="*/ 378798 w 520697"/>
                                              <a:gd name="connsiteY87" fmla="*/ 157510 h 460124"/>
                                              <a:gd name="connsiteX88" fmla="*/ 367914 w 520697"/>
                                              <a:gd name="connsiteY88" fmla="*/ 145978 h 460124"/>
                                              <a:gd name="connsiteX89" fmla="*/ 338501 w 520697"/>
                                              <a:gd name="connsiteY89" fmla="*/ 105228 h 460124"/>
                                              <a:gd name="connsiteX90" fmla="*/ 322110 w 520697"/>
                                              <a:gd name="connsiteY90" fmla="*/ 101535 h 46012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  <a:cxn ang="0">
                                                <a:pos x="connsiteX64" y="connsiteY64"/>
                                              </a:cxn>
                                              <a:cxn ang="0">
                                                <a:pos x="connsiteX65" y="connsiteY65"/>
                                              </a:cxn>
                                              <a:cxn ang="0">
                                                <a:pos x="connsiteX66" y="connsiteY66"/>
                                              </a:cxn>
                                              <a:cxn ang="0">
                                                <a:pos x="connsiteX67" y="connsiteY67"/>
                                              </a:cxn>
                                              <a:cxn ang="0">
                                                <a:pos x="connsiteX68" y="connsiteY68"/>
                                              </a:cxn>
                                              <a:cxn ang="0">
                                                <a:pos x="connsiteX69" y="connsiteY69"/>
                                              </a:cxn>
                                              <a:cxn ang="0">
                                                <a:pos x="connsiteX70" y="connsiteY70"/>
                                              </a:cxn>
                                              <a:cxn ang="0">
                                                <a:pos x="connsiteX71" y="connsiteY71"/>
                                              </a:cxn>
                                              <a:cxn ang="0">
                                                <a:pos x="connsiteX72" y="connsiteY72"/>
                                              </a:cxn>
                                              <a:cxn ang="0">
                                                <a:pos x="connsiteX73" y="connsiteY73"/>
                                              </a:cxn>
                                              <a:cxn ang="0">
                                                <a:pos x="connsiteX74" y="connsiteY74"/>
                                              </a:cxn>
                                              <a:cxn ang="0">
                                                <a:pos x="connsiteX75" y="connsiteY75"/>
                                              </a:cxn>
                                              <a:cxn ang="0">
                                                <a:pos x="connsiteX76" y="connsiteY76"/>
                                              </a:cxn>
                                              <a:cxn ang="0">
                                                <a:pos x="connsiteX77" y="connsiteY77"/>
                                              </a:cxn>
                                              <a:cxn ang="0">
                                                <a:pos x="connsiteX78" y="connsiteY78"/>
                                              </a:cxn>
                                              <a:cxn ang="0">
                                                <a:pos x="connsiteX79" y="connsiteY79"/>
                                              </a:cxn>
                                              <a:cxn ang="0">
                                                <a:pos x="connsiteX80" y="connsiteY80"/>
                                              </a:cxn>
                                              <a:cxn ang="0">
                                                <a:pos x="connsiteX81" y="connsiteY81"/>
                                              </a:cxn>
                                              <a:cxn ang="0">
                                                <a:pos x="connsiteX82" y="connsiteY82"/>
                                              </a:cxn>
                                              <a:cxn ang="0">
                                                <a:pos x="connsiteX83" y="connsiteY83"/>
                                              </a:cxn>
                                              <a:cxn ang="0">
                                                <a:pos x="connsiteX84" y="connsiteY84"/>
                                              </a:cxn>
                                              <a:cxn ang="0">
                                                <a:pos x="connsiteX85" y="connsiteY85"/>
                                              </a:cxn>
                                              <a:cxn ang="0">
                                                <a:pos x="connsiteX86" y="connsiteY86"/>
                                              </a:cxn>
                                              <a:cxn ang="0">
                                                <a:pos x="connsiteX87" y="connsiteY87"/>
                                              </a:cxn>
                                              <a:cxn ang="0">
                                                <a:pos x="connsiteX88" y="connsiteY88"/>
                                              </a:cxn>
                                              <a:cxn ang="0">
                                                <a:pos x="connsiteX89" y="connsiteY89"/>
                                              </a:cxn>
                                              <a:cxn ang="0">
                                                <a:pos x="connsiteX90" y="connsiteY90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520697" h="460124">
                                                <a:moveTo>
                                                  <a:pt x="321981" y="101665"/>
                                                </a:moveTo>
                                                <a:cubicBezTo>
                                                  <a:pt x="319065" y="99009"/>
                                                  <a:pt x="317575" y="94992"/>
                                                  <a:pt x="314530" y="92530"/>
                                                </a:cubicBezTo>
                                                <a:cubicBezTo>
                                                  <a:pt x="309412" y="88384"/>
                                                  <a:pt x="301962" y="89680"/>
                                                  <a:pt x="295483" y="90587"/>
                                                </a:cubicBezTo>
                                                <a:cubicBezTo>
                                                  <a:pt x="281878" y="92401"/>
                                                  <a:pt x="267884" y="91170"/>
                                                  <a:pt x="254798" y="86959"/>
                                                </a:cubicBezTo>
                                                <a:cubicBezTo>
                                                  <a:pt x="251883" y="85987"/>
                                                  <a:pt x="248837" y="84885"/>
                                                  <a:pt x="246635" y="82683"/>
                                                </a:cubicBezTo>
                                                <a:cubicBezTo>
                                                  <a:pt x="244756" y="80869"/>
                                                  <a:pt x="243525" y="78342"/>
                                                  <a:pt x="241258" y="76982"/>
                                                </a:cubicBezTo>
                                                <a:cubicBezTo>
                                                  <a:pt x="237241" y="74520"/>
                                                  <a:pt x="230827" y="76398"/>
                                                  <a:pt x="228171" y="72447"/>
                                                </a:cubicBezTo>
                                                <a:cubicBezTo>
                                                  <a:pt x="227134" y="70892"/>
                                                  <a:pt x="227070" y="68819"/>
                                                  <a:pt x="226357" y="67069"/>
                                                </a:cubicBezTo>
                                                <a:cubicBezTo>
                                                  <a:pt x="223636" y="60332"/>
                                                  <a:pt x="213659" y="61174"/>
                                                  <a:pt x="207764" y="56898"/>
                                                </a:cubicBezTo>
                                                <a:cubicBezTo>
                                                  <a:pt x="202905" y="53400"/>
                                                  <a:pt x="201220" y="46662"/>
                                                  <a:pt x="196361" y="43164"/>
                                                </a:cubicBezTo>
                                                <a:cubicBezTo>
                                                  <a:pt x="192215" y="40183"/>
                                                  <a:pt x="186255" y="39989"/>
                                                  <a:pt x="182821" y="36231"/>
                                                </a:cubicBezTo>
                                                <a:cubicBezTo>
                                                  <a:pt x="180618" y="33770"/>
                                                  <a:pt x="179776" y="30206"/>
                                                  <a:pt x="177314" y="28068"/>
                                                </a:cubicBezTo>
                                                <a:cubicBezTo>
                                                  <a:pt x="173751" y="24894"/>
                                                  <a:pt x="167726" y="25606"/>
                                                  <a:pt x="164357" y="22238"/>
                                                </a:cubicBezTo>
                                                <a:cubicBezTo>
                                                  <a:pt x="162349" y="20229"/>
                                                  <a:pt x="161636" y="17120"/>
                                                  <a:pt x="159368" y="15435"/>
                                                </a:cubicBezTo>
                                                <a:cubicBezTo>
                                                  <a:pt x="156583" y="13362"/>
                                                  <a:pt x="152177" y="13880"/>
                                                  <a:pt x="150104" y="11095"/>
                                                </a:cubicBezTo>
                                                <a:cubicBezTo>
                                                  <a:pt x="148938" y="9540"/>
                                                  <a:pt x="148938" y="7467"/>
                                                  <a:pt x="148031" y="5717"/>
                                                </a:cubicBezTo>
                                                <a:cubicBezTo>
                                                  <a:pt x="146476" y="2867"/>
                                                  <a:pt x="142913" y="1830"/>
                                                  <a:pt x="139739" y="1312"/>
                                                </a:cubicBezTo>
                                                <a:cubicBezTo>
                                                  <a:pt x="125939" y="-1020"/>
                                                  <a:pt x="111557" y="-243"/>
                                                  <a:pt x="98146" y="3644"/>
                                                </a:cubicBezTo>
                                                <a:cubicBezTo>
                                                  <a:pt x="95166" y="4486"/>
                                                  <a:pt x="92186" y="5523"/>
                                                  <a:pt x="89141" y="5782"/>
                                                </a:cubicBezTo>
                                                <a:cubicBezTo>
                                                  <a:pt x="84930" y="6171"/>
                                                  <a:pt x="80654" y="5199"/>
                                                  <a:pt x="76443" y="5782"/>
                                                </a:cubicBezTo>
                                                <a:cubicBezTo>
                                                  <a:pt x="72232" y="6365"/>
                                                  <a:pt x="67761" y="9281"/>
                                                  <a:pt x="67761" y="13556"/>
                                                </a:cubicBezTo>
                                                <a:cubicBezTo>
                                                  <a:pt x="63032" y="9669"/>
                                                  <a:pt x="54934" y="15953"/>
                                                  <a:pt x="56618" y="21849"/>
                                                </a:cubicBezTo>
                                                <a:cubicBezTo>
                                                  <a:pt x="58821" y="29818"/>
                                                  <a:pt x="70677" y="30725"/>
                                                  <a:pt x="74758" y="37916"/>
                                                </a:cubicBezTo>
                                                <a:cubicBezTo>
                                                  <a:pt x="77285" y="42386"/>
                                                  <a:pt x="75924" y="48411"/>
                                                  <a:pt x="72361" y="52104"/>
                                                </a:cubicBezTo>
                                                <a:cubicBezTo>
                                                  <a:pt x="68798" y="55797"/>
                                                  <a:pt x="63486" y="57481"/>
                                                  <a:pt x="58368" y="57611"/>
                                                </a:cubicBezTo>
                                                <a:cubicBezTo>
                                                  <a:pt x="54610" y="57740"/>
                                                  <a:pt x="49751" y="57805"/>
                                                  <a:pt x="48585" y="61368"/>
                                                </a:cubicBezTo>
                                                <a:cubicBezTo>
                                                  <a:pt x="48002" y="63182"/>
                                                  <a:pt x="48779" y="65255"/>
                                                  <a:pt x="48390" y="67134"/>
                                                </a:cubicBezTo>
                                                <a:cubicBezTo>
                                                  <a:pt x="47548" y="71604"/>
                                                  <a:pt x="41523" y="72382"/>
                                                  <a:pt x="36988" y="72187"/>
                                                </a:cubicBezTo>
                                                <a:cubicBezTo>
                                                  <a:pt x="38737" y="76010"/>
                                                  <a:pt x="37895" y="80869"/>
                                                  <a:pt x="35045" y="83914"/>
                                                </a:cubicBezTo>
                                                <a:cubicBezTo>
                                                  <a:pt x="32194" y="86959"/>
                                                  <a:pt x="27335" y="88060"/>
                                                  <a:pt x="23448" y="86505"/>
                                                </a:cubicBezTo>
                                                <a:cubicBezTo>
                                                  <a:pt x="23448" y="84497"/>
                                                  <a:pt x="23383" y="82424"/>
                                                  <a:pt x="22347" y="80674"/>
                                                </a:cubicBezTo>
                                                <a:cubicBezTo>
                                                  <a:pt x="21310" y="78925"/>
                                                  <a:pt x="18978" y="77824"/>
                                                  <a:pt x="17229" y="78860"/>
                                                </a:cubicBezTo>
                                                <a:cubicBezTo>
                                                  <a:pt x="14184" y="73095"/>
                                                  <a:pt x="6993" y="72382"/>
                                                  <a:pt x="125" y="73095"/>
                                                </a:cubicBezTo>
                                                <a:cubicBezTo>
                                                  <a:pt x="-1170" y="98685"/>
                                                  <a:pt x="7640" y="124793"/>
                                                  <a:pt x="24744" y="143970"/>
                                                </a:cubicBezTo>
                                                <a:cubicBezTo>
                                                  <a:pt x="29862" y="149671"/>
                                                  <a:pt x="35693" y="154854"/>
                                                  <a:pt x="39709" y="161397"/>
                                                </a:cubicBezTo>
                                                <a:cubicBezTo>
                                                  <a:pt x="44762" y="169496"/>
                                                  <a:pt x="46706" y="179084"/>
                                                  <a:pt x="50205" y="187959"/>
                                                </a:cubicBezTo>
                                                <a:cubicBezTo>
                                                  <a:pt x="63745" y="222944"/>
                                                  <a:pt x="99636" y="246720"/>
                                                  <a:pt x="109159" y="283000"/>
                                                </a:cubicBezTo>
                                                <a:cubicBezTo>
                                                  <a:pt x="114213" y="302177"/>
                                                  <a:pt x="112269" y="325240"/>
                                                  <a:pt x="126846" y="338651"/>
                                                </a:cubicBezTo>
                                                <a:cubicBezTo>
                                                  <a:pt x="134491" y="345713"/>
                                                  <a:pt x="145569" y="348758"/>
                                                  <a:pt x="151724" y="357115"/>
                                                </a:cubicBezTo>
                                                <a:cubicBezTo>
                                                  <a:pt x="159628" y="367999"/>
                                                  <a:pt x="156583" y="384195"/>
                                                  <a:pt x="164811" y="394820"/>
                                                </a:cubicBezTo>
                                                <a:cubicBezTo>
                                                  <a:pt x="169475" y="400845"/>
                                                  <a:pt x="177120" y="404020"/>
                                                  <a:pt x="181720" y="410110"/>
                                                </a:cubicBezTo>
                                                <a:cubicBezTo>
                                                  <a:pt x="185477" y="415034"/>
                                                  <a:pt x="186773" y="421318"/>
                                                  <a:pt x="188004" y="427408"/>
                                                </a:cubicBezTo>
                                                <a:cubicBezTo>
                                                  <a:pt x="190142" y="438032"/>
                                                  <a:pt x="192798" y="449046"/>
                                                  <a:pt x="195519" y="460124"/>
                                                </a:cubicBezTo>
                                                <a:cubicBezTo>
                                                  <a:pt x="195778" y="459671"/>
                                                  <a:pt x="196167" y="459282"/>
                                                  <a:pt x="196426" y="458764"/>
                                                </a:cubicBezTo>
                                                <a:cubicBezTo>
                                                  <a:pt x="199406" y="452674"/>
                                                  <a:pt x="199341" y="445548"/>
                                                  <a:pt x="200378" y="438810"/>
                                                </a:cubicBezTo>
                                                <a:cubicBezTo>
                                                  <a:pt x="201414" y="432072"/>
                                                  <a:pt x="204200" y="424816"/>
                                                  <a:pt x="210420" y="421965"/>
                                                </a:cubicBezTo>
                                                <a:cubicBezTo>
                                                  <a:pt x="214177" y="420216"/>
                                                  <a:pt x="218583" y="420476"/>
                                                  <a:pt x="222729" y="420735"/>
                                                </a:cubicBezTo>
                                                <a:cubicBezTo>
                                                  <a:pt x="234261" y="421512"/>
                                                  <a:pt x="245858" y="422290"/>
                                                  <a:pt x="257389" y="423002"/>
                                                </a:cubicBezTo>
                                                <a:cubicBezTo>
                                                  <a:pt x="259203" y="423132"/>
                                                  <a:pt x="261017" y="423261"/>
                                                  <a:pt x="262702" y="423909"/>
                                                </a:cubicBezTo>
                                                <a:cubicBezTo>
                                                  <a:pt x="264969" y="424751"/>
                                                  <a:pt x="266718" y="426501"/>
                                                  <a:pt x="268727" y="427861"/>
                                                </a:cubicBezTo>
                                                <a:cubicBezTo>
                                                  <a:pt x="275335" y="432267"/>
                                                  <a:pt x="283757" y="432331"/>
                                                  <a:pt x="291726" y="432267"/>
                                                </a:cubicBezTo>
                                                <a:cubicBezTo>
                                                  <a:pt x="297168" y="432202"/>
                                                  <a:pt x="302674" y="432137"/>
                                                  <a:pt x="307793" y="430258"/>
                                                </a:cubicBezTo>
                                                <a:cubicBezTo>
                                                  <a:pt x="312911" y="428444"/>
                                                  <a:pt x="317575" y="424427"/>
                                                  <a:pt x="318742" y="419180"/>
                                                </a:cubicBezTo>
                                                <a:cubicBezTo>
                                                  <a:pt x="319195" y="417107"/>
                                                  <a:pt x="319130" y="414839"/>
                                                  <a:pt x="320037" y="412895"/>
                                                </a:cubicBezTo>
                                                <a:cubicBezTo>
                                                  <a:pt x="322175" y="408101"/>
                                                  <a:pt x="328524" y="407454"/>
                                                  <a:pt x="333189" y="405121"/>
                                                </a:cubicBezTo>
                                                <a:cubicBezTo>
                                                  <a:pt x="337270" y="403113"/>
                                                  <a:pt x="340380" y="399679"/>
                                                  <a:pt x="343814" y="396764"/>
                                                </a:cubicBezTo>
                                                <a:cubicBezTo>
                                                  <a:pt x="364027" y="379531"/>
                                                  <a:pt x="393698" y="380697"/>
                                                  <a:pt x="420196" y="382770"/>
                                                </a:cubicBezTo>
                                                <a:cubicBezTo>
                                                  <a:pt x="422139" y="382900"/>
                                                  <a:pt x="424018" y="383224"/>
                                                  <a:pt x="425832" y="383742"/>
                                                </a:cubicBezTo>
                                                <a:cubicBezTo>
                                                  <a:pt x="425962" y="383548"/>
                                                  <a:pt x="426027" y="383289"/>
                                                  <a:pt x="426156" y="383094"/>
                                                </a:cubicBezTo>
                                                <a:cubicBezTo>
                                                  <a:pt x="426739" y="381863"/>
                                                  <a:pt x="427258" y="380567"/>
                                                  <a:pt x="428164" y="379531"/>
                                                </a:cubicBezTo>
                                                <a:cubicBezTo>
                                                  <a:pt x="429719" y="377782"/>
                                                  <a:pt x="431987" y="377004"/>
                                                  <a:pt x="434254" y="376421"/>
                                                </a:cubicBezTo>
                                                <a:cubicBezTo>
                                                  <a:pt x="440279" y="374866"/>
                                                  <a:pt x="447471" y="373895"/>
                                                  <a:pt x="450645" y="368517"/>
                                                </a:cubicBezTo>
                                                <a:cubicBezTo>
                                                  <a:pt x="451228" y="367545"/>
                                                  <a:pt x="451617" y="366444"/>
                                                  <a:pt x="452394" y="365667"/>
                                                </a:cubicBezTo>
                                                <a:cubicBezTo>
                                                  <a:pt x="453236" y="364889"/>
                                                  <a:pt x="454338" y="364501"/>
                                                  <a:pt x="455504" y="364177"/>
                                                </a:cubicBezTo>
                                                <a:cubicBezTo>
                                                  <a:pt x="464121" y="361844"/>
                                                  <a:pt x="474098" y="362363"/>
                                                  <a:pt x="480770" y="356402"/>
                                                </a:cubicBezTo>
                                                <a:cubicBezTo>
                                                  <a:pt x="481937" y="355366"/>
                                                  <a:pt x="482973" y="354135"/>
                                                  <a:pt x="484334" y="353552"/>
                                                </a:cubicBezTo>
                                                <a:cubicBezTo>
                                                  <a:pt x="486731" y="352451"/>
                                                  <a:pt x="489517" y="353357"/>
                                                  <a:pt x="492173" y="353293"/>
                                                </a:cubicBezTo>
                                                <a:cubicBezTo>
                                                  <a:pt x="500336" y="353163"/>
                                                  <a:pt x="505583" y="344676"/>
                                                  <a:pt x="508693" y="337096"/>
                                                </a:cubicBezTo>
                                                <a:cubicBezTo>
                                                  <a:pt x="513099" y="326471"/>
                                                  <a:pt x="516597" y="315458"/>
                                                  <a:pt x="519253" y="304315"/>
                                                </a:cubicBezTo>
                                                <a:cubicBezTo>
                                                  <a:pt x="520678" y="298225"/>
                                                  <a:pt x="521780" y="291487"/>
                                                  <a:pt x="518864" y="285915"/>
                                                </a:cubicBezTo>
                                                <a:cubicBezTo>
                                                  <a:pt x="516467" y="281251"/>
                                                  <a:pt x="511803" y="278336"/>
                                                  <a:pt x="508110" y="274643"/>
                                                </a:cubicBezTo>
                                                <a:cubicBezTo>
                                                  <a:pt x="507656" y="274189"/>
                                                  <a:pt x="507203" y="273671"/>
                                                  <a:pt x="506749" y="273153"/>
                                                </a:cubicBezTo>
                                                <a:cubicBezTo>
                                                  <a:pt x="505648" y="273477"/>
                                                  <a:pt x="504482" y="273801"/>
                                                  <a:pt x="503381" y="274060"/>
                                                </a:cubicBezTo>
                                                <a:cubicBezTo>
                                                  <a:pt x="490553" y="277364"/>
                                                  <a:pt x="477078" y="277040"/>
                                                  <a:pt x="463796" y="276716"/>
                                                </a:cubicBezTo>
                                                <a:cubicBezTo>
                                                  <a:pt x="460104" y="276586"/>
                                                  <a:pt x="456152" y="276392"/>
                                                  <a:pt x="453366" y="273995"/>
                                                </a:cubicBezTo>
                                                <a:cubicBezTo>
                                                  <a:pt x="451617" y="272440"/>
                                                  <a:pt x="450580" y="270173"/>
                                                  <a:pt x="449090" y="268359"/>
                                                </a:cubicBezTo>
                                                <a:cubicBezTo>
                                                  <a:pt x="446305" y="265055"/>
                                                  <a:pt x="441575" y="263500"/>
                                                  <a:pt x="437364" y="264471"/>
                                                </a:cubicBezTo>
                                                <a:cubicBezTo>
                                                  <a:pt x="439113" y="259224"/>
                                                  <a:pt x="430756" y="256179"/>
                                                  <a:pt x="429071" y="250867"/>
                                                </a:cubicBezTo>
                                                <a:cubicBezTo>
                                                  <a:pt x="428359" y="248664"/>
                                                  <a:pt x="428942" y="246267"/>
                                                  <a:pt x="429525" y="244064"/>
                                                </a:cubicBezTo>
                                                <a:cubicBezTo>
                                                  <a:pt x="430108" y="241732"/>
                                                  <a:pt x="430756" y="239335"/>
                                                  <a:pt x="431339" y="237002"/>
                                                </a:cubicBezTo>
                                                <a:cubicBezTo>
                                                  <a:pt x="427387" y="236678"/>
                                                  <a:pt x="423500" y="235901"/>
                                                  <a:pt x="419937" y="234022"/>
                                                </a:cubicBezTo>
                                                <a:cubicBezTo>
                                                  <a:pt x="415207" y="231560"/>
                                                  <a:pt x="412162" y="226378"/>
                                                  <a:pt x="411255" y="221130"/>
                                                </a:cubicBezTo>
                                                <a:cubicBezTo>
                                                  <a:pt x="409765" y="220935"/>
                                                  <a:pt x="408340" y="220676"/>
                                                  <a:pt x="406915" y="220158"/>
                                                </a:cubicBezTo>
                                                <a:cubicBezTo>
                                                  <a:pt x="404712" y="219381"/>
                                                  <a:pt x="402639" y="218344"/>
                                                  <a:pt x="400955" y="216789"/>
                                                </a:cubicBezTo>
                                                <a:cubicBezTo>
                                                  <a:pt x="398817" y="214846"/>
                                                  <a:pt x="397456" y="212189"/>
                                                  <a:pt x="396355" y="209468"/>
                                                </a:cubicBezTo>
                                                <a:cubicBezTo>
                                                  <a:pt x="396096" y="210570"/>
                                                  <a:pt x="395771" y="211606"/>
                                                  <a:pt x="395577" y="212708"/>
                                                </a:cubicBezTo>
                                                <a:cubicBezTo>
                                                  <a:pt x="387090" y="204869"/>
                                                  <a:pt x="381843" y="193661"/>
                                                  <a:pt x="381259" y="182194"/>
                                                </a:cubicBezTo>
                                                <a:cubicBezTo>
                                                  <a:pt x="380871" y="173836"/>
                                                  <a:pt x="382685" y="164961"/>
                                                  <a:pt x="378798" y="157510"/>
                                                </a:cubicBezTo>
                                                <a:cubicBezTo>
                                                  <a:pt x="376336" y="152781"/>
                                                  <a:pt x="371930" y="149477"/>
                                                  <a:pt x="367914" y="145978"/>
                                                </a:cubicBezTo>
                                                <a:cubicBezTo>
                                                  <a:pt x="355086" y="134965"/>
                                                  <a:pt x="345045" y="120842"/>
                                                  <a:pt x="338501" y="105228"/>
                                                </a:cubicBezTo>
                                                <a:cubicBezTo>
                                                  <a:pt x="332346" y="105617"/>
                                                  <a:pt x="326515" y="105552"/>
                                                  <a:pt x="322110" y="101535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0" name="Freeform: Shape 1549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49D4FC61-F02F-4A85-8AE8-9879183AA68B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177686" y="3539818"/>
                                            <a:ext cx="37834" cy="53586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14447 w 37834"/>
                                              <a:gd name="connsiteY0" fmla="*/ 1254 h 53586"/>
                                              <a:gd name="connsiteX1" fmla="*/ 3757 w 37834"/>
                                              <a:gd name="connsiteY1" fmla="*/ 16867 h 53586"/>
                                              <a:gd name="connsiteX2" fmla="*/ 1425 w 37834"/>
                                              <a:gd name="connsiteY2" fmla="*/ 20041 h 53586"/>
                                              <a:gd name="connsiteX3" fmla="*/ 1101 w 37834"/>
                                              <a:gd name="connsiteY3" fmla="*/ 26326 h 53586"/>
                                              <a:gd name="connsiteX4" fmla="*/ 0 w 37834"/>
                                              <a:gd name="connsiteY4" fmla="*/ 37987 h 53586"/>
                                              <a:gd name="connsiteX5" fmla="*/ 13994 w 37834"/>
                                              <a:gd name="connsiteY5" fmla="*/ 40578 h 53586"/>
                                              <a:gd name="connsiteX6" fmla="*/ 21444 w 37834"/>
                                              <a:gd name="connsiteY6" fmla="*/ 49713 h 53586"/>
                                              <a:gd name="connsiteX7" fmla="*/ 37835 w 37834"/>
                                              <a:gd name="connsiteY7" fmla="*/ 53406 h 53586"/>
                                              <a:gd name="connsiteX8" fmla="*/ 30644 w 37834"/>
                                              <a:gd name="connsiteY8" fmla="*/ 29241 h 53586"/>
                                              <a:gd name="connsiteX9" fmla="*/ 31162 w 37834"/>
                                              <a:gd name="connsiteY9" fmla="*/ 11554 h 53586"/>
                                              <a:gd name="connsiteX10" fmla="*/ 33235 w 37834"/>
                                              <a:gd name="connsiteY10" fmla="*/ 7408 h 53586"/>
                                              <a:gd name="connsiteX11" fmla="*/ 32717 w 37834"/>
                                              <a:gd name="connsiteY11" fmla="*/ 6825 h 53586"/>
                                              <a:gd name="connsiteX12" fmla="*/ 14447 w 37834"/>
                                              <a:gd name="connsiteY12" fmla="*/ 1254 h 53586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37834" h="53586">
                                                <a:moveTo>
                                                  <a:pt x="14447" y="1254"/>
                                                </a:moveTo>
                                                <a:cubicBezTo>
                                                  <a:pt x="8876" y="4363"/>
                                                  <a:pt x="7774" y="11878"/>
                                                  <a:pt x="3757" y="16867"/>
                                                </a:cubicBezTo>
                                                <a:cubicBezTo>
                                                  <a:pt x="2915" y="17903"/>
                                                  <a:pt x="1943" y="18810"/>
                                                  <a:pt x="1425" y="20041"/>
                                                </a:cubicBezTo>
                                                <a:cubicBezTo>
                                                  <a:pt x="583" y="21985"/>
                                                  <a:pt x="972" y="24252"/>
                                                  <a:pt x="1101" y="26326"/>
                                                </a:cubicBezTo>
                                                <a:cubicBezTo>
                                                  <a:pt x="1360" y="30213"/>
                                                  <a:pt x="648" y="34100"/>
                                                  <a:pt x="0" y="37987"/>
                                                </a:cubicBezTo>
                                                <a:cubicBezTo>
                                                  <a:pt x="5053" y="37469"/>
                                                  <a:pt x="10171" y="37469"/>
                                                  <a:pt x="13994" y="40578"/>
                                                </a:cubicBezTo>
                                                <a:cubicBezTo>
                                                  <a:pt x="17038" y="43040"/>
                                                  <a:pt x="18529" y="47057"/>
                                                  <a:pt x="21444" y="49713"/>
                                                </a:cubicBezTo>
                                                <a:cubicBezTo>
                                                  <a:pt x="25785" y="53730"/>
                                                  <a:pt x="31680" y="53859"/>
                                                  <a:pt x="37835" y="53406"/>
                                                </a:cubicBezTo>
                                                <a:cubicBezTo>
                                                  <a:pt x="34531" y="45632"/>
                                                  <a:pt x="32069" y="37534"/>
                                                  <a:pt x="30644" y="29241"/>
                                                </a:cubicBezTo>
                                                <a:cubicBezTo>
                                                  <a:pt x="29672" y="23345"/>
                                                  <a:pt x="29154" y="17191"/>
                                                  <a:pt x="31162" y="11554"/>
                                                </a:cubicBezTo>
                                                <a:cubicBezTo>
                                                  <a:pt x="31680" y="10064"/>
                                                  <a:pt x="32457" y="8704"/>
                                                  <a:pt x="33235" y="7408"/>
                                                </a:cubicBezTo>
                                                <a:cubicBezTo>
                                                  <a:pt x="33041" y="7214"/>
                                                  <a:pt x="32911" y="7019"/>
                                                  <a:pt x="32717" y="6825"/>
                                                </a:cubicBezTo>
                                                <a:cubicBezTo>
                                                  <a:pt x="28052" y="1837"/>
                                                  <a:pt x="20472" y="-2115"/>
                                                  <a:pt x="14447" y="1254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1" name="Freeform: Shape 1550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4CA2AB10-62CC-4459-AFCA-5B134B8E4887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7974777" y="3326950"/>
                                            <a:ext cx="239123" cy="252172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231350 w 239123"/>
                                              <a:gd name="connsiteY0" fmla="*/ 197082 h 252172"/>
                                              <a:gd name="connsiteX1" fmla="*/ 227981 w 239123"/>
                                              <a:gd name="connsiteY1" fmla="*/ 191770 h 252172"/>
                                              <a:gd name="connsiteX2" fmla="*/ 228823 w 239123"/>
                                              <a:gd name="connsiteY2" fmla="*/ 188660 h 252172"/>
                                              <a:gd name="connsiteX3" fmla="*/ 228694 w 239123"/>
                                              <a:gd name="connsiteY3" fmla="*/ 181663 h 252172"/>
                                              <a:gd name="connsiteX4" fmla="*/ 225973 w 239123"/>
                                              <a:gd name="connsiteY4" fmla="*/ 165856 h 252172"/>
                                              <a:gd name="connsiteX5" fmla="*/ 221761 w 239123"/>
                                              <a:gd name="connsiteY5" fmla="*/ 155749 h 252172"/>
                                              <a:gd name="connsiteX6" fmla="*/ 211720 w 239123"/>
                                              <a:gd name="connsiteY6" fmla="*/ 151927 h 252172"/>
                                              <a:gd name="connsiteX7" fmla="*/ 204982 w 239123"/>
                                              <a:gd name="connsiteY7" fmla="*/ 144541 h 252172"/>
                                              <a:gd name="connsiteX8" fmla="*/ 196236 w 239123"/>
                                              <a:gd name="connsiteY8" fmla="*/ 141108 h 252172"/>
                                              <a:gd name="connsiteX9" fmla="*/ 190988 w 239123"/>
                                              <a:gd name="connsiteY9" fmla="*/ 132037 h 252172"/>
                                              <a:gd name="connsiteX10" fmla="*/ 185935 w 239123"/>
                                              <a:gd name="connsiteY10" fmla="*/ 126855 h 252172"/>
                                              <a:gd name="connsiteX11" fmla="*/ 186064 w 239123"/>
                                              <a:gd name="connsiteY11" fmla="*/ 121542 h 252172"/>
                                              <a:gd name="connsiteX12" fmla="*/ 171423 w 239123"/>
                                              <a:gd name="connsiteY12" fmla="*/ 110464 h 252172"/>
                                              <a:gd name="connsiteX13" fmla="*/ 172783 w 239123"/>
                                              <a:gd name="connsiteY13" fmla="*/ 102366 h 252172"/>
                                              <a:gd name="connsiteX14" fmla="*/ 169738 w 239123"/>
                                              <a:gd name="connsiteY14" fmla="*/ 85262 h 252172"/>
                                              <a:gd name="connsiteX15" fmla="*/ 176541 w 239123"/>
                                              <a:gd name="connsiteY15" fmla="*/ 77229 h 252172"/>
                                              <a:gd name="connsiteX16" fmla="*/ 178420 w 239123"/>
                                              <a:gd name="connsiteY16" fmla="*/ 65826 h 252172"/>
                                              <a:gd name="connsiteX17" fmla="*/ 189045 w 239123"/>
                                              <a:gd name="connsiteY17" fmla="*/ 55202 h 252172"/>
                                              <a:gd name="connsiteX18" fmla="*/ 186971 w 239123"/>
                                              <a:gd name="connsiteY18" fmla="*/ 46585 h 252172"/>
                                              <a:gd name="connsiteX19" fmla="*/ 168961 w 239123"/>
                                              <a:gd name="connsiteY19" fmla="*/ 44188 h 252172"/>
                                              <a:gd name="connsiteX20" fmla="*/ 163713 w 239123"/>
                                              <a:gd name="connsiteY20" fmla="*/ 27344 h 252172"/>
                                              <a:gd name="connsiteX21" fmla="*/ 156781 w 239123"/>
                                              <a:gd name="connsiteY21" fmla="*/ 23198 h 252172"/>
                                              <a:gd name="connsiteX22" fmla="*/ 153153 w 239123"/>
                                              <a:gd name="connsiteY22" fmla="*/ 14970 h 252172"/>
                                              <a:gd name="connsiteX23" fmla="*/ 138706 w 239123"/>
                                              <a:gd name="connsiteY23" fmla="*/ 7390 h 252172"/>
                                              <a:gd name="connsiteX24" fmla="*/ 137151 w 239123"/>
                                              <a:gd name="connsiteY24" fmla="*/ 4086 h 252172"/>
                                              <a:gd name="connsiteX25" fmla="*/ 130802 w 239123"/>
                                              <a:gd name="connsiteY25" fmla="*/ 3567 h 252172"/>
                                              <a:gd name="connsiteX26" fmla="*/ 102232 w 239123"/>
                                              <a:gd name="connsiteY26" fmla="*/ 69 h 252172"/>
                                              <a:gd name="connsiteX27" fmla="*/ 96919 w 239123"/>
                                              <a:gd name="connsiteY27" fmla="*/ 1235 h 252172"/>
                                              <a:gd name="connsiteX28" fmla="*/ 94133 w 239123"/>
                                              <a:gd name="connsiteY28" fmla="*/ 6612 h 252172"/>
                                              <a:gd name="connsiteX29" fmla="*/ 86489 w 239123"/>
                                              <a:gd name="connsiteY29" fmla="*/ 10500 h 252172"/>
                                              <a:gd name="connsiteX30" fmla="*/ 68090 w 239123"/>
                                              <a:gd name="connsiteY30" fmla="*/ 23457 h 252172"/>
                                              <a:gd name="connsiteX31" fmla="*/ 62777 w 239123"/>
                                              <a:gd name="connsiteY31" fmla="*/ 38163 h 252172"/>
                                              <a:gd name="connsiteX32" fmla="*/ 66859 w 239123"/>
                                              <a:gd name="connsiteY32" fmla="*/ 48529 h 252172"/>
                                              <a:gd name="connsiteX33" fmla="*/ 60769 w 239123"/>
                                              <a:gd name="connsiteY33" fmla="*/ 59737 h 252172"/>
                                              <a:gd name="connsiteX34" fmla="*/ 58242 w 239123"/>
                                              <a:gd name="connsiteY34" fmla="*/ 71528 h 252172"/>
                                              <a:gd name="connsiteX35" fmla="*/ 33170 w 239123"/>
                                              <a:gd name="connsiteY35" fmla="*/ 102366 h 252172"/>
                                              <a:gd name="connsiteX36" fmla="*/ 18399 w 239123"/>
                                              <a:gd name="connsiteY36" fmla="*/ 107484 h 252172"/>
                                              <a:gd name="connsiteX37" fmla="*/ 10171 w 239123"/>
                                              <a:gd name="connsiteY37" fmla="*/ 119793 h 252172"/>
                                              <a:gd name="connsiteX38" fmla="*/ 0 w 239123"/>
                                              <a:gd name="connsiteY38" fmla="*/ 128086 h 252172"/>
                                              <a:gd name="connsiteX39" fmla="*/ 6867 w 239123"/>
                                              <a:gd name="connsiteY39" fmla="*/ 138192 h 252172"/>
                                              <a:gd name="connsiteX40" fmla="*/ 4405 w 239123"/>
                                              <a:gd name="connsiteY40" fmla="*/ 154648 h 252172"/>
                                              <a:gd name="connsiteX41" fmla="*/ 6154 w 239123"/>
                                              <a:gd name="connsiteY41" fmla="*/ 163199 h 252172"/>
                                              <a:gd name="connsiteX42" fmla="*/ 42305 w 239123"/>
                                              <a:gd name="connsiteY42" fmla="*/ 162098 h 252172"/>
                                              <a:gd name="connsiteX43" fmla="*/ 50598 w 239123"/>
                                              <a:gd name="connsiteY43" fmla="*/ 166503 h 252172"/>
                                              <a:gd name="connsiteX44" fmla="*/ 52671 w 239123"/>
                                              <a:gd name="connsiteY44" fmla="*/ 171881 h 252172"/>
                                              <a:gd name="connsiteX45" fmla="*/ 61935 w 239123"/>
                                              <a:gd name="connsiteY45" fmla="*/ 176221 h 252172"/>
                                              <a:gd name="connsiteX46" fmla="*/ 66923 w 239123"/>
                                              <a:gd name="connsiteY46" fmla="*/ 183024 h 252172"/>
                                              <a:gd name="connsiteX47" fmla="*/ 79881 w 239123"/>
                                              <a:gd name="connsiteY47" fmla="*/ 188855 h 252172"/>
                                              <a:gd name="connsiteX48" fmla="*/ 85388 w 239123"/>
                                              <a:gd name="connsiteY48" fmla="*/ 197018 h 252172"/>
                                              <a:gd name="connsiteX49" fmla="*/ 98928 w 239123"/>
                                              <a:gd name="connsiteY49" fmla="*/ 203950 h 252172"/>
                                              <a:gd name="connsiteX50" fmla="*/ 110330 w 239123"/>
                                              <a:gd name="connsiteY50" fmla="*/ 217684 h 252172"/>
                                              <a:gd name="connsiteX51" fmla="*/ 128923 w 239123"/>
                                              <a:gd name="connsiteY51" fmla="*/ 227856 h 252172"/>
                                              <a:gd name="connsiteX52" fmla="*/ 130738 w 239123"/>
                                              <a:gd name="connsiteY52" fmla="*/ 233233 h 252172"/>
                                              <a:gd name="connsiteX53" fmla="*/ 143824 w 239123"/>
                                              <a:gd name="connsiteY53" fmla="*/ 237768 h 252172"/>
                                              <a:gd name="connsiteX54" fmla="*/ 149201 w 239123"/>
                                              <a:gd name="connsiteY54" fmla="*/ 243469 h 252172"/>
                                              <a:gd name="connsiteX55" fmla="*/ 157364 w 239123"/>
                                              <a:gd name="connsiteY55" fmla="*/ 247745 h 252172"/>
                                              <a:gd name="connsiteX56" fmla="*/ 198050 w 239123"/>
                                              <a:gd name="connsiteY56" fmla="*/ 251373 h 252172"/>
                                              <a:gd name="connsiteX57" fmla="*/ 203168 w 239123"/>
                                              <a:gd name="connsiteY57" fmla="*/ 250725 h 252172"/>
                                              <a:gd name="connsiteX58" fmla="*/ 204269 w 239123"/>
                                              <a:gd name="connsiteY58" fmla="*/ 239064 h 252172"/>
                                              <a:gd name="connsiteX59" fmla="*/ 204593 w 239123"/>
                                              <a:gd name="connsiteY59" fmla="*/ 232779 h 252172"/>
                                              <a:gd name="connsiteX60" fmla="*/ 206926 w 239123"/>
                                              <a:gd name="connsiteY60" fmla="*/ 229605 h 252172"/>
                                              <a:gd name="connsiteX61" fmla="*/ 217615 w 239123"/>
                                              <a:gd name="connsiteY61" fmla="*/ 213992 h 252172"/>
                                              <a:gd name="connsiteX62" fmla="*/ 235885 w 239123"/>
                                              <a:gd name="connsiteY62" fmla="*/ 219563 h 252172"/>
                                              <a:gd name="connsiteX63" fmla="*/ 236403 w 239123"/>
                                              <a:gd name="connsiteY63" fmla="*/ 220146 h 252172"/>
                                              <a:gd name="connsiteX64" fmla="*/ 239124 w 239123"/>
                                              <a:gd name="connsiteY64" fmla="*/ 216777 h 252172"/>
                                              <a:gd name="connsiteX65" fmla="*/ 237958 w 239123"/>
                                              <a:gd name="connsiteY65" fmla="*/ 213797 h 252172"/>
                                              <a:gd name="connsiteX66" fmla="*/ 231609 w 239123"/>
                                              <a:gd name="connsiteY66" fmla="*/ 196888 h 252172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  <a:cxn ang="0">
                                                <a:pos x="connsiteX64" y="connsiteY64"/>
                                              </a:cxn>
                                              <a:cxn ang="0">
                                                <a:pos x="connsiteX65" y="connsiteY65"/>
                                              </a:cxn>
                                              <a:cxn ang="0">
                                                <a:pos x="connsiteX66" y="connsiteY66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239123" h="252172">
                                                <a:moveTo>
                                                  <a:pt x="231350" y="197082"/>
                                                </a:moveTo>
                                                <a:cubicBezTo>
                                                  <a:pt x="229924" y="195463"/>
                                                  <a:pt x="227981" y="193908"/>
                                                  <a:pt x="227981" y="191770"/>
                                                </a:cubicBezTo>
                                                <a:cubicBezTo>
                                                  <a:pt x="227981" y="190669"/>
                                                  <a:pt x="228499" y="189697"/>
                                                  <a:pt x="228823" y="188660"/>
                                                </a:cubicBezTo>
                                                <a:cubicBezTo>
                                                  <a:pt x="229471" y="186393"/>
                                                  <a:pt x="229082" y="183996"/>
                                                  <a:pt x="228694" y="181663"/>
                                                </a:cubicBezTo>
                                                <a:cubicBezTo>
                                                  <a:pt x="227786" y="176416"/>
                                                  <a:pt x="226879" y="171103"/>
                                                  <a:pt x="225973" y="165856"/>
                                                </a:cubicBezTo>
                                                <a:cubicBezTo>
                                                  <a:pt x="225325" y="162163"/>
                                                  <a:pt x="224547" y="158211"/>
                                                  <a:pt x="221761" y="155749"/>
                                                </a:cubicBezTo>
                                                <a:cubicBezTo>
                                                  <a:pt x="219040" y="153352"/>
                                                  <a:pt x="215153" y="153028"/>
                                                  <a:pt x="211720" y="151927"/>
                                                </a:cubicBezTo>
                                                <a:cubicBezTo>
                                                  <a:pt x="208286" y="150825"/>
                                                  <a:pt x="204593" y="148104"/>
                                                  <a:pt x="204982" y="144541"/>
                                                </a:cubicBezTo>
                                                <a:cubicBezTo>
                                                  <a:pt x="202067" y="146550"/>
                                                  <a:pt x="198050" y="144088"/>
                                                  <a:pt x="196236" y="141108"/>
                                                </a:cubicBezTo>
                                                <a:cubicBezTo>
                                                  <a:pt x="194422" y="138127"/>
                                                  <a:pt x="193515" y="134435"/>
                                                  <a:pt x="190988" y="132037"/>
                                                </a:cubicBezTo>
                                                <a:cubicBezTo>
                                                  <a:pt x="189174" y="130353"/>
                                                  <a:pt x="186583" y="129252"/>
                                                  <a:pt x="185935" y="126855"/>
                                                </a:cubicBezTo>
                                                <a:cubicBezTo>
                                                  <a:pt x="185482" y="125106"/>
                                                  <a:pt x="186324" y="123292"/>
                                                  <a:pt x="186064" y="121542"/>
                                                </a:cubicBezTo>
                                                <a:cubicBezTo>
                                                  <a:pt x="185222" y="115193"/>
                                                  <a:pt x="173431" y="116619"/>
                                                  <a:pt x="171423" y="110464"/>
                                                </a:cubicBezTo>
                                                <a:cubicBezTo>
                                                  <a:pt x="170581" y="107808"/>
                                                  <a:pt x="172071" y="105087"/>
                                                  <a:pt x="172783" y="102366"/>
                                                </a:cubicBezTo>
                                                <a:cubicBezTo>
                                                  <a:pt x="174208" y="96664"/>
                                                  <a:pt x="171941" y="90704"/>
                                                  <a:pt x="169738" y="85262"/>
                                                </a:cubicBezTo>
                                                <a:cubicBezTo>
                                                  <a:pt x="173626" y="85586"/>
                                                  <a:pt x="176152" y="81116"/>
                                                  <a:pt x="176541" y="77229"/>
                                                </a:cubicBezTo>
                                                <a:cubicBezTo>
                                                  <a:pt x="176930" y="73342"/>
                                                  <a:pt x="176347" y="69131"/>
                                                  <a:pt x="178420" y="65826"/>
                                                </a:cubicBezTo>
                                                <a:cubicBezTo>
                                                  <a:pt x="181141" y="61551"/>
                                                  <a:pt x="187684" y="60125"/>
                                                  <a:pt x="189045" y="55202"/>
                                                </a:cubicBezTo>
                                                <a:cubicBezTo>
                                                  <a:pt x="189822" y="52286"/>
                                                  <a:pt x="188397" y="49241"/>
                                                  <a:pt x="186971" y="46585"/>
                                                </a:cubicBezTo>
                                                <a:cubicBezTo>
                                                  <a:pt x="181011" y="48594"/>
                                                  <a:pt x="173949" y="48010"/>
                                                  <a:pt x="168961" y="44188"/>
                                                </a:cubicBezTo>
                                                <a:cubicBezTo>
                                                  <a:pt x="163908" y="40366"/>
                                                  <a:pt x="161381" y="33239"/>
                                                  <a:pt x="163713" y="27344"/>
                                                </a:cubicBezTo>
                                                <a:cubicBezTo>
                                                  <a:pt x="160992" y="28639"/>
                                                  <a:pt x="157948" y="25983"/>
                                                  <a:pt x="156781" y="23198"/>
                                                </a:cubicBezTo>
                                                <a:cubicBezTo>
                                                  <a:pt x="155615" y="20412"/>
                                                  <a:pt x="155226" y="17172"/>
                                                  <a:pt x="153153" y="14970"/>
                                                </a:cubicBezTo>
                                                <a:cubicBezTo>
                                                  <a:pt x="149266" y="10953"/>
                                                  <a:pt x="141168" y="12443"/>
                                                  <a:pt x="138706" y="7390"/>
                                                </a:cubicBezTo>
                                                <a:cubicBezTo>
                                                  <a:pt x="138188" y="6288"/>
                                                  <a:pt x="137994" y="4993"/>
                                                  <a:pt x="137151" y="4086"/>
                                                </a:cubicBezTo>
                                                <a:cubicBezTo>
                                                  <a:pt x="135596" y="2466"/>
                                                  <a:pt x="132940" y="3179"/>
                                                  <a:pt x="130802" y="3567"/>
                                                </a:cubicBezTo>
                                                <a:cubicBezTo>
                                                  <a:pt x="121344" y="5381"/>
                                                  <a:pt x="111885" y="-708"/>
                                                  <a:pt x="102232" y="69"/>
                                                </a:cubicBezTo>
                                                <a:cubicBezTo>
                                                  <a:pt x="100418" y="199"/>
                                                  <a:pt x="98604" y="652"/>
                                                  <a:pt x="96919" y="1235"/>
                                                </a:cubicBezTo>
                                                <a:cubicBezTo>
                                                  <a:pt x="96854" y="3244"/>
                                                  <a:pt x="95688" y="5252"/>
                                                  <a:pt x="94133" y="6612"/>
                                                </a:cubicBezTo>
                                                <a:cubicBezTo>
                                                  <a:pt x="91931" y="8491"/>
                                                  <a:pt x="89145" y="9398"/>
                                                  <a:pt x="86489" y="10500"/>
                                                </a:cubicBezTo>
                                                <a:cubicBezTo>
                                                  <a:pt x="79492" y="13415"/>
                                                  <a:pt x="73143" y="17885"/>
                                                  <a:pt x="68090" y="23457"/>
                                                </a:cubicBezTo>
                                                <a:cubicBezTo>
                                                  <a:pt x="64461" y="27473"/>
                                                  <a:pt x="61287" y="32915"/>
                                                  <a:pt x="62777" y="38163"/>
                                                </a:cubicBezTo>
                                                <a:cubicBezTo>
                                                  <a:pt x="63814" y="41791"/>
                                                  <a:pt x="66859" y="44771"/>
                                                  <a:pt x="66859" y="48529"/>
                                                </a:cubicBezTo>
                                                <a:cubicBezTo>
                                                  <a:pt x="66859" y="52869"/>
                                                  <a:pt x="62777" y="55914"/>
                                                  <a:pt x="60769" y="59737"/>
                                                </a:cubicBezTo>
                                                <a:cubicBezTo>
                                                  <a:pt x="58890" y="63300"/>
                                                  <a:pt x="58890" y="67576"/>
                                                  <a:pt x="58242" y="71528"/>
                                                </a:cubicBezTo>
                                                <a:cubicBezTo>
                                                  <a:pt x="56169" y="85262"/>
                                                  <a:pt x="46192" y="97507"/>
                                                  <a:pt x="33170" y="102366"/>
                                                </a:cubicBezTo>
                                                <a:cubicBezTo>
                                                  <a:pt x="28246" y="104180"/>
                                                  <a:pt x="22999" y="105022"/>
                                                  <a:pt x="18399" y="107484"/>
                                                </a:cubicBezTo>
                                                <a:cubicBezTo>
                                                  <a:pt x="13799" y="109945"/>
                                                  <a:pt x="9718" y="114545"/>
                                                  <a:pt x="10171" y="119793"/>
                                                </a:cubicBezTo>
                                                <a:cubicBezTo>
                                                  <a:pt x="5571" y="120052"/>
                                                  <a:pt x="2332" y="123875"/>
                                                  <a:pt x="0" y="128086"/>
                                                </a:cubicBezTo>
                                                <a:cubicBezTo>
                                                  <a:pt x="3693" y="130094"/>
                                                  <a:pt x="6414" y="133981"/>
                                                  <a:pt x="6867" y="138192"/>
                                                </a:cubicBezTo>
                                                <a:cubicBezTo>
                                                  <a:pt x="7450" y="143764"/>
                                                  <a:pt x="4535" y="149076"/>
                                                  <a:pt x="4405" y="154648"/>
                                                </a:cubicBezTo>
                                                <a:cubicBezTo>
                                                  <a:pt x="4341" y="157628"/>
                                                  <a:pt x="5053" y="160414"/>
                                                  <a:pt x="6154" y="163199"/>
                                                </a:cubicBezTo>
                                                <a:cubicBezTo>
                                                  <a:pt x="18010" y="160543"/>
                                                  <a:pt x="30320" y="160090"/>
                                                  <a:pt x="42305" y="162098"/>
                                                </a:cubicBezTo>
                                                <a:cubicBezTo>
                                                  <a:pt x="45479" y="162616"/>
                                                  <a:pt x="49043" y="163653"/>
                                                  <a:pt x="50598" y="166503"/>
                                                </a:cubicBezTo>
                                                <a:cubicBezTo>
                                                  <a:pt x="51504" y="168188"/>
                                                  <a:pt x="51504" y="170326"/>
                                                  <a:pt x="52671" y="171881"/>
                                                </a:cubicBezTo>
                                                <a:cubicBezTo>
                                                  <a:pt x="54744" y="174667"/>
                                                  <a:pt x="59214" y="174148"/>
                                                  <a:pt x="61935" y="176221"/>
                                                </a:cubicBezTo>
                                                <a:cubicBezTo>
                                                  <a:pt x="64202" y="177906"/>
                                                  <a:pt x="64915" y="181015"/>
                                                  <a:pt x="66923" y="183024"/>
                                                </a:cubicBezTo>
                                                <a:cubicBezTo>
                                                  <a:pt x="70292" y="186393"/>
                                                  <a:pt x="76317" y="185680"/>
                                                  <a:pt x="79881" y="188855"/>
                                                </a:cubicBezTo>
                                                <a:cubicBezTo>
                                                  <a:pt x="82342" y="191057"/>
                                                  <a:pt x="83185" y="194620"/>
                                                  <a:pt x="85388" y="197018"/>
                                                </a:cubicBezTo>
                                                <a:cubicBezTo>
                                                  <a:pt x="88821" y="200775"/>
                                                  <a:pt x="94782" y="200970"/>
                                                  <a:pt x="98928" y="203950"/>
                                                </a:cubicBezTo>
                                                <a:cubicBezTo>
                                                  <a:pt x="103786" y="207448"/>
                                                  <a:pt x="105471" y="214186"/>
                                                  <a:pt x="110330" y="217684"/>
                                                </a:cubicBezTo>
                                                <a:cubicBezTo>
                                                  <a:pt x="116226" y="221895"/>
                                                  <a:pt x="126202" y="221118"/>
                                                  <a:pt x="128923" y="227856"/>
                                                </a:cubicBezTo>
                                                <a:cubicBezTo>
                                                  <a:pt x="129636" y="229605"/>
                                                  <a:pt x="129636" y="231678"/>
                                                  <a:pt x="130738" y="233233"/>
                                                </a:cubicBezTo>
                                                <a:cubicBezTo>
                                                  <a:pt x="133394" y="237185"/>
                                                  <a:pt x="139743" y="235306"/>
                                                  <a:pt x="143824" y="237768"/>
                                                </a:cubicBezTo>
                                                <a:cubicBezTo>
                                                  <a:pt x="146092" y="239128"/>
                                                  <a:pt x="147323" y="241655"/>
                                                  <a:pt x="149201" y="243469"/>
                                                </a:cubicBezTo>
                                                <a:cubicBezTo>
                                                  <a:pt x="151404" y="245607"/>
                                                  <a:pt x="154384" y="246773"/>
                                                  <a:pt x="157364" y="247745"/>
                                                </a:cubicBezTo>
                                                <a:cubicBezTo>
                                                  <a:pt x="170451" y="251891"/>
                                                  <a:pt x="184445" y="253187"/>
                                                  <a:pt x="198050" y="251373"/>
                                                </a:cubicBezTo>
                                                <a:cubicBezTo>
                                                  <a:pt x="199734" y="251178"/>
                                                  <a:pt x="201419" y="250919"/>
                                                  <a:pt x="203168" y="250725"/>
                                                </a:cubicBezTo>
                                                <a:cubicBezTo>
                                                  <a:pt x="203816" y="246838"/>
                                                  <a:pt x="204593" y="242951"/>
                                                  <a:pt x="204269" y="239064"/>
                                                </a:cubicBezTo>
                                                <a:cubicBezTo>
                                                  <a:pt x="204140" y="236926"/>
                                                  <a:pt x="203686" y="234723"/>
                                                  <a:pt x="204593" y="232779"/>
                                                </a:cubicBezTo>
                                                <a:cubicBezTo>
                                                  <a:pt x="205111" y="231613"/>
                                                  <a:pt x="206083" y="230641"/>
                                                  <a:pt x="206926" y="229605"/>
                                                </a:cubicBezTo>
                                                <a:cubicBezTo>
                                                  <a:pt x="210942" y="224616"/>
                                                  <a:pt x="212044" y="217101"/>
                                                  <a:pt x="217615" y="213992"/>
                                                </a:cubicBezTo>
                                                <a:cubicBezTo>
                                                  <a:pt x="223640" y="210687"/>
                                                  <a:pt x="231155" y="214575"/>
                                                  <a:pt x="235885" y="219563"/>
                                                </a:cubicBezTo>
                                                <a:cubicBezTo>
                                                  <a:pt x="236079" y="219757"/>
                                                  <a:pt x="236208" y="219952"/>
                                                  <a:pt x="236403" y="220146"/>
                                                </a:cubicBezTo>
                                                <a:cubicBezTo>
                                                  <a:pt x="237180" y="218915"/>
                                                  <a:pt x="238088" y="217814"/>
                                                  <a:pt x="239124" y="216777"/>
                                                </a:cubicBezTo>
                                                <a:cubicBezTo>
                                                  <a:pt x="238735" y="215806"/>
                                                  <a:pt x="238217" y="214834"/>
                                                  <a:pt x="237958" y="213797"/>
                                                </a:cubicBezTo>
                                                <a:cubicBezTo>
                                                  <a:pt x="236208" y="207966"/>
                                                  <a:pt x="235690" y="201423"/>
                                                  <a:pt x="231609" y="196888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2" name="Freeform: Shape 1551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624EB1F4-FA67-4352-993A-051DC74FD464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105476" y="3250701"/>
                                            <a:ext cx="481820" cy="431343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469735 w 481820"/>
                                              <a:gd name="connsiteY0" fmla="*/ 404457 h 431343"/>
                                              <a:gd name="connsiteX1" fmla="*/ 477056 w 481820"/>
                                              <a:gd name="connsiteY1" fmla="*/ 401348 h 431343"/>
                                              <a:gd name="connsiteX2" fmla="*/ 479842 w 481820"/>
                                              <a:gd name="connsiteY2" fmla="*/ 380098 h 431343"/>
                                              <a:gd name="connsiteX3" fmla="*/ 474853 w 481820"/>
                                              <a:gd name="connsiteY3" fmla="*/ 358006 h 431343"/>
                                              <a:gd name="connsiteX4" fmla="*/ 438055 w 481820"/>
                                              <a:gd name="connsiteY4" fmla="*/ 329435 h 431343"/>
                                              <a:gd name="connsiteX5" fmla="*/ 433585 w 481820"/>
                                              <a:gd name="connsiteY5" fmla="*/ 287195 h 431343"/>
                                              <a:gd name="connsiteX6" fmla="*/ 450170 w 481820"/>
                                              <a:gd name="connsiteY6" fmla="*/ 266010 h 431343"/>
                                              <a:gd name="connsiteX7" fmla="*/ 428596 w 481820"/>
                                              <a:gd name="connsiteY7" fmla="*/ 248129 h 431343"/>
                                              <a:gd name="connsiteX8" fmla="*/ 423867 w 481820"/>
                                              <a:gd name="connsiteY8" fmla="*/ 230832 h 431343"/>
                                              <a:gd name="connsiteX9" fmla="*/ 420886 w 481820"/>
                                              <a:gd name="connsiteY9" fmla="*/ 168961 h 431343"/>
                                              <a:gd name="connsiteX10" fmla="*/ 433390 w 481820"/>
                                              <a:gd name="connsiteY10" fmla="*/ 149137 h 431343"/>
                                              <a:gd name="connsiteX11" fmla="*/ 437472 w 481820"/>
                                              <a:gd name="connsiteY11" fmla="*/ 107739 h 431343"/>
                                              <a:gd name="connsiteX12" fmla="*/ 428207 w 481820"/>
                                              <a:gd name="connsiteY12" fmla="*/ 107026 h 431343"/>
                                              <a:gd name="connsiteX13" fmla="*/ 407994 w 481820"/>
                                              <a:gd name="connsiteY13" fmla="*/ 89275 h 431343"/>
                                              <a:gd name="connsiteX14" fmla="*/ 387846 w 481820"/>
                                              <a:gd name="connsiteY14" fmla="*/ 76642 h 431343"/>
                                              <a:gd name="connsiteX15" fmla="*/ 343014 w 481820"/>
                                              <a:gd name="connsiteY15" fmla="*/ 58242 h 431343"/>
                                              <a:gd name="connsiteX16" fmla="*/ 332908 w 481820"/>
                                              <a:gd name="connsiteY16" fmla="*/ 50727 h 431343"/>
                                              <a:gd name="connsiteX17" fmla="*/ 315221 w 481820"/>
                                              <a:gd name="connsiteY17" fmla="*/ 54679 h 431343"/>
                                              <a:gd name="connsiteX18" fmla="*/ 299932 w 481820"/>
                                              <a:gd name="connsiteY18" fmla="*/ 56104 h 431343"/>
                                              <a:gd name="connsiteX19" fmla="*/ 268835 w 481820"/>
                                              <a:gd name="connsiteY19" fmla="*/ 74828 h 431343"/>
                                              <a:gd name="connsiteX20" fmla="*/ 251213 w 481820"/>
                                              <a:gd name="connsiteY20" fmla="*/ 79427 h 431343"/>
                                              <a:gd name="connsiteX21" fmla="*/ 242661 w 481820"/>
                                              <a:gd name="connsiteY21" fmla="*/ 93421 h 431343"/>
                                              <a:gd name="connsiteX22" fmla="*/ 228667 w 481820"/>
                                              <a:gd name="connsiteY22" fmla="*/ 95624 h 431343"/>
                                              <a:gd name="connsiteX23" fmla="*/ 221282 w 481820"/>
                                              <a:gd name="connsiteY23" fmla="*/ 105536 h 431343"/>
                                              <a:gd name="connsiteX24" fmla="*/ 190185 w 481820"/>
                                              <a:gd name="connsiteY24" fmla="*/ 100742 h 431343"/>
                                              <a:gd name="connsiteX25" fmla="*/ 175932 w 481820"/>
                                              <a:gd name="connsiteY25" fmla="*/ 96790 h 431343"/>
                                              <a:gd name="connsiteX26" fmla="*/ 168028 w 481820"/>
                                              <a:gd name="connsiteY26" fmla="*/ 85064 h 431343"/>
                                              <a:gd name="connsiteX27" fmla="*/ 157144 w 481820"/>
                                              <a:gd name="connsiteY27" fmla="*/ 85906 h 431343"/>
                                              <a:gd name="connsiteX28" fmla="*/ 152933 w 481820"/>
                                              <a:gd name="connsiteY28" fmla="*/ 71070 h 431343"/>
                                              <a:gd name="connsiteX29" fmla="*/ 135570 w 481820"/>
                                              <a:gd name="connsiteY29" fmla="*/ 73143 h 431343"/>
                                              <a:gd name="connsiteX30" fmla="*/ 126695 w 481820"/>
                                              <a:gd name="connsiteY30" fmla="*/ 56040 h 431343"/>
                                              <a:gd name="connsiteX31" fmla="*/ 117430 w 481820"/>
                                              <a:gd name="connsiteY31" fmla="*/ 53837 h 431343"/>
                                              <a:gd name="connsiteX32" fmla="*/ 115552 w 481820"/>
                                              <a:gd name="connsiteY32" fmla="*/ 37705 h 431343"/>
                                              <a:gd name="connsiteX33" fmla="*/ 115681 w 481820"/>
                                              <a:gd name="connsiteY33" fmla="*/ 37576 h 431343"/>
                                              <a:gd name="connsiteX34" fmla="*/ 100651 w 481820"/>
                                              <a:gd name="connsiteY34" fmla="*/ 14123 h 431343"/>
                                              <a:gd name="connsiteX35" fmla="*/ 97606 w 481820"/>
                                              <a:gd name="connsiteY35" fmla="*/ 5896 h 431343"/>
                                              <a:gd name="connsiteX36" fmla="*/ 93330 w 481820"/>
                                              <a:gd name="connsiteY36" fmla="*/ 7256 h 431343"/>
                                              <a:gd name="connsiteX37" fmla="*/ 59123 w 481820"/>
                                              <a:gd name="connsiteY37" fmla="*/ 28830 h 431343"/>
                                              <a:gd name="connsiteX38" fmla="*/ 51025 w 481820"/>
                                              <a:gd name="connsiteY38" fmla="*/ 32263 h 431343"/>
                                              <a:gd name="connsiteX39" fmla="*/ 35671 w 481820"/>
                                              <a:gd name="connsiteY39" fmla="*/ 20602 h 431343"/>
                                              <a:gd name="connsiteX40" fmla="*/ 10599 w 481820"/>
                                              <a:gd name="connsiteY40" fmla="*/ 0 h 431343"/>
                                              <a:gd name="connsiteX41" fmla="*/ 5740 w 481820"/>
                                              <a:gd name="connsiteY41" fmla="*/ 13670 h 431343"/>
                                              <a:gd name="connsiteX42" fmla="*/ 104 w 481820"/>
                                              <a:gd name="connsiteY42" fmla="*/ 18918 h 431343"/>
                                              <a:gd name="connsiteX43" fmla="*/ 3991 w 481820"/>
                                              <a:gd name="connsiteY43" fmla="*/ 26109 h 431343"/>
                                              <a:gd name="connsiteX44" fmla="*/ 10016 w 481820"/>
                                              <a:gd name="connsiteY44" fmla="*/ 52930 h 431343"/>
                                              <a:gd name="connsiteX45" fmla="*/ 9044 w 481820"/>
                                              <a:gd name="connsiteY45" fmla="*/ 58826 h 431343"/>
                                              <a:gd name="connsiteX46" fmla="*/ 10923 w 481820"/>
                                              <a:gd name="connsiteY46" fmla="*/ 62777 h 431343"/>
                                              <a:gd name="connsiteX47" fmla="*/ 10275 w 481820"/>
                                              <a:gd name="connsiteY47" fmla="*/ 67766 h 431343"/>
                                              <a:gd name="connsiteX48" fmla="*/ 5027 w 481820"/>
                                              <a:gd name="connsiteY48" fmla="*/ 79687 h 431343"/>
                                              <a:gd name="connsiteX49" fmla="*/ 6323 w 481820"/>
                                              <a:gd name="connsiteY49" fmla="*/ 80464 h 431343"/>
                                              <a:gd name="connsiteX50" fmla="*/ 7878 w 481820"/>
                                              <a:gd name="connsiteY50" fmla="*/ 83768 h 431343"/>
                                              <a:gd name="connsiteX51" fmla="*/ 22325 w 481820"/>
                                              <a:gd name="connsiteY51" fmla="*/ 91348 h 431343"/>
                                              <a:gd name="connsiteX52" fmla="*/ 25953 w 481820"/>
                                              <a:gd name="connsiteY52" fmla="*/ 99576 h 431343"/>
                                              <a:gd name="connsiteX53" fmla="*/ 32885 w 481820"/>
                                              <a:gd name="connsiteY53" fmla="*/ 103722 h 431343"/>
                                              <a:gd name="connsiteX54" fmla="*/ 38133 w 481820"/>
                                              <a:gd name="connsiteY54" fmla="*/ 120566 h 431343"/>
                                              <a:gd name="connsiteX55" fmla="*/ 56143 w 481820"/>
                                              <a:gd name="connsiteY55" fmla="*/ 122963 h 431343"/>
                                              <a:gd name="connsiteX56" fmla="*/ 58216 w 481820"/>
                                              <a:gd name="connsiteY56" fmla="*/ 131580 h 431343"/>
                                              <a:gd name="connsiteX57" fmla="*/ 47591 w 481820"/>
                                              <a:gd name="connsiteY57" fmla="*/ 142205 h 431343"/>
                                              <a:gd name="connsiteX58" fmla="*/ 45713 w 481820"/>
                                              <a:gd name="connsiteY58" fmla="*/ 153607 h 431343"/>
                                              <a:gd name="connsiteX59" fmla="*/ 38910 w 481820"/>
                                              <a:gd name="connsiteY59" fmla="*/ 161640 h 431343"/>
                                              <a:gd name="connsiteX60" fmla="*/ 41955 w 481820"/>
                                              <a:gd name="connsiteY60" fmla="*/ 178744 h 431343"/>
                                              <a:gd name="connsiteX61" fmla="*/ 40595 w 481820"/>
                                              <a:gd name="connsiteY61" fmla="*/ 186842 h 431343"/>
                                              <a:gd name="connsiteX62" fmla="*/ 55236 w 481820"/>
                                              <a:gd name="connsiteY62" fmla="*/ 197920 h 431343"/>
                                              <a:gd name="connsiteX63" fmla="*/ 55107 w 481820"/>
                                              <a:gd name="connsiteY63" fmla="*/ 203233 h 431343"/>
                                              <a:gd name="connsiteX64" fmla="*/ 60160 w 481820"/>
                                              <a:gd name="connsiteY64" fmla="*/ 208416 h 431343"/>
                                              <a:gd name="connsiteX65" fmla="*/ 65407 w 481820"/>
                                              <a:gd name="connsiteY65" fmla="*/ 217486 h 431343"/>
                                              <a:gd name="connsiteX66" fmla="*/ 74154 w 481820"/>
                                              <a:gd name="connsiteY66" fmla="*/ 220919 h 431343"/>
                                              <a:gd name="connsiteX67" fmla="*/ 80891 w 481820"/>
                                              <a:gd name="connsiteY67" fmla="*/ 228305 h 431343"/>
                                              <a:gd name="connsiteX68" fmla="*/ 90933 w 481820"/>
                                              <a:gd name="connsiteY68" fmla="*/ 232127 h 431343"/>
                                              <a:gd name="connsiteX69" fmla="*/ 95144 w 481820"/>
                                              <a:gd name="connsiteY69" fmla="*/ 242234 h 431343"/>
                                              <a:gd name="connsiteX70" fmla="*/ 97865 w 481820"/>
                                              <a:gd name="connsiteY70" fmla="*/ 258042 h 431343"/>
                                              <a:gd name="connsiteX71" fmla="*/ 97995 w 481820"/>
                                              <a:gd name="connsiteY71" fmla="*/ 265038 h 431343"/>
                                              <a:gd name="connsiteX72" fmla="*/ 97152 w 481820"/>
                                              <a:gd name="connsiteY72" fmla="*/ 268148 h 431343"/>
                                              <a:gd name="connsiteX73" fmla="*/ 100521 w 481820"/>
                                              <a:gd name="connsiteY73" fmla="*/ 273460 h 431343"/>
                                              <a:gd name="connsiteX74" fmla="*/ 106870 w 481820"/>
                                              <a:gd name="connsiteY74" fmla="*/ 290370 h 431343"/>
                                              <a:gd name="connsiteX75" fmla="*/ 108036 w 481820"/>
                                              <a:gd name="connsiteY75" fmla="*/ 293350 h 431343"/>
                                              <a:gd name="connsiteX76" fmla="*/ 137514 w 481820"/>
                                              <a:gd name="connsiteY76" fmla="*/ 287065 h 431343"/>
                                              <a:gd name="connsiteX77" fmla="*/ 166991 w 481820"/>
                                              <a:gd name="connsiteY77" fmla="*/ 314211 h 431343"/>
                                              <a:gd name="connsiteX78" fmla="*/ 187788 w 481820"/>
                                              <a:gd name="connsiteY78" fmla="*/ 349389 h 431343"/>
                                              <a:gd name="connsiteX79" fmla="*/ 226270 w 481820"/>
                                              <a:gd name="connsiteY79" fmla="*/ 380810 h 431343"/>
                                              <a:gd name="connsiteX80" fmla="*/ 286521 w 481820"/>
                                              <a:gd name="connsiteY80" fmla="*/ 392861 h 431343"/>
                                              <a:gd name="connsiteX81" fmla="*/ 300320 w 481820"/>
                                              <a:gd name="connsiteY81" fmla="*/ 383272 h 431343"/>
                                              <a:gd name="connsiteX82" fmla="*/ 334916 w 481820"/>
                                              <a:gd name="connsiteY82" fmla="*/ 410806 h 431343"/>
                                              <a:gd name="connsiteX83" fmla="*/ 352991 w 481820"/>
                                              <a:gd name="connsiteY83" fmla="*/ 429141 h 431343"/>
                                              <a:gd name="connsiteX84" fmla="*/ 357008 w 481820"/>
                                              <a:gd name="connsiteY84" fmla="*/ 417998 h 431343"/>
                                              <a:gd name="connsiteX85" fmla="*/ 409679 w 481820"/>
                                              <a:gd name="connsiteY85" fmla="*/ 417544 h 431343"/>
                                              <a:gd name="connsiteX86" fmla="*/ 447708 w 481820"/>
                                              <a:gd name="connsiteY86" fmla="*/ 431343 h 431343"/>
                                              <a:gd name="connsiteX87" fmla="*/ 469605 w 481820"/>
                                              <a:gd name="connsiteY87" fmla="*/ 404652 h 431343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  <a:cxn ang="0">
                                                <a:pos x="connsiteX64" y="connsiteY64"/>
                                              </a:cxn>
                                              <a:cxn ang="0">
                                                <a:pos x="connsiteX65" y="connsiteY65"/>
                                              </a:cxn>
                                              <a:cxn ang="0">
                                                <a:pos x="connsiteX66" y="connsiteY66"/>
                                              </a:cxn>
                                              <a:cxn ang="0">
                                                <a:pos x="connsiteX67" y="connsiteY67"/>
                                              </a:cxn>
                                              <a:cxn ang="0">
                                                <a:pos x="connsiteX68" y="connsiteY68"/>
                                              </a:cxn>
                                              <a:cxn ang="0">
                                                <a:pos x="connsiteX69" y="connsiteY69"/>
                                              </a:cxn>
                                              <a:cxn ang="0">
                                                <a:pos x="connsiteX70" y="connsiteY70"/>
                                              </a:cxn>
                                              <a:cxn ang="0">
                                                <a:pos x="connsiteX71" y="connsiteY71"/>
                                              </a:cxn>
                                              <a:cxn ang="0">
                                                <a:pos x="connsiteX72" y="connsiteY72"/>
                                              </a:cxn>
                                              <a:cxn ang="0">
                                                <a:pos x="connsiteX73" y="connsiteY73"/>
                                              </a:cxn>
                                              <a:cxn ang="0">
                                                <a:pos x="connsiteX74" y="connsiteY74"/>
                                              </a:cxn>
                                              <a:cxn ang="0">
                                                <a:pos x="connsiteX75" y="connsiteY75"/>
                                              </a:cxn>
                                              <a:cxn ang="0">
                                                <a:pos x="connsiteX76" y="connsiteY76"/>
                                              </a:cxn>
                                              <a:cxn ang="0">
                                                <a:pos x="connsiteX77" y="connsiteY77"/>
                                              </a:cxn>
                                              <a:cxn ang="0">
                                                <a:pos x="connsiteX78" y="connsiteY78"/>
                                              </a:cxn>
                                              <a:cxn ang="0">
                                                <a:pos x="connsiteX79" y="connsiteY79"/>
                                              </a:cxn>
                                              <a:cxn ang="0">
                                                <a:pos x="connsiteX80" y="connsiteY80"/>
                                              </a:cxn>
                                              <a:cxn ang="0">
                                                <a:pos x="connsiteX81" y="connsiteY81"/>
                                              </a:cxn>
                                              <a:cxn ang="0">
                                                <a:pos x="connsiteX82" y="connsiteY82"/>
                                              </a:cxn>
                                              <a:cxn ang="0">
                                                <a:pos x="connsiteX83" y="connsiteY83"/>
                                              </a:cxn>
                                              <a:cxn ang="0">
                                                <a:pos x="connsiteX84" y="connsiteY84"/>
                                              </a:cxn>
                                              <a:cxn ang="0">
                                                <a:pos x="connsiteX85" y="connsiteY85"/>
                                              </a:cxn>
                                              <a:cxn ang="0">
                                                <a:pos x="connsiteX86" y="connsiteY86"/>
                                              </a:cxn>
                                              <a:cxn ang="0">
                                                <a:pos x="connsiteX87" y="connsiteY87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481820" h="431343">
                                                <a:moveTo>
                                                  <a:pt x="469735" y="404457"/>
                                                </a:moveTo>
                                                <a:cubicBezTo>
                                                  <a:pt x="472197" y="403550"/>
                                                  <a:pt x="474853" y="402902"/>
                                                  <a:pt x="477056" y="401348"/>
                                                </a:cubicBezTo>
                                                <a:cubicBezTo>
                                                  <a:pt x="483275" y="396813"/>
                                                  <a:pt x="482498" y="387289"/>
                                                  <a:pt x="479842" y="380098"/>
                                                </a:cubicBezTo>
                                                <a:cubicBezTo>
                                                  <a:pt x="477185" y="372907"/>
                                                  <a:pt x="473039" y="365456"/>
                                                  <a:pt x="474853" y="358006"/>
                                                </a:cubicBezTo>
                                                <a:cubicBezTo>
                                                  <a:pt x="462933" y="348029"/>
                                                  <a:pt x="448420" y="341097"/>
                                                  <a:pt x="438055" y="329435"/>
                                                </a:cubicBezTo>
                                                <a:cubicBezTo>
                                                  <a:pt x="427689" y="317839"/>
                                                  <a:pt x="423025" y="298597"/>
                                                  <a:pt x="433585" y="287195"/>
                                                </a:cubicBezTo>
                                                <a:cubicBezTo>
                                                  <a:pt x="439998" y="280263"/>
                                                  <a:pt x="451725" y="275274"/>
                                                  <a:pt x="450170" y="266010"/>
                                                </a:cubicBezTo>
                                                <a:cubicBezTo>
                                                  <a:pt x="448615" y="256487"/>
                                                  <a:pt x="434880" y="255450"/>
                                                  <a:pt x="428596" y="248129"/>
                                                </a:cubicBezTo>
                                                <a:cubicBezTo>
                                                  <a:pt x="424644" y="243529"/>
                                                  <a:pt x="424126" y="236921"/>
                                                  <a:pt x="423867" y="230832"/>
                                                </a:cubicBezTo>
                                                <a:cubicBezTo>
                                                  <a:pt x="422895" y="210230"/>
                                                  <a:pt x="421858" y="189563"/>
                                                  <a:pt x="420886" y="168961"/>
                                                </a:cubicBezTo>
                                                <a:cubicBezTo>
                                                  <a:pt x="429438" y="168508"/>
                                                  <a:pt x="432548" y="157624"/>
                                                  <a:pt x="433390" y="149137"/>
                                                </a:cubicBezTo>
                                                <a:cubicBezTo>
                                                  <a:pt x="434751" y="135337"/>
                                                  <a:pt x="436111" y="121538"/>
                                                  <a:pt x="437472" y="107739"/>
                                                </a:cubicBezTo>
                                                <a:cubicBezTo>
                                                  <a:pt x="434362" y="107479"/>
                                                  <a:pt x="431252" y="107285"/>
                                                  <a:pt x="428207" y="107026"/>
                                                </a:cubicBezTo>
                                                <a:cubicBezTo>
                                                  <a:pt x="421470" y="101131"/>
                                                  <a:pt x="414732" y="95235"/>
                                                  <a:pt x="407994" y="89275"/>
                                                </a:cubicBezTo>
                                                <a:cubicBezTo>
                                                  <a:pt x="400414" y="93421"/>
                                                  <a:pt x="394001" y="82731"/>
                                                  <a:pt x="387846" y="76642"/>
                                                </a:cubicBezTo>
                                                <a:cubicBezTo>
                                                  <a:pt x="376314" y="65045"/>
                                                  <a:pt x="355648" y="68673"/>
                                                  <a:pt x="343014" y="58242"/>
                                                </a:cubicBezTo>
                                                <a:cubicBezTo>
                                                  <a:pt x="339775" y="55521"/>
                                                  <a:pt x="336989" y="51893"/>
                                                  <a:pt x="332908" y="50727"/>
                                                </a:cubicBezTo>
                                                <a:cubicBezTo>
                                                  <a:pt x="327012" y="49043"/>
                                                  <a:pt x="321182" y="53189"/>
                                                  <a:pt x="315221" y="54679"/>
                                                </a:cubicBezTo>
                                                <a:cubicBezTo>
                                                  <a:pt x="310233" y="55910"/>
                                                  <a:pt x="304985" y="55198"/>
                                                  <a:pt x="299932" y="56104"/>
                                                </a:cubicBezTo>
                                                <a:cubicBezTo>
                                                  <a:pt x="287946" y="58372"/>
                                                  <a:pt x="279654" y="69191"/>
                                                  <a:pt x="268835" y="74828"/>
                                                </a:cubicBezTo>
                                                <a:cubicBezTo>
                                                  <a:pt x="263328" y="77743"/>
                                                  <a:pt x="257367" y="79103"/>
                                                  <a:pt x="251213" y="79427"/>
                                                </a:cubicBezTo>
                                                <a:cubicBezTo>
                                                  <a:pt x="250306" y="85452"/>
                                                  <a:pt x="247973" y="90959"/>
                                                  <a:pt x="242661" y="93421"/>
                                                </a:cubicBezTo>
                                                <a:cubicBezTo>
                                                  <a:pt x="238385" y="95365"/>
                                                  <a:pt x="233332" y="94652"/>
                                                  <a:pt x="228667" y="95624"/>
                                                </a:cubicBezTo>
                                                <a:cubicBezTo>
                                                  <a:pt x="224068" y="96660"/>
                                                  <a:pt x="219338" y="101195"/>
                                                  <a:pt x="221282" y="105536"/>
                                                </a:cubicBezTo>
                                                <a:cubicBezTo>
                                                  <a:pt x="210916" y="103916"/>
                                                  <a:pt x="200551" y="102362"/>
                                                  <a:pt x="190185" y="100742"/>
                                                </a:cubicBezTo>
                                                <a:cubicBezTo>
                                                  <a:pt x="185261" y="99964"/>
                                                  <a:pt x="180273" y="99187"/>
                                                  <a:pt x="175932" y="96790"/>
                                                </a:cubicBezTo>
                                                <a:cubicBezTo>
                                                  <a:pt x="171591" y="94393"/>
                                                  <a:pt x="168028" y="89987"/>
                                                  <a:pt x="168028" y="85064"/>
                                                </a:cubicBezTo>
                                                <a:cubicBezTo>
                                                  <a:pt x="164400" y="85323"/>
                                                  <a:pt x="160772" y="85647"/>
                                                  <a:pt x="157144" y="85906"/>
                                                </a:cubicBezTo>
                                                <a:cubicBezTo>
                                                  <a:pt x="155719" y="80982"/>
                                                  <a:pt x="154358" y="75994"/>
                                                  <a:pt x="152933" y="71070"/>
                                                </a:cubicBezTo>
                                                <a:cubicBezTo>
                                                  <a:pt x="147167" y="71783"/>
                                                  <a:pt x="141336" y="72430"/>
                                                  <a:pt x="135570" y="73143"/>
                                                </a:cubicBezTo>
                                                <a:cubicBezTo>
                                                  <a:pt x="134793" y="66405"/>
                                                  <a:pt x="133044" y="58437"/>
                                                  <a:pt x="126695" y="56040"/>
                                                </a:cubicBezTo>
                                                <a:cubicBezTo>
                                                  <a:pt x="123714" y="54938"/>
                                                  <a:pt x="120216" y="55392"/>
                                                  <a:pt x="117430" y="53837"/>
                                                </a:cubicBezTo>
                                                <a:cubicBezTo>
                                                  <a:pt x="112118" y="50922"/>
                                                  <a:pt x="112507" y="42953"/>
                                                  <a:pt x="115552" y="37705"/>
                                                </a:cubicBezTo>
                                                <a:cubicBezTo>
                                                  <a:pt x="115552" y="37705"/>
                                                  <a:pt x="115616" y="37576"/>
                                                  <a:pt x="115681" y="37576"/>
                                                </a:cubicBezTo>
                                                <a:cubicBezTo>
                                                  <a:pt x="107129" y="32263"/>
                                                  <a:pt x="100457" y="23971"/>
                                                  <a:pt x="100651" y="14123"/>
                                                </a:cubicBezTo>
                                                <a:cubicBezTo>
                                                  <a:pt x="100651" y="10949"/>
                                                  <a:pt x="100716" y="6543"/>
                                                  <a:pt x="97606" y="5896"/>
                                                </a:cubicBezTo>
                                                <a:cubicBezTo>
                                                  <a:pt x="96116" y="5572"/>
                                                  <a:pt x="94626" y="6414"/>
                                                  <a:pt x="93330" y="7256"/>
                                                </a:cubicBezTo>
                                                <a:cubicBezTo>
                                                  <a:pt x="81928" y="14447"/>
                                                  <a:pt x="70526" y="21638"/>
                                                  <a:pt x="59123" y="28830"/>
                                                </a:cubicBezTo>
                                                <a:cubicBezTo>
                                                  <a:pt x="56597" y="30385"/>
                                                  <a:pt x="53940" y="32069"/>
                                                  <a:pt x="51025" y="32263"/>
                                                </a:cubicBezTo>
                                                <a:cubicBezTo>
                                                  <a:pt x="44287" y="32717"/>
                                                  <a:pt x="39623" y="26044"/>
                                                  <a:pt x="35671" y="20602"/>
                                                </a:cubicBezTo>
                                                <a:cubicBezTo>
                                                  <a:pt x="29386" y="11856"/>
                                                  <a:pt x="20446" y="3952"/>
                                                  <a:pt x="10599" y="0"/>
                                                </a:cubicBezTo>
                                                <a:cubicBezTo>
                                                  <a:pt x="10404" y="5118"/>
                                                  <a:pt x="9627" y="10560"/>
                                                  <a:pt x="5740" y="13670"/>
                                                </a:cubicBezTo>
                                                <a:cubicBezTo>
                                                  <a:pt x="3667" y="15290"/>
                                                  <a:pt x="751" y="16326"/>
                                                  <a:pt x="104" y="18918"/>
                                                </a:cubicBezTo>
                                                <a:cubicBezTo>
                                                  <a:pt x="-545" y="21703"/>
                                                  <a:pt x="1982" y="24100"/>
                                                  <a:pt x="3991" y="26109"/>
                                                </a:cubicBezTo>
                                                <a:cubicBezTo>
                                                  <a:pt x="10728" y="33041"/>
                                                  <a:pt x="13125" y="43795"/>
                                                  <a:pt x="10016" y="52930"/>
                                                </a:cubicBezTo>
                                                <a:cubicBezTo>
                                                  <a:pt x="9368" y="54874"/>
                                                  <a:pt x="8461" y="56882"/>
                                                  <a:pt x="9044" y="58826"/>
                                                </a:cubicBezTo>
                                                <a:cubicBezTo>
                                                  <a:pt x="9433" y="60251"/>
                                                  <a:pt x="10534" y="61352"/>
                                                  <a:pt x="10923" y="62777"/>
                                                </a:cubicBezTo>
                                                <a:cubicBezTo>
                                                  <a:pt x="11376" y="64397"/>
                                                  <a:pt x="10793" y="66146"/>
                                                  <a:pt x="10275" y="67766"/>
                                                </a:cubicBezTo>
                                                <a:cubicBezTo>
                                                  <a:pt x="8849" y="71783"/>
                                                  <a:pt x="7230" y="76058"/>
                                                  <a:pt x="5027" y="79687"/>
                                                </a:cubicBezTo>
                                                <a:cubicBezTo>
                                                  <a:pt x="5480" y="79816"/>
                                                  <a:pt x="5934" y="80075"/>
                                                  <a:pt x="6323" y="80464"/>
                                                </a:cubicBezTo>
                                                <a:cubicBezTo>
                                                  <a:pt x="7165" y="81371"/>
                                                  <a:pt x="7360" y="82667"/>
                                                  <a:pt x="7878" y="83768"/>
                                                </a:cubicBezTo>
                                                <a:cubicBezTo>
                                                  <a:pt x="10339" y="88757"/>
                                                  <a:pt x="18438" y="87331"/>
                                                  <a:pt x="22325" y="91348"/>
                                                </a:cubicBezTo>
                                                <a:cubicBezTo>
                                                  <a:pt x="24398" y="93551"/>
                                                  <a:pt x="24787" y="96790"/>
                                                  <a:pt x="25953" y="99576"/>
                                                </a:cubicBezTo>
                                                <a:cubicBezTo>
                                                  <a:pt x="27119" y="102362"/>
                                                  <a:pt x="30164" y="105018"/>
                                                  <a:pt x="32885" y="103722"/>
                                                </a:cubicBezTo>
                                                <a:cubicBezTo>
                                                  <a:pt x="30553" y="109618"/>
                                                  <a:pt x="33079" y="116744"/>
                                                  <a:pt x="38133" y="120566"/>
                                                </a:cubicBezTo>
                                                <a:cubicBezTo>
                                                  <a:pt x="43186" y="124389"/>
                                                  <a:pt x="50183" y="124972"/>
                                                  <a:pt x="56143" y="122963"/>
                                                </a:cubicBezTo>
                                                <a:cubicBezTo>
                                                  <a:pt x="57568" y="125620"/>
                                                  <a:pt x="58994" y="128665"/>
                                                  <a:pt x="58216" y="131580"/>
                                                </a:cubicBezTo>
                                                <a:cubicBezTo>
                                                  <a:pt x="56856" y="136504"/>
                                                  <a:pt x="50312" y="137864"/>
                                                  <a:pt x="47591" y="142205"/>
                                                </a:cubicBezTo>
                                                <a:cubicBezTo>
                                                  <a:pt x="45518" y="145509"/>
                                                  <a:pt x="46101" y="149720"/>
                                                  <a:pt x="45713" y="153607"/>
                                                </a:cubicBezTo>
                                                <a:cubicBezTo>
                                                  <a:pt x="45324" y="157494"/>
                                                  <a:pt x="42797" y="161964"/>
                                                  <a:pt x="38910" y="161640"/>
                                                </a:cubicBezTo>
                                                <a:cubicBezTo>
                                                  <a:pt x="41177" y="167082"/>
                                                  <a:pt x="43445" y="173043"/>
                                                  <a:pt x="41955" y="178744"/>
                                                </a:cubicBezTo>
                                                <a:cubicBezTo>
                                                  <a:pt x="41242" y="181465"/>
                                                  <a:pt x="39752" y="184186"/>
                                                  <a:pt x="40595" y="186842"/>
                                                </a:cubicBezTo>
                                                <a:cubicBezTo>
                                                  <a:pt x="42603" y="192932"/>
                                                  <a:pt x="54329" y="191507"/>
                                                  <a:pt x="55236" y="197920"/>
                                                </a:cubicBezTo>
                                                <a:cubicBezTo>
                                                  <a:pt x="55495" y="199670"/>
                                                  <a:pt x="54653" y="201484"/>
                                                  <a:pt x="55107" y="203233"/>
                                                </a:cubicBezTo>
                                                <a:cubicBezTo>
                                                  <a:pt x="55689" y="205630"/>
                                                  <a:pt x="58346" y="206731"/>
                                                  <a:pt x="60160" y="208416"/>
                                                </a:cubicBezTo>
                                                <a:cubicBezTo>
                                                  <a:pt x="62751" y="210813"/>
                                                  <a:pt x="63593" y="214506"/>
                                                  <a:pt x="65407" y="217486"/>
                                                </a:cubicBezTo>
                                                <a:cubicBezTo>
                                                  <a:pt x="67221" y="220466"/>
                                                  <a:pt x="71238" y="222928"/>
                                                  <a:pt x="74154" y="220919"/>
                                                </a:cubicBezTo>
                                                <a:cubicBezTo>
                                                  <a:pt x="73765" y="224547"/>
                                                  <a:pt x="77393" y="227268"/>
                                                  <a:pt x="80891" y="228305"/>
                                                </a:cubicBezTo>
                                                <a:cubicBezTo>
                                                  <a:pt x="84325" y="229406"/>
                                                  <a:pt x="88212" y="229730"/>
                                                  <a:pt x="90933" y="232127"/>
                                                </a:cubicBezTo>
                                                <a:cubicBezTo>
                                                  <a:pt x="93719" y="234589"/>
                                                  <a:pt x="94496" y="238541"/>
                                                  <a:pt x="95144" y="242234"/>
                                                </a:cubicBezTo>
                                                <a:cubicBezTo>
                                                  <a:pt x="96051" y="247482"/>
                                                  <a:pt x="96958" y="252794"/>
                                                  <a:pt x="97865" y="258042"/>
                                                </a:cubicBezTo>
                                                <a:cubicBezTo>
                                                  <a:pt x="98254" y="260374"/>
                                                  <a:pt x="98642" y="262771"/>
                                                  <a:pt x="97995" y="265038"/>
                                                </a:cubicBezTo>
                                                <a:cubicBezTo>
                                                  <a:pt x="97671" y="266075"/>
                                                  <a:pt x="97152" y="267047"/>
                                                  <a:pt x="97152" y="268148"/>
                                                </a:cubicBezTo>
                                                <a:cubicBezTo>
                                                  <a:pt x="97152" y="270286"/>
                                                  <a:pt x="99096" y="271841"/>
                                                  <a:pt x="100521" y="273460"/>
                                                </a:cubicBezTo>
                                                <a:cubicBezTo>
                                                  <a:pt x="104538" y="277996"/>
                                                  <a:pt x="105121" y="284539"/>
                                                  <a:pt x="106870" y="290370"/>
                                                </a:cubicBezTo>
                                                <a:cubicBezTo>
                                                  <a:pt x="107194" y="291406"/>
                                                  <a:pt x="107648" y="292378"/>
                                                  <a:pt x="108036" y="293350"/>
                                                </a:cubicBezTo>
                                                <a:cubicBezTo>
                                                  <a:pt x="115227" y="286159"/>
                                                  <a:pt x="127472" y="283762"/>
                                                  <a:pt x="137514" y="287065"/>
                                                </a:cubicBezTo>
                                                <a:cubicBezTo>
                                                  <a:pt x="150471" y="291341"/>
                                                  <a:pt x="159930" y="302485"/>
                                                  <a:pt x="166991" y="314211"/>
                                                </a:cubicBezTo>
                                                <a:cubicBezTo>
                                                  <a:pt x="174053" y="325937"/>
                                                  <a:pt x="179366" y="338700"/>
                                                  <a:pt x="187788" y="349389"/>
                                                </a:cubicBezTo>
                                                <a:cubicBezTo>
                                                  <a:pt x="198089" y="362476"/>
                                                  <a:pt x="212277" y="371740"/>
                                                  <a:pt x="226270" y="380810"/>
                                                </a:cubicBezTo>
                                                <a:cubicBezTo>
                                                  <a:pt x="244475" y="392601"/>
                                                  <a:pt x="268251" y="404587"/>
                                                  <a:pt x="286521" y="392861"/>
                                                </a:cubicBezTo>
                                                <a:cubicBezTo>
                                                  <a:pt x="291251" y="389816"/>
                                                  <a:pt x="295073" y="385410"/>
                                                  <a:pt x="300320" y="383272"/>
                                                </a:cubicBezTo>
                                                <a:cubicBezTo>
                                                  <a:pt x="315869" y="376988"/>
                                                  <a:pt x="330770" y="394610"/>
                                                  <a:pt x="334916" y="410806"/>
                                                </a:cubicBezTo>
                                                <a:cubicBezTo>
                                                  <a:pt x="337378" y="420459"/>
                                                  <a:pt x="344116" y="433676"/>
                                                  <a:pt x="352991" y="429141"/>
                                                </a:cubicBezTo>
                                                <a:cubicBezTo>
                                                  <a:pt x="354352" y="425448"/>
                                                  <a:pt x="355712" y="421690"/>
                                                  <a:pt x="357008" y="417998"/>
                                                </a:cubicBezTo>
                                                <a:cubicBezTo>
                                                  <a:pt x="372621" y="408733"/>
                                                  <a:pt x="392511" y="411648"/>
                                                  <a:pt x="409679" y="417544"/>
                                                </a:cubicBezTo>
                                                <a:cubicBezTo>
                                                  <a:pt x="422442" y="421949"/>
                                                  <a:pt x="434816" y="427845"/>
                                                  <a:pt x="447708" y="431343"/>
                                                </a:cubicBezTo>
                                                <a:cubicBezTo>
                                                  <a:pt x="450170" y="419617"/>
                                                  <a:pt x="458268" y="408863"/>
                                                  <a:pt x="469605" y="404652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3" name="Freeform: Shape 1552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17DAF830-79AF-474C-84F1-CB3CA9198880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034833" y="3137937"/>
                                            <a:ext cx="137900" cy="6877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94911 w 137900"/>
                                              <a:gd name="connsiteY0" fmla="*/ 56854 h 68774"/>
                                              <a:gd name="connsiteX1" fmla="*/ 104888 w 137900"/>
                                              <a:gd name="connsiteY1" fmla="*/ 57826 h 68774"/>
                                              <a:gd name="connsiteX2" fmla="*/ 116939 w 137900"/>
                                              <a:gd name="connsiteY2" fmla="*/ 61713 h 68774"/>
                                              <a:gd name="connsiteX3" fmla="*/ 124648 w 137900"/>
                                              <a:gd name="connsiteY3" fmla="*/ 66637 h 68774"/>
                                              <a:gd name="connsiteX4" fmla="*/ 137152 w 137900"/>
                                              <a:gd name="connsiteY4" fmla="*/ 60936 h 68774"/>
                                              <a:gd name="connsiteX5" fmla="*/ 136892 w 137900"/>
                                              <a:gd name="connsiteY5" fmla="*/ 50311 h 68774"/>
                                              <a:gd name="connsiteX6" fmla="*/ 135921 w 137900"/>
                                              <a:gd name="connsiteY6" fmla="*/ 48303 h 68774"/>
                                              <a:gd name="connsiteX7" fmla="*/ 133459 w 137900"/>
                                              <a:gd name="connsiteY7" fmla="*/ 47396 h 68774"/>
                                              <a:gd name="connsiteX8" fmla="*/ 122769 w 137900"/>
                                              <a:gd name="connsiteY8" fmla="*/ 33726 h 68774"/>
                                              <a:gd name="connsiteX9" fmla="*/ 122510 w 137900"/>
                                              <a:gd name="connsiteY9" fmla="*/ 29903 h 68774"/>
                                              <a:gd name="connsiteX10" fmla="*/ 119595 w 137900"/>
                                              <a:gd name="connsiteY10" fmla="*/ 27571 h 68774"/>
                                              <a:gd name="connsiteX11" fmla="*/ 84675 w 137900"/>
                                              <a:gd name="connsiteY11" fmla="*/ 19214 h 68774"/>
                                              <a:gd name="connsiteX12" fmla="*/ 73014 w 137900"/>
                                              <a:gd name="connsiteY12" fmla="*/ 17141 h 68774"/>
                                              <a:gd name="connsiteX13" fmla="*/ 70098 w 137900"/>
                                              <a:gd name="connsiteY13" fmla="*/ 15132 h 68774"/>
                                              <a:gd name="connsiteX14" fmla="*/ 57076 w 137900"/>
                                              <a:gd name="connsiteY14" fmla="*/ 13383 h 68774"/>
                                              <a:gd name="connsiteX15" fmla="*/ 54744 w 137900"/>
                                              <a:gd name="connsiteY15" fmla="*/ 9820 h 68774"/>
                                              <a:gd name="connsiteX16" fmla="*/ 36474 w 137900"/>
                                              <a:gd name="connsiteY16" fmla="*/ 2564 h 68774"/>
                                              <a:gd name="connsiteX17" fmla="*/ 16002 w 137900"/>
                                              <a:gd name="connsiteY17" fmla="*/ 1657 h 68774"/>
                                              <a:gd name="connsiteX18" fmla="*/ 8940 w 137900"/>
                                              <a:gd name="connsiteY18" fmla="*/ 232 h 68774"/>
                                              <a:gd name="connsiteX19" fmla="*/ 5053 w 137900"/>
                                              <a:gd name="connsiteY19" fmla="*/ 3665 h 68774"/>
                                              <a:gd name="connsiteX20" fmla="*/ 0 w 137900"/>
                                              <a:gd name="connsiteY20" fmla="*/ 9172 h 68774"/>
                                              <a:gd name="connsiteX21" fmla="*/ 4794 w 137900"/>
                                              <a:gd name="connsiteY21" fmla="*/ 8848 h 68774"/>
                                              <a:gd name="connsiteX22" fmla="*/ 12374 w 137900"/>
                                              <a:gd name="connsiteY22" fmla="*/ 32819 h 68774"/>
                                              <a:gd name="connsiteX23" fmla="*/ 22675 w 137900"/>
                                              <a:gd name="connsiteY23" fmla="*/ 44027 h 68774"/>
                                              <a:gd name="connsiteX24" fmla="*/ 2915 w 137900"/>
                                              <a:gd name="connsiteY24" fmla="*/ 56660 h 68774"/>
                                              <a:gd name="connsiteX25" fmla="*/ 43990 w 137900"/>
                                              <a:gd name="connsiteY25" fmla="*/ 57308 h 68774"/>
                                              <a:gd name="connsiteX26" fmla="*/ 54939 w 137900"/>
                                              <a:gd name="connsiteY26" fmla="*/ 65924 h 68774"/>
                                              <a:gd name="connsiteX27" fmla="*/ 59279 w 137900"/>
                                              <a:gd name="connsiteY27" fmla="*/ 68775 h 68774"/>
                                              <a:gd name="connsiteX28" fmla="*/ 67248 w 137900"/>
                                              <a:gd name="connsiteY28" fmla="*/ 67803 h 68774"/>
                                              <a:gd name="connsiteX29" fmla="*/ 94911 w 137900"/>
                                              <a:gd name="connsiteY29" fmla="*/ 56725 h 6877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37900" h="68774">
                                                <a:moveTo>
                                                  <a:pt x="94911" y="56854"/>
                                                </a:moveTo>
                                                <a:cubicBezTo>
                                                  <a:pt x="98215" y="56530"/>
                                                  <a:pt x="101584" y="57178"/>
                                                  <a:pt x="104888" y="57826"/>
                                                </a:cubicBezTo>
                                                <a:cubicBezTo>
                                                  <a:pt x="109034" y="58668"/>
                                                  <a:pt x="113311" y="59510"/>
                                                  <a:pt x="116939" y="61713"/>
                                                </a:cubicBezTo>
                                                <a:cubicBezTo>
                                                  <a:pt x="119530" y="63333"/>
                                                  <a:pt x="121797" y="65600"/>
                                                  <a:pt x="124648" y="66637"/>
                                                </a:cubicBezTo>
                                                <a:cubicBezTo>
                                                  <a:pt x="129442" y="68321"/>
                                                  <a:pt x="135273" y="65665"/>
                                                  <a:pt x="137152" y="60936"/>
                                                </a:cubicBezTo>
                                                <a:cubicBezTo>
                                                  <a:pt x="138447" y="57567"/>
                                                  <a:pt x="137864" y="53809"/>
                                                  <a:pt x="136892" y="50311"/>
                                                </a:cubicBezTo>
                                                <a:cubicBezTo>
                                                  <a:pt x="136698" y="49598"/>
                                                  <a:pt x="136439" y="48821"/>
                                                  <a:pt x="135921" y="48303"/>
                                                </a:cubicBezTo>
                                                <a:cubicBezTo>
                                                  <a:pt x="135273" y="47719"/>
                                                  <a:pt x="134301" y="47590"/>
                                                  <a:pt x="133459" y="47396"/>
                                                </a:cubicBezTo>
                                                <a:cubicBezTo>
                                                  <a:pt x="127304" y="46165"/>
                                                  <a:pt x="122510" y="40010"/>
                                                  <a:pt x="122769" y="33726"/>
                                                </a:cubicBezTo>
                                                <a:cubicBezTo>
                                                  <a:pt x="122769" y="32430"/>
                                                  <a:pt x="123028" y="31070"/>
                                                  <a:pt x="122510" y="29903"/>
                                                </a:cubicBezTo>
                                                <a:cubicBezTo>
                                                  <a:pt x="121927" y="28802"/>
                                                  <a:pt x="120761" y="28089"/>
                                                  <a:pt x="119595" y="27571"/>
                                                </a:cubicBezTo>
                                                <a:cubicBezTo>
                                                  <a:pt x="108775" y="22323"/>
                                                  <a:pt x="96725" y="19408"/>
                                                  <a:pt x="84675" y="19214"/>
                                                </a:cubicBezTo>
                                                <a:cubicBezTo>
                                                  <a:pt x="80658" y="19214"/>
                                                  <a:pt x="76318" y="19279"/>
                                                  <a:pt x="73014" y="17141"/>
                                                </a:cubicBezTo>
                                                <a:cubicBezTo>
                                                  <a:pt x="72042" y="16493"/>
                                                  <a:pt x="71135" y="15651"/>
                                                  <a:pt x="70098" y="15132"/>
                                                </a:cubicBezTo>
                                                <a:cubicBezTo>
                                                  <a:pt x="66017" y="13189"/>
                                                  <a:pt x="60380" y="16428"/>
                                                  <a:pt x="57076" y="13383"/>
                                                </a:cubicBezTo>
                                                <a:cubicBezTo>
                                                  <a:pt x="56040" y="12411"/>
                                                  <a:pt x="55457" y="11051"/>
                                                  <a:pt x="54744" y="9820"/>
                                                </a:cubicBezTo>
                                                <a:cubicBezTo>
                                                  <a:pt x="51181" y="3924"/>
                                                  <a:pt x="43342" y="2369"/>
                                                  <a:pt x="36474" y="2564"/>
                                                </a:cubicBezTo>
                                                <a:cubicBezTo>
                                                  <a:pt x="29607" y="2758"/>
                                                  <a:pt x="22481" y="4054"/>
                                                  <a:pt x="16002" y="1657"/>
                                                </a:cubicBezTo>
                                                <a:cubicBezTo>
                                                  <a:pt x="13735" y="815"/>
                                                  <a:pt x="11273" y="-546"/>
                                                  <a:pt x="8940" y="232"/>
                                                </a:cubicBezTo>
                                                <a:cubicBezTo>
                                                  <a:pt x="7256" y="815"/>
                                                  <a:pt x="6155" y="2305"/>
                                                  <a:pt x="5053" y="3665"/>
                                                </a:cubicBezTo>
                                                <a:cubicBezTo>
                                                  <a:pt x="3499" y="5609"/>
                                                  <a:pt x="1814" y="7423"/>
                                                  <a:pt x="0" y="9172"/>
                                                </a:cubicBezTo>
                                                <a:cubicBezTo>
                                                  <a:pt x="1620" y="9301"/>
                                                  <a:pt x="3239" y="9172"/>
                                                  <a:pt x="4794" y="8848"/>
                                                </a:cubicBezTo>
                                                <a:cubicBezTo>
                                                  <a:pt x="9848" y="15715"/>
                                                  <a:pt x="12568" y="24267"/>
                                                  <a:pt x="12374" y="32819"/>
                                                </a:cubicBezTo>
                                                <a:cubicBezTo>
                                                  <a:pt x="18011" y="33078"/>
                                                  <a:pt x="22870" y="38390"/>
                                                  <a:pt x="22675" y="44027"/>
                                                </a:cubicBezTo>
                                                <a:cubicBezTo>
                                                  <a:pt x="16067" y="48238"/>
                                                  <a:pt x="9524" y="52449"/>
                                                  <a:pt x="2915" y="56660"/>
                                                </a:cubicBezTo>
                                                <a:cubicBezTo>
                                                  <a:pt x="16909" y="55882"/>
                                                  <a:pt x="32264" y="49987"/>
                                                  <a:pt x="43990" y="57308"/>
                                                </a:cubicBezTo>
                                                <a:cubicBezTo>
                                                  <a:pt x="47942" y="59770"/>
                                                  <a:pt x="50922" y="63527"/>
                                                  <a:pt x="54939" y="65924"/>
                                                </a:cubicBezTo>
                                                <a:cubicBezTo>
                                                  <a:pt x="56429" y="66831"/>
                                                  <a:pt x="57983" y="67673"/>
                                                  <a:pt x="59279" y="68775"/>
                                                </a:cubicBezTo>
                                                <a:cubicBezTo>
                                                  <a:pt x="61741" y="67997"/>
                                                  <a:pt x="64592" y="68127"/>
                                                  <a:pt x="67248" y="67803"/>
                                                </a:cubicBezTo>
                                                <a:cubicBezTo>
                                                  <a:pt x="77160" y="66507"/>
                                                  <a:pt x="84934" y="57632"/>
                                                  <a:pt x="94911" y="56725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4" name="Freeform: Shape 1553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ED841366-A26D-4CD4-BA1C-A4470D318415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094048" y="3195374"/>
                                            <a:ext cx="80982" cy="87612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64851 w 80982"/>
                                              <a:gd name="connsiteY0" fmla="*/ 49108 h 87612"/>
                                              <a:gd name="connsiteX1" fmla="*/ 63231 w 80982"/>
                                              <a:gd name="connsiteY1" fmla="*/ 45415 h 87612"/>
                                              <a:gd name="connsiteX2" fmla="*/ 57400 w 80982"/>
                                              <a:gd name="connsiteY2" fmla="*/ 40815 h 87612"/>
                                              <a:gd name="connsiteX3" fmla="*/ 55910 w 80982"/>
                                              <a:gd name="connsiteY3" fmla="*/ 29542 h 87612"/>
                                              <a:gd name="connsiteX4" fmla="*/ 48265 w 80982"/>
                                              <a:gd name="connsiteY4" fmla="*/ 23776 h 87612"/>
                                              <a:gd name="connsiteX5" fmla="*/ 48978 w 80982"/>
                                              <a:gd name="connsiteY5" fmla="*/ 17298 h 87612"/>
                                              <a:gd name="connsiteX6" fmla="*/ 43536 w 80982"/>
                                              <a:gd name="connsiteY6" fmla="*/ 9718 h 87612"/>
                                              <a:gd name="connsiteX7" fmla="*/ 32199 w 80982"/>
                                              <a:gd name="connsiteY7" fmla="*/ 0 h 87612"/>
                                              <a:gd name="connsiteX8" fmla="*/ 7969 w 80982"/>
                                              <a:gd name="connsiteY8" fmla="*/ 10431 h 87612"/>
                                              <a:gd name="connsiteX9" fmla="*/ 0 w 80982"/>
                                              <a:gd name="connsiteY9" fmla="*/ 11402 h 87612"/>
                                              <a:gd name="connsiteX10" fmla="*/ 1231 w 80982"/>
                                              <a:gd name="connsiteY10" fmla="*/ 12439 h 87612"/>
                                              <a:gd name="connsiteX11" fmla="*/ 2332 w 80982"/>
                                              <a:gd name="connsiteY11" fmla="*/ 31421 h 87612"/>
                                              <a:gd name="connsiteX12" fmla="*/ 12309 w 80982"/>
                                              <a:gd name="connsiteY12" fmla="*/ 39649 h 87612"/>
                                              <a:gd name="connsiteX13" fmla="*/ 12957 w 80982"/>
                                              <a:gd name="connsiteY13" fmla="*/ 41916 h 87612"/>
                                              <a:gd name="connsiteX14" fmla="*/ 17492 w 80982"/>
                                              <a:gd name="connsiteY14" fmla="*/ 43407 h 87612"/>
                                              <a:gd name="connsiteX15" fmla="*/ 22027 w 80982"/>
                                              <a:gd name="connsiteY15" fmla="*/ 53448 h 87612"/>
                                              <a:gd name="connsiteX16" fmla="*/ 22027 w 80982"/>
                                              <a:gd name="connsiteY16" fmla="*/ 55327 h 87612"/>
                                              <a:gd name="connsiteX17" fmla="*/ 47099 w 80982"/>
                                              <a:gd name="connsiteY17" fmla="*/ 75929 h 87612"/>
                                              <a:gd name="connsiteX18" fmla="*/ 62454 w 80982"/>
                                              <a:gd name="connsiteY18" fmla="*/ 87590 h 87612"/>
                                              <a:gd name="connsiteX19" fmla="*/ 70552 w 80982"/>
                                              <a:gd name="connsiteY19" fmla="*/ 84157 h 87612"/>
                                              <a:gd name="connsiteX20" fmla="*/ 80982 w 80982"/>
                                              <a:gd name="connsiteY20" fmla="*/ 77549 h 87612"/>
                                              <a:gd name="connsiteX21" fmla="*/ 75476 w 80982"/>
                                              <a:gd name="connsiteY21" fmla="*/ 65239 h 87612"/>
                                              <a:gd name="connsiteX22" fmla="*/ 64786 w 80982"/>
                                              <a:gd name="connsiteY22" fmla="*/ 49043 h 87612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80982" h="87612">
                                                <a:moveTo>
                                                  <a:pt x="64851" y="49108"/>
                                                </a:moveTo>
                                                <a:cubicBezTo>
                                                  <a:pt x="64397" y="47812"/>
                                                  <a:pt x="64073" y="46451"/>
                                                  <a:pt x="63231" y="45415"/>
                                                </a:cubicBezTo>
                                                <a:cubicBezTo>
                                                  <a:pt x="61676" y="43471"/>
                                                  <a:pt x="58761" y="42953"/>
                                                  <a:pt x="57400" y="40815"/>
                                                </a:cubicBezTo>
                                                <a:cubicBezTo>
                                                  <a:pt x="55262" y="37576"/>
                                                  <a:pt x="58113" y="32652"/>
                                                  <a:pt x="55910" y="29542"/>
                                                </a:cubicBezTo>
                                                <a:cubicBezTo>
                                                  <a:pt x="54031" y="26886"/>
                                                  <a:pt x="49367" y="26886"/>
                                                  <a:pt x="48265" y="23776"/>
                                                </a:cubicBezTo>
                                                <a:cubicBezTo>
                                                  <a:pt x="47553" y="21703"/>
                                                  <a:pt x="48978" y="19501"/>
                                                  <a:pt x="48978" y="17298"/>
                                                </a:cubicBezTo>
                                                <a:cubicBezTo>
                                                  <a:pt x="48978" y="14059"/>
                                                  <a:pt x="46127" y="11662"/>
                                                  <a:pt x="43536" y="9718"/>
                                                </a:cubicBezTo>
                                                <a:cubicBezTo>
                                                  <a:pt x="39584" y="6673"/>
                                                  <a:pt x="35827" y="3434"/>
                                                  <a:pt x="32199" y="0"/>
                                                </a:cubicBezTo>
                                                <a:cubicBezTo>
                                                  <a:pt x="23841" y="2268"/>
                                                  <a:pt x="16715" y="9329"/>
                                                  <a:pt x="7969" y="10431"/>
                                                </a:cubicBezTo>
                                                <a:cubicBezTo>
                                                  <a:pt x="5312" y="10754"/>
                                                  <a:pt x="2462" y="10625"/>
                                                  <a:pt x="0" y="11402"/>
                                                </a:cubicBezTo>
                                                <a:cubicBezTo>
                                                  <a:pt x="389" y="11726"/>
                                                  <a:pt x="907" y="12050"/>
                                                  <a:pt x="1231" y="12439"/>
                                                </a:cubicBezTo>
                                                <a:cubicBezTo>
                                                  <a:pt x="5053" y="17751"/>
                                                  <a:pt x="-1490" y="26109"/>
                                                  <a:pt x="2332" y="31421"/>
                                                </a:cubicBezTo>
                                                <a:cubicBezTo>
                                                  <a:pt x="4924" y="35049"/>
                                                  <a:pt x="11208" y="35373"/>
                                                  <a:pt x="12309" y="39649"/>
                                                </a:cubicBezTo>
                                                <a:cubicBezTo>
                                                  <a:pt x="12504" y="40426"/>
                                                  <a:pt x="12504" y="41269"/>
                                                  <a:pt x="12957" y="41916"/>
                                                </a:cubicBezTo>
                                                <a:cubicBezTo>
                                                  <a:pt x="13864" y="43277"/>
                                                  <a:pt x="15937" y="42953"/>
                                                  <a:pt x="17492" y="43407"/>
                                                </a:cubicBezTo>
                                                <a:cubicBezTo>
                                                  <a:pt x="21314" y="44443"/>
                                                  <a:pt x="22092" y="49496"/>
                                                  <a:pt x="22027" y="53448"/>
                                                </a:cubicBezTo>
                                                <a:cubicBezTo>
                                                  <a:pt x="22027" y="54096"/>
                                                  <a:pt x="22027" y="54679"/>
                                                  <a:pt x="22027" y="55327"/>
                                                </a:cubicBezTo>
                                                <a:cubicBezTo>
                                                  <a:pt x="31874" y="59279"/>
                                                  <a:pt x="40880" y="67118"/>
                                                  <a:pt x="47099" y="75929"/>
                                                </a:cubicBezTo>
                                                <a:cubicBezTo>
                                                  <a:pt x="50986" y="81436"/>
                                                  <a:pt x="55716" y="88044"/>
                                                  <a:pt x="62454" y="87590"/>
                                                </a:cubicBezTo>
                                                <a:cubicBezTo>
                                                  <a:pt x="65434" y="87396"/>
                                                  <a:pt x="68090" y="85776"/>
                                                  <a:pt x="70552" y="84157"/>
                                                </a:cubicBezTo>
                                                <a:cubicBezTo>
                                                  <a:pt x="74050" y="81954"/>
                                                  <a:pt x="77549" y="79751"/>
                                                  <a:pt x="80982" y="77549"/>
                                                </a:cubicBezTo>
                                                <a:cubicBezTo>
                                                  <a:pt x="79816" y="73208"/>
                                                  <a:pt x="78002" y="68997"/>
                                                  <a:pt x="75476" y="65239"/>
                                                </a:cubicBezTo>
                                                <a:cubicBezTo>
                                                  <a:pt x="71848" y="59862"/>
                                                  <a:pt x="66924" y="55133"/>
                                                  <a:pt x="64786" y="49043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5" name="Freeform: Shape 1554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81DCB32C-3BE4-4C4C-8EC9-F41D6EF14999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126246" y="3191941"/>
                                            <a:ext cx="121908" cy="96595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102750 w 121908"/>
                                              <a:gd name="connsiteY0" fmla="*/ 85452 h 96595"/>
                                              <a:gd name="connsiteX1" fmla="*/ 104694 w 121908"/>
                                              <a:gd name="connsiteY1" fmla="*/ 81436 h 96595"/>
                                              <a:gd name="connsiteX2" fmla="*/ 107091 w 121908"/>
                                              <a:gd name="connsiteY2" fmla="*/ 77678 h 96595"/>
                                              <a:gd name="connsiteX3" fmla="*/ 109941 w 121908"/>
                                              <a:gd name="connsiteY3" fmla="*/ 77419 h 96595"/>
                                              <a:gd name="connsiteX4" fmla="*/ 113764 w 121908"/>
                                              <a:gd name="connsiteY4" fmla="*/ 72236 h 96595"/>
                                              <a:gd name="connsiteX5" fmla="*/ 121149 w 121908"/>
                                              <a:gd name="connsiteY5" fmla="*/ 46322 h 96595"/>
                                              <a:gd name="connsiteX6" fmla="*/ 121862 w 121908"/>
                                              <a:gd name="connsiteY6" fmla="*/ 41528 h 96595"/>
                                              <a:gd name="connsiteX7" fmla="*/ 119594 w 121908"/>
                                              <a:gd name="connsiteY7" fmla="*/ 36474 h 96595"/>
                                              <a:gd name="connsiteX8" fmla="*/ 115189 w 121908"/>
                                              <a:gd name="connsiteY8" fmla="*/ 20926 h 96595"/>
                                              <a:gd name="connsiteX9" fmla="*/ 106054 w 121908"/>
                                              <a:gd name="connsiteY9" fmla="*/ 1814 h 96595"/>
                                              <a:gd name="connsiteX10" fmla="*/ 105989 w 121908"/>
                                              <a:gd name="connsiteY10" fmla="*/ 1814 h 96595"/>
                                              <a:gd name="connsiteX11" fmla="*/ 96530 w 121908"/>
                                              <a:gd name="connsiteY11" fmla="*/ 8098 h 96595"/>
                                              <a:gd name="connsiteX12" fmla="*/ 92838 w 121908"/>
                                              <a:gd name="connsiteY12" fmla="*/ 9783 h 96595"/>
                                              <a:gd name="connsiteX13" fmla="*/ 88238 w 121908"/>
                                              <a:gd name="connsiteY13" fmla="*/ 8876 h 96595"/>
                                              <a:gd name="connsiteX14" fmla="*/ 76965 w 121908"/>
                                              <a:gd name="connsiteY14" fmla="*/ 8552 h 96595"/>
                                              <a:gd name="connsiteX15" fmla="*/ 66664 w 121908"/>
                                              <a:gd name="connsiteY15" fmla="*/ 4924 h 96595"/>
                                              <a:gd name="connsiteX16" fmla="*/ 63879 w 121908"/>
                                              <a:gd name="connsiteY16" fmla="*/ 1620 h 96595"/>
                                              <a:gd name="connsiteX17" fmla="*/ 59732 w 121908"/>
                                              <a:gd name="connsiteY17" fmla="*/ 907 h 96595"/>
                                              <a:gd name="connsiteX18" fmla="*/ 46192 w 121908"/>
                                              <a:gd name="connsiteY18" fmla="*/ 0 h 96595"/>
                                              <a:gd name="connsiteX19" fmla="*/ 45674 w 121908"/>
                                              <a:gd name="connsiteY19" fmla="*/ 7062 h 96595"/>
                                              <a:gd name="connsiteX20" fmla="*/ 33170 w 121908"/>
                                              <a:gd name="connsiteY20" fmla="*/ 12763 h 96595"/>
                                              <a:gd name="connsiteX21" fmla="*/ 25461 w 121908"/>
                                              <a:gd name="connsiteY21" fmla="*/ 7839 h 96595"/>
                                              <a:gd name="connsiteX22" fmla="*/ 13410 w 121908"/>
                                              <a:gd name="connsiteY22" fmla="*/ 3952 h 96595"/>
                                              <a:gd name="connsiteX23" fmla="*/ 3433 w 121908"/>
                                              <a:gd name="connsiteY23" fmla="*/ 2980 h 96595"/>
                                              <a:gd name="connsiteX24" fmla="*/ 0 w 121908"/>
                                              <a:gd name="connsiteY24" fmla="*/ 3628 h 96595"/>
                                              <a:gd name="connsiteX25" fmla="*/ 11338 w 121908"/>
                                              <a:gd name="connsiteY25" fmla="*/ 13346 h 96595"/>
                                              <a:gd name="connsiteX26" fmla="*/ 16779 w 121908"/>
                                              <a:gd name="connsiteY26" fmla="*/ 20926 h 96595"/>
                                              <a:gd name="connsiteX27" fmla="*/ 16067 w 121908"/>
                                              <a:gd name="connsiteY27" fmla="*/ 27404 h 96595"/>
                                              <a:gd name="connsiteX28" fmla="*/ 23711 w 121908"/>
                                              <a:gd name="connsiteY28" fmla="*/ 33170 h 96595"/>
                                              <a:gd name="connsiteX29" fmla="*/ 25201 w 121908"/>
                                              <a:gd name="connsiteY29" fmla="*/ 44443 h 96595"/>
                                              <a:gd name="connsiteX30" fmla="*/ 31032 w 121908"/>
                                              <a:gd name="connsiteY30" fmla="*/ 49043 h 96595"/>
                                              <a:gd name="connsiteX31" fmla="*/ 32652 w 121908"/>
                                              <a:gd name="connsiteY31" fmla="*/ 52736 h 96595"/>
                                              <a:gd name="connsiteX32" fmla="*/ 43342 w 121908"/>
                                              <a:gd name="connsiteY32" fmla="*/ 68932 h 96595"/>
                                              <a:gd name="connsiteX33" fmla="*/ 48848 w 121908"/>
                                              <a:gd name="connsiteY33" fmla="*/ 81241 h 96595"/>
                                              <a:gd name="connsiteX34" fmla="*/ 72625 w 121908"/>
                                              <a:gd name="connsiteY34" fmla="*/ 66276 h 96595"/>
                                              <a:gd name="connsiteX35" fmla="*/ 76901 w 121908"/>
                                              <a:gd name="connsiteY35" fmla="*/ 64915 h 96595"/>
                                              <a:gd name="connsiteX36" fmla="*/ 79945 w 121908"/>
                                              <a:gd name="connsiteY36" fmla="*/ 73143 h 96595"/>
                                              <a:gd name="connsiteX37" fmla="*/ 94976 w 121908"/>
                                              <a:gd name="connsiteY37" fmla="*/ 96596 h 96595"/>
                                              <a:gd name="connsiteX38" fmla="*/ 102556 w 121908"/>
                                              <a:gd name="connsiteY38" fmla="*/ 86035 h 96595"/>
                                              <a:gd name="connsiteX39" fmla="*/ 102815 w 121908"/>
                                              <a:gd name="connsiteY39" fmla="*/ 85647 h 96595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121908" h="96595">
                                                <a:moveTo>
                                                  <a:pt x="102750" y="85452"/>
                                                </a:moveTo>
                                                <a:cubicBezTo>
                                                  <a:pt x="103527" y="84157"/>
                                                  <a:pt x="104175" y="82861"/>
                                                  <a:pt x="104694" y="81436"/>
                                                </a:cubicBezTo>
                                                <a:cubicBezTo>
                                                  <a:pt x="105147" y="80010"/>
                                                  <a:pt x="105665" y="78261"/>
                                                  <a:pt x="107091" y="77678"/>
                                                </a:cubicBezTo>
                                                <a:cubicBezTo>
                                                  <a:pt x="107998" y="77354"/>
                                                  <a:pt x="109034" y="77613"/>
                                                  <a:pt x="109941" y="77419"/>
                                                </a:cubicBezTo>
                                                <a:cubicBezTo>
                                                  <a:pt x="112144" y="76965"/>
                                                  <a:pt x="113180" y="74439"/>
                                                  <a:pt x="113764" y="72236"/>
                                                </a:cubicBezTo>
                                                <a:cubicBezTo>
                                                  <a:pt x="116226" y="63620"/>
                                                  <a:pt x="118687" y="54938"/>
                                                  <a:pt x="121149" y="46322"/>
                                                </a:cubicBezTo>
                                                <a:cubicBezTo>
                                                  <a:pt x="121603" y="44767"/>
                                                  <a:pt x="122056" y="43147"/>
                                                  <a:pt x="121862" y="41528"/>
                                                </a:cubicBezTo>
                                                <a:cubicBezTo>
                                                  <a:pt x="121603" y="39714"/>
                                                  <a:pt x="120566" y="38094"/>
                                                  <a:pt x="119594" y="36474"/>
                                                </a:cubicBezTo>
                                                <a:cubicBezTo>
                                                  <a:pt x="116873" y="31745"/>
                                                  <a:pt x="115383" y="26368"/>
                                                  <a:pt x="115189" y="20926"/>
                                                </a:cubicBezTo>
                                                <a:cubicBezTo>
                                                  <a:pt x="107933" y="18075"/>
                                                  <a:pt x="103722" y="9200"/>
                                                  <a:pt x="106054" y="1814"/>
                                                </a:cubicBezTo>
                                                <a:cubicBezTo>
                                                  <a:pt x="106054" y="1814"/>
                                                  <a:pt x="106054" y="1814"/>
                                                  <a:pt x="105989" y="1814"/>
                                                </a:cubicBezTo>
                                                <a:cubicBezTo>
                                                  <a:pt x="102815" y="3887"/>
                                                  <a:pt x="99705" y="5960"/>
                                                  <a:pt x="96530" y="8098"/>
                                                </a:cubicBezTo>
                                                <a:cubicBezTo>
                                                  <a:pt x="95364" y="8876"/>
                                                  <a:pt x="94198" y="9653"/>
                                                  <a:pt x="92838" y="9783"/>
                                                </a:cubicBezTo>
                                                <a:cubicBezTo>
                                                  <a:pt x="91283" y="9977"/>
                                                  <a:pt x="89793" y="9265"/>
                                                  <a:pt x="88238" y="8876"/>
                                                </a:cubicBezTo>
                                                <a:cubicBezTo>
                                                  <a:pt x="84610" y="7904"/>
                                                  <a:pt x="80723" y="8552"/>
                                                  <a:pt x="76965" y="8552"/>
                                                </a:cubicBezTo>
                                                <a:cubicBezTo>
                                                  <a:pt x="73208" y="8552"/>
                                                  <a:pt x="69061" y="7839"/>
                                                  <a:pt x="66664" y="4924"/>
                                                </a:cubicBezTo>
                                                <a:cubicBezTo>
                                                  <a:pt x="65757" y="3823"/>
                                                  <a:pt x="65110" y="2397"/>
                                                  <a:pt x="63879" y="1620"/>
                                                </a:cubicBezTo>
                                                <a:cubicBezTo>
                                                  <a:pt x="62648" y="842"/>
                                                  <a:pt x="61158" y="907"/>
                                                  <a:pt x="59732" y="907"/>
                                                </a:cubicBezTo>
                                                <a:cubicBezTo>
                                                  <a:pt x="55197" y="907"/>
                                                  <a:pt x="50662" y="583"/>
                                                  <a:pt x="46192" y="0"/>
                                                </a:cubicBezTo>
                                                <a:cubicBezTo>
                                                  <a:pt x="46516" y="2397"/>
                                                  <a:pt x="46581" y="4794"/>
                                                  <a:pt x="45674" y="7062"/>
                                                </a:cubicBezTo>
                                                <a:cubicBezTo>
                                                  <a:pt x="43860" y="11791"/>
                                                  <a:pt x="37964" y="14447"/>
                                                  <a:pt x="33170" y="12763"/>
                                                </a:cubicBezTo>
                                                <a:cubicBezTo>
                                                  <a:pt x="30255" y="11726"/>
                                                  <a:pt x="28052" y="9459"/>
                                                  <a:pt x="25461" y="7839"/>
                                                </a:cubicBezTo>
                                                <a:cubicBezTo>
                                                  <a:pt x="21833" y="5637"/>
                                                  <a:pt x="17557" y="4794"/>
                                                  <a:pt x="13410" y="3952"/>
                                                </a:cubicBezTo>
                                                <a:cubicBezTo>
                                                  <a:pt x="10107" y="3304"/>
                                                  <a:pt x="6802" y="2656"/>
                                                  <a:pt x="3433" y="2980"/>
                                                </a:cubicBezTo>
                                                <a:cubicBezTo>
                                                  <a:pt x="2267" y="3110"/>
                                                  <a:pt x="1101" y="3304"/>
                                                  <a:pt x="0" y="3628"/>
                                                </a:cubicBezTo>
                                                <a:cubicBezTo>
                                                  <a:pt x="3628" y="7062"/>
                                                  <a:pt x="7385" y="10301"/>
                                                  <a:pt x="11338" y="13346"/>
                                                </a:cubicBezTo>
                                                <a:cubicBezTo>
                                                  <a:pt x="13929" y="15290"/>
                                                  <a:pt x="16779" y="17687"/>
                                                  <a:pt x="16779" y="20926"/>
                                                </a:cubicBezTo>
                                                <a:cubicBezTo>
                                                  <a:pt x="16779" y="23129"/>
                                                  <a:pt x="15354" y="25331"/>
                                                  <a:pt x="16067" y="27404"/>
                                                </a:cubicBezTo>
                                                <a:cubicBezTo>
                                                  <a:pt x="17103" y="30514"/>
                                                  <a:pt x="21768" y="30514"/>
                                                  <a:pt x="23711" y="33170"/>
                                                </a:cubicBezTo>
                                                <a:cubicBezTo>
                                                  <a:pt x="25979" y="36345"/>
                                                  <a:pt x="23064" y="41204"/>
                                                  <a:pt x="25201" y="44443"/>
                                                </a:cubicBezTo>
                                                <a:cubicBezTo>
                                                  <a:pt x="26562" y="46516"/>
                                                  <a:pt x="29542" y="47034"/>
                                                  <a:pt x="31032" y="49043"/>
                                                </a:cubicBezTo>
                                                <a:cubicBezTo>
                                                  <a:pt x="31874" y="50079"/>
                                                  <a:pt x="32198" y="51440"/>
                                                  <a:pt x="32652" y="52736"/>
                                                </a:cubicBezTo>
                                                <a:cubicBezTo>
                                                  <a:pt x="34725" y="58890"/>
                                                  <a:pt x="39714" y="63555"/>
                                                  <a:pt x="43342" y="68932"/>
                                                </a:cubicBezTo>
                                                <a:cubicBezTo>
                                                  <a:pt x="45868" y="72690"/>
                                                  <a:pt x="47682" y="76901"/>
                                                  <a:pt x="48848" y="81241"/>
                                                </a:cubicBezTo>
                                                <a:cubicBezTo>
                                                  <a:pt x="56752" y="76253"/>
                                                  <a:pt x="64721" y="71264"/>
                                                  <a:pt x="72625" y="66276"/>
                                                </a:cubicBezTo>
                                                <a:cubicBezTo>
                                                  <a:pt x="73920" y="65434"/>
                                                  <a:pt x="75410" y="64591"/>
                                                  <a:pt x="76901" y="64915"/>
                                                </a:cubicBezTo>
                                                <a:cubicBezTo>
                                                  <a:pt x="80010" y="65563"/>
                                                  <a:pt x="80010" y="69969"/>
                                                  <a:pt x="79945" y="73143"/>
                                                </a:cubicBezTo>
                                                <a:cubicBezTo>
                                                  <a:pt x="79751" y="82990"/>
                                                  <a:pt x="86359" y="91283"/>
                                                  <a:pt x="94976" y="96596"/>
                                                </a:cubicBezTo>
                                                <a:cubicBezTo>
                                                  <a:pt x="97179" y="92903"/>
                                                  <a:pt x="100288" y="89664"/>
                                                  <a:pt x="102556" y="86035"/>
                                                </a:cubicBezTo>
                                                <a:cubicBezTo>
                                                  <a:pt x="102620" y="85906"/>
                                                  <a:pt x="102750" y="85776"/>
                                                  <a:pt x="102815" y="85647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6" name="Freeform: Shape 1555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CFBB7B9D-6DA1-413C-B033-097A22868E99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411381" y="3070532"/>
                                            <a:ext cx="429324" cy="264196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323074 w 429324"/>
                                              <a:gd name="connsiteY0" fmla="*/ 140261 h 264196"/>
                                              <a:gd name="connsiteX1" fmla="*/ 306165 w 429324"/>
                                              <a:gd name="connsiteY1" fmla="*/ 147971 h 264196"/>
                                              <a:gd name="connsiteX2" fmla="*/ 300852 w 429324"/>
                                              <a:gd name="connsiteY2" fmla="*/ 142205 h 264196"/>
                                              <a:gd name="connsiteX3" fmla="*/ 281546 w 429324"/>
                                              <a:gd name="connsiteY3" fmla="*/ 136244 h 264196"/>
                                              <a:gd name="connsiteX4" fmla="*/ 270532 w 429324"/>
                                              <a:gd name="connsiteY4" fmla="*/ 124648 h 264196"/>
                                              <a:gd name="connsiteX5" fmla="*/ 248376 w 429324"/>
                                              <a:gd name="connsiteY5" fmla="*/ 84092 h 264196"/>
                                              <a:gd name="connsiteX6" fmla="*/ 239824 w 429324"/>
                                              <a:gd name="connsiteY6" fmla="*/ 66535 h 264196"/>
                                              <a:gd name="connsiteX7" fmla="*/ 206719 w 429324"/>
                                              <a:gd name="connsiteY7" fmla="*/ 57530 h 264196"/>
                                              <a:gd name="connsiteX8" fmla="*/ 150938 w 429324"/>
                                              <a:gd name="connsiteY8" fmla="*/ 55521 h 264196"/>
                                              <a:gd name="connsiteX9" fmla="*/ 117832 w 429324"/>
                                              <a:gd name="connsiteY9" fmla="*/ 29866 h 264196"/>
                                              <a:gd name="connsiteX10" fmla="*/ 116602 w 429324"/>
                                              <a:gd name="connsiteY10" fmla="*/ 31875 h 264196"/>
                                              <a:gd name="connsiteX11" fmla="*/ 109734 w 429324"/>
                                              <a:gd name="connsiteY11" fmla="*/ 38548 h 264196"/>
                                              <a:gd name="connsiteX12" fmla="*/ 100859 w 429324"/>
                                              <a:gd name="connsiteY12" fmla="*/ 40750 h 264196"/>
                                              <a:gd name="connsiteX13" fmla="*/ 97944 w 429324"/>
                                              <a:gd name="connsiteY13" fmla="*/ 45285 h 264196"/>
                                              <a:gd name="connsiteX14" fmla="*/ 80387 w 429324"/>
                                              <a:gd name="connsiteY14" fmla="*/ 48006 h 264196"/>
                                              <a:gd name="connsiteX15" fmla="*/ 77277 w 429324"/>
                                              <a:gd name="connsiteY15" fmla="*/ 26497 h 264196"/>
                                              <a:gd name="connsiteX16" fmla="*/ 78572 w 429324"/>
                                              <a:gd name="connsiteY16" fmla="*/ 4146 h 264196"/>
                                              <a:gd name="connsiteX17" fmla="*/ 66328 w 429324"/>
                                              <a:gd name="connsiteY17" fmla="*/ 5636 h 264196"/>
                                              <a:gd name="connsiteX18" fmla="*/ 62765 w 429324"/>
                                              <a:gd name="connsiteY18" fmla="*/ 19241 h 264196"/>
                                              <a:gd name="connsiteX19" fmla="*/ 58230 w 429324"/>
                                              <a:gd name="connsiteY19" fmla="*/ 32458 h 264196"/>
                                              <a:gd name="connsiteX20" fmla="*/ 56092 w 429324"/>
                                              <a:gd name="connsiteY20" fmla="*/ 18788 h 264196"/>
                                              <a:gd name="connsiteX21" fmla="*/ 50585 w 429324"/>
                                              <a:gd name="connsiteY21" fmla="*/ 7450 h 264196"/>
                                              <a:gd name="connsiteX22" fmla="*/ 32056 w 429324"/>
                                              <a:gd name="connsiteY22" fmla="*/ 3563 h 264196"/>
                                              <a:gd name="connsiteX23" fmla="*/ 31085 w 429324"/>
                                              <a:gd name="connsiteY23" fmla="*/ 0 h 264196"/>
                                              <a:gd name="connsiteX24" fmla="*/ 28169 w 429324"/>
                                              <a:gd name="connsiteY24" fmla="*/ 648 h 264196"/>
                                              <a:gd name="connsiteX25" fmla="*/ 2060 w 429324"/>
                                              <a:gd name="connsiteY25" fmla="*/ 15354 h 264196"/>
                                              <a:gd name="connsiteX26" fmla="*/ 1996 w 429324"/>
                                              <a:gd name="connsiteY26" fmla="*/ 17946 h 264196"/>
                                              <a:gd name="connsiteX27" fmla="*/ 1672 w 429324"/>
                                              <a:gd name="connsiteY27" fmla="*/ 119141 h 264196"/>
                                              <a:gd name="connsiteX28" fmla="*/ 7762 w 429324"/>
                                              <a:gd name="connsiteY28" fmla="*/ 132163 h 264196"/>
                                              <a:gd name="connsiteX29" fmla="*/ 18581 w 429324"/>
                                              <a:gd name="connsiteY29" fmla="*/ 124389 h 264196"/>
                                              <a:gd name="connsiteX30" fmla="*/ 50067 w 429324"/>
                                              <a:gd name="connsiteY30" fmla="*/ 95688 h 264196"/>
                                              <a:gd name="connsiteX31" fmla="*/ 69956 w 429324"/>
                                              <a:gd name="connsiteY31" fmla="*/ 89793 h 264196"/>
                                              <a:gd name="connsiteX32" fmla="*/ 98850 w 429324"/>
                                              <a:gd name="connsiteY32" fmla="*/ 104111 h 264196"/>
                                              <a:gd name="connsiteX33" fmla="*/ 111030 w 429324"/>
                                              <a:gd name="connsiteY33" fmla="*/ 133394 h 264196"/>
                                              <a:gd name="connsiteX34" fmla="*/ 140767 w 429324"/>
                                              <a:gd name="connsiteY34" fmla="*/ 137346 h 264196"/>
                                              <a:gd name="connsiteX35" fmla="*/ 151003 w 429324"/>
                                              <a:gd name="connsiteY35" fmla="*/ 154449 h 264196"/>
                                              <a:gd name="connsiteX36" fmla="*/ 160267 w 429324"/>
                                              <a:gd name="connsiteY36" fmla="*/ 160928 h 264196"/>
                                              <a:gd name="connsiteX37" fmla="*/ 165256 w 429324"/>
                                              <a:gd name="connsiteY37" fmla="*/ 174857 h 264196"/>
                                              <a:gd name="connsiteX38" fmla="*/ 190328 w 429324"/>
                                              <a:gd name="connsiteY38" fmla="*/ 193709 h 264196"/>
                                              <a:gd name="connsiteX39" fmla="*/ 209634 w 429324"/>
                                              <a:gd name="connsiteY39" fmla="*/ 211525 h 264196"/>
                                              <a:gd name="connsiteX40" fmla="*/ 241962 w 429324"/>
                                              <a:gd name="connsiteY40" fmla="*/ 226621 h 264196"/>
                                              <a:gd name="connsiteX41" fmla="*/ 266192 w 429324"/>
                                              <a:gd name="connsiteY41" fmla="*/ 251045 h 264196"/>
                                              <a:gd name="connsiteX42" fmla="*/ 266322 w 429324"/>
                                              <a:gd name="connsiteY42" fmla="*/ 252146 h 264196"/>
                                              <a:gd name="connsiteX43" fmla="*/ 271504 w 429324"/>
                                              <a:gd name="connsiteY43" fmla="*/ 251887 h 264196"/>
                                              <a:gd name="connsiteX44" fmla="*/ 285951 w 429324"/>
                                              <a:gd name="connsiteY44" fmla="*/ 259402 h 264196"/>
                                              <a:gd name="connsiteX45" fmla="*/ 288997 w 429324"/>
                                              <a:gd name="connsiteY45" fmla="*/ 264196 h 264196"/>
                                              <a:gd name="connsiteX46" fmla="*/ 301630 w 429324"/>
                                              <a:gd name="connsiteY46" fmla="*/ 251563 h 264196"/>
                                              <a:gd name="connsiteX47" fmla="*/ 309598 w 429324"/>
                                              <a:gd name="connsiteY47" fmla="*/ 236209 h 264196"/>
                                              <a:gd name="connsiteX48" fmla="*/ 305128 w 429324"/>
                                              <a:gd name="connsiteY48" fmla="*/ 228823 h 264196"/>
                                              <a:gd name="connsiteX49" fmla="*/ 300528 w 429324"/>
                                              <a:gd name="connsiteY49" fmla="*/ 199022 h 264196"/>
                                              <a:gd name="connsiteX50" fmla="*/ 326378 w 429324"/>
                                              <a:gd name="connsiteY50" fmla="*/ 169609 h 264196"/>
                                              <a:gd name="connsiteX51" fmla="*/ 340890 w 429324"/>
                                              <a:gd name="connsiteY51" fmla="*/ 158596 h 264196"/>
                                              <a:gd name="connsiteX52" fmla="*/ 348210 w 429324"/>
                                              <a:gd name="connsiteY52" fmla="*/ 153931 h 264196"/>
                                              <a:gd name="connsiteX53" fmla="*/ 377105 w 429324"/>
                                              <a:gd name="connsiteY53" fmla="*/ 158142 h 264196"/>
                                              <a:gd name="connsiteX54" fmla="*/ 410081 w 429324"/>
                                              <a:gd name="connsiteY54" fmla="*/ 165592 h 264196"/>
                                              <a:gd name="connsiteX55" fmla="*/ 428675 w 429324"/>
                                              <a:gd name="connsiteY55" fmla="*/ 153348 h 264196"/>
                                              <a:gd name="connsiteX56" fmla="*/ 429322 w 429324"/>
                                              <a:gd name="connsiteY56" fmla="*/ 151728 h 264196"/>
                                              <a:gd name="connsiteX57" fmla="*/ 427055 w 429324"/>
                                              <a:gd name="connsiteY57" fmla="*/ 148554 h 264196"/>
                                              <a:gd name="connsiteX58" fmla="*/ 421937 w 429324"/>
                                              <a:gd name="connsiteY58" fmla="*/ 135013 h 264196"/>
                                              <a:gd name="connsiteX59" fmla="*/ 409757 w 429324"/>
                                              <a:gd name="connsiteY59" fmla="*/ 132940 h 264196"/>
                                              <a:gd name="connsiteX60" fmla="*/ 398873 w 429324"/>
                                              <a:gd name="connsiteY60" fmla="*/ 126138 h 264196"/>
                                              <a:gd name="connsiteX61" fmla="*/ 379567 w 429324"/>
                                              <a:gd name="connsiteY61" fmla="*/ 124777 h 264196"/>
                                              <a:gd name="connsiteX62" fmla="*/ 367582 w 429324"/>
                                              <a:gd name="connsiteY62" fmla="*/ 115643 h 264196"/>
                                              <a:gd name="connsiteX63" fmla="*/ 323074 w 429324"/>
                                              <a:gd name="connsiteY63" fmla="*/ 140455 h 264196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429324" h="264196">
                                                <a:moveTo>
                                                  <a:pt x="323074" y="140261"/>
                                                </a:moveTo>
                                                <a:cubicBezTo>
                                                  <a:pt x="318604" y="145379"/>
                                                  <a:pt x="311866" y="151663"/>
                                                  <a:pt x="306165" y="147971"/>
                                                </a:cubicBezTo>
                                                <a:cubicBezTo>
                                                  <a:pt x="303962" y="146545"/>
                                                  <a:pt x="302796" y="144019"/>
                                                  <a:pt x="300852" y="142205"/>
                                                </a:cubicBezTo>
                                                <a:cubicBezTo>
                                                  <a:pt x="295929" y="137475"/>
                                                  <a:pt x="287766" y="139095"/>
                                                  <a:pt x="281546" y="136244"/>
                                                </a:cubicBezTo>
                                                <a:cubicBezTo>
                                                  <a:pt x="276622" y="133977"/>
                                                  <a:pt x="273448" y="129183"/>
                                                  <a:pt x="270532" y="124648"/>
                                                </a:cubicBezTo>
                                                <a:cubicBezTo>
                                                  <a:pt x="262240" y="111626"/>
                                                  <a:pt x="253818" y="98539"/>
                                                  <a:pt x="248376" y="84092"/>
                                                </a:cubicBezTo>
                                                <a:cubicBezTo>
                                                  <a:pt x="246044" y="77937"/>
                                                  <a:pt x="244165" y="71459"/>
                                                  <a:pt x="239824" y="66535"/>
                                                </a:cubicBezTo>
                                                <a:cubicBezTo>
                                                  <a:pt x="231920" y="57724"/>
                                                  <a:pt x="218575" y="56817"/>
                                                  <a:pt x="206719" y="57530"/>
                                                </a:cubicBezTo>
                                                <a:cubicBezTo>
                                                  <a:pt x="187995" y="58631"/>
                                                  <a:pt x="168560" y="61806"/>
                                                  <a:pt x="150938" y="55521"/>
                                                </a:cubicBezTo>
                                                <a:cubicBezTo>
                                                  <a:pt x="137463" y="50727"/>
                                                  <a:pt x="126903" y="41074"/>
                                                  <a:pt x="117832" y="29866"/>
                                                </a:cubicBezTo>
                                                <a:cubicBezTo>
                                                  <a:pt x="117444" y="30514"/>
                                                  <a:pt x="117055" y="31227"/>
                                                  <a:pt x="116602" y="31875"/>
                                                </a:cubicBezTo>
                                                <a:cubicBezTo>
                                                  <a:pt x="114853" y="34596"/>
                                                  <a:pt x="112844" y="37511"/>
                                                  <a:pt x="109734" y="38548"/>
                                                </a:cubicBezTo>
                                                <a:cubicBezTo>
                                                  <a:pt x="106819" y="39519"/>
                                                  <a:pt x="103256" y="38742"/>
                                                  <a:pt x="100859" y="40750"/>
                                                </a:cubicBezTo>
                                                <a:cubicBezTo>
                                                  <a:pt x="99434" y="41916"/>
                                                  <a:pt x="98850" y="43730"/>
                                                  <a:pt x="97944" y="45285"/>
                                                </a:cubicBezTo>
                                                <a:cubicBezTo>
                                                  <a:pt x="94510" y="51116"/>
                                                  <a:pt x="85440" y="52476"/>
                                                  <a:pt x="80387" y="48006"/>
                                                </a:cubicBezTo>
                                                <a:cubicBezTo>
                                                  <a:pt x="74685" y="42953"/>
                                                  <a:pt x="75398" y="33883"/>
                                                  <a:pt x="77277" y="26497"/>
                                                </a:cubicBezTo>
                                                <a:cubicBezTo>
                                                  <a:pt x="79156" y="19112"/>
                                                  <a:pt x="81812" y="11014"/>
                                                  <a:pt x="78572" y="4146"/>
                                                </a:cubicBezTo>
                                                <a:cubicBezTo>
                                                  <a:pt x="75657" y="389"/>
                                                  <a:pt x="69179" y="1814"/>
                                                  <a:pt x="66328" y="5636"/>
                                                </a:cubicBezTo>
                                                <a:cubicBezTo>
                                                  <a:pt x="63478" y="9459"/>
                                                  <a:pt x="63153" y="14512"/>
                                                  <a:pt x="62765" y="19241"/>
                                                </a:cubicBezTo>
                                                <a:cubicBezTo>
                                                  <a:pt x="62376" y="23971"/>
                                                  <a:pt x="61598" y="29089"/>
                                                  <a:pt x="58230" y="32458"/>
                                                </a:cubicBezTo>
                                                <a:cubicBezTo>
                                                  <a:pt x="57517" y="27923"/>
                                                  <a:pt x="56804" y="23323"/>
                                                  <a:pt x="56092" y="18788"/>
                                                </a:cubicBezTo>
                                                <a:cubicBezTo>
                                                  <a:pt x="55444" y="14512"/>
                                                  <a:pt x="54407" y="9653"/>
                                                  <a:pt x="50585" y="7450"/>
                                                </a:cubicBezTo>
                                                <a:cubicBezTo>
                                                  <a:pt x="44884" y="4211"/>
                                                  <a:pt x="35879" y="8876"/>
                                                  <a:pt x="32056" y="3563"/>
                                                </a:cubicBezTo>
                                                <a:cubicBezTo>
                                                  <a:pt x="31279" y="2527"/>
                                                  <a:pt x="31085" y="1296"/>
                                                  <a:pt x="31085" y="0"/>
                                                </a:cubicBezTo>
                                                <a:cubicBezTo>
                                                  <a:pt x="30113" y="194"/>
                                                  <a:pt x="29141" y="389"/>
                                                  <a:pt x="28169" y="648"/>
                                                </a:cubicBezTo>
                                                <a:cubicBezTo>
                                                  <a:pt x="18387" y="3239"/>
                                                  <a:pt x="9252" y="8293"/>
                                                  <a:pt x="2060" y="15354"/>
                                                </a:cubicBezTo>
                                                <a:cubicBezTo>
                                                  <a:pt x="2060" y="16196"/>
                                                  <a:pt x="2060" y="17104"/>
                                                  <a:pt x="1996" y="17946"/>
                                                </a:cubicBezTo>
                                                <a:lnTo>
                                                  <a:pt x="1672" y="119141"/>
                                                </a:lnTo>
                                                <a:cubicBezTo>
                                                  <a:pt x="-2474" y="123676"/>
                                                  <a:pt x="1672" y="132487"/>
                                                  <a:pt x="7762" y="132163"/>
                                                </a:cubicBezTo>
                                                <a:cubicBezTo>
                                                  <a:pt x="12362" y="131968"/>
                                                  <a:pt x="15666" y="127887"/>
                                                  <a:pt x="18581" y="124389"/>
                                                </a:cubicBezTo>
                                                <a:cubicBezTo>
                                                  <a:pt x="27586" y="113310"/>
                                                  <a:pt x="38211" y="103657"/>
                                                  <a:pt x="50067" y="95688"/>
                                                </a:cubicBezTo>
                                                <a:cubicBezTo>
                                                  <a:pt x="55962" y="91737"/>
                                                  <a:pt x="63024" y="88044"/>
                                                  <a:pt x="69956" y="89793"/>
                                                </a:cubicBezTo>
                                                <a:cubicBezTo>
                                                  <a:pt x="80840" y="92643"/>
                                                  <a:pt x="88355" y="108063"/>
                                                  <a:pt x="98850" y="104111"/>
                                                </a:cubicBezTo>
                                                <a:cubicBezTo>
                                                  <a:pt x="102932" y="113893"/>
                                                  <a:pt x="107013" y="123611"/>
                                                  <a:pt x="111030" y="133394"/>
                                                </a:cubicBezTo>
                                                <a:cubicBezTo>
                                                  <a:pt x="120359" y="137540"/>
                                                  <a:pt x="132992" y="130673"/>
                                                  <a:pt x="140767" y="137346"/>
                                                </a:cubicBezTo>
                                                <a:cubicBezTo>
                                                  <a:pt x="145885" y="141686"/>
                                                  <a:pt x="146014" y="149914"/>
                                                  <a:pt x="151003" y="154449"/>
                                                </a:cubicBezTo>
                                                <a:cubicBezTo>
                                                  <a:pt x="153789" y="157041"/>
                                                  <a:pt x="157806" y="158077"/>
                                                  <a:pt x="160267" y="160928"/>
                                                </a:cubicBezTo>
                                                <a:cubicBezTo>
                                                  <a:pt x="163571" y="164621"/>
                                                  <a:pt x="163377" y="170257"/>
                                                  <a:pt x="165256" y="174857"/>
                                                </a:cubicBezTo>
                                                <a:cubicBezTo>
                                                  <a:pt x="169337" y="184704"/>
                                                  <a:pt x="181517" y="187619"/>
                                                  <a:pt x="190328" y="193709"/>
                                                </a:cubicBezTo>
                                                <a:cubicBezTo>
                                                  <a:pt x="197519" y="198698"/>
                                                  <a:pt x="202702" y="206148"/>
                                                  <a:pt x="209634" y="211525"/>
                                                </a:cubicBezTo>
                                                <a:cubicBezTo>
                                                  <a:pt x="219028" y="218846"/>
                                                  <a:pt x="231013" y="221826"/>
                                                  <a:pt x="241962" y="226621"/>
                                                </a:cubicBezTo>
                                                <a:cubicBezTo>
                                                  <a:pt x="252846" y="231415"/>
                                                  <a:pt x="263795" y="239383"/>
                                                  <a:pt x="266192" y="251045"/>
                                                </a:cubicBezTo>
                                                <a:cubicBezTo>
                                                  <a:pt x="266257" y="251433"/>
                                                  <a:pt x="266192" y="251757"/>
                                                  <a:pt x="266322" y="252146"/>
                                                </a:cubicBezTo>
                                                <a:cubicBezTo>
                                                  <a:pt x="268071" y="251952"/>
                                                  <a:pt x="269755" y="251822"/>
                                                  <a:pt x="271504" y="251887"/>
                                                </a:cubicBezTo>
                                                <a:cubicBezTo>
                                                  <a:pt x="277141" y="252211"/>
                                                  <a:pt x="282972" y="254608"/>
                                                  <a:pt x="285951" y="259402"/>
                                                </a:cubicBezTo>
                                                <a:cubicBezTo>
                                                  <a:pt x="286923" y="261022"/>
                                                  <a:pt x="287701" y="262901"/>
                                                  <a:pt x="288997" y="264196"/>
                                                </a:cubicBezTo>
                                                <a:cubicBezTo>
                                                  <a:pt x="291199" y="258560"/>
                                                  <a:pt x="296835" y="255256"/>
                                                  <a:pt x="301630" y="251563"/>
                                                </a:cubicBezTo>
                                                <a:cubicBezTo>
                                                  <a:pt x="306488" y="247870"/>
                                                  <a:pt x="311153" y="242104"/>
                                                  <a:pt x="309598" y="236209"/>
                                                </a:cubicBezTo>
                                                <a:cubicBezTo>
                                                  <a:pt x="308821" y="233423"/>
                                                  <a:pt x="306813" y="231155"/>
                                                  <a:pt x="305128" y="228823"/>
                                                </a:cubicBezTo>
                                                <a:cubicBezTo>
                                                  <a:pt x="299038" y="220336"/>
                                                  <a:pt x="297224" y="208934"/>
                                                  <a:pt x="300528" y="199022"/>
                                                </a:cubicBezTo>
                                                <a:cubicBezTo>
                                                  <a:pt x="304675" y="186388"/>
                                                  <a:pt x="315818" y="177578"/>
                                                  <a:pt x="326378" y="169609"/>
                                                </a:cubicBezTo>
                                                <a:cubicBezTo>
                                                  <a:pt x="331237" y="165916"/>
                                                  <a:pt x="336096" y="162223"/>
                                                  <a:pt x="340890" y="158596"/>
                                                </a:cubicBezTo>
                                                <a:cubicBezTo>
                                                  <a:pt x="343222" y="156846"/>
                                                  <a:pt x="345554" y="155032"/>
                                                  <a:pt x="348210" y="153931"/>
                                                </a:cubicBezTo>
                                                <a:cubicBezTo>
                                                  <a:pt x="357410" y="150044"/>
                                                  <a:pt x="367711" y="154643"/>
                                                  <a:pt x="377105" y="158142"/>
                                                </a:cubicBezTo>
                                                <a:cubicBezTo>
                                                  <a:pt x="387730" y="162094"/>
                                                  <a:pt x="398808" y="164491"/>
                                                  <a:pt x="410081" y="165592"/>
                                                </a:cubicBezTo>
                                                <a:cubicBezTo>
                                                  <a:pt x="417661" y="163584"/>
                                                  <a:pt x="424463" y="159891"/>
                                                  <a:pt x="428675" y="153348"/>
                                                </a:cubicBezTo>
                                                <a:cubicBezTo>
                                                  <a:pt x="428998" y="152829"/>
                                                  <a:pt x="429322" y="152311"/>
                                                  <a:pt x="429322" y="151728"/>
                                                </a:cubicBezTo>
                                                <a:cubicBezTo>
                                                  <a:pt x="429387" y="150368"/>
                                                  <a:pt x="428091" y="149461"/>
                                                  <a:pt x="427055" y="148554"/>
                                                </a:cubicBezTo>
                                                <a:cubicBezTo>
                                                  <a:pt x="423362" y="145250"/>
                                                  <a:pt x="422520" y="139937"/>
                                                  <a:pt x="421937" y="135013"/>
                                                </a:cubicBezTo>
                                                <a:cubicBezTo>
                                                  <a:pt x="418050" y="136827"/>
                                                  <a:pt x="413385" y="135208"/>
                                                  <a:pt x="409757" y="132940"/>
                                                </a:cubicBezTo>
                                                <a:cubicBezTo>
                                                  <a:pt x="406129" y="130673"/>
                                                  <a:pt x="402890" y="127628"/>
                                                  <a:pt x="398873" y="126138"/>
                                                </a:cubicBezTo>
                                                <a:cubicBezTo>
                                                  <a:pt x="392783" y="123870"/>
                                                  <a:pt x="385981" y="125490"/>
                                                  <a:pt x="379567" y="124777"/>
                                                </a:cubicBezTo>
                                                <a:cubicBezTo>
                                                  <a:pt x="374254" y="124194"/>
                                                  <a:pt x="368488" y="120437"/>
                                                  <a:pt x="367582" y="115643"/>
                                                </a:cubicBezTo>
                                                <a:cubicBezTo>
                                                  <a:pt x="350543" y="119011"/>
                                                  <a:pt x="334541" y="127369"/>
                                                  <a:pt x="323074" y="140455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sp>
                                        <p:nvSpPr>
                                          <p:cNvPr id="1557" name="Freeform: Shape 1556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73BD5848-89A9-4A15-ABB6-22E7884D0CB5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8318142" y="3160045"/>
                                            <a:ext cx="359495" cy="240482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71977 w 359495"/>
                                              <a:gd name="connsiteY0" fmla="*/ 28397 h 240482"/>
                                              <a:gd name="connsiteX1" fmla="*/ 56623 w 359495"/>
                                              <a:gd name="connsiteY1" fmla="*/ 12201 h 240482"/>
                                              <a:gd name="connsiteX2" fmla="*/ 49885 w 359495"/>
                                              <a:gd name="connsiteY2" fmla="*/ 6564 h 240482"/>
                                              <a:gd name="connsiteX3" fmla="*/ 41463 w 359495"/>
                                              <a:gd name="connsiteY3" fmla="*/ 6759 h 240482"/>
                                              <a:gd name="connsiteX4" fmla="*/ 38288 w 359495"/>
                                              <a:gd name="connsiteY4" fmla="*/ 10711 h 240482"/>
                                              <a:gd name="connsiteX5" fmla="*/ 35049 w 359495"/>
                                              <a:gd name="connsiteY5" fmla="*/ 16088 h 240482"/>
                                              <a:gd name="connsiteX6" fmla="*/ 35891 w 359495"/>
                                              <a:gd name="connsiteY6" fmla="*/ 24380 h 240482"/>
                                              <a:gd name="connsiteX7" fmla="*/ 52476 w 359495"/>
                                              <a:gd name="connsiteY7" fmla="*/ 41808 h 240482"/>
                                              <a:gd name="connsiteX8" fmla="*/ 61352 w 359495"/>
                                              <a:gd name="connsiteY8" fmla="*/ 62539 h 240482"/>
                                              <a:gd name="connsiteX9" fmla="*/ 31939 w 359495"/>
                                              <a:gd name="connsiteY9" fmla="*/ 61697 h 240482"/>
                                              <a:gd name="connsiteX10" fmla="*/ 25007 w 359495"/>
                                              <a:gd name="connsiteY10" fmla="*/ 62086 h 240482"/>
                                              <a:gd name="connsiteX11" fmla="*/ 16326 w 359495"/>
                                              <a:gd name="connsiteY11" fmla="*/ 66232 h 240482"/>
                                              <a:gd name="connsiteX12" fmla="*/ 0 w 359495"/>
                                              <a:gd name="connsiteY12" fmla="*/ 76403 h 240482"/>
                                              <a:gd name="connsiteX13" fmla="*/ 22416 w 359495"/>
                                              <a:gd name="connsiteY13" fmla="*/ 90656 h 240482"/>
                                              <a:gd name="connsiteX14" fmla="*/ 15160 w 359495"/>
                                              <a:gd name="connsiteY14" fmla="*/ 98366 h 240482"/>
                                              <a:gd name="connsiteX15" fmla="*/ 21055 w 359495"/>
                                              <a:gd name="connsiteY15" fmla="*/ 109962 h 240482"/>
                                              <a:gd name="connsiteX16" fmla="*/ 30385 w 359495"/>
                                              <a:gd name="connsiteY16" fmla="*/ 109962 h 240482"/>
                                              <a:gd name="connsiteX17" fmla="*/ 38094 w 359495"/>
                                              <a:gd name="connsiteY17" fmla="*/ 125640 h 240482"/>
                                              <a:gd name="connsiteX18" fmla="*/ 39001 w 359495"/>
                                              <a:gd name="connsiteY18" fmla="*/ 159912 h 240482"/>
                                              <a:gd name="connsiteX19" fmla="*/ 39001 w 359495"/>
                                              <a:gd name="connsiteY19" fmla="*/ 164512 h 240482"/>
                                              <a:gd name="connsiteX20" fmla="*/ 39001 w 359495"/>
                                              <a:gd name="connsiteY20" fmla="*/ 165419 h 240482"/>
                                              <a:gd name="connsiteX21" fmla="*/ 38547 w 359495"/>
                                              <a:gd name="connsiteY21" fmla="*/ 170213 h 240482"/>
                                              <a:gd name="connsiteX22" fmla="*/ 56169 w 359495"/>
                                              <a:gd name="connsiteY22" fmla="*/ 165613 h 240482"/>
                                              <a:gd name="connsiteX23" fmla="*/ 87266 w 359495"/>
                                              <a:gd name="connsiteY23" fmla="*/ 146890 h 240482"/>
                                              <a:gd name="connsiteX24" fmla="*/ 102556 w 359495"/>
                                              <a:gd name="connsiteY24" fmla="*/ 145465 h 240482"/>
                                              <a:gd name="connsiteX25" fmla="*/ 120242 w 359495"/>
                                              <a:gd name="connsiteY25" fmla="*/ 141513 h 240482"/>
                                              <a:gd name="connsiteX26" fmla="*/ 130349 w 359495"/>
                                              <a:gd name="connsiteY26" fmla="*/ 149028 h 240482"/>
                                              <a:gd name="connsiteX27" fmla="*/ 175180 w 359495"/>
                                              <a:gd name="connsiteY27" fmla="*/ 167427 h 240482"/>
                                              <a:gd name="connsiteX28" fmla="*/ 195329 w 359495"/>
                                              <a:gd name="connsiteY28" fmla="*/ 180061 h 240482"/>
                                              <a:gd name="connsiteX29" fmla="*/ 215542 w 359495"/>
                                              <a:gd name="connsiteY29" fmla="*/ 197812 h 240482"/>
                                              <a:gd name="connsiteX30" fmla="*/ 224806 w 359495"/>
                                              <a:gd name="connsiteY30" fmla="*/ 198524 h 240482"/>
                                              <a:gd name="connsiteX31" fmla="*/ 222150 w 359495"/>
                                              <a:gd name="connsiteY31" fmla="*/ 225411 h 240482"/>
                                              <a:gd name="connsiteX32" fmla="*/ 232192 w 359495"/>
                                              <a:gd name="connsiteY32" fmla="*/ 224633 h 240482"/>
                                              <a:gd name="connsiteX33" fmla="*/ 243594 w 359495"/>
                                              <a:gd name="connsiteY33" fmla="*/ 234481 h 240482"/>
                                              <a:gd name="connsiteX34" fmla="*/ 251174 w 359495"/>
                                              <a:gd name="connsiteY34" fmla="*/ 234351 h 240482"/>
                                              <a:gd name="connsiteX35" fmla="*/ 262317 w 359495"/>
                                              <a:gd name="connsiteY35" fmla="*/ 240376 h 240482"/>
                                              <a:gd name="connsiteX36" fmla="*/ 266204 w 359495"/>
                                              <a:gd name="connsiteY36" fmla="*/ 233703 h 240482"/>
                                              <a:gd name="connsiteX37" fmla="*/ 266075 w 359495"/>
                                              <a:gd name="connsiteY37" fmla="*/ 225346 h 240482"/>
                                              <a:gd name="connsiteX38" fmla="*/ 280328 w 359495"/>
                                              <a:gd name="connsiteY38" fmla="*/ 216146 h 240482"/>
                                              <a:gd name="connsiteX39" fmla="*/ 292702 w 359495"/>
                                              <a:gd name="connsiteY39" fmla="*/ 205327 h 240482"/>
                                              <a:gd name="connsiteX40" fmla="*/ 307019 w 359495"/>
                                              <a:gd name="connsiteY40" fmla="*/ 196063 h 240482"/>
                                              <a:gd name="connsiteX41" fmla="*/ 306695 w 359495"/>
                                              <a:gd name="connsiteY41" fmla="*/ 190167 h 240482"/>
                                              <a:gd name="connsiteX42" fmla="*/ 320430 w 359495"/>
                                              <a:gd name="connsiteY42" fmla="*/ 180644 h 240482"/>
                                              <a:gd name="connsiteX43" fmla="*/ 323669 w 359495"/>
                                              <a:gd name="connsiteY43" fmla="*/ 173452 h 240482"/>
                                              <a:gd name="connsiteX44" fmla="*/ 329759 w 359495"/>
                                              <a:gd name="connsiteY44" fmla="*/ 170343 h 240482"/>
                                              <a:gd name="connsiteX45" fmla="*/ 348029 w 359495"/>
                                              <a:gd name="connsiteY45" fmla="*/ 165289 h 240482"/>
                                              <a:gd name="connsiteX46" fmla="*/ 359496 w 359495"/>
                                              <a:gd name="connsiteY46" fmla="*/ 162828 h 240482"/>
                                              <a:gd name="connsiteX47" fmla="*/ 359366 w 359495"/>
                                              <a:gd name="connsiteY47" fmla="*/ 161726 h 240482"/>
                                              <a:gd name="connsiteX48" fmla="*/ 335136 w 359495"/>
                                              <a:gd name="connsiteY48" fmla="*/ 137302 h 240482"/>
                                              <a:gd name="connsiteX49" fmla="*/ 302808 w 359495"/>
                                              <a:gd name="connsiteY49" fmla="*/ 122207 h 240482"/>
                                              <a:gd name="connsiteX50" fmla="*/ 283502 w 359495"/>
                                              <a:gd name="connsiteY50" fmla="*/ 104391 h 240482"/>
                                              <a:gd name="connsiteX51" fmla="*/ 258430 w 359495"/>
                                              <a:gd name="connsiteY51" fmla="*/ 85538 h 240482"/>
                                              <a:gd name="connsiteX52" fmla="*/ 253442 w 359495"/>
                                              <a:gd name="connsiteY52" fmla="*/ 71609 h 240482"/>
                                              <a:gd name="connsiteX53" fmla="*/ 244177 w 359495"/>
                                              <a:gd name="connsiteY53" fmla="*/ 65131 h 240482"/>
                                              <a:gd name="connsiteX54" fmla="*/ 233941 w 359495"/>
                                              <a:gd name="connsiteY54" fmla="*/ 48027 h 240482"/>
                                              <a:gd name="connsiteX55" fmla="*/ 204204 w 359495"/>
                                              <a:gd name="connsiteY55" fmla="*/ 44075 h 240482"/>
                                              <a:gd name="connsiteX56" fmla="*/ 192025 w 359495"/>
                                              <a:gd name="connsiteY56" fmla="*/ 14792 h 240482"/>
                                              <a:gd name="connsiteX57" fmla="*/ 163130 w 359495"/>
                                              <a:gd name="connsiteY57" fmla="*/ 475 h 240482"/>
                                              <a:gd name="connsiteX58" fmla="*/ 143241 w 359495"/>
                                              <a:gd name="connsiteY58" fmla="*/ 6370 h 240482"/>
                                              <a:gd name="connsiteX59" fmla="*/ 111755 w 359495"/>
                                              <a:gd name="connsiteY59" fmla="*/ 35070 h 240482"/>
                                              <a:gd name="connsiteX60" fmla="*/ 100936 w 359495"/>
                                              <a:gd name="connsiteY60" fmla="*/ 42844 h 240482"/>
                                              <a:gd name="connsiteX61" fmla="*/ 95041 w 359495"/>
                                              <a:gd name="connsiteY61" fmla="*/ 39735 h 240482"/>
                                              <a:gd name="connsiteX62" fmla="*/ 92255 w 359495"/>
                                              <a:gd name="connsiteY62" fmla="*/ 40253 h 240482"/>
                                              <a:gd name="connsiteX63" fmla="*/ 71912 w 359495"/>
                                              <a:gd name="connsiteY63" fmla="*/ 28656 h 240482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  <a:cxn ang="0">
                                                <a:pos x="connsiteX12" y="connsiteY12"/>
                                              </a:cxn>
                                              <a:cxn ang="0">
                                                <a:pos x="connsiteX13" y="connsiteY13"/>
                                              </a:cxn>
                                              <a:cxn ang="0">
                                                <a:pos x="connsiteX14" y="connsiteY14"/>
                                              </a:cxn>
                                              <a:cxn ang="0">
                                                <a:pos x="connsiteX15" y="connsiteY15"/>
                                              </a:cxn>
                                              <a:cxn ang="0">
                                                <a:pos x="connsiteX16" y="connsiteY16"/>
                                              </a:cxn>
                                              <a:cxn ang="0">
                                                <a:pos x="connsiteX17" y="connsiteY17"/>
                                              </a:cxn>
                                              <a:cxn ang="0">
                                                <a:pos x="connsiteX18" y="connsiteY18"/>
                                              </a:cxn>
                                              <a:cxn ang="0">
                                                <a:pos x="connsiteX19" y="connsiteY19"/>
                                              </a:cxn>
                                              <a:cxn ang="0">
                                                <a:pos x="connsiteX20" y="connsiteY20"/>
                                              </a:cxn>
                                              <a:cxn ang="0">
                                                <a:pos x="connsiteX21" y="connsiteY21"/>
                                              </a:cxn>
                                              <a:cxn ang="0">
                                                <a:pos x="connsiteX22" y="connsiteY22"/>
                                              </a:cxn>
                                              <a:cxn ang="0">
                                                <a:pos x="connsiteX23" y="connsiteY23"/>
                                              </a:cxn>
                                              <a:cxn ang="0">
                                                <a:pos x="connsiteX24" y="connsiteY24"/>
                                              </a:cxn>
                                              <a:cxn ang="0">
                                                <a:pos x="connsiteX25" y="connsiteY25"/>
                                              </a:cxn>
                                              <a:cxn ang="0">
                                                <a:pos x="connsiteX26" y="connsiteY26"/>
                                              </a:cxn>
                                              <a:cxn ang="0">
                                                <a:pos x="connsiteX27" y="connsiteY27"/>
                                              </a:cxn>
                                              <a:cxn ang="0">
                                                <a:pos x="connsiteX28" y="connsiteY28"/>
                                              </a:cxn>
                                              <a:cxn ang="0">
                                                <a:pos x="connsiteX29" y="connsiteY29"/>
                                              </a:cxn>
                                              <a:cxn ang="0">
                                                <a:pos x="connsiteX30" y="connsiteY30"/>
                                              </a:cxn>
                                              <a:cxn ang="0">
                                                <a:pos x="connsiteX31" y="connsiteY31"/>
                                              </a:cxn>
                                              <a:cxn ang="0">
                                                <a:pos x="connsiteX32" y="connsiteY32"/>
                                              </a:cxn>
                                              <a:cxn ang="0">
                                                <a:pos x="connsiteX33" y="connsiteY33"/>
                                              </a:cxn>
                                              <a:cxn ang="0">
                                                <a:pos x="connsiteX34" y="connsiteY34"/>
                                              </a:cxn>
                                              <a:cxn ang="0">
                                                <a:pos x="connsiteX35" y="connsiteY35"/>
                                              </a:cxn>
                                              <a:cxn ang="0">
                                                <a:pos x="connsiteX36" y="connsiteY36"/>
                                              </a:cxn>
                                              <a:cxn ang="0">
                                                <a:pos x="connsiteX37" y="connsiteY37"/>
                                              </a:cxn>
                                              <a:cxn ang="0">
                                                <a:pos x="connsiteX38" y="connsiteY38"/>
                                              </a:cxn>
                                              <a:cxn ang="0">
                                                <a:pos x="connsiteX39" y="connsiteY39"/>
                                              </a:cxn>
                                              <a:cxn ang="0">
                                                <a:pos x="connsiteX40" y="connsiteY40"/>
                                              </a:cxn>
                                              <a:cxn ang="0">
                                                <a:pos x="connsiteX41" y="connsiteY41"/>
                                              </a:cxn>
                                              <a:cxn ang="0">
                                                <a:pos x="connsiteX42" y="connsiteY42"/>
                                              </a:cxn>
                                              <a:cxn ang="0">
                                                <a:pos x="connsiteX43" y="connsiteY43"/>
                                              </a:cxn>
                                              <a:cxn ang="0">
                                                <a:pos x="connsiteX44" y="connsiteY44"/>
                                              </a:cxn>
                                              <a:cxn ang="0">
                                                <a:pos x="connsiteX45" y="connsiteY45"/>
                                              </a:cxn>
                                              <a:cxn ang="0">
                                                <a:pos x="connsiteX46" y="connsiteY46"/>
                                              </a:cxn>
                                              <a:cxn ang="0">
                                                <a:pos x="connsiteX47" y="connsiteY47"/>
                                              </a:cxn>
                                              <a:cxn ang="0">
                                                <a:pos x="connsiteX48" y="connsiteY48"/>
                                              </a:cxn>
                                              <a:cxn ang="0">
                                                <a:pos x="connsiteX49" y="connsiteY49"/>
                                              </a:cxn>
                                              <a:cxn ang="0">
                                                <a:pos x="connsiteX50" y="connsiteY50"/>
                                              </a:cxn>
                                              <a:cxn ang="0">
                                                <a:pos x="connsiteX51" y="connsiteY51"/>
                                              </a:cxn>
                                              <a:cxn ang="0">
                                                <a:pos x="connsiteX52" y="connsiteY52"/>
                                              </a:cxn>
                                              <a:cxn ang="0">
                                                <a:pos x="connsiteX53" y="connsiteY53"/>
                                              </a:cxn>
                                              <a:cxn ang="0">
                                                <a:pos x="connsiteX54" y="connsiteY54"/>
                                              </a:cxn>
                                              <a:cxn ang="0">
                                                <a:pos x="connsiteX55" y="connsiteY55"/>
                                              </a:cxn>
                                              <a:cxn ang="0">
                                                <a:pos x="connsiteX56" y="connsiteY56"/>
                                              </a:cxn>
                                              <a:cxn ang="0">
                                                <a:pos x="connsiteX57" y="connsiteY57"/>
                                              </a:cxn>
                                              <a:cxn ang="0">
                                                <a:pos x="connsiteX58" y="connsiteY58"/>
                                              </a:cxn>
                                              <a:cxn ang="0">
                                                <a:pos x="connsiteX59" y="connsiteY59"/>
                                              </a:cxn>
                                              <a:cxn ang="0">
                                                <a:pos x="connsiteX60" y="connsiteY60"/>
                                              </a:cxn>
                                              <a:cxn ang="0">
                                                <a:pos x="connsiteX61" y="connsiteY61"/>
                                              </a:cxn>
                                              <a:cxn ang="0">
                                                <a:pos x="connsiteX62" y="connsiteY62"/>
                                              </a:cxn>
                                              <a:cxn ang="0">
                                                <a:pos x="connsiteX63" y="connsiteY63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359495" h="240482">
                                                <a:moveTo>
                                                  <a:pt x="71977" y="28397"/>
                                                </a:moveTo>
                                                <a:lnTo>
                                                  <a:pt x="56623" y="12201"/>
                                                </a:lnTo>
                                                <a:cubicBezTo>
                                                  <a:pt x="54614" y="10063"/>
                                                  <a:pt x="52476" y="7860"/>
                                                  <a:pt x="49885" y="6564"/>
                                                </a:cubicBezTo>
                                                <a:cubicBezTo>
                                                  <a:pt x="47229" y="5269"/>
                                                  <a:pt x="43860" y="5009"/>
                                                  <a:pt x="41463" y="6759"/>
                                                </a:cubicBezTo>
                                                <a:cubicBezTo>
                                                  <a:pt x="40102" y="7731"/>
                                                  <a:pt x="39130" y="9220"/>
                                                  <a:pt x="38288" y="10711"/>
                                                </a:cubicBezTo>
                                                <a:cubicBezTo>
                                                  <a:pt x="37187" y="12525"/>
                                                  <a:pt x="36150" y="14274"/>
                                                  <a:pt x="35049" y="16088"/>
                                                </a:cubicBezTo>
                                                <a:cubicBezTo>
                                                  <a:pt x="35567" y="18809"/>
                                                  <a:pt x="35308" y="21659"/>
                                                  <a:pt x="35891" y="24380"/>
                                                </a:cubicBezTo>
                                                <a:cubicBezTo>
                                                  <a:pt x="37576" y="32414"/>
                                                  <a:pt x="45804" y="37014"/>
                                                  <a:pt x="52476" y="41808"/>
                                                </a:cubicBezTo>
                                                <a:cubicBezTo>
                                                  <a:pt x="59149" y="46602"/>
                                                  <a:pt x="65369" y="55348"/>
                                                  <a:pt x="61352" y="62539"/>
                                                </a:cubicBezTo>
                                                <a:cubicBezTo>
                                                  <a:pt x="51569" y="62280"/>
                                                  <a:pt x="41722" y="61956"/>
                                                  <a:pt x="31939" y="61697"/>
                                                </a:cubicBezTo>
                                                <a:cubicBezTo>
                                                  <a:pt x="29607" y="61632"/>
                                                  <a:pt x="27275" y="61567"/>
                                                  <a:pt x="25007" y="62086"/>
                                                </a:cubicBezTo>
                                                <a:cubicBezTo>
                                                  <a:pt x="21898" y="62798"/>
                                                  <a:pt x="19047" y="64483"/>
                                                  <a:pt x="16326" y="66232"/>
                                                </a:cubicBezTo>
                                                <a:cubicBezTo>
                                                  <a:pt x="10884" y="69601"/>
                                                  <a:pt x="5442" y="73034"/>
                                                  <a:pt x="0" y="76403"/>
                                                </a:cubicBezTo>
                                                <a:cubicBezTo>
                                                  <a:pt x="6090" y="82947"/>
                                                  <a:pt x="13929" y="87935"/>
                                                  <a:pt x="22416" y="90656"/>
                                                </a:cubicBezTo>
                                                <a:cubicBezTo>
                                                  <a:pt x="22092" y="94478"/>
                                                  <a:pt x="18917" y="97847"/>
                                                  <a:pt x="15160" y="98366"/>
                                                </a:cubicBezTo>
                                                <a:cubicBezTo>
                                                  <a:pt x="12892" y="102901"/>
                                                  <a:pt x="16132" y="109120"/>
                                                  <a:pt x="21055" y="109962"/>
                                                </a:cubicBezTo>
                                                <a:cubicBezTo>
                                                  <a:pt x="24165" y="110481"/>
                                                  <a:pt x="27339" y="109185"/>
                                                  <a:pt x="30385" y="109962"/>
                                                </a:cubicBezTo>
                                                <a:cubicBezTo>
                                                  <a:pt x="36539" y="111452"/>
                                                  <a:pt x="37964" y="119356"/>
                                                  <a:pt x="38094" y="125640"/>
                                                </a:cubicBezTo>
                                                <a:cubicBezTo>
                                                  <a:pt x="38418" y="137043"/>
                                                  <a:pt x="38742" y="148510"/>
                                                  <a:pt x="39001" y="159912"/>
                                                </a:cubicBezTo>
                                                <a:cubicBezTo>
                                                  <a:pt x="39001" y="161402"/>
                                                  <a:pt x="39001" y="162957"/>
                                                  <a:pt x="39001" y="164512"/>
                                                </a:cubicBezTo>
                                                <a:cubicBezTo>
                                                  <a:pt x="39001" y="164836"/>
                                                  <a:pt x="39001" y="165095"/>
                                                  <a:pt x="39001" y="165419"/>
                                                </a:cubicBezTo>
                                                <a:cubicBezTo>
                                                  <a:pt x="38936" y="167039"/>
                                                  <a:pt x="38807" y="168593"/>
                                                  <a:pt x="38547" y="170213"/>
                                                </a:cubicBezTo>
                                                <a:cubicBezTo>
                                                  <a:pt x="44637" y="169889"/>
                                                  <a:pt x="50662" y="168529"/>
                                                  <a:pt x="56169" y="165613"/>
                                                </a:cubicBezTo>
                                                <a:cubicBezTo>
                                                  <a:pt x="66988" y="159912"/>
                                                  <a:pt x="75281" y="149093"/>
                                                  <a:pt x="87266" y="146890"/>
                                                </a:cubicBezTo>
                                                <a:cubicBezTo>
                                                  <a:pt x="92320" y="145918"/>
                                                  <a:pt x="97567" y="146631"/>
                                                  <a:pt x="102556" y="145465"/>
                                                </a:cubicBezTo>
                                                <a:cubicBezTo>
                                                  <a:pt x="108516" y="144040"/>
                                                  <a:pt x="114347" y="139828"/>
                                                  <a:pt x="120242" y="141513"/>
                                                </a:cubicBezTo>
                                                <a:cubicBezTo>
                                                  <a:pt x="124324" y="142679"/>
                                                  <a:pt x="127045" y="146307"/>
                                                  <a:pt x="130349" y="149028"/>
                                                </a:cubicBezTo>
                                                <a:cubicBezTo>
                                                  <a:pt x="142982" y="159459"/>
                                                  <a:pt x="163584" y="155831"/>
                                                  <a:pt x="175180" y="167427"/>
                                                </a:cubicBezTo>
                                                <a:cubicBezTo>
                                                  <a:pt x="181270" y="173517"/>
                                                  <a:pt x="187749" y="184272"/>
                                                  <a:pt x="195329" y="180061"/>
                                                </a:cubicBezTo>
                                                <a:cubicBezTo>
                                                  <a:pt x="202067" y="185956"/>
                                                  <a:pt x="208804" y="191851"/>
                                                  <a:pt x="215542" y="197812"/>
                                                </a:cubicBezTo>
                                                <a:cubicBezTo>
                                                  <a:pt x="218652" y="198071"/>
                                                  <a:pt x="221761" y="198265"/>
                                                  <a:pt x="224806" y="198524"/>
                                                </a:cubicBezTo>
                                                <a:cubicBezTo>
                                                  <a:pt x="223899" y="207465"/>
                                                  <a:pt x="223057" y="216405"/>
                                                  <a:pt x="222150" y="225411"/>
                                                </a:cubicBezTo>
                                                <a:cubicBezTo>
                                                  <a:pt x="225325" y="223661"/>
                                                  <a:pt x="229082" y="222949"/>
                                                  <a:pt x="232192" y="224633"/>
                                                </a:cubicBezTo>
                                                <a:cubicBezTo>
                                                  <a:pt x="236727" y="227030"/>
                                                  <a:pt x="238541" y="233638"/>
                                                  <a:pt x="243594" y="234481"/>
                                                </a:cubicBezTo>
                                                <a:cubicBezTo>
                                                  <a:pt x="246121" y="234934"/>
                                                  <a:pt x="248712" y="233703"/>
                                                  <a:pt x="251174" y="234351"/>
                                                </a:cubicBezTo>
                                                <a:cubicBezTo>
                                                  <a:pt x="255385" y="235387"/>
                                                  <a:pt x="258041" y="241348"/>
                                                  <a:pt x="262317" y="240376"/>
                                                </a:cubicBezTo>
                                                <a:cubicBezTo>
                                                  <a:pt x="265038" y="239728"/>
                                                  <a:pt x="266269" y="236489"/>
                                                  <a:pt x="266204" y="233703"/>
                                                </a:cubicBezTo>
                                                <a:cubicBezTo>
                                                  <a:pt x="266204" y="230917"/>
                                                  <a:pt x="265362" y="228067"/>
                                                  <a:pt x="266075" y="225346"/>
                                                </a:cubicBezTo>
                                                <a:cubicBezTo>
                                                  <a:pt x="267565" y="219580"/>
                                                  <a:pt x="274562" y="217636"/>
                                                  <a:pt x="280328" y="216146"/>
                                                </a:cubicBezTo>
                                                <a:cubicBezTo>
                                                  <a:pt x="286094" y="214721"/>
                                                  <a:pt x="292961" y="211287"/>
                                                  <a:pt x="292702" y="205327"/>
                                                </a:cubicBezTo>
                                                <a:cubicBezTo>
                                                  <a:pt x="298857" y="208437"/>
                                                  <a:pt x="307343" y="202930"/>
                                                  <a:pt x="307019" y="196063"/>
                                                </a:cubicBezTo>
                                                <a:cubicBezTo>
                                                  <a:pt x="306890" y="194054"/>
                                                  <a:pt x="306242" y="192046"/>
                                                  <a:pt x="306695" y="190167"/>
                                                </a:cubicBezTo>
                                                <a:cubicBezTo>
                                                  <a:pt x="308121" y="184595"/>
                                                  <a:pt x="317126" y="185308"/>
                                                  <a:pt x="320430" y="180644"/>
                                                </a:cubicBezTo>
                                                <a:cubicBezTo>
                                                  <a:pt x="321985" y="178506"/>
                                                  <a:pt x="322050" y="175525"/>
                                                  <a:pt x="323669" y="173452"/>
                                                </a:cubicBezTo>
                                                <a:cubicBezTo>
                                                  <a:pt x="325160" y="171638"/>
                                                  <a:pt x="327557" y="170926"/>
                                                  <a:pt x="329759" y="170343"/>
                                                </a:cubicBezTo>
                                                <a:cubicBezTo>
                                                  <a:pt x="335849" y="168658"/>
                                                  <a:pt x="341939" y="166974"/>
                                                  <a:pt x="348029" y="165289"/>
                                                </a:cubicBezTo>
                                                <a:cubicBezTo>
                                                  <a:pt x="351786" y="164253"/>
                                                  <a:pt x="355609" y="163216"/>
                                                  <a:pt x="359496" y="162828"/>
                                                </a:cubicBezTo>
                                                <a:cubicBezTo>
                                                  <a:pt x="359496" y="162439"/>
                                                  <a:pt x="359496" y="162115"/>
                                                  <a:pt x="359366" y="161726"/>
                                                </a:cubicBezTo>
                                                <a:cubicBezTo>
                                                  <a:pt x="356969" y="150065"/>
                                                  <a:pt x="346085" y="142096"/>
                                                  <a:pt x="335136" y="137302"/>
                                                </a:cubicBezTo>
                                                <a:cubicBezTo>
                                                  <a:pt x="324252" y="132508"/>
                                                  <a:pt x="312267" y="129528"/>
                                                  <a:pt x="302808" y="122207"/>
                                                </a:cubicBezTo>
                                                <a:cubicBezTo>
                                                  <a:pt x="295876" y="116830"/>
                                                  <a:pt x="290693" y="109379"/>
                                                  <a:pt x="283502" y="104391"/>
                                                </a:cubicBezTo>
                                                <a:cubicBezTo>
                                                  <a:pt x="274756" y="98366"/>
                                                  <a:pt x="262511" y="95386"/>
                                                  <a:pt x="258430" y="85538"/>
                                                </a:cubicBezTo>
                                                <a:cubicBezTo>
                                                  <a:pt x="256551" y="80938"/>
                                                  <a:pt x="256746" y="75367"/>
                                                  <a:pt x="253442" y="71609"/>
                                                </a:cubicBezTo>
                                                <a:cubicBezTo>
                                                  <a:pt x="250915" y="68759"/>
                                                  <a:pt x="246963" y="67722"/>
                                                  <a:pt x="244177" y="65131"/>
                                                </a:cubicBezTo>
                                                <a:cubicBezTo>
                                                  <a:pt x="239254" y="60596"/>
                                                  <a:pt x="239059" y="52368"/>
                                                  <a:pt x="233941" y="48027"/>
                                                </a:cubicBezTo>
                                                <a:cubicBezTo>
                                                  <a:pt x="226167" y="41419"/>
                                                  <a:pt x="213533" y="48286"/>
                                                  <a:pt x="204204" y="44075"/>
                                                </a:cubicBezTo>
                                                <a:cubicBezTo>
                                                  <a:pt x="200123" y="34293"/>
                                                  <a:pt x="196042" y="24575"/>
                                                  <a:pt x="192025" y="14792"/>
                                                </a:cubicBezTo>
                                                <a:cubicBezTo>
                                                  <a:pt x="181529" y="18744"/>
                                                  <a:pt x="173949" y="3260"/>
                                                  <a:pt x="163130" y="475"/>
                                                </a:cubicBezTo>
                                                <a:cubicBezTo>
                                                  <a:pt x="156198" y="-1339"/>
                                                  <a:pt x="149136" y="2353"/>
                                                  <a:pt x="143241" y="6370"/>
                                                </a:cubicBezTo>
                                                <a:cubicBezTo>
                                                  <a:pt x="131450" y="14339"/>
                                                  <a:pt x="120760" y="24056"/>
                                                  <a:pt x="111755" y="35070"/>
                                                </a:cubicBezTo>
                                                <a:cubicBezTo>
                                                  <a:pt x="108840" y="38633"/>
                                                  <a:pt x="105536" y="42650"/>
                                                  <a:pt x="100936" y="42844"/>
                                                </a:cubicBezTo>
                                                <a:cubicBezTo>
                                                  <a:pt x="98539" y="42974"/>
                                                  <a:pt x="96401" y="41613"/>
                                                  <a:pt x="95041" y="39735"/>
                                                </a:cubicBezTo>
                                                <a:cubicBezTo>
                                                  <a:pt x="94133" y="39994"/>
                                                  <a:pt x="93226" y="40188"/>
                                                  <a:pt x="92255" y="40253"/>
                                                </a:cubicBezTo>
                                                <a:cubicBezTo>
                                                  <a:pt x="84157" y="40901"/>
                                                  <a:pt x="77419" y="34552"/>
                                                  <a:pt x="71912" y="28656"/>
                                                </a:cubicBezTo>
                                                <a:close/>
                                              </a:path>
                                            </a:pathLst>
                                          </a:custGeom>
                                          <a:solidFill>
                                            <a:srgbClr val="DDDDDD"/>
                                          </a:solidFill>
                                          <a:ln w="6472" cap="flat">
                                            <a:solidFill>
                                              <a:srgbClr val="FFFFFF"/>
                                            </a:solidFill>
                                            <a:prstDash val="solid"/>
                                            <a:miter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da-DK"/>
                                          </a:p>
                                        </p:txBody>
                                      </p:sp>
                                      <p:grpSp>
                                        <p:nvGrpSpPr>
                                          <p:cNvPr id="1558" name="Graphic 413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43E77A4D-25B3-4C69-B4C0-51A727F39864}"/>
                                              </a:ext>
                                            </a:extLst>
                                          </p:cNvPr>
                                          <p:cNvGrpSpPr/>
                                          <p:nvPr/>
                                        </p:nvGrpSpPr>
                                        <p:grpSpPr>
                                          <a:xfrm>
                                            <a:off x="2840632" y="1314629"/>
                                            <a:ext cx="8882290" cy="4743195"/>
                                            <a:chOff x="2840632" y="1314629"/>
                                            <a:chExt cx="8882290" cy="4743195"/>
                                          </a:xfrm>
                                        </p:grpSpPr>
                                        <p:sp>
                                          <p:nvSpPr>
                                            <p:cNvPr id="1559" name="Freeform: Shape 155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0A3D894-F578-4591-B027-1FA0EAE073C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508223" y="1491743"/>
                                              <a:ext cx="68802" cy="3292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9668 w 68802"/>
                                                <a:gd name="connsiteY0" fmla="*/ 10392 h 32929"/>
                                                <a:gd name="connsiteX1" fmla="*/ 68802 w 68802"/>
                                                <a:gd name="connsiteY1" fmla="*/ 13308 h 32929"/>
                                                <a:gd name="connsiteX2" fmla="*/ 61611 w 68802"/>
                                                <a:gd name="connsiteY2" fmla="*/ 19138 h 32929"/>
                                                <a:gd name="connsiteX3" fmla="*/ 52541 w 68802"/>
                                                <a:gd name="connsiteY3" fmla="*/ 21406 h 32929"/>
                                                <a:gd name="connsiteX4" fmla="*/ 48330 w 68802"/>
                                                <a:gd name="connsiteY4" fmla="*/ 22248 h 32929"/>
                                                <a:gd name="connsiteX5" fmla="*/ 40362 w 68802"/>
                                                <a:gd name="connsiteY5" fmla="*/ 28921 h 32929"/>
                                                <a:gd name="connsiteX6" fmla="*/ 20084 w 68802"/>
                                                <a:gd name="connsiteY6" fmla="*/ 32743 h 32929"/>
                                                <a:gd name="connsiteX7" fmla="*/ 6867 w 68802"/>
                                                <a:gd name="connsiteY7" fmla="*/ 29828 h 32929"/>
                                                <a:gd name="connsiteX8" fmla="*/ 0 w 68802"/>
                                                <a:gd name="connsiteY8" fmla="*/ 19397 h 32929"/>
                                                <a:gd name="connsiteX9" fmla="*/ 16974 w 68802"/>
                                                <a:gd name="connsiteY9" fmla="*/ 9291 h 32929"/>
                                                <a:gd name="connsiteX10" fmla="*/ 21639 w 68802"/>
                                                <a:gd name="connsiteY10" fmla="*/ 1646 h 32929"/>
                                                <a:gd name="connsiteX11" fmla="*/ 25526 w 68802"/>
                                                <a:gd name="connsiteY11" fmla="*/ 934 h 32929"/>
                                                <a:gd name="connsiteX12" fmla="*/ 42435 w 68802"/>
                                                <a:gd name="connsiteY12" fmla="*/ 91 h 32929"/>
                                                <a:gd name="connsiteX13" fmla="*/ 48460 w 68802"/>
                                                <a:gd name="connsiteY13" fmla="*/ 415 h 32929"/>
                                                <a:gd name="connsiteX14" fmla="*/ 56688 w 68802"/>
                                                <a:gd name="connsiteY14" fmla="*/ 6764 h 32929"/>
                                                <a:gd name="connsiteX15" fmla="*/ 59668 w 68802"/>
                                                <a:gd name="connsiteY15" fmla="*/ 10327 h 3292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8802" h="32929">
                                                  <a:moveTo>
                                                    <a:pt x="59668" y="10392"/>
                                                  </a:moveTo>
                                                  <a:cubicBezTo>
                                                    <a:pt x="62130" y="12465"/>
                                                    <a:pt x="65563" y="12919"/>
                                                    <a:pt x="68802" y="13308"/>
                                                  </a:cubicBezTo>
                                                  <a:cubicBezTo>
                                                    <a:pt x="67766" y="16353"/>
                                                    <a:pt x="64592" y="18037"/>
                                                    <a:pt x="61611" y="19138"/>
                                                  </a:cubicBezTo>
                                                  <a:cubicBezTo>
                                                    <a:pt x="58696" y="20240"/>
                                                    <a:pt x="55651" y="20952"/>
                                                    <a:pt x="52541" y="21406"/>
                                                  </a:cubicBezTo>
                                                  <a:cubicBezTo>
                                                    <a:pt x="51116" y="21600"/>
                                                    <a:pt x="49691" y="21730"/>
                                                    <a:pt x="48330" y="22248"/>
                                                  </a:cubicBezTo>
                                                  <a:cubicBezTo>
                                                    <a:pt x="45091" y="23479"/>
                                                    <a:pt x="43083" y="26718"/>
                                                    <a:pt x="40362" y="28921"/>
                                                  </a:cubicBezTo>
                                                  <a:cubicBezTo>
                                                    <a:pt x="34855" y="33326"/>
                                                    <a:pt x="27145" y="33132"/>
                                                    <a:pt x="20084" y="32743"/>
                                                  </a:cubicBezTo>
                                                  <a:cubicBezTo>
                                                    <a:pt x="15549" y="32484"/>
                                                    <a:pt x="10819" y="32160"/>
                                                    <a:pt x="6867" y="29828"/>
                                                  </a:cubicBezTo>
                                                  <a:cubicBezTo>
                                                    <a:pt x="3174" y="27625"/>
                                                    <a:pt x="583" y="23673"/>
                                                    <a:pt x="0" y="19397"/>
                                                  </a:cubicBezTo>
                                                  <a:cubicBezTo>
                                                    <a:pt x="6997" y="20045"/>
                                                    <a:pt x="14188" y="15769"/>
                                                    <a:pt x="16974" y="9291"/>
                                                  </a:cubicBezTo>
                                                  <a:cubicBezTo>
                                                    <a:pt x="18205" y="6505"/>
                                                    <a:pt x="18918" y="3071"/>
                                                    <a:pt x="21639" y="1646"/>
                                                  </a:cubicBezTo>
                                                  <a:cubicBezTo>
                                                    <a:pt x="22805" y="1063"/>
                                                    <a:pt x="24165" y="998"/>
                                                    <a:pt x="25526" y="934"/>
                                                  </a:cubicBezTo>
                                                  <a:cubicBezTo>
                                                    <a:pt x="31162" y="674"/>
                                                    <a:pt x="36798" y="350"/>
                                                    <a:pt x="42435" y="91"/>
                                                  </a:cubicBezTo>
                                                  <a:cubicBezTo>
                                                    <a:pt x="44443" y="-38"/>
                                                    <a:pt x="46516" y="-103"/>
                                                    <a:pt x="48460" y="415"/>
                                                  </a:cubicBezTo>
                                                  <a:cubicBezTo>
                                                    <a:pt x="51893" y="1322"/>
                                                    <a:pt x="54550" y="3978"/>
                                                    <a:pt x="56688" y="6764"/>
                                                  </a:cubicBezTo>
                                                  <a:cubicBezTo>
                                                    <a:pt x="57595" y="7995"/>
                                                    <a:pt x="58502" y="9291"/>
                                                    <a:pt x="59668" y="1032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0" name="Freeform: Shape 155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CA88FC4-C3A4-41DF-A526-15EB123C64A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592748" y="1486676"/>
                                              <a:ext cx="47733" cy="2271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4981 w 47733"/>
                                                <a:gd name="connsiteY0" fmla="*/ 9239 h 22714"/>
                                                <a:gd name="connsiteX1" fmla="*/ 37078 w 47733"/>
                                                <a:gd name="connsiteY1" fmla="*/ 1983 h 22714"/>
                                                <a:gd name="connsiteX2" fmla="*/ 33579 w 47733"/>
                                                <a:gd name="connsiteY2" fmla="*/ 105 h 22714"/>
                                                <a:gd name="connsiteX3" fmla="*/ 28461 w 47733"/>
                                                <a:gd name="connsiteY3" fmla="*/ 1076 h 22714"/>
                                                <a:gd name="connsiteX4" fmla="*/ 1186 w 47733"/>
                                                <a:gd name="connsiteY4" fmla="*/ 12220 h 22714"/>
                                                <a:gd name="connsiteX5" fmla="*/ 1057 w 47733"/>
                                                <a:gd name="connsiteY5" fmla="*/ 12479 h 22714"/>
                                                <a:gd name="connsiteX6" fmla="*/ 214 w 47733"/>
                                                <a:gd name="connsiteY6" fmla="*/ 17791 h 22714"/>
                                                <a:gd name="connsiteX7" fmla="*/ 3583 w 47733"/>
                                                <a:gd name="connsiteY7" fmla="*/ 22002 h 22714"/>
                                                <a:gd name="connsiteX8" fmla="*/ 6887 w 47733"/>
                                                <a:gd name="connsiteY8" fmla="*/ 22715 h 22714"/>
                                                <a:gd name="connsiteX9" fmla="*/ 12329 w 47733"/>
                                                <a:gd name="connsiteY9" fmla="*/ 21678 h 22714"/>
                                                <a:gd name="connsiteX10" fmla="*/ 14791 w 47733"/>
                                                <a:gd name="connsiteY10" fmla="*/ 21030 h 22714"/>
                                                <a:gd name="connsiteX11" fmla="*/ 20881 w 47733"/>
                                                <a:gd name="connsiteY11" fmla="*/ 20512 h 22714"/>
                                                <a:gd name="connsiteX12" fmla="*/ 47184 w 47733"/>
                                                <a:gd name="connsiteY12" fmla="*/ 20642 h 22714"/>
                                                <a:gd name="connsiteX13" fmla="*/ 47378 w 47733"/>
                                                <a:gd name="connsiteY13" fmla="*/ 19929 h 22714"/>
                                                <a:gd name="connsiteX14" fmla="*/ 44981 w 47733"/>
                                                <a:gd name="connsiteY14" fmla="*/ 9239 h 22714"/>
                                                <a:gd name="connsiteX15" fmla="*/ 45629 w 47733"/>
                                                <a:gd name="connsiteY15" fmla="*/ 18698 h 22714"/>
                                                <a:gd name="connsiteX16" fmla="*/ 20881 w 47733"/>
                                                <a:gd name="connsiteY16" fmla="*/ 18569 h 22714"/>
                                                <a:gd name="connsiteX17" fmla="*/ 14403 w 47733"/>
                                                <a:gd name="connsiteY17" fmla="*/ 19087 h 22714"/>
                                                <a:gd name="connsiteX18" fmla="*/ 11746 w 47733"/>
                                                <a:gd name="connsiteY18" fmla="*/ 19799 h 22714"/>
                                                <a:gd name="connsiteX19" fmla="*/ 4426 w 47733"/>
                                                <a:gd name="connsiteY19" fmla="*/ 20253 h 22714"/>
                                                <a:gd name="connsiteX20" fmla="*/ 2158 w 47733"/>
                                                <a:gd name="connsiteY20" fmla="*/ 17273 h 22714"/>
                                                <a:gd name="connsiteX21" fmla="*/ 2482 w 47733"/>
                                                <a:gd name="connsiteY21" fmla="*/ 13774 h 22714"/>
                                                <a:gd name="connsiteX22" fmla="*/ 29173 w 47733"/>
                                                <a:gd name="connsiteY22" fmla="*/ 2890 h 22714"/>
                                                <a:gd name="connsiteX23" fmla="*/ 33191 w 47733"/>
                                                <a:gd name="connsiteY23" fmla="*/ 2048 h 22714"/>
                                                <a:gd name="connsiteX24" fmla="*/ 35911 w 47733"/>
                                                <a:gd name="connsiteY24" fmla="*/ 3538 h 22714"/>
                                                <a:gd name="connsiteX25" fmla="*/ 43362 w 47733"/>
                                                <a:gd name="connsiteY25" fmla="*/ 10406 h 22714"/>
                                                <a:gd name="connsiteX26" fmla="*/ 45629 w 47733"/>
                                                <a:gd name="connsiteY26" fmla="*/ 18698 h 2271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7733" h="22714">
                                                  <a:moveTo>
                                                    <a:pt x="44981" y="9239"/>
                                                  </a:moveTo>
                                                  <a:cubicBezTo>
                                                    <a:pt x="42779" y="6194"/>
                                                    <a:pt x="39734" y="3927"/>
                                                    <a:pt x="37078" y="1983"/>
                                                  </a:cubicBezTo>
                                                  <a:cubicBezTo>
                                                    <a:pt x="36170" y="1271"/>
                                                    <a:pt x="35004" y="429"/>
                                                    <a:pt x="33579" y="105"/>
                                                  </a:cubicBezTo>
                                                  <a:cubicBezTo>
                                                    <a:pt x="31700" y="-284"/>
                                                    <a:pt x="29757" y="493"/>
                                                    <a:pt x="28461" y="1076"/>
                                                  </a:cubicBezTo>
                                                  <a:lnTo>
                                                    <a:pt x="1186" y="12220"/>
                                                  </a:lnTo>
                                                  <a:lnTo>
                                                    <a:pt x="1057" y="12479"/>
                                                  </a:lnTo>
                                                  <a:cubicBezTo>
                                                    <a:pt x="20" y="13969"/>
                                                    <a:pt x="-239" y="15848"/>
                                                    <a:pt x="214" y="17791"/>
                                                  </a:cubicBezTo>
                                                  <a:cubicBezTo>
                                                    <a:pt x="733" y="19670"/>
                                                    <a:pt x="1964" y="21225"/>
                                                    <a:pt x="3583" y="22002"/>
                                                  </a:cubicBezTo>
                                                  <a:cubicBezTo>
                                                    <a:pt x="4555" y="22456"/>
                                                    <a:pt x="5657" y="22715"/>
                                                    <a:pt x="6887" y="22715"/>
                                                  </a:cubicBezTo>
                                                  <a:cubicBezTo>
                                                    <a:pt x="8701" y="22715"/>
                                                    <a:pt x="10516" y="22197"/>
                                                    <a:pt x="12329" y="21678"/>
                                                  </a:cubicBezTo>
                                                  <a:cubicBezTo>
                                                    <a:pt x="13172" y="21419"/>
                                                    <a:pt x="14014" y="21160"/>
                                                    <a:pt x="14791" y="21030"/>
                                                  </a:cubicBezTo>
                                                  <a:cubicBezTo>
                                                    <a:pt x="16864" y="20577"/>
                                                    <a:pt x="19002" y="20512"/>
                                                    <a:pt x="20881" y="20512"/>
                                                  </a:cubicBezTo>
                                                  <a:lnTo>
                                                    <a:pt x="47184" y="20642"/>
                                                  </a:lnTo>
                                                  <a:lnTo>
                                                    <a:pt x="47378" y="19929"/>
                                                  </a:lnTo>
                                                  <a:cubicBezTo>
                                                    <a:pt x="48285" y="16625"/>
                                                    <a:pt x="47443" y="12673"/>
                                                    <a:pt x="44981" y="9239"/>
                                                  </a:cubicBezTo>
                                                  <a:close/>
                                                  <a:moveTo>
                                                    <a:pt x="45629" y="18698"/>
                                                  </a:moveTo>
                                                  <a:lnTo>
                                                    <a:pt x="20881" y="18569"/>
                                                  </a:lnTo>
                                                  <a:cubicBezTo>
                                                    <a:pt x="18938" y="18569"/>
                                                    <a:pt x="16670" y="18633"/>
                                                    <a:pt x="14403" y="19087"/>
                                                  </a:cubicBezTo>
                                                  <a:cubicBezTo>
                                                    <a:pt x="13495" y="19281"/>
                                                    <a:pt x="12653" y="19540"/>
                                                    <a:pt x="11746" y="19799"/>
                                                  </a:cubicBezTo>
                                                  <a:cubicBezTo>
                                                    <a:pt x="9155" y="20577"/>
                                                    <a:pt x="6369" y="21160"/>
                                                    <a:pt x="4426" y="20253"/>
                                                  </a:cubicBezTo>
                                                  <a:cubicBezTo>
                                                    <a:pt x="3324" y="19670"/>
                                                    <a:pt x="2482" y="18633"/>
                                                    <a:pt x="2158" y="17273"/>
                                                  </a:cubicBezTo>
                                                  <a:cubicBezTo>
                                                    <a:pt x="1769" y="16042"/>
                                                    <a:pt x="1964" y="14746"/>
                                                    <a:pt x="2482" y="13774"/>
                                                  </a:cubicBezTo>
                                                  <a:lnTo>
                                                    <a:pt x="29173" y="2890"/>
                                                  </a:lnTo>
                                                  <a:cubicBezTo>
                                                    <a:pt x="30664" y="2243"/>
                                                    <a:pt x="31960" y="1789"/>
                                                    <a:pt x="33191" y="2048"/>
                                                  </a:cubicBezTo>
                                                  <a:cubicBezTo>
                                                    <a:pt x="34162" y="2243"/>
                                                    <a:pt x="35069" y="2890"/>
                                                    <a:pt x="35911" y="3538"/>
                                                  </a:cubicBezTo>
                                                  <a:cubicBezTo>
                                                    <a:pt x="38503" y="5417"/>
                                                    <a:pt x="41353" y="7555"/>
                                                    <a:pt x="43362" y="10406"/>
                                                  </a:cubicBezTo>
                                                  <a:cubicBezTo>
                                                    <a:pt x="45305" y="13062"/>
                                                    <a:pt x="46083" y="16107"/>
                                                    <a:pt x="45629" y="1869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1" name="Freeform: Shape 156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31331F7-1220-4344-9648-D91BD48F861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262026" y="1468661"/>
                                              <a:ext cx="33852" cy="1993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2696 w 33852"/>
                                                <a:gd name="connsiteY0" fmla="*/ 5292 h 19933"/>
                                                <a:gd name="connsiteX1" fmla="*/ 33797 w 33852"/>
                                                <a:gd name="connsiteY1" fmla="*/ 13326 h 19933"/>
                                                <a:gd name="connsiteX2" fmla="*/ 32890 w 33852"/>
                                                <a:gd name="connsiteY2" fmla="*/ 16759 h 19933"/>
                                                <a:gd name="connsiteX3" fmla="*/ 29651 w 33852"/>
                                                <a:gd name="connsiteY3" fmla="*/ 18185 h 19933"/>
                                                <a:gd name="connsiteX4" fmla="*/ 16305 w 33852"/>
                                                <a:gd name="connsiteY4" fmla="*/ 19675 h 19933"/>
                                                <a:gd name="connsiteX5" fmla="*/ 5421 w 33852"/>
                                                <a:gd name="connsiteY5" fmla="*/ 18897 h 19933"/>
                                                <a:gd name="connsiteX6" fmla="*/ 173 w 33852"/>
                                                <a:gd name="connsiteY6" fmla="*/ 10281 h 19933"/>
                                                <a:gd name="connsiteX7" fmla="*/ 8531 w 33852"/>
                                                <a:gd name="connsiteY7" fmla="*/ 5357 h 19933"/>
                                                <a:gd name="connsiteX8" fmla="*/ 20970 w 33852"/>
                                                <a:gd name="connsiteY8" fmla="*/ 109 h 19933"/>
                                                <a:gd name="connsiteX9" fmla="*/ 32631 w 33852"/>
                                                <a:gd name="connsiteY9" fmla="*/ 5292 h 1993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3852" h="19933">
                                                  <a:moveTo>
                                                    <a:pt x="32696" y="5292"/>
                                                  </a:moveTo>
                                                  <a:cubicBezTo>
                                                    <a:pt x="33927" y="7754"/>
                                                    <a:pt x="33927" y="10605"/>
                                                    <a:pt x="33797" y="13326"/>
                                                  </a:cubicBezTo>
                                                  <a:cubicBezTo>
                                                    <a:pt x="33797" y="14557"/>
                                                    <a:pt x="33732" y="15852"/>
                                                    <a:pt x="32890" y="16759"/>
                                                  </a:cubicBezTo>
                                                  <a:cubicBezTo>
                                                    <a:pt x="32113" y="17666"/>
                                                    <a:pt x="30817" y="17926"/>
                                                    <a:pt x="29651" y="18185"/>
                                                  </a:cubicBezTo>
                                                  <a:cubicBezTo>
                                                    <a:pt x="25245" y="18897"/>
                                                    <a:pt x="20775" y="19286"/>
                                                    <a:pt x="16305" y="19675"/>
                                                  </a:cubicBezTo>
                                                  <a:cubicBezTo>
                                                    <a:pt x="12677" y="19999"/>
                                                    <a:pt x="8855" y="20258"/>
                                                    <a:pt x="5421" y="18897"/>
                                                  </a:cubicBezTo>
                                                  <a:cubicBezTo>
                                                    <a:pt x="2052" y="17472"/>
                                                    <a:pt x="-734" y="13844"/>
                                                    <a:pt x="173" y="10281"/>
                                                  </a:cubicBezTo>
                                                  <a:cubicBezTo>
                                                    <a:pt x="2959" y="8661"/>
                                                    <a:pt x="5745" y="6977"/>
                                                    <a:pt x="8531" y="5357"/>
                                                  </a:cubicBezTo>
                                                  <a:cubicBezTo>
                                                    <a:pt x="12418" y="3025"/>
                                                    <a:pt x="16499" y="693"/>
                                                    <a:pt x="20970" y="109"/>
                                                  </a:cubicBezTo>
                                                  <a:cubicBezTo>
                                                    <a:pt x="25440" y="-474"/>
                                                    <a:pt x="30558" y="1276"/>
                                                    <a:pt x="32631" y="529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2" name="Freeform: Shape 156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5D9052B-8403-4208-86DC-C1F93DBE309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286137" y="1486430"/>
                                              <a:ext cx="93883" cy="8956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5726 w 93883"/>
                                                <a:gd name="connsiteY0" fmla="*/ 7866 h 89560"/>
                                                <a:gd name="connsiteX1" fmla="*/ 70649 w 93883"/>
                                                <a:gd name="connsiteY1" fmla="*/ 7801 h 89560"/>
                                                <a:gd name="connsiteX2" fmla="*/ 75832 w 93883"/>
                                                <a:gd name="connsiteY2" fmla="*/ 15964 h 89560"/>
                                                <a:gd name="connsiteX3" fmla="*/ 77322 w 93883"/>
                                                <a:gd name="connsiteY3" fmla="*/ 26071 h 89560"/>
                                                <a:gd name="connsiteX4" fmla="*/ 91769 w 93883"/>
                                                <a:gd name="connsiteY4" fmla="*/ 37343 h 89560"/>
                                                <a:gd name="connsiteX5" fmla="*/ 89955 w 93883"/>
                                                <a:gd name="connsiteY5" fmla="*/ 52957 h 89560"/>
                                                <a:gd name="connsiteX6" fmla="*/ 73759 w 93883"/>
                                                <a:gd name="connsiteY6" fmla="*/ 55937 h 89560"/>
                                                <a:gd name="connsiteX7" fmla="*/ 65985 w 93883"/>
                                                <a:gd name="connsiteY7" fmla="*/ 54512 h 89560"/>
                                                <a:gd name="connsiteX8" fmla="*/ 61320 w 93883"/>
                                                <a:gd name="connsiteY8" fmla="*/ 58399 h 89560"/>
                                                <a:gd name="connsiteX9" fmla="*/ 49011 w 93883"/>
                                                <a:gd name="connsiteY9" fmla="*/ 73882 h 89560"/>
                                                <a:gd name="connsiteX10" fmla="*/ 45318 w 93883"/>
                                                <a:gd name="connsiteY10" fmla="*/ 80037 h 89560"/>
                                                <a:gd name="connsiteX11" fmla="*/ 44282 w 93883"/>
                                                <a:gd name="connsiteY11" fmla="*/ 83730 h 89560"/>
                                                <a:gd name="connsiteX12" fmla="*/ 37155 w 93883"/>
                                                <a:gd name="connsiteY12" fmla="*/ 87034 h 89560"/>
                                                <a:gd name="connsiteX13" fmla="*/ 15128 w 93883"/>
                                                <a:gd name="connsiteY13" fmla="*/ 89561 h 89560"/>
                                                <a:gd name="connsiteX14" fmla="*/ 11824 w 93883"/>
                                                <a:gd name="connsiteY14" fmla="*/ 76603 h 89560"/>
                                                <a:gd name="connsiteX15" fmla="*/ 163 w 93883"/>
                                                <a:gd name="connsiteY15" fmla="*/ 73429 h 89560"/>
                                                <a:gd name="connsiteX16" fmla="*/ 12472 w 93883"/>
                                                <a:gd name="connsiteY16" fmla="*/ 62998 h 89560"/>
                                                <a:gd name="connsiteX17" fmla="*/ 30936 w 93883"/>
                                                <a:gd name="connsiteY17" fmla="*/ 65655 h 89560"/>
                                                <a:gd name="connsiteX18" fmla="*/ 37738 w 93883"/>
                                                <a:gd name="connsiteY18" fmla="*/ 58075 h 89560"/>
                                                <a:gd name="connsiteX19" fmla="*/ 32944 w 93883"/>
                                                <a:gd name="connsiteY19" fmla="*/ 54965 h 89560"/>
                                                <a:gd name="connsiteX20" fmla="*/ 24522 w 93883"/>
                                                <a:gd name="connsiteY20" fmla="*/ 52244 h 89560"/>
                                                <a:gd name="connsiteX21" fmla="*/ 17784 w 93883"/>
                                                <a:gd name="connsiteY21" fmla="*/ 48746 h 89560"/>
                                                <a:gd name="connsiteX22" fmla="*/ 17007 w 93883"/>
                                                <a:gd name="connsiteY22" fmla="*/ 41749 h 89560"/>
                                                <a:gd name="connsiteX23" fmla="*/ 24522 w 93883"/>
                                                <a:gd name="connsiteY23" fmla="*/ 40064 h 89560"/>
                                                <a:gd name="connsiteX24" fmla="*/ 37349 w 93883"/>
                                                <a:gd name="connsiteY24" fmla="*/ 37732 h 89560"/>
                                                <a:gd name="connsiteX25" fmla="*/ 42921 w 93883"/>
                                                <a:gd name="connsiteY25" fmla="*/ 33586 h 89560"/>
                                                <a:gd name="connsiteX26" fmla="*/ 38127 w 93883"/>
                                                <a:gd name="connsiteY26" fmla="*/ 18620 h 89560"/>
                                                <a:gd name="connsiteX27" fmla="*/ 33268 w 93883"/>
                                                <a:gd name="connsiteY27" fmla="*/ 3655 h 89560"/>
                                                <a:gd name="connsiteX28" fmla="*/ 48946 w 93883"/>
                                                <a:gd name="connsiteY28" fmla="*/ 1906 h 89560"/>
                                                <a:gd name="connsiteX29" fmla="*/ 65791 w 93883"/>
                                                <a:gd name="connsiteY29" fmla="*/ 7736 h 8956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3883" h="89560">
                                                  <a:moveTo>
                                                    <a:pt x="65726" y="7866"/>
                                                  </a:moveTo>
                                                  <a:cubicBezTo>
                                                    <a:pt x="67345" y="7801"/>
                                                    <a:pt x="69030" y="7348"/>
                                                    <a:pt x="70649" y="7801"/>
                                                  </a:cubicBezTo>
                                                  <a:cubicBezTo>
                                                    <a:pt x="74018" y="8643"/>
                                                    <a:pt x="75508" y="12530"/>
                                                    <a:pt x="75832" y="15964"/>
                                                  </a:cubicBezTo>
                                                  <a:cubicBezTo>
                                                    <a:pt x="76091" y="19398"/>
                                                    <a:pt x="75767" y="23026"/>
                                                    <a:pt x="77322" y="26071"/>
                                                  </a:cubicBezTo>
                                                  <a:cubicBezTo>
                                                    <a:pt x="80173" y="31513"/>
                                                    <a:pt x="87947" y="32420"/>
                                                    <a:pt x="91769" y="37343"/>
                                                  </a:cubicBezTo>
                                                  <a:cubicBezTo>
                                                    <a:pt x="95333" y="41878"/>
                                                    <a:pt x="94166" y="49005"/>
                                                    <a:pt x="89955" y="52957"/>
                                                  </a:cubicBezTo>
                                                  <a:cubicBezTo>
                                                    <a:pt x="85744" y="56909"/>
                                                    <a:pt x="79266" y="57751"/>
                                                    <a:pt x="73759" y="55937"/>
                                                  </a:cubicBezTo>
                                                  <a:cubicBezTo>
                                                    <a:pt x="71232" y="55095"/>
                                                    <a:pt x="68576" y="53799"/>
                                                    <a:pt x="65985" y="54512"/>
                                                  </a:cubicBezTo>
                                                  <a:cubicBezTo>
                                                    <a:pt x="63976" y="55095"/>
                                                    <a:pt x="62551" y="56779"/>
                                                    <a:pt x="61320" y="58399"/>
                                                  </a:cubicBezTo>
                                                  <a:cubicBezTo>
                                                    <a:pt x="57239" y="63582"/>
                                                    <a:pt x="53092" y="68700"/>
                                                    <a:pt x="49011" y="73882"/>
                                                  </a:cubicBezTo>
                                                  <a:cubicBezTo>
                                                    <a:pt x="47521" y="75761"/>
                                                    <a:pt x="45966" y="77705"/>
                                                    <a:pt x="45318" y="80037"/>
                                                  </a:cubicBezTo>
                                                  <a:cubicBezTo>
                                                    <a:pt x="44994" y="81268"/>
                                                    <a:pt x="44929" y="82629"/>
                                                    <a:pt x="44282" y="83730"/>
                                                  </a:cubicBezTo>
                                                  <a:cubicBezTo>
                                                    <a:pt x="42986" y="86127"/>
                                                    <a:pt x="39811" y="86710"/>
                                                    <a:pt x="37155" y="87034"/>
                                                  </a:cubicBezTo>
                                                  <a:cubicBezTo>
                                                    <a:pt x="29834" y="87876"/>
                                                    <a:pt x="22449" y="88718"/>
                                                    <a:pt x="15128" y="89561"/>
                                                  </a:cubicBezTo>
                                                  <a:cubicBezTo>
                                                    <a:pt x="12601" y="85803"/>
                                                    <a:pt x="11435" y="81138"/>
                                                    <a:pt x="11824" y="76603"/>
                                                  </a:cubicBezTo>
                                                  <a:cubicBezTo>
                                                    <a:pt x="7937" y="75567"/>
                                                    <a:pt x="4050" y="74466"/>
                                                    <a:pt x="163" y="73429"/>
                                                  </a:cubicBezTo>
                                                  <a:cubicBezTo>
                                                    <a:pt x="-1198" y="67339"/>
                                                    <a:pt x="6252" y="62739"/>
                                                    <a:pt x="12472" y="62998"/>
                                                  </a:cubicBezTo>
                                                  <a:cubicBezTo>
                                                    <a:pt x="18691" y="63258"/>
                                                    <a:pt x="24716" y="66173"/>
                                                    <a:pt x="30936" y="65655"/>
                                                  </a:cubicBezTo>
                                                  <a:cubicBezTo>
                                                    <a:pt x="34952" y="65331"/>
                                                    <a:pt x="39617" y="61638"/>
                                                    <a:pt x="37738" y="58075"/>
                                                  </a:cubicBezTo>
                                                  <a:cubicBezTo>
                                                    <a:pt x="36831" y="56326"/>
                                                    <a:pt x="34823" y="55613"/>
                                                    <a:pt x="32944" y="54965"/>
                                                  </a:cubicBezTo>
                                                  <a:cubicBezTo>
                                                    <a:pt x="30158" y="54058"/>
                                                    <a:pt x="27308" y="53151"/>
                                                    <a:pt x="24522" y="52244"/>
                                                  </a:cubicBezTo>
                                                  <a:cubicBezTo>
                                                    <a:pt x="22060" y="51467"/>
                                                    <a:pt x="19533" y="50624"/>
                                                    <a:pt x="17784" y="48746"/>
                                                  </a:cubicBezTo>
                                                  <a:cubicBezTo>
                                                    <a:pt x="16035" y="46867"/>
                                                    <a:pt x="15322" y="43757"/>
                                                    <a:pt x="17007" y="41749"/>
                                                  </a:cubicBezTo>
                                                  <a:cubicBezTo>
                                                    <a:pt x="18756" y="39740"/>
                                                    <a:pt x="21866" y="40000"/>
                                                    <a:pt x="24522" y="40064"/>
                                                  </a:cubicBezTo>
                                                  <a:cubicBezTo>
                                                    <a:pt x="28863" y="40194"/>
                                                    <a:pt x="33268" y="39416"/>
                                                    <a:pt x="37349" y="37732"/>
                                                  </a:cubicBezTo>
                                                  <a:cubicBezTo>
                                                    <a:pt x="39552" y="36825"/>
                                                    <a:pt x="41690" y="35594"/>
                                                    <a:pt x="42921" y="33586"/>
                                                  </a:cubicBezTo>
                                                  <a:cubicBezTo>
                                                    <a:pt x="45836" y="28727"/>
                                                    <a:pt x="41885" y="22831"/>
                                                    <a:pt x="38127" y="18620"/>
                                                  </a:cubicBezTo>
                                                  <a:cubicBezTo>
                                                    <a:pt x="34369" y="14409"/>
                                                    <a:pt x="30417" y="8514"/>
                                                    <a:pt x="33268" y="3655"/>
                                                  </a:cubicBezTo>
                                                  <a:cubicBezTo>
                                                    <a:pt x="36183" y="-1334"/>
                                                    <a:pt x="43698" y="-492"/>
                                                    <a:pt x="48946" y="1906"/>
                                                  </a:cubicBezTo>
                                                  <a:cubicBezTo>
                                                    <a:pt x="54388" y="4432"/>
                                                    <a:pt x="59765" y="8125"/>
                                                    <a:pt x="65791" y="773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3" name="Freeform: Shape 156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579EAD1-E65A-4FFA-A79A-DE8096C00BF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356351" y="1542423"/>
                                              <a:ext cx="120958" cy="84047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0834 w 120958"/>
                                                <a:gd name="connsiteY0" fmla="*/ 79695 h 84047"/>
                                                <a:gd name="connsiteX1" fmla="*/ 83426 w 120958"/>
                                                <a:gd name="connsiteY1" fmla="*/ 82546 h 84047"/>
                                                <a:gd name="connsiteX2" fmla="*/ 89127 w 120958"/>
                                                <a:gd name="connsiteY2" fmla="*/ 83971 h 84047"/>
                                                <a:gd name="connsiteX3" fmla="*/ 100529 w 120958"/>
                                                <a:gd name="connsiteY3" fmla="*/ 82870 h 84047"/>
                                                <a:gd name="connsiteX4" fmla="*/ 107137 w 120958"/>
                                                <a:gd name="connsiteY4" fmla="*/ 74318 h 84047"/>
                                                <a:gd name="connsiteX5" fmla="*/ 103963 w 120958"/>
                                                <a:gd name="connsiteY5" fmla="*/ 58057 h 84047"/>
                                                <a:gd name="connsiteX6" fmla="*/ 107461 w 120958"/>
                                                <a:gd name="connsiteY6" fmla="*/ 55142 h 84047"/>
                                                <a:gd name="connsiteX7" fmla="*/ 108887 w 120958"/>
                                                <a:gd name="connsiteY7" fmla="*/ 50995 h 84047"/>
                                                <a:gd name="connsiteX8" fmla="*/ 118475 w 120958"/>
                                                <a:gd name="connsiteY8" fmla="*/ 40176 h 84047"/>
                                                <a:gd name="connsiteX9" fmla="*/ 118475 w 120958"/>
                                                <a:gd name="connsiteY9" fmla="*/ 22749 h 84047"/>
                                                <a:gd name="connsiteX10" fmla="*/ 106101 w 120958"/>
                                                <a:gd name="connsiteY10" fmla="*/ 9338 h 84047"/>
                                                <a:gd name="connsiteX11" fmla="*/ 97160 w 120958"/>
                                                <a:gd name="connsiteY11" fmla="*/ 5840 h 84047"/>
                                                <a:gd name="connsiteX12" fmla="*/ 90423 w 120958"/>
                                                <a:gd name="connsiteY12" fmla="*/ 14521 h 84047"/>
                                                <a:gd name="connsiteX13" fmla="*/ 74744 w 120958"/>
                                                <a:gd name="connsiteY13" fmla="*/ 20805 h 84047"/>
                                                <a:gd name="connsiteX14" fmla="*/ 69302 w 120958"/>
                                                <a:gd name="connsiteY14" fmla="*/ 4544 h 84047"/>
                                                <a:gd name="connsiteX15" fmla="*/ 51940 w 120958"/>
                                                <a:gd name="connsiteY15" fmla="*/ 74 h 84047"/>
                                                <a:gd name="connsiteX16" fmla="*/ 14299 w 120958"/>
                                                <a:gd name="connsiteY16" fmla="*/ 15298 h 84047"/>
                                                <a:gd name="connsiteX17" fmla="*/ 1083 w 120958"/>
                                                <a:gd name="connsiteY17" fmla="*/ 27413 h 84047"/>
                                                <a:gd name="connsiteX18" fmla="*/ 6396 w 120958"/>
                                                <a:gd name="connsiteY18" fmla="*/ 42444 h 84047"/>
                                                <a:gd name="connsiteX19" fmla="*/ 10347 w 120958"/>
                                                <a:gd name="connsiteY19" fmla="*/ 55206 h 84047"/>
                                                <a:gd name="connsiteX20" fmla="*/ 23564 w 120958"/>
                                                <a:gd name="connsiteY20" fmla="*/ 62009 h 84047"/>
                                                <a:gd name="connsiteX21" fmla="*/ 32569 w 120958"/>
                                                <a:gd name="connsiteY21" fmla="*/ 69524 h 84047"/>
                                                <a:gd name="connsiteX22" fmla="*/ 43259 w 120958"/>
                                                <a:gd name="connsiteY22" fmla="*/ 72958 h 84047"/>
                                                <a:gd name="connsiteX23" fmla="*/ 70339 w 120958"/>
                                                <a:gd name="connsiteY23" fmla="*/ 76780 h 84047"/>
                                                <a:gd name="connsiteX24" fmla="*/ 80899 w 120958"/>
                                                <a:gd name="connsiteY24" fmla="*/ 79566 h 84047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20958" h="84047">
                                                  <a:moveTo>
                                                    <a:pt x="80834" y="79695"/>
                                                  </a:moveTo>
                                                  <a:cubicBezTo>
                                                    <a:pt x="81741" y="80602"/>
                                                    <a:pt x="82389" y="81768"/>
                                                    <a:pt x="83426" y="82546"/>
                                                  </a:cubicBezTo>
                                                  <a:cubicBezTo>
                                                    <a:pt x="84981" y="83777"/>
                                                    <a:pt x="87118" y="83906"/>
                                                    <a:pt x="89127" y="83971"/>
                                                  </a:cubicBezTo>
                                                  <a:cubicBezTo>
                                                    <a:pt x="92949" y="84101"/>
                                                    <a:pt x="96966" y="84230"/>
                                                    <a:pt x="100529" y="82870"/>
                                                  </a:cubicBezTo>
                                                  <a:cubicBezTo>
                                                    <a:pt x="104093" y="81444"/>
                                                    <a:pt x="107202" y="78140"/>
                                                    <a:pt x="107137" y="74318"/>
                                                  </a:cubicBezTo>
                                                  <a:cubicBezTo>
                                                    <a:pt x="106943" y="68487"/>
                                                    <a:pt x="100011" y="62397"/>
                                                    <a:pt x="103963" y="58057"/>
                                                  </a:cubicBezTo>
                                                  <a:cubicBezTo>
                                                    <a:pt x="104999" y="56955"/>
                                                    <a:pt x="106554" y="56372"/>
                                                    <a:pt x="107461" y="55142"/>
                                                  </a:cubicBezTo>
                                                  <a:cubicBezTo>
                                                    <a:pt x="108368" y="53975"/>
                                                    <a:pt x="108433" y="52420"/>
                                                    <a:pt x="108887" y="50995"/>
                                                  </a:cubicBezTo>
                                                  <a:cubicBezTo>
                                                    <a:pt x="110441" y="46395"/>
                                                    <a:pt x="115624" y="44128"/>
                                                    <a:pt x="118475" y="40176"/>
                                                  </a:cubicBezTo>
                                                  <a:cubicBezTo>
                                                    <a:pt x="122103" y="35252"/>
                                                    <a:pt x="121455" y="28191"/>
                                                    <a:pt x="118475" y="22749"/>
                                                  </a:cubicBezTo>
                                                  <a:cubicBezTo>
                                                    <a:pt x="115559" y="17371"/>
                                                    <a:pt x="110765" y="13290"/>
                                                    <a:pt x="106101" y="9338"/>
                                                  </a:cubicBezTo>
                                                  <a:cubicBezTo>
                                                    <a:pt x="103509" y="7200"/>
                                                    <a:pt x="100335" y="4868"/>
                                                    <a:pt x="97160" y="5840"/>
                                                  </a:cubicBezTo>
                                                  <a:cubicBezTo>
                                                    <a:pt x="93532" y="6941"/>
                                                    <a:pt x="92366" y="11346"/>
                                                    <a:pt x="90423" y="14521"/>
                                                  </a:cubicBezTo>
                                                  <a:cubicBezTo>
                                                    <a:pt x="87248" y="19639"/>
                                                    <a:pt x="80575" y="22295"/>
                                                    <a:pt x="74744" y="20805"/>
                                                  </a:cubicBezTo>
                                                  <a:cubicBezTo>
                                                    <a:pt x="76947" y="15104"/>
                                                    <a:pt x="74161" y="8301"/>
                                                    <a:pt x="69302" y="4544"/>
                                                  </a:cubicBezTo>
                                                  <a:cubicBezTo>
                                                    <a:pt x="64443" y="786"/>
                                                    <a:pt x="58030" y="-315"/>
                                                    <a:pt x="51940" y="74"/>
                                                  </a:cubicBezTo>
                                                  <a:cubicBezTo>
                                                    <a:pt x="38270" y="851"/>
                                                    <a:pt x="25961" y="8172"/>
                                                    <a:pt x="14299" y="15298"/>
                                                  </a:cubicBezTo>
                                                  <a:cubicBezTo>
                                                    <a:pt x="9117" y="18473"/>
                                                    <a:pt x="3610" y="21906"/>
                                                    <a:pt x="1083" y="27413"/>
                                                  </a:cubicBezTo>
                                                  <a:cubicBezTo>
                                                    <a:pt x="-1444" y="32920"/>
                                                    <a:pt x="500" y="40953"/>
                                                    <a:pt x="6396" y="42444"/>
                                                  </a:cubicBezTo>
                                                  <a:cubicBezTo>
                                                    <a:pt x="3480" y="46460"/>
                                                    <a:pt x="6266" y="52356"/>
                                                    <a:pt x="10347" y="55206"/>
                                                  </a:cubicBezTo>
                                                  <a:cubicBezTo>
                                                    <a:pt x="14429" y="58057"/>
                                                    <a:pt x="19482" y="59223"/>
                                                    <a:pt x="23564" y="62009"/>
                                                  </a:cubicBezTo>
                                                  <a:cubicBezTo>
                                                    <a:pt x="26803" y="64276"/>
                                                    <a:pt x="29265" y="67451"/>
                                                    <a:pt x="32569" y="69524"/>
                                                  </a:cubicBezTo>
                                                  <a:cubicBezTo>
                                                    <a:pt x="35808" y="71468"/>
                                                    <a:pt x="39566" y="72245"/>
                                                    <a:pt x="43259" y="72958"/>
                                                  </a:cubicBezTo>
                                                  <a:cubicBezTo>
                                                    <a:pt x="52199" y="74707"/>
                                                    <a:pt x="61204" y="76456"/>
                                                    <a:pt x="70339" y="76780"/>
                                                  </a:cubicBezTo>
                                                  <a:cubicBezTo>
                                                    <a:pt x="74097" y="76910"/>
                                                    <a:pt x="78243" y="76974"/>
                                                    <a:pt x="80899" y="7956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4" name="Freeform: Shape 156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5B017C4-664D-48EB-A713-91E4C84D2A7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462595" y="1602122"/>
                                              <a:ext cx="159941" cy="7130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8968 w 159941"/>
                                                <a:gd name="connsiteY0" fmla="*/ 52519 h 71306"/>
                                                <a:gd name="connsiteX1" fmla="*/ 27843 w 159941"/>
                                                <a:gd name="connsiteY1" fmla="*/ 26540 h 71306"/>
                                                <a:gd name="connsiteX2" fmla="*/ 38533 w 159941"/>
                                                <a:gd name="connsiteY2" fmla="*/ 25309 h 71306"/>
                                                <a:gd name="connsiteX3" fmla="*/ 42680 w 159941"/>
                                                <a:gd name="connsiteY3" fmla="*/ 15396 h 71306"/>
                                                <a:gd name="connsiteX4" fmla="*/ 71185 w 159941"/>
                                                <a:gd name="connsiteY4" fmla="*/ 1856 h 71306"/>
                                                <a:gd name="connsiteX5" fmla="*/ 75008 w 159941"/>
                                                <a:gd name="connsiteY5" fmla="*/ 5160 h 71306"/>
                                                <a:gd name="connsiteX6" fmla="*/ 76627 w 159941"/>
                                                <a:gd name="connsiteY6" fmla="*/ 13582 h 71306"/>
                                                <a:gd name="connsiteX7" fmla="*/ 93666 w 159941"/>
                                                <a:gd name="connsiteY7" fmla="*/ 15785 h 71306"/>
                                                <a:gd name="connsiteX8" fmla="*/ 158711 w 159941"/>
                                                <a:gd name="connsiteY8" fmla="*/ 22458 h 71306"/>
                                                <a:gd name="connsiteX9" fmla="*/ 159942 w 159941"/>
                                                <a:gd name="connsiteY9" fmla="*/ 34638 h 71306"/>
                                                <a:gd name="connsiteX10" fmla="*/ 131306 w 159941"/>
                                                <a:gd name="connsiteY10" fmla="*/ 41699 h 71306"/>
                                                <a:gd name="connsiteX11" fmla="*/ 106364 w 159941"/>
                                                <a:gd name="connsiteY11" fmla="*/ 56017 h 71306"/>
                                                <a:gd name="connsiteX12" fmla="*/ 102801 w 159941"/>
                                                <a:gd name="connsiteY12" fmla="*/ 61394 h 71306"/>
                                                <a:gd name="connsiteX13" fmla="*/ 95026 w 159941"/>
                                                <a:gd name="connsiteY13" fmla="*/ 64698 h 71306"/>
                                                <a:gd name="connsiteX14" fmla="*/ 67816 w 159941"/>
                                                <a:gd name="connsiteY14" fmla="*/ 67484 h 71306"/>
                                                <a:gd name="connsiteX15" fmla="*/ 569 w 159941"/>
                                                <a:gd name="connsiteY15" fmla="*/ 71306 h 71306"/>
                                                <a:gd name="connsiteX16" fmla="*/ 12295 w 159941"/>
                                                <a:gd name="connsiteY16" fmla="*/ 54333 h 71306"/>
                                                <a:gd name="connsiteX17" fmla="*/ 19033 w 159941"/>
                                                <a:gd name="connsiteY17" fmla="*/ 52389 h 7130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59941" h="71306">
                                                  <a:moveTo>
                                                    <a:pt x="18968" y="52519"/>
                                                  </a:moveTo>
                                                  <a:cubicBezTo>
                                                    <a:pt x="27131" y="47271"/>
                                                    <a:pt x="18709" y="29973"/>
                                                    <a:pt x="27843" y="26540"/>
                                                  </a:cubicBezTo>
                                                  <a:cubicBezTo>
                                                    <a:pt x="31277" y="25244"/>
                                                    <a:pt x="35424" y="27123"/>
                                                    <a:pt x="38533" y="25309"/>
                                                  </a:cubicBezTo>
                                                  <a:cubicBezTo>
                                                    <a:pt x="41708" y="23430"/>
                                                    <a:pt x="41837" y="19024"/>
                                                    <a:pt x="42680" y="15396"/>
                                                  </a:cubicBezTo>
                                                  <a:cubicBezTo>
                                                    <a:pt x="45271" y="3541"/>
                                                    <a:pt x="60366" y="-3586"/>
                                                    <a:pt x="71185" y="1856"/>
                                                  </a:cubicBezTo>
                                                  <a:cubicBezTo>
                                                    <a:pt x="72675" y="2634"/>
                                                    <a:pt x="74165" y="3670"/>
                                                    <a:pt x="75008" y="5160"/>
                                                  </a:cubicBezTo>
                                                  <a:cubicBezTo>
                                                    <a:pt x="76368" y="7687"/>
                                                    <a:pt x="75461" y="10926"/>
                                                    <a:pt x="76627" y="13582"/>
                                                  </a:cubicBezTo>
                                                  <a:cubicBezTo>
                                                    <a:pt x="79089" y="19413"/>
                                                    <a:pt x="87640" y="17599"/>
                                                    <a:pt x="93666" y="15785"/>
                                                  </a:cubicBezTo>
                                                  <a:cubicBezTo>
                                                    <a:pt x="114916" y="9436"/>
                                                    <a:pt x="137591" y="15785"/>
                                                    <a:pt x="158711" y="22458"/>
                                                  </a:cubicBezTo>
                                                  <a:cubicBezTo>
                                                    <a:pt x="159099" y="26540"/>
                                                    <a:pt x="159553" y="30621"/>
                                                    <a:pt x="159942" y="34638"/>
                                                  </a:cubicBezTo>
                                                  <a:cubicBezTo>
                                                    <a:pt x="151131" y="39043"/>
                                                    <a:pt x="140960" y="39756"/>
                                                    <a:pt x="131306" y="41699"/>
                                                  </a:cubicBezTo>
                                                  <a:cubicBezTo>
                                                    <a:pt x="121653" y="43643"/>
                                                    <a:pt x="111482" y="47595"/>
                                                    <a:pt x="106364" y="56017"/>
                                                  </a:cubicBezTo>
                                                  <a:cubicBezTo>
                                                    <a:pt x="105263" y="57831"/>
                                                    <a:pt x="104356" y="59904"/>
                                                    <a:pt x="102801" y="61394"/>
                                                  </a:cubicBezTo>
                                                  <a:cubicBezTo>
                                                    <a:pt x="100727" y="63403"/>
                                                    <a:pt x="97812" y="64115"/>
                                                    <a:pt x="95026" y="64698"/>
                                                  </a:cubicBezTo>
                                                  <a:cubicBezTo>
                                                    <a:pt x="86086" y="66448"/>
                                                    <a:pt x="76951" y="66966"/>
                                                    <a:pt x="67816" y="67484"/>
                                                  </a:cubicBezTo>
                                                  <a:cubicBezTo>
                                                    <a:pt x="45401" y="68780"/>
                                                    <a:pt x="22984" y="70076"/>
                                                    <a:pt x="569" y="71306"/>
                                                  </a:cubicBezTo>
                                                  <a:cubicBezTo>
                                                    <a:pt x="-2023" y="63986"/>
                                                    <a:pt x="4650" y="56017"/>
                                                    <a:pt x="12295" y="54333"/>
                                                  </a:cubicBezTo>
                                                  <a:cubicBezTo>
                                                    <a:pt x="14563" y="53814"/>
                                                    <a:pt x="17090" y="53685"/>
                                                    <a:pt x="19033" y="5238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5" name="Freeform: Shape 156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9A1792B-75E7-494D-AB0D-E85455CD334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771412" y="1866989"/>
                                              <a:ext cx="42968" cy="2256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2761 w 42968"/>
                                                <a:gd name="connsiteY0" fmla="*/ 13430 h 22564"/>
                                                <a:gd name="connsiteX1" fmla="*/ 42567 w 42968"/>
                                                <a:gd name="connsiteY1" fmla="*/ 12847 h 22564"/>
                                                <a:gd name="connsiteX2" fmla="*/ 40818 w 42968"/>
                                                <a:gd name="connsiteY2" fmla="*/ 12847 h 22564"/>
                                                <a:gd name="connsiteX3" fmla="*/ 42438 w 42968"/>
                                                <a:gd name="connsiteY3" fmla="*/ 4878 h 22564"/>
                                                <a:gd name="connsiteX4" fmla="*/ 33367 w 42968"/>
                                                <a:gd name="connsiteY4" fmla="*/ 20 h 22564"/>
                                                <a:gd name="connsiteX5" fmla="*/ 28962 w 42968"/>
                                                <a:gd name="connsiteY5" fmla="*/ 667 h 22564"/>
                                                <a:gd name="connsiteX6" fmla="*/ 24103 w 42968"/>
                                                <a:gd name="connsiteY6" fmla="*/ 1250 h 22564"/>
                                                <a:gd name="connsiteX7" fmla="*/ 23779 w 42968"/>
                                                <a:gd name="connsiteY7" fmla="*/ 1250 h 22564"/>
                                                <a:gd name="connsiteX8" fmla="*/ 21447 w 42968"/>
                                                <a:gd name="connsiteY8" fmla="*/ 1056 h 22564"/>
                                                <a:gd name="connsiteX9" fmla="*/ 18596 w 42968"/>
                                                <a:gd name="connsiteY9" fmla="*/ 797 h 22564"/>
                                                <a:gd name="connsiteX10" fmla="*/ 18208 w 42968"/>
                                                <a:gd name="connsiteY10" fmla="*/ 797 h 22564"/>
                                                <a:gd name="connsiteX11" fmla="*/ 12701 w 42968"/>
                                                <a:gd name="connsiteY11" fmla="*/ 3583 h 22564"/>
                                                <a:gd name="connsiteX12" fmla="*/ 12053 w 42968"/>
                                                <a:gd name="connsiteY12" fmla="*/ 8377 h 22564"/>
                                                <a:gd name="connsiteX13" fmla="*/ 1817 w 42968"/>
                                                <a:gd name="connsiteY13" fmla="*/ 10385 h 22564"/>
                                                <a:gd name="connsiteX14" fmla="*/ 457 w 42968"/>
                                                <a:gd name="connsiteY14" fmla="*/ 11163 h 22564"/>
                                                <a:gd name="connsiteX15" fmla="*/ 3 w 42968"/>
                                                <a:gd name="connsiteY15" fmla="*/ 12912 h 22564"/>
                                                <a:gd name="connsiteX16" fmla="*/ 132 w 42968"/>
                                                <a:gd name="connsiteY16" fmla="*/ 16540 h 22564"/>
                                                <a:gd name="connsiteX17" fmla="*/ 1299 w 42968"/>
                                                <a:gd name="connsiteY17" fmla="*/ 20492 h 22564"/>
                                                <a:gd name="connsiteX18" fmla="*/ 5509 w 42968"/>
                                                <a:gd name="connsiteY18" fmla="*/ 21982 h 22564"/>
                                                <a:gd name="connsiteX19" fmla="*/ 18143 w 42968"/>
                                                <a:gd name="connsiteY19" fmla="*/ 22565 h 22564"/>
                                                <a:gd name="connsiteX20" fmla="*/ 38874 w 42968"/>
                                                <a:gd name="connsiteY20" fmla="*/ 19067 h 22564"/>
                                                <a:gd name="connsiteX21" fmla="*/ 42761 w 42968"/>
                                                <a:gd name="connsiteY21" fmla="*/ 13430 h 22564"/>
                                                <a:gd name="connsiteX22" fmla="*/ 38161 w 42968"/>
                                                <a:gd name="connsiteY22" fmla="*/ 17252 h 22564"/>
                                                <a:gd name="connsiteX23" fmla="*/ 18143 w 42968"/>
                                                <a:gd name="connsiteY23" fmla="*/ 20621 h 22564"/>
                                                <a:gd name="connsiteX24" fmla="*/ 5639 w 42968"/>
                                                <a:gd name="connsiteY24" fmla="*/ 20038 h 22564"/>
                                                <a:gd name="connsiteX25" fmla="*/ 2724 w 42968"/>
                                                <a:gd name="connsiteY25" fmla="*/ 19196 h 22564"/>
                                                <a:gd name="connsiteX26" fmla="*/ 2076 w 42968"/>
                                                <a:gd name="connsiteY26" fmla="*/ 16410 h 22564"/>
                                                <a:gd name="connsiteX27" fmla="*/ 1946 w 42968"/>
                                                <a:gd name="connsiteY27" fmla="*/ 12847 h 22564"/>
                                                <a:gd name="connsiteX28" fmla="*/ 1946 w 42968"/>
                                                <a:gd name="connsiteY28" fmla="*/ 12394 h 22564"/>
                                                <a:gd name="connsiteX29" fmla="*/ 2335 w 42968"/>
                                                <a:gd name="connsiteY29" fmla="*/ 12264 h 22564"/>
                                                <a:gd name="connsiteX30" fmla="*/ 13284 w 42968"/>
                                                <a:gd name="connsiteY30" fmla="*/ 10191 h 22564"/>
                                                <a:gd name="connsiteX31" fmla="*/ 14321 w 42968"/>
                                                <a:gd name="connsiteY31" fmla="*/ 10061 h 22564"/>
                                                <a:gd name="connsiteX32" fmla="*/ 14126 w 42968"/>
                                                <a:gd name="connsiteY32" fmla="*/ 9025 h 22564"/>
                                                <a:gd name="connsiteX33" fmla="*/ 14386 w 42968"/>
                                                <a:gd name="connsiteY33" fmla="*/ 4619 h 22564"/>
                                                <a:gd name="connsiteX34" fmla="*/ 18273 w 42968"/>
                                                <a:gd name="connsiteY34" fmla="*/ 2805 h 22564"/>
                                                <a:gd name="connsiteX35" fmla="*/ 18596 w 42968"/>
                                                <a:gd name="connsiteY35" fmla="*/ 2805 h 22564"/>
                                                <a:gd name="connsiteX36" fmla="*/ 21188 w 42968"/>
                                                <a:gd name="connsiteY36" fmla="*/ 3000 h 22564"/>
                                                <a:gd name="connsiteX37" fmla="*/ 23714 w 42968"/>
                                                <a:gd name="connsiteY37" fmla="*/ 3194 h 22564"/>
                                                <a:gd name="connsiteX38" fmla="*/ 24103 w 42968"/>
                                                <a:gd name="connsiteY38" fmla="*/ 3194 h 22564"/>
                                                <a:gd name="connsiteX39" fmla="*/ 29286 w 42968"/>
                                                <a:gd name="connsiteY39" fmla="*/ 2546 h 22564"/>
                                                <a:gd name="connsiteX40" fmla="*/ 33497 w 42968"/>
                                                <a:gd name="connsiteY40" fmla="*/ 1963 h 22564"/>
                                                <a:gd name="connsiteX41" fmla="*/ 33950 w 42968"/>
                                                <a:gd name="connsiteY41" fmla="*/ 1963 h 22564"/>
                                                <a:gd name="connsiteX42" fmla="*/ 40623 w 42968"/>
                                                <a:gd name="connsiteY42" fmla="*/ 5526 h 22564"/>
                                                <a:gd name="connsiteX43" fmla="*/ 38226 w 42968"/>
                                                <a:gd name="connsiteY43" fmla="*/ 13171 h 22564"/>
                                                <a:gd name="connsiteX44" fmla="*/ 37254 w 42968"/>
                                                <a:gd name="connsiteY44" fmla="*/ 14596 h 22564"/>
                                                <a:gd name="connsiteX45" fmla="*/ 41012 w 42968"/>
                                                <a:gd name="connsiteY45" fmla="*/ 14726 h 22564"/>
                                                <a:gd name="connsiteX46" fmla="*/ 38161 w 42968"/>
                                                <a:gd name="connsiteY46" fmla="*/ 17252 h 2256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2968" h="22564">
                                                  <a:moveTo>
                                                    <a:pt x="42761" y="13430"/>
                                                  </a:moveTo>
                                                  <a:lnTo>
                                                    <a:pt x="42567" y="12847"/>
                                                  </a:lnTo>
                                                  <a:lnTo>
                                                    <a:pt x="40818" y="12847"/>
                                                  </a:lnTo>
                                                  <a:cubicBezTo>
                                                    <a:pt x="42048" y="10709"/>
                                                    <a:pt x="43409" y="7729"/>
                                                    <a:pt x="42438" y="4878"/>
                                                  </a:cubicBezTo>
                                                  <a:cubicBezTo>
                                                    <a:pt x="41141" y="1056"/>
                                                    <a:pt x="36672" y="-175"/>
                                                    <a:pt x="33367" y="20"/>
                                                  </a:cubicBezTo>
                                                  <a:cubicBezTo>
                                                    <a:pt x="31877" y="84"/>
                                                    <a:pt x="30388" y="408"/>
                                                    <a:pt x="28962" y="667"/>
                                                  </a:cubicBezTo>
                                                  <a:cubicBezTo>
                                                    <a:pt x="27278" y="991"/>
                                                    <a:pt x="25658" y="1250"/>
                                                    <a:pt x="24103" y="1250"/>
                                                  </a:cubicBezTo>
                                                  <a:lnTo>
                                                    <a:pt x="23779" y="1250"/>
                                                  </a:lnTo>
                                                  <a:cubicBezTo>
                                                    <a:pt x="23002" y="1250"/>
                                                    <a:pt x="22224" y="1121"/>
                                                    <a:pt x="21447" y="1056"/>
                                                  </a:cubicBezTo>
                                                  <a:cubicBezTo>
                                                    <a:pt x="20475" y="927"/>
                                                    <a:pt x="19568" y="797"/>
                                                    <a:pt x="18596" y="797"/>
                                                  </a:cubicBezTo>
                                                  <a:lnTo>
                                                    <a:pt x="18208" y="797"/>
                                                  </a:lnTo>
                                                  <a:cubicBezTo>
                                                    <a:pt x="15746" y="927"/>
                                                    <a:pt x="13672" y="1963"/>
                                                    <a:pt x="12701" y="3583"/>
                                                  </a:cubicBezTo>
                                                  <a:cubicBezTo>
                                                    <a:pt x="11794" y="5138"/>
                                                    <a:pt x="11859" y="6887"/>
                                                    <a:pt x="12053" y="8377"/>
                                                  </a:cubicBezTo>
                                                  <a:cubicBezTo>
                                                    <a:pt x="8620" y="8766"/>
                                                    <a:pt x="5121" y="9413"/>
                                                    <a:pt x="1817" y="10385"/>
                                                  </a:cubicBezTo>
                                                  <a:cubicBezTo>
                                                    <a:pt x="1428" y="10450"/>
                                                    <a:pt x="845" y="10644"/>
                                                    <a:pt x="457" y="11163"/>
                                                  </a:cubicBezTo>
                                                  <a:cubicBezTo>
                                                    <a:pt x="-62" y="11746"/>
                                                    <a:pt x="3" y="12523"/>
                                                    <a:pt x="3" y="12912"/>
                                                  </a:cubicBezTo>
                                                  <a:lnTo>
                                                    <a:pt x="132" y="16540"/>
                                                  </a:lnTo>
                                                  <a:cubicBezTo>
                                                    <a:pt x="132" y="17641"/>
                                                    <a:pt x="197" y="19326"/>
                                                    <a:pt x="1299" y="20492"/>
                                                  </a:cubicBezTo>
                                                  <a:cubicBezTo>
                                                    <a:pt x="2464" y="21788"/>
                                                    <a:pt x="4344" y="21917"/>
                                                    <a:pt x="5509" y="21982"/>
                                                  </a:cubicBezTo>
                                                  <a:cubicBezTo>
                                                    <a:pt x="9785" y="22306"/>
                                                    <a:pt x="13932" y="22565"/>
                                                    <a:pt x="18143" y="22565"/>
                                                  </a:cubicBezTo>
                                                  <a:cubicBezTo>
                                                    <a:pt x="26565" y="22565"/>
                                                    <a:pt x="33173" y="21464"/>
                                                    <a:pt x="38874" y="19067"/>
                                                  </a:cubicBezTo>
                                                  <a:cubicBezTo>
                                                    <a:pt x="41466" y="18030"/>
                                                    <a:pt x="43668" y="15892"/>
                                                    <a:pt x="42761" y="13430"/>
                                                  </a:cubicBezTo>
                                                  <a:close/>
                                                  <a:moveTo>
                                                    <a:pt x="38161" y="17252"/>
                                                  </a:moveTo>
                                                  <a:cubicBezTo>
                                                    <a:pt x="32655" y="19520"/>
                                                    <a:pt x="26306" y="20621"/>
                                                    <a:pt x="18143" y="20621"/>
                                                  </a:cubicBezTo>
                                                  <a:cubicBezTo>
                                                    <a:pt x="13997" y="20621"/>
                                                    <a:pt x="9850" y="20362"/>
                                                    <a:pt x="5639" y="20038"/>
                                                  </a:cubicBezTo>
                                                  <a:cubicBezTo>
                                                    <a:pt x="4473" y="19974"/>
                                                    <a:pt x="3372" y="19844"/>
                                                    <a:pt x="2724" y="19196"/>
                                                  </a:cubicBezTo>
                                                  <a:cubicBezTo>
                                                    <a:pt x="2206" y="18548"/>
                                                    <a:pt x="2076" y="17576"/>
                                                    <a:pt x="2076" y="16410"/>
                                                  </a:cubicBezTo>
                                                  <a:lnTo>
                                                    <a:pt x="1946" y="12847"/>
                                                  </a:lnTo>
                                                  <a:lnTo>
                                                    <a:pt x="1946" y="12394"/>
                                                  </a:lnTo>
                                                  <a:cubicBezTo>
                                                    <a:pt x="1946" y="12394"/>
                                                    <a:pt x="2206" y="12264"/>
                                                    <a:pt x="2335" y="12264"/>
                                                  </a:cubicBezTo>
                                                  <a:cubicBezTo>
                                                    <a:pt x="5898" y="11227"/>
                                                    <a:pt x="9591" y="10580"/>
                                                    <a:pt x="13284" y="10191"/>
                                                  </a:cubicBezTo>
                                                  <a:lnTo>
                                                    <a:pt x="14321" y="10061"/>
                                                  </a:lnTo>
                                                  <a:lnTo>
                                                    <a:pt x="14126" y="9025"/>
                                                  </a:lnTo>
                                                  <a:cubicBezTo>
                                                    <a:pt x="13867" y="7405"/>
                                                    <a:pt x="13672" y="5785"/>
                                                    <a:pt x="14386" y="4619"/>
                                                  </a:cubicBezTo>
                                                  <a:cubicBezTo>
                                                    <a:pt x="15033" y="3518"/>
                                                    <a:pt x="16458" y="2805"/>
                                                    <a:pt x="18273" y="2805"/>
                                                  </a:cubicBezTo>
                                                  <a:lnTo>
                                                    <a:pt x="18596" y="2805"/>
                                                  </a:lnTo>
                                                  <a:cubicBezTo>
                                                    <a:pt x="19438" y="2805"/>
                                                    <a:pt x="20345" y="2805"/>
                                                    <a:pt x="21188" y="3000"/>
                                                  </a:cubicBezTo>
                                                  <a:cubicBezTo>
                                                    <a:pt x="22030" y="3064"/>
                                                    <a:pt x="22872" y="3194"/>
                                                    <a:pt x="23714" y="3194"/>
                                                  </a:cubicBezTo>
                                                  <a:lnTo>
                                                    <a:pt x="24103" y="3194"/>
                                                  </a:lnTo>
                                                  <a:cubicBezTo>
                                                    <a:pt x="25852" y="3194"/>
                                                    <a:pt x="27601" y="2870"/>
                                                    <a:pt x="29286" y="2546"/>
                                                  </a:cubicBezTo>
                                                  <a:cubicBezTo>
                                                    <a:pt x="30711" y="2287"/>
                                                    <a:pt x="32072" y="2028"/>
                                                    <a:pt x="33497" y="1963"/>
                                                  </a:cubicBezTo>
                                                  <a:lnTo>
                                                    <a:pt x="33950" y="1963"/>
                                                  </a:lnTo>
                                                  <a:cubicBezTo>
                                                    <a:pt x="36672" y="1963"/>
                                                    <a:pt x="39781" y="3064"/>
                                                    <a:pt x="40623" y="5526"/>
                                                  </a:cubicBezTo>
                                                  <a:cubicBezTo>
                                                    <a:pt x="41466" y="7988"/>
                                                    <a:pt x="39846" y="10774"/>
                                                    <a:pt x="38226" y="13171"/>
                                                  </a:cubicBezTo>
                                                  <a:lnTo>
                                                    <a:pt x="37254" y="14596"/>
                                                  </a:lnTo>
                                                  <a:lnTo>
                                                    <a:pt x="41012" y="14726"/>
                                                  </a:lnTo>
                                                  <a:cubicBezTo>
                                                    <a:pt x="40883" y="15762"/>
                                                    <a:pt x="39328" y="16799"/>
                                                    <a:pt x="38161" y="1725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6" name="Freeform: Shape 156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4406BF9-DBBB-4471-8D9A-87D8C5A595D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520377" y="2813128"/>
                                              <a:ext cx="47900" cy="23453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7365 w 47900"/>
                                                <a:gd name="connsiteY0" fmla="*/ 40566 h 234531"/>
                                                <a:gd name="connsiteX1" fmla="*/ 34686 w 47900"/>
                                                <a:gd name="connsiteY1" fmla="*/ 85981 h 234531"/>
                                                <a:gd name="connsiteX2" fmla="*/ 34037 w 47900"/>
                                                <a:gd name="connsiteY2" fmla="*/ 99392 h 234531"/>
                                                <a:gd name="connsiteX3" fmla="*/ 42007 w 47900"/>
                                                <a:gd name="connsiteY3" fmla="*/ 111312 h 234531"/>
                                                <a:gd name="connsiteX4" fmla="*/ 43885 w 47900"/>
                                                <a:gd name="connsiteY4" fmla="*/ 124658 h 234531"/>
                                                <a:gd name="connsiteX5" fmla="*/ 29049 w 47900"/>
                                                <a:gd name="connsiteY5" fmla="*/ 130489 h 234531"/>
                                                <a:gd name="connsiteX6" fmla="*/ 27430 w 47900"/>
                                                <a:gd name="connsiteY6" fmla="*/ 134700 h 234531"/>
                                                <a:gd name="connsiteX7" fmla="*/ 23348 w 47900"/>
                                                <a:gd name="connsiteY7" fmla="*/ 155431 h 234531"/>
                                                <a:gd name="connsiteX8" fmla="*/ 25162 w 47900"/>
                                                <a:gd name="connsiteY8" fmla="*/ 197024 h 234531"/>
                                                <a:gd name="connsiteX9" fmla="*/ 42460 w 47900"/>
                                                <a:gd name="connsiteY9" fmla="*/ 215747 h 234531"/>
                                                <a:gd name="connsiteX10" fmla="*/ 47643 w 47900"/>
                                                <a:gd name="connsiteY10" fmla="*/ 223780 h 234531"/>
                                                <a:gd name="connsiteX11" fmla="*/ 44597 w 47900"/>
                                                <a:gd name="connsiteY11" fmla="*/ 232202 h 234531"/>
                                                <a:gd name="connsiteX12" fmla="*/ 31187 w 47900"/>
                                                <a:gd name="connsiteY12" fmla="*/ 224039 h 234531"/>
                                                <a:gd name="connsiteX13" fmla="*/ 17906 w 47900"/>
                                                <a:gd name="connsiteY13" fmla="*/ 215358 h 234531"/>
                                                <a:gd name="connsiteX14" fmla="*/ 13759 w 47900"/>
                                                <a:gd name="connsiteY14" fmla="*/ 228380 h 234531"/>
                                                <a:gd name="connsiteX15" fmla="*/ 2293 w 47900"/>
                                                <a:gd name="connsiteY15" fmla="*/ 234405 h 234531"/>
                                                <a:gd name="connsiteX16" fmla="*/ 1062 w 47900"/>
                                                <a:gd name="connsiteY16" fmla="*/ 221124 h 234531"/>
                                                <a:gd name="connsiteX17" fmla="*/ 7540 w 47900"/>
                                                <a:gd name="connsiteY17" fmla="*/ 155561 h 234531"/>
                                                <a:gd name="connsiteX18" fmla="*/ 7152 w 47900"/>
                                                <a:gd name="connsiteY18" fmla="*/ 122650 h 234531"/>
                                                <a:gd name="connsiteX19" fmla="*/ 12269 w 47900"/>
                                                <a:gd name="connsiteY19" fmla="*/ 99586 h 234531"/>
                                                <a:gd name="connsiteX20" fmla="*/ 5403 w 47900"/>
                                                <a:gd name="connsiteY20" fmla="*/ 51969 h 234531"/>
                                                <a:gd name="connsiteX21" fmla="*/ 1969 w 47900"/>
                                                <a:gd name="connsiteY21" fmla="*/ 44388 h 234531"/>
                                                <a:gd name="connsiteX22" fmla="*/ 932 w 47900"/>
                                                <a:gd name="connsiteY22" fmla="*/ 33440 h 234531"/>
                                                <a:gd name="connsiteX23" fmla="*/ 7800 w 47900"/>
                                                <a:gd name="connsiteY23" fmla="*/ 464 h 234531"/>
                                                <a:gd name="connsiteX24" fmla="*/ 18554 w 47900"/>
                                                <a:gd name="connsiteY24" fmla="*/ 12190 h 234531"/>
                                                <a:gd name="connsiteX25" fmla="*/ 21664 w 47900"/>
                                                <a:gd name="connsiteY25" fmla="*/ 30265 h 234531"/>
                                                <a:gd name="connsiteX26" fmla="*/ 26393 w 47900"/>
                                                <a:gd name="connsiteY26" fmla="*/ 34606 h 234531"/>
                                                <a:gd name="connsiteX27" fmla="*/ 27235 w 47900"/>
                                                <a:gd name="connsiteY27" fmla="*/ 40631 h 23453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7900" h="234531">
                                                  <a:moveTo>
                                                    <a:pt x="27365" y="40566"/>
                                                  </a:moveTo>
                                                  <a:cubicBezTo>
                                                    <a:pt x="27235" y="55985"/>
                                                    <a:pt x="36176" y="70627"/>
                                                    <a:pt x="34686" y="85981"/>
                                                  </a:cubicBezTo>
                                                  <a:cubicBezTo>
                                                    <a:pt x="34232" y="90451"/>
                                                    <a:pt x="32872" y="95051"/>
                                                    <a:pt x="34037" y="99392"/>
                                                  </a:cubicBezTo>
                                                  <a:cubicBezTo>
                                                    <a:pt x="35269" y="104056"/>
                                                    <a:pt x="39091" y="107425"/>
                                                    <a:pt x="42007" y="111312"/>
                                                  </a:cubicBezTo>
                                                  <a:cubicBezTo>
                                                    <a:pt x="44857" y="115199"/>
                                                    <a:pt x="46801" y="120771"/>
                                                    <a:pt x="43885" y="124658"/>
                                                  </a:cubicBezTo>
                                                  <a:cubicBezTo>
                                                    <a:pt x="42136" y="129970"/>
                                                    <a:pt x="32677" y="126213"/>
                                                    <a:pt x="29049" y="130489"/>
                                                  </a:cubicBezTo>
                                                  <a:cubicBezTo>
                                                    <a:pt x="28078" y="131655"/>
                                                    <a:pt x="27753" y="133210"/>
                                                    <a:pt x="27430" y="134700"/>
                                                  </a:cubicBezTo>
                                                  <a:cubicBezTo>
                                                    <a:pt x="26069" y="141632"/>
                                                    <a:pt x="24709" y="148499"/>
                                                    <a:pt x="23348" y="155431"/>
                                                  </a:cubicBezTo>
                                                  <a:cubicBezTo>
                                                    <a:pt x="20627" y="169360"/>
                                                    <a:pt x="18100" y="184714"/>
                                                    <a:pt x="25162" y="197024"/>
                                                  </a:cubicBezTo>
                                                  <a:cubicBezTo>
                                                    <a:pt x="29373" y="204409"/>
                                                    <a:pt x="36499" y="209592"/>
                                                    <a:pt x="42460" y="215747"/>
                                                  </a:cubicBezTo>
                                                  <a:cubicBezTo>
                                                    <a:pt x="44727" y="218079"/>
                                                    <a:pt x="46866" y="220671"/>
                                                    <a:pt x="47643" y="223780"/>
                                                  </a:cubicBezTo>
                                                  <a:cubicBezTo>
                                                    <a:pt x="48420" y="226890"/>
                                                    <a:pt x="47448" y="230712"/>
                                                    <a:pt x="44597" y="232202"/>
                                                  </a:cubicBezTo>
                                                  <a:cubicBezTo>
                                                    <a:pt x="39480" y="234988"/>
                                                    <a:pt x="34037" y="229093"/>
                                                    <a:pt x="31187" y="224039"/>
                                                  </a:cubicBezTo>
                                                  <a:cubicBezTo>
                                                    <a:pt x="28336" y="218921"/>
                                                    <a:pt x="23219" y="212896"/>
                                                    <a:pt x="17906" y="215358"/>
                                                  </a:cubicBezTo>
                                                  <a:cubicBezTo>
                                                    <a:pt x="17128" y="219893"/>
                                                    <a:pt x="16286" y="224493"/>
                                                    <a:pt x="13759" y="228380"/>
                                                  </a:cubicBezTo>
                                                  <a:cubicBezTo>
                                                    <a:pt x="11297" y="232267"/>
                                                    <a:pt x="6763" y="235182"/>
                                                    <a:pt x="2293" y="234405"/>
                                                  </a:cubicBezTo>
                                                  <a:cubicBezTo>
                                                    <a:pt x="-1076" y="231166"/>
                                                    <a:pt x="-40" y="225659"/>
                                                    <a:pt x="1062" y="221124"/>
                                                  </a:cubicBezTo>
                                                  <a:cubicBezTo>
                                                    <a:pt x="6439" y="199745"/>
                                                    <a:pt x="8642" y="177588"/>
                                                    <a:pt x="7540" y="155561"/>
                                                  </a:cubicBezTo>
                                                  <a:cubicBezTo>
                                                    <a:pt x="6957" y="144547"/>
                                                    <a:pt x="5597" y="133534"/>
                                                    <a:pt x="7152" y="122650"/>
                                                  </a:cubicBezTo>
                                                  <a:cubicBezTo>
                                                    <a:pt x="8253" y="114875"/>
                                                    <a:pt x="10909" y="107360"/>
                                                    <a:pt x="12269" y="99586"/>
                                                  </a:cubicBezTo>
                                                  <a:cubicBezTo>
                                                    <a:pt x="15185" y="83519"/>
                                                    <a:pt x="12723" y="66545"/>
                                                    <a:pt x="5403" y="51969"/>
                                                  </a:cubicBezTo>
                                                  <a:cubicBezTo>
                                                    <a:pt x="4171" y="49507"/>
                                                    <a:pt x="2746" y="47045"/>
                                                    <a:pt x="1969" y="44388"/>
                                                  </a:cubicBezTo>
                                                  <a:cubicBezTo>
                                                    <a:pt x="867" y="40890"/>
                                                    <a:pt x="932" y="37133"/>
                                                    <a:pt x="932" y="33440"/>
                                                  </a:cubicBezTo>
                                                  <a:cubicBezTo>
                                                    <a:pt x="997" y="22037"/>
                                                    <a:pt x="1321" y="9858"/>
                                                    <a:pt x="7800" y="464"/>
                                                  </a:cubicBezTo>
                                                  <a:cubicBezTo>
                                                    <a:pt x="13566" y="-1998"/>
                                                    <a:pt x="18554" y="5841"/>
                                                    <a:pt x="18554" y="12190"/>
                                                  </a:cubicBezTo>
                                                  <a:cubicBezTo>
                                                    <a:pt x="18554" y="18474"/>
                                                    <a:pt x="17128" y="25860"/>
                                                    <a:pt x="21664" y="30265"/>
                                                  </a:cubicBezTo>
                                                  <a:cubicBezTo>
                                                    <a:pt x="23219" y="31755"/>
                                                    <a:pt x="25356" y="32727"/>
                                                    <a:pt x="26393" y="34606"/>
                                                  </a:cubicBezTo>
                                                  <a:cubicBezTo>
                                                    <a:pt x="27430" y="36355"/>
                                                    <a:pt x="27300" y="38558"/>
                                                    <a:pt x="27235" y="4063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7" name="Freeform: Shape 156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2C94978-6A16-4E95-AEF2-603627D047D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39093" y="2701578"/>
                                              <a:ext cx="54484" cy="56557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3383 w 54484"/>
                                                <a:gd name="connsiteY0" fmla="*/ 42499 h 56557"/>
                                                <a:gd name="connsiteX1" fmla="*/ 51634 w 54484"/>
                                                <a:gd name="connsiteY1" fmla="*/ 35308 h 56557"/>
                                                <a:gd name="connsiteX2" fmla="*/ 43666 w 54484"/>
                                                <a:gd name="connsiteY2" fmla="*/ 21120 h 56557"/>
                                                <a:gd name="connsiteX3" fmla="*/ 18593 w 54484"/>
                                                <a:gd name="connsiteY3" fmla="*/ 11726 h 56557"/>
                                                <a:gd name="connsiteX4" fmla="*/ 13411 w 54484"/>
                                                <a:gd name="connsiteY4" fmla="*/ 3628 h 56557"/>
                                                <a:gd name="connsiteX5" fmla="*/ 7515 w 54484"/>
                                                <a:gd name="connsiteY5" fmla="*/ 0 h 56557"/>
                                                <a:gd name="connsiteX6" fmla="*/ 0 w 54484"/>
                                                <a:gd name="connsiteY6" fmla="*/ 10301 h 56557"/>
                                                <a:gd name="connsiteX7" fmla="*/ 12309 w 54484"/>
                                                <a:gd name="connsiteY7" fmla="*/ 15419 h 56557"/>
                                                <a:gd name="connsiteX8" fmla="*/ 1425 w 54484"/>
                                                <a:gd name="connsiteY8" fmla="*/ 21120 h 56557"/>
                                                <a:gd name="connsiteX9" fmla="*/ 2462 w 54484"/>
                                                <a:gd name="connsiteY9" fmla="*/ 34272 h 56557"/>
                                                <a:gd name="connsiteX10" fmla="*/ 518 w 54484"/>
                                                <a:gd name="connsiteY10" fmla="*/ 39454 h 56557"/>
                                                <a:gd name="connsiteX11" fmla="*/ 2786 w 54484"/>
                                                <a:gd name="connsiteY11" fmla="*/ 42305 h 56557"/>
                                                <a:gd name="connsiteX12" fmla="*/ 6025 w 54484"/>
                                                <a:gd name="connsiteY12" fmla="*/ 45091 h 56557"/>
                                                <a:gd name="connsiteX13" fmla="*/ 11985 w 54484"/>
                                                <a:gd name="connsiteY13" fmla="*/ 46127 h 56557"/>
                                                <a:gd name="connsiteX14" fmla="*/ 26886 w 54484"/>
                                                <a:gd name="connsiteY14" fmla="*/ 46516 h 56557"/>
                                                <a:gd name="connsiteX15" fmla="*/ 47552 w 54484"/>
                                                <a:gd name="connsiteY15" fmla="*/ 51440 h 56557"/>
                                                <a:gd name="connsiteX16" fmla="*/ 54485 w 54484"/>
                                                <a:gd name="connsiteY16" fmla="*/ 56558 h 56557"/>
                                                <a:gd name="connsiteX17" fmla="*/ 53578 w 54484"/>
                                                <a:gd name="connsiteY17" fmla="*/ 50598 h 56557"/>
                                                <a:gd name="connsiteX18" fmla="*/ 53383 w 54484"/>
                                                <a:gd name="connsiteY18" fmla="*/ 42564 h 56557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4484" h="56557">
                                                  <a:moveTo>
                                                    <a:pt x="53383" y="42499"/>
                                                  </a:moveTo>
                                                  <a:cubicBezTo>
                                                    <a:pt x="53060" y="40038"/>
                                                    <a:pt x="52347" y="37640"/>
                                                    <a:pt x="51634" y="35308"/>
                                                  </a:cubicBezTo>
                                                  <a:cubicBezTo>
                                                    <a:pt x="50014" y="30061"/>
                                                    <a:pt x="48136" y="24424"/>
                                                    <a:pt x="43666" y="21120"/>
                                                  </a:cubicBezTo>
                                                  <a:cubicBezTo>
                                                    <a:pt x="36345" y="15743"/>
                                                    <a:pt x="24618" y="18529"/>
                                                    <a:pt x="18593" y="11726"/>
                                                  </a:cubicBezTo>
                                                  <a:cubicBezTo>
                                                    <a:pt x="16455" y="9329"/>
                                                    <a:pt x="15483" y="6025"/>
                                                    <a:pt x="13411" y="3628"/>
                                                  </a:cubicBezTo>
                                                  <a:cubicBezTo>
                                                    <a:pt x="11791" y="1814"/>
                                                    <a:pt x="9783" y="648"/>
                                                    <a:pt x="7515" y="0"/>
                                                  </a:cubicBezTo>
                                                  <a:cubicBezTo>
                                                    <a:pt x="5571" y="3758"/>
                                                    <a:pt x="2786" y="7062"/>
                                                    <a:pt x="0" y="10301"/>
                                                  </a:cubicBezTo>
                                                  <a:cubicBezTo>
                                                    <a:pt x="3433" y="13216"/>
                                                    <a:pt x="7839" y="15030"/>
                                                    <a:pt x="12309" y="15419"/>
                                                  </a:cubicBezTo>
                                                  <a:cubicBezTo>
                                                    <a:pt x="13216" y="20148"/>
                                                    <a:pt x="6219" y="21703"/>
                                                    <a:pt x="1425" y="21120"/>
                                                  </a:cubicBezTo>
                                                  <a:cubicBezTo>
                                                    <a:pt x="1749" y="25526"/>
                                                    <a:pt x="2138" y="29866"/>
                                                    <a:pt x="2462" y="34272"/>
                                                  </a:cubicBezTo>
                                                  <a:cubicBezTo>
                                                    <a:pt x="2591" y="36280"/>
                                                    <a:pt x="2267" y="38807"/>
                                                    <a:pt x="518" y="39454"/>
                                                  </a:cubicBezTo>
                                                  <a:cubicBezTo>
                                                    <a:pt x="1295" y="40426"/>
                                                    <a:pt x="1943" y="41398"/>
                                                    <a:pt x="2786" y="42305"/>
                                                  </a:cubicBezTo>
                                                  <a:cubicBezTo>
                                                    <a:pt x="3757" y="43342"/>
                                                    <a:pt x="4729" y="44378"/>
                                                    <a:pt x="6025" y="45091"/>
                                                  </a:cubicBezTo>
                                                  <a:cubicBezTo>
                                                    <a:pt x="7839" y="46063"/>
                                                    <a:pt x="9912" y="46127"/>
                                                    <a:pt x="11985" y="46127"/>
                                                  </a:cubicBezTo>
                                                  <a:cubicBezTo>
                                                    <a:pt x="16974" y="46257"/>
                                                    <a:pt x="21962" y="46387"/>
                                                    <a:pt x="26886" y="46516"/>
                                                  </a:cubicBezTo>
                                                  <a:cubicBezTo>
                                                    <a:pt x="34077" y="46711"/>
                                                    <a:pt x="41851" y="47034"/>
                                                    <a:pt x="47552" y="51440"/>
                                                  </a:cubicBezTo>
                                                  <a:cubicBezTo>
                                                    <a:pt x="49820" y="53189"/>
                                                    <a:pt x="51764" y="55586"/>
                                                    <a:pt x="54485" y="56558"/>
                                                  </a:cubicBezTo>
                                                  <a:cubicBezTo>
                                                    <a:pt x="54031" y="54614"/>
                                                    <a:pt x="53707" y="52606"/>
                                                    <a:pt x="53578" y="50598"/>
                                                  </a:cubicBezTo>
                                                  <a:cubicBezTo>
                                                    <a:pt x="53448" y="47941"/>
                                                    <a:pt x="53642" y="45220"/>
                                                    <a:pt x="53383" y="4256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8" name="Freeform: Shape 156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950F675-CA87-4B4C-BE39-29EFD106BD6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5070239" y="3694419"/>
                                              <a:ext cx="21450" cy="3997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9242 w 21450"/>
                                                <a:gd name="connsiteY0" fmla="*/ 17751 h 39972"/>
                                                <a:gd name="connsiteX1" fmla="*/ 17752 w 21450"/>
                                                <a:gd name="connsiteY1" fmla="*/ 14966 h 39972"/>
                                                <a:gd name="connsiteX2" fmla="*/ 15290 w 21450"/>
                                                <a:gd name="connsiteY2" fmla="*/ 9070 h 39972"/>
                                                <a:gd name="connsiteX3" fmla="*/ 15161 w 21450"/>
                                                <a:gd name="connsiteY3" fmla="*/ 8228 h 39972"/>
                                                <a:gd name="connsiteX4" fmla="*/ 14318 w 21450"/>
                                                <a:gd name="connsiteY4" fmla="*/ 5248 h 39972"/>
                                                <a:gd name="connsiteX5" fmla="*/ 12634 w 21450"/>
                                                <a:gd name="connsiteY5" fmla="*/ 3369 h 39972"/>
                                                <a:gd name="connsiteX6" fmla="*/ 3240 w 21450"/>
                                                <a:gd name="connsiteY6" fmla="*/ 0 h 39972"/>
                                                <a:gd name="connsiteX7" fmla="*/ 2463 w 21450"/>
                                                <a:gd name="connsiteY7" fmla="*/ 0 h 39972"/>
                                                <a:gd name="connsiteX8" fmla="*/ 2268 w 21450"/>
                                                <a:gd name="connsiteY8" fmla="*/ 713 h 39972"/>
                                                <a:gd name="connsiteX9" fmla="*/ 3564 w 21450"/>
                                                <a:gd name="connsiteY9" fmla="*/ 24943 h 39972"/>
                                                <a:gd name="connsiteX10" fmla="*/ 6674 w 21450"/>
                                                <a:gd name="connsiteY10" fmla="*/ 27987 h 39972"/>
                                                <a:gd name="connsiteX11" fmla="*/ 11079 w 21450"/>
                                                <a:gd name="connsiteY11" fmla="*/ 33624 h 39972"/>
                                                <a:gd name="connsiteX12" fmla="*/ 11273 w 21450"/>
                                                <a:gd name="connsiteY12" fmla="*/ 34660 h 39972"/>
                                                <a:gd name="connsiteX13" fmla="*/ 11727 w 21450"/>
                                                <a:gd name="connsiteY13" fmla="*/ 36539 h 39972"/>
                                                <a:gd name="connsiteX14" fmla="*/ 16780 w 21450"/>
                                                <a:gd name="connsiteY14" fmla="*/ 39973 h 39972"/>
                                                <a:gd name="connsiteX15" fmla="*/ 18206 w 21450"/>
                                                <a:gd name="connsiteY15" fmla="*/ 39714 h 39972"/>
                                                <a:gd name="connsiteX16" fmla="*/ 18594 w 21450"/>
                                                <a:gd name="connsiteY16" fmla="*/ 39714 h 39972"/>
                                                <a:gd name="connsiteX17" fmla="*/ 18789 w 21450"/>
                                                <a:gd name="connsiteY17" fmla="*/ 39260 h 39972"/>
                                                <a:gd name="connsiteX18" fmla="*/ 19242 w 21450"/>
                                                <a:gd name="connsiteY18" fmla="*/ 17751 h 39972"/>
                                                <a:gd name="connsiteX19" fmla="*/ 13541 w 21450"/>
                                                <a:gd name="connsiteY19" fmla="*/ 35891 h 39972"/>
                                                <a:gd name="connsiteX20" fmla="*/ 13152 w 21450"/>
                                                <a:gd name="connsiteY20" fmla="*/ 34337 h 39972"/>
                                                <a:gd name="connsiteX21" fmla="*/ 12958 w 21450"/>
                                                <a:gd name="connsiteY21" fmla="*/ 33170 h 39972"/>
                                                <a:gd name="connsiteX22" fmla="*/ 7969 w 21450"/>
                                                <a:gd name="connsiteY22" fmla="*/ 26562 h 39972"/>
                                                <a:gd name="connsiteX23" fmla="*/ 5054 w 21450"/>
                                                <a:gd name="connsiteY23" fmla="*/ 23712 h 39972"/>
                                                <a:gd name="connsiteX24" fmla="*/ 3953 w 21450"/>
                                                <a:gd name="connsiteY24" fmla="*/ 1944 h 39972"/>
                                                <a:gd name="connsiteX25" fmla="*/ 11403 w 21450"/>
                                                <a:gd name="connsiteY25" fmla="*/ 4924 h 39972"/>
                                                <a:gd name="connsiteX26" fmla="*/ 12634 w 21450"/>
                                                <a:gd name="connsiteY26" fmla="*/ 6220 h 39972"/>
                                                <a:gd name="connsiteX27" fmla="*/ 13217 w 21450"/>
                                                <a:gd name="connsiteY27" fmla="*/ 8487 h 39972"/>
                                                <a:gd name="connsiteX28" fmla="*/ 13411 w 21450"/>
                                                <a:gd name="connsiteY28" fmla="*/ 9459 h 39972"/>
                                                <a:gd name="connsiteX29" fmla="*/ 16068 w 21450"/>
                                                <a:gd name="connsiteY29" fmla="*/ 15873 h 39972"/>
                                                <a:gd name="connsiteX30" fmla="*/ 17428 w 21450"/>
                                                <a:gd name="connsiteY30" fmla="*/ 18594 h 39972"/>
                                                <a:gd name="connsiteX31" fmla="*/ 17298 w 21450"/>
                                                <a:gd name="connsiteY31" fmla="*/ 37965 h 39972"/>
                                                <a:gd name="connsiteX32" fmla="*/ 13541 w 21450"/>
                                                <a:gd name="connsiteY32" fmla="*/ 35891 h 3997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1450" h="39972">
                                                  <a:moveTo>
                                                    <a:pt x="19242" y="17751"/>
                                                  </a:moveTo>
                                                  <a:cubicBezTo>
                                                    <a:pt x="18789" y="16780"/>
                                                    <a:pt x="18270" y="15873"/>
                                                    <a:pt x="17752" y="14966"/>
                                                  </a:cubicBezTo>
                                                  <a:cubicBezTo>
                                                    <a:pt x="16715" y="13022"/>
                                                    <a:pt x="15679" y="11143"/>
                                                    <a:pt x="15290" y="9070"/>
                                                  </a:cubicBezTo>
                                                  <a:cubicBezTo>
                                                    <a:pt x="15225" y="8811"/>
                                                    <a:pt x="15225" y="8487"/>
                                                    <a:pt x="15161" y="8228"/>
                                                  </a:cubicBezTo>
                                                  <a:cubicBezTo>
                                                    <a:pt x="15031" y="7256"/>
                                                    <a:pt x="14901" y="6220"/>
                                                    <a:pt x="14318" y="5248"/>
                                                  </a:cubicBezTo>
                                                  <a:cubicBezTo>
                                                    <a:pt x="13865" y="4406"/>
                                                    <a:pt x="13152" y="3823"/>
                                                    <a:pt x="12634" y="3369"/>
                                                  </a:cubicBezTo>
                                                  <a:cubicBezTo>
                                                    <a:pt x="9978" y="1231"/>
                                                    <a:pt x="6609" y="0"/>
                                                    <a:pt x="3240" y="0"/>
                                                  </a:cubicBezTo>
                                                  <a:lnTo>
                                                    <a:pt x="2463" y="0"/>
                                                  </a:lnTo>
                                                  <a:cubicBezTo>
                                                    <a:pt x="2463" y="0"/>
                                                    <a:pt x="2268" y="713"/>
                                                    <a:pt x="2268" y="713"/>
                                                  </a:cubicBezTo>
                                                  <a:cubicBezTo>
                                                    <a:pt x="-194" y="9524"/>
                                                    <a:pt x="-1748" y="18529"/>
                                                    <a:pt x="3564" y="24943"/>
                                                  </a:cubicBezTo>
                                                  <a:cubicBezTo>
                                                    <a:pt x="4471" y="26109"/>
                                                    <a:pt x="5572" y="27081"/>
                                                    <a:pt x="6674" y="27987"/>
                                                  </a:cubicBezTo>
                                                  <a:cubicBezTo>
                                                    <a:pt x="8617" y="29737"/>
                                                    <a:pt x="10496" y="31356"/>
                                                    <a:pt x="11079" y="33624"/>
                                                  </a:cubicBezTo>
                                                  <a:cubicBezTo>
                                                    <a:pt x="11144" y="34013"/>
                                                    <a:pt x="11209" y="34337"/>
                                                    <a:pt x="11273" y="34660"/>
                                                  </a:cubicBezTo>
                                                  <a:cubicBezTo>
                                                    <a:pt x="11338" y="35308"/>
                                                    <a:pt x="11468" y="35891"/>
                                                    <a:pt x="11727" y="36539"/>
                                                  </a:cubicBezTo>
                                                  <a:cubicBezTo>
                                                    <a:pt x="12440" y="38548"/>
                                                    <a:pt x="14578" y="39973"/>
                                                    <a:pt x="16780" y="39973"/>
                                                  </a:cubicBezTo>
                                                  <a:cubicBezTo>
                                                    <a:pt x="17298" y="39973"/>
                                                    <a:pt x="17752" y="39908"/>
                                                    <a:pt x="18206" y="39714"/>
                                                  </a:cubicBezTo>
                                                  <a:lnTo>
                                                    <a:pt x="18594" y="39714"/>
                                                  </a:lnTo>
                                                  <a:cubicBezTo>
                                                    <a:pt x="18594" y="39714"/>
                                                    <a:pt x="18789" y="39260"/>
                                                    <a:pt x="18789" y="39260"/>
                                                  </a:cubicBezTo>
                                                  <a:cubicBezTo>
                                                    <a:pt x="22157" y="32652"/>
                                                    <a:pt x="22352" y="24424"/>
                                                    <a:pt x="19242" y="17751"/>
                                                  </a:cubicBezTo>
                                                  <a:close/>
                                                  <a:moveTo>
                                                    <a:pt x="13541" y="35891"/>
                                                  </a:moveTo>
                                                  <a:cubicBezTo>
                                                    <a:pt x="13347" y="35438"/>
                                                    <a:pt x="13282" y="34920"/>
                                                    <a:pt x="13152" y="34337"/>
                                                  </a:cubicBezTo>
                                                  <a:lnTo>
                                                    <a:pt x="12958" y="33170"/>
                                                  </a:lnTo>
                                                  <a:cubicBezTo>
                                                    <a:pt x="12181" y="30320"/>
                                                    <a:pt x="10042" y="28376"/>
                                                    <a:pt x="7969" y="26562"/>
                                                  </a:cubicBezTo>
                                                  <a:cubicBezTo>
                                                    <a:pt x="6933" y="25655"/>
                                                    <a:pt x="5896" y="24748"/>
                                                    <a:pt x="5054" y="23712"/>
                                                  </a:cubicBezTo>
                                                  <a:cubicBezTo>
                                                    <a:pt x="454" y="18205"/>
                                                    <a:pt x="1750" y="10042"/>
                                                    <a:pt x="3953" y="1944"/>
                                                  </a:cubicBezTo>
                                                  <a:cubicBezTo>
                                                    <a:pt x="6674" y="2138"/>
                                                    <a:pt x="9265" y="3175"/>
                                                    <a:pt x="11403" y="4924"/>
                                                  </a:cubicBezTo>
                                                  <a:cubicBezTo>
                                                    <a:pt x="11792" y="5248"/>
                                                    <a:pt x="12310" y="5701"/>
                                                    <a:pt x="12634" y="6220"/>
                                                  </a:cubicBezTo>
                                                  <a:cubicBezTo>
                                                    <a:pt x="13023" y="6867"/>
                                                    <a:pt x="13152" y="7645"/>
                                                    <a:pt x="13217" y="8487"/>
                                                  </a:cubicBezTo>
                                                  <a:lnTo>
                                                    <a:pt x="13411" y="9459"/>
                                                  </a:lnTo>
                                                  <a:cubicBezTo>
                                                    <a:pt x="13865" y="11791"/>
                                                    <a:pt x="14966" y="13864"/>
                                                    <a:pt x="16068" y="15873"/>
                                                  </a:cubicBezTo>
                                                  <a:cubicBezTo>
                                                    <a:pt x="16521" y="16780"/>
                                                    <a:pt x="17039" y="17687"/>
                                                    <a:pt x="17428" y="18594"/>
                                                  </a:cubicBezTo>
                                                  <a:cubicBezTo>
                                                    <a:pt x="20279" y="24619"/>
                                                    <a:pt x="20149" y="32004"/>
                                                    <a:pt x="17298" y="37965"/>
                                                  </a:cubicBezTo>
                                                  <a:cubicBezTo>
                                                    <a:pt x="15744" y="38288"/>
                                                    <a:pt x="14059" y="37252"/>
                                                    <a:pt x="13541" y="3589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69" name="Freeform: Shape 156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D19AA84-ED24-4D90-B890-186C6113109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818190" y="3378853"/>
                                              <a:ext cx="45494" cy="2917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926 w 45494"/>
                                                <a:gd name="connsiteY0" fmla="*/ 11008 h 29170"/>
                                                <a:gd name="connsiteX1" fmla="*/ 26044 w 45494"/>
                                                <a:gd name="connsiteY1" fmla="*/ 9518 h 29170"/>
                                                <a:gd name="connsiteX2" fmla="*/ 29607 w 45494"/>
                                                <a:gd name="connsiteY2" fmla="*/ 8547 h 29170"/>
                                                <a:gd name="connsiteX3" fmla="*/ 30126 w 45494"/>
                                                <a:gd name="connsiteY3" fmla="*/ 6603 h 29170"/>
                                                <a:gd name="connsiteX4" fmla="*/ 33818 w 45494"/>
                                                <a:gd name="connsiteY4" fmla="*/ 837 h 29170"/>
                                                <a:gd name="connsiteX5" fmla="*/ 44832 w 45494"/>
                                                <a:gd name="connsiteY5" fmla="*/ 189 h 29170"/>
                                                <a:gd name="connsiteX6" fmla="*/ 45221 w 45494"/>
                                                <a:gd name="connsiteY6" fmla="*/ 7186 h 29170"/>
                                                <a:gd name="connsiteX7" fmla="*/ 40167 w 45494"/>
                                                <a:gd name="connsiteY7" fmla="*/ 11268 h 29170"/>
                                                <a:gd name="connsiteX8" fmla="*/ 39455 w 45494"/>
                                                <a:gd name="connsiteY8" fmla="*/ 11332 h 29170"/>
                                                <a:gd name="connsiteX9" fmla="*/ 39325 w 45494"/>
                                                <a:gd name="connsiteY9" fmla="*/ 12045 h 29170"/>
                                                <a:gd name="connsiteX10" fmla="*/ 40362 w 45494"/>
                                                <a:gd name="connsiteY10" fmla="*/ 18200 h 29170"/>
                                                <a:gd name="connsiteX11" fmla="*/ 31227 w 45494"/>
                                                <a:gd name="connsiteY11" fmla="*/ 19430 h 29170"/>
                                                <a:gd name="connsiteX12" fmla="*/ 29348 w 45494"/>
                                                <a:gd name="connsiteY12" fmla="*/ 28371 h 29170"/>
                                                <a:gd name="connsiteX13" fmla="*/ 26433 w 45494"/>
                                                <a:gd name="connsiteY13" fmla="*/ 29019 h 29170"/>
                                                <a:gd name="connsiteX14" fmla="*/ 0 w 45494"/>
                                                <a:gd name="connsiteY14" fmla="*/ 25844 h 29170"/>
                                                <a:gd name="connsiteX15" fmla="*/ 1620 w 45494"/>
                                                <a:gd name="connsiteY15" fmla="*/ 19625 h 29170"/>
                                                <a:gd name="connsiteX16" fmla="*/ 2073 w 45494"/>
                                                <a:gd name="connsiteY16" fmla="*/ 14377 h 29170"/>
                                                <a:gd name="connsiteX17" fmla="*/ 5636 w 45494"/>
                                                <a:gd name="connsiteY17" fmla="*/ 13405 h 29170"/>
                                                <a:gd name="connsiteX18" fmla="*/ 14253 w 45494"/>
                                                <a:gd name="connsiteY18" fmla="*/ 13405 h 29170"/>
                                                <a:gd name="connsiteX19" fmla="*/ 17622 w 45494"/>
                                                <a:gd name="connsiteY19" fmla="*/ 13017 h 29170"/>
                                                <a:gd name="connsiteX20" fmla="*/ 20926 w 45494"/>
                                                <a:gd name="connsiteY20" fmla="*/ 11073 h 2917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5494" h="29170">
                                                  <a:moveTo>
                                                    <a:pt x="20926" y="11008"/>
                                                  </a:moveTo>
                                                  <a:cubicBezTo>
                                                    <a:pt x="22481" y="10101"/>
                                                    <a:pt x="24230" y="9583"/>
                                                    <a:pt x="26044" y="9518"/>
                                                  </a:cubicBezTo>
                                                  <a:cubicBezTo>
                                                    <a:pt x="27340" y="9518"/>
                                                    <a:pt x="28830" y="9518"/>
                                                    <a:pt x="29607" y="8547"/>
                                                  </a:cubicBezTo>
                                                  <a:cubicBezTo>
                                                    <a:pt x="29996" y="8028"/>
                                                    <a:pt x="30061" y="7316"/>
                                                    <a:pt x="30126" y="6603"/>
                                                  </a:cubicBezTo>
                                                  <a:cubicBezTo>
                                                    <a:pt x="30449" y="4271"/>
                                                    <a:pt x="31745" y="1938"/>
                                                    <a:pt x="33818" y="837"/>
                                                  </a:cubicBezTo>
                                                  <a:cubicBezTo>
                                                    <a:pt x="37122" y="-912"/>
                                                    <a:pt x="41139" y="707"/>
                                                    <a:pt x="44832" y="189"/>
                                                  </a:cubicBezTo>
                                                  <a:cubicBezTo>
                                                    <a:pt x="45350" y="2521"/>
                                                    <a:pt x="45804" y="4919"/>
                                                    <a:pt x="45221" y="7186"/>
                                                  </a:cubicBezTo>
                                                  <a:cubicBezTo>
                                                    <a:pt x="44637" y="9453"/>
                                                    <a:pt x="42499" y="11527"/>
                                                    <a:pt x="40167" y="11268"/>
                                                  </a:cubicBezTo>
                                                  <a:cubicBezTo>
                                                    <a:pt x="39908" y="11268"/>
                                                    <a:pt x="39649" y="11203"/>
                                                    <a:pt x="39455" y="11332"/>
                                                  </a:cubicBezTo>
                                                  <a:cubicBezTo>
                                                    <a:pt x="39260" y="11527"/>
                                                    <a:pt x="39260" y="11786"/>
                                                    <a:pt x="39325" y="12045"/>
                                                  </a:cubicBezTo>
                                                  <a:cubicBezTo>
                                                    <a:pt x="39649" y="14118"/>
                                                    <a:pt x="40038" y="16191"/>
                                                    <a:pt x="40362" y="18200"/>
                                                  </a:cubicBezTo>
                                                  <a:cubicBezTo>
                                                    <a:pt x="37317" y="18588"/>
                                                    <a:pt x="34272" y="19042"/>
                                                    <a:pt x="31227" y="19430"/>
                                                  </a:cubicBezTo>
                                                  <a:cubicBezTo>
                                                    <a:pt x="31940" y="22605"/>
                                                    <a:pt x="32264" y="26816"/>
                                                    <a:pt x="29348" y="28371"/>
                                                  </a:cubicBezTo>
                                                  <a:cubicBezTo>
                                                    <a:pt x="28441" y="28824"/>
                                                    <a:pt x="27405" y="28954"/>
                                                    <a:pt x="26433" y="29019"/>
                                                  </a:cubicBezTo>
                                                  <a:cubicBezTo>
                                                    <a:pt x="17492" y="29602"/>
                                                    <a:pt x="8487" y="28500"/>
                                                    <a:pt x="0" y="25844"/>
                                                  </a:cubicBezTo>
                                                  <a:cubicBezTo>
                                                    <a:pt x="1231" y="24030"/>
                                                    <a:pt x="1814" y="21763"/>
                                                    <a:pt x="1620" y="19625"/>
                                                  </a:cubicBezTo>
                                                  <a:cubicBezTo>
                                                    <a:pt x="1425" y="17811"/>
                                                    <a:pt x="842" y="15673"/>
                                                    <a:pt x="2073" y="14377"/>
                                                  </a:cubicBezTo>
                                                  <a:cubicBezTo>
                                                    <a:pt x="2915" y="13470"/>
                                                    <a:pt x="4341" y="13405"/>
                                                    <a:pt x="5636" y="13405"/>
                                                  </a:cubicBezTo>
                                                  <a:cubicBezTo>
                                                    <a:pt x="8487" y="13405"/>
                                                    <a:pt x="11338" y="13405"/>
                                                    <a:pt x="14253" y="13405"/>
                                                  </a:cubicBezTo>
                                                  <a:cubicBezTo>
                                                    <a:pt x="15419" y="13405"/>
                                                    <a:pt x="16521" y="13405"/>
                                                    <a:pt x="17622" y="13017"/>
                                                  </a:cubicBezTo>
                                                  <a:cubicBezTo>
                                                    <a:pt x="18853" y="12628"/>
                                                    <a:pt x="19824" y="11721"/>
                                                    <a:pt x="20926" y="1107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0" name="Freeform: Shape 156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EE9EEC1-5BE3-4B2D-959A-814889F36F7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470374" y="3075106"/>
                                              <a:ext cx="168391" cy="12020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4350 w 168391"/>
                                                <a:gd name="connsiteY0" fmla="*/ 73234 h 120203"/>
                                                <a:gd name="connsiteX1" fmla="*/ 45298 w 168391"/>
                                                <a:gd name="connsiteY1" fmla="*/ 60471 h 120203"/>
                                                <a:gd name="connsiteX2" fmla="*/ 44391 w 168391"/>
                                                <a:gd name="connsiteY2" fmla="*/ 42720 h 120203"/>
                                                <a:gd name="connsiteX3" fmla="*/ 48408 w 168391"/>
                                                <a:gd name="connsiteY3" fmla="*/ 27690 h 120203"/>
                                                <a:gd name="connsiteX4" fmla="*/ 53461 w 168391"/>
                                                <a:gd name="connsiteY4" fmla="*/ 25163 h 120203"/>
                                                <a:gd name="connsiteX5" fmla="*/ 52231 w 168391"/>
                                                <a:gd name="connsiteY5" fmla="*/ 13178 h 120203"/>
                                                <a:gd name="connsiteX6" fmla="*/ 46141 w 168391"/>
                                                <a:gd name="connsiteY6" fmla="*/ 1646 h 120203"/>
                                                <a:gd name="connsiteX7" fmla="*/ 66872 w 168391"/>
                                                <a:gd name="connsiteY7" fmla="*/ 13048 h 120203"/>
                                                <a:gd name="connsiteX8" fmla="*/ 67715 w 168391"/>
                                                <a:gd name="connsiteY8" fmla="*/ 17065 h 120203"/>
                                                <a:gd name="connsiteX9" fmla="*/ 71407 w 168391"/>
                                                <a:gd name="connsiteY9" fmla="*/ 18231 h 120203"/>
                                                <a:gd name="connsiteX10" fmla="*/ 88834 w 168391"/>
                                                <a:gd name="connsiteY10" fmla="*/ 36371 h 120203"/>
                                                <a:gd name="connsiteX11" fmla="*/ 96997 w 168391"/>
                                                <a:gd name="connsiteY11" fmla="*/ 37602 h 120203"/>
                                                <a:gd name="connsiteX12" fmla="*/ 99783 w 168391"/>
                                                <a:gd name="connsiteY12" fmla="*/ 40517 h 120203"/>
                                                <a:gd name="connsiteX13" fmla="*/ 122393 w 168391"/>
                                                <a:gd name="connsiteY13" fmla="*/ 43886 h 120203"/>
                                                <a:gd name="connsiteX14" fmla="*/ 168391 w 168391"/>
                                                <a:gd name="connsiteY14" fmla="*/ 36566 h 120203"/>
                                                <a:gd name="connsiteX15" fmla="*/ 140274 w 168391"/>
                                                <a:gd name="connsiteY15" fmla="*/ 56584 h 120203"/>
                                                <a:gd name="connsiteX16" fmla="*/ 129067 w 168391"/>
                                                <a:gd name="connsiteY16" fmla="*/ 77899 h 120203"/>
                                                <a:gd name="connsiteX17" fmla="*/ 98941 w 168391"/>
                                                <a:gd name="connsiteY17" fmla="*/ 84377 h 120203"/>
                                                <a:gd name="connsiteX18" fmla="*/ 91555 w 168391"/>
                                                <a:gd name="connsiteY18" fmla="*/ 99019 h 120203"/>
                                                <a:gd name="connsiteX19" fmla="*/ 78728 w 168391"/>
                                                <a:gd name="connsiteY19" fmla="*/ 106793 h 120203"/>
                                                <a:gd name="connsiteX20" fmla="*/ 71731 w 168391"/>
                                                <a:gd name="connsiteY20" fmla="*/ 99991 h 120203"/>
                                                <a:gd name="connsiteX21" fmla="*/ 52231 w 168391"/>
                                                <a:gd name="connsiteY21" fmla="*/ 90208 h 120203"/>
                                                <a:gd name="connsiteX22" fmla="*/ 31240 w 168391"/>
                                                <a:gd name="connsiteY22" fmla="*/ 87357 h 120203"/>
                                                <a:gd name="connsiteX23" fmla="*/ 16274 w 168391"/>
                                                <a:gd name="connsiteY23" fmla="*/ 100509 h 120203"/>
                                                <a:gd name="connsiteX24" fmla="*/ 26317 w 168391"/>
                                                <a:gd name="connsiteY24" fmla="*/ 112624 h 120203"/>
                                                <a:gd name="connsiteX25" fmla="*/ 11091 w 168391"/>
                                                <a:gd name="connsiteY25" fmla="*/ 119427 h 120203"/>
                                                <a:gd name="connsiteX26" fmla="*/ 9472 w 168391"/>
                                                <a:gd name="connsiteY26" fmla="*/ 106728 h 120203"/>
                                                <a:gd name="connsiteX27" fmla="*/ 13 w 168391"/>
                                                <a:gd name="connsiteY27" fmla="*/ 95132 h 120203"/>
                                                <a:gd name="connsiteX28" fmla="*/ 16145 w 168391"/>
                                                <a:gd name="connsiteY28" fmla="*/ 82499 h 120203"/>
                                                <a:gd name="connsiteX29" fmla="*/ 16469 w 168391"/>
                                                <a:gd name="connsiteY29" fmla="*/ 78093 h 120203"/>
                                                <a:gd name="connsiteX30" fmla="*/ 24438 w 168391"/>
                                                <a:gd name="connsiteY30" fmla="*/ 73169 h 120203"/>
                                                <a:gd name="connsiteX31" fmla="*/ 34480 w 168391"/>
                                                <a:gd name="connsiteY31" fmla="*/ 73299 h 12020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68391" h="120203">
                                                  <a:moveTo>
                                                    <a:pt x="34350" y="73234"/>
                                                  </a:moveTo>
                                                  <a:cubicBezTo>
                                                    <a:pt x="40181" y="72068"/>
                                                    <a:pt x="44197" y="66302"/>
                                                    <a:pt x="45298" y="60471"/>
                                                  </a:cubicBezTo>
                                                  <a:cubicBezTo>
                                                    <a:pt x="46400" y="54641"/>
                                                    <a:pt x="45298" y="48616"/>
                                                    <a:pt x="44391" y="42720"/>
                                                  </a:cubicBezTo>
                                                  <a:cubicBezTo>
                                                    <a:pt x="43614" y="37278"/>
                                                    <a:pt x="43614" y="30476"/>
                                                    <a:pt x="48408" y="27690"/>
                                                  </a:cubicBezTo>
                                                  <a:cubicBezTo>
                                                    <a:pt x="50028" y="26718"/>
                                                    <a:pt x="52036" y="26394"/>
                                                    <a:pt x="53461" y="25163"/>
                                                  </a:cubicBezTo>
                                                  <a:cubicBezTo>
                                                    <a:pt x="56830" y="22248"/>
                                                    <a:pt x="55016" y="16676"/>
                                                    <a:pt x="52231" y="13178"/>
                                                  </a:cubicBezTo>
                                                  <a:cubicBezTo>
                                                    <a:pt x="49445" y="9679"/>
                                                    <a:pt x="45817" y="6116"/>
                                                    <a:pt x="46141" y="1646"/>
                                                  </a:cubicBezTo>
                                                  <a:cubicBezTo>
                                                    <a:pt x="54304" y="-3278"/>
                                                    <a:pt x="66678" y="3525"/>
                                                    <a:pt x="66872" y="13048"/>
                                                  </a:cubicBezTo>
                                                  <a:cubicBezTo>
                                                    <a:pt x="66872" y="14474"/>
                                                    <a:pt x="66743" y="16028"/>
                                                    <a:pt x="67715" y="17065"/>
                                                  </a:cubicBezTo>
                                                  <a:cubicBezTo>
                                                    <a:pt x="68621" y="18037"/>
                                                    <a:pt x="70047" y="18102"/>
                                                    <a:pt x="71407" y="18231"/>
                                                  </a:cubicBezTo>
                                                  <a:cubicBezTo>
                                                    <a:pt x="80477" y="19073"/>
                                                    <a:pt x="88316" y="27236"/>
                                                    <a:pt x="88834" y="36371"/>
                                                  </a:cubicBezTo>
                                                  <a:cubicBezTo>
                                                    <a:pt x="91167" y="37991"/>
                                                    <a:pt x="94535" y="36241"/>
                                                    <a:pt x="96997" y="37602"/>
                                                  </a:cubicBezTo>
                                                  <a:cubicBezTo>
                                                    <a:pt x="98164" y="38250"/>
                                                    <a:pt x="98876" y="39481"/>
                                                    <a:pt x="99783" y="40517"/>
                                                  </a:cubicBezTo>
                                                  <a:cubicBezTo>
                                                    <a:pt x="104902" y="46672"/>
                                                    <a:pt x="114555" y="45441"/>
                                                    <a:pt x="122393" y="43886"/>
                                                  </a:cubicBezTo>
                                                  <a:cubicBezTo>
                                                    <a:pt x="137618" y="40777"/>
                                                    <a:pt x="152972" y="38315"/>
                                                    <a:pt x="168391" y="36566"/>
                                                  </a:cubicBezTo>
                                                  <a:cubicBezTo>
                                                    <a:pt x="163274" y="47449"/>
                                                    <a:pt x="152260" y="55353"/>
                                                    <a:pt x="140274" y="56584"/>
                                                  </a:cubicBezTo>
                                                  <a:cubicBezTo>
                                                    <a:pt x="142282" y="65136"/>
                                                    <a:pt x="137230" y="74724"/>
                                                    <a:pt x="129067" y="77899"/>
                                                  </a:cubicBezTo>
                                                  <a:cubicBezTo>
                                                    <a:pt x="119284" y="81656"/>
                                                    <a:pt x="106521" y="77186"/>
                                                    <a:pt x="98941" y="84377"/>
                                                  </a:cubicBezTo>
                                                  <a:cubicBezTo>
                                                    <a:pt x="94924" y="88200"/>
                                                    <a:pt x="93888" y="94030"/>
                                                    <a:pt x="91555" y="99019"/>
                                                  </a:cubicBezTo>
                                                  <a:cubicBezTo>
                                                    <a:pt x="89223" y="104007"/>
                                                    <a:pt x="83846" y="108802"/>
                                                    <a:pt x="78728" y="106793"/>
                                                  </a:cubicBezTo>
                                                  <a:cubicBezTo>
                                                    <a:pt x="75683" y="105627"/>
                                                    <a:pt x="73934" y="102452"/>
                                                    <a:pt x="71731" y="99991"/>
                                                  </a:cubicBezTo>
                                                  <a:cubicBezTo>
                                                    <a:pt x="66808" y="94484"/>
                                                    <a:pt x="59357" y="92216"/>
                                                    <a:pt x="52231" y="90208"/>
                                                  </a:cubicBezTo>
                                                  <a:cubicBezTo>
                                                    <a:pt x="45363" y="88265"/>
                                                    <a:pt x="38237" y="86256"/>
                                                    <a:pt x="31240" y="87357"/>
                                                  </a:cubicBezTo>
                                                  <a:cubicBezTo>
                                                    <a:pt x="24178" y="88459"/>
                                                    <a:pt x="17246" y="93447"/>
                                                    <a:pt x="16274" y="100509"/>
                                                  </a:cubicBezTo>
                                                  <a:cubicBezTo>
                                                    <a:pt x="22429" y="99472"/>
                                                    <a:pt x="28066" y="106599"/>
                                                    <a:pt x="26317" y="112624"/>
                                                  </a:cubicBezTo>
                                                  <a:cubicBezTo>
                                                    <a:pt x="24567" y="118649"/>
                                                    <a:pt x="16922" y="121759"/>
                                                    <a:pt x="11091" y="119427"/>
                                                  </a:cubicBezTo>
                                                  <a:cubicBezTo>
                                                    <a:pt x="15950" y="117548"/>
                                                    <a:pt x="13553" y="109903"/>
                                                    <a:pt x="9472" y="106728"/>
                                                  </a:cubicBezTo>
                                                  <a:cubicBezTo>
                                                    <a:pt x="5391" y="103489"/>
                                                    <a:pt x="-310" y="100379"/>
                                                    <a:pt x="13" y="95132"/>
                                                  </a:cubicBezTo>
                                                  <a:cubicBezTo>
                                                    <a:pt x="1633" y="88135"/>
                                                    <a:pt x="14655" y="89495"/>
                                                    <a:pt x="16145" y="82499"/>
                                                  </a:cubicBezTo>
                                                  <a:cubicBezTo>
                                                    <a:pt x="16469" y="81073"/>
                                                    <a:pt x="16145" y="79518"/>
                                                    <a:pt x="16469" y="78093"/>
                                                  </a:cubicBezTo>
                                                  <a:cubicBezTo>
                                                    <a:pt x="17246" y="74854"/>
                                                    <a:pt x="21069" y="73234"/>
                                                    <a:pt x="24438" y="73169"/>
                                                  </a:cubicBezTo>
                                                  <a:cubicBezTo>
                                                    <a:pt x="27807" y="73105"/>
                                                    <a:pt x="31175" y="73947"/>
                                                    <a:pt x="34480" y="7329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1" name="Freeform: Shape 157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65872AF-1CD5-490F-9587-BB86A7CF9E1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243638" y="3209498"/>
                                              <a:ext cx="285506" cy="23889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6918 w 285506"/>
                                                <a:gd name="connsiteY0" fmla="*/ 12633 h 238898"/>
                                                <a:gd name="connsiteX1" fmla="*/ 272489 w 285506"/>
                                                <a:gd name="connsiteY1" fmla="*/ 23711 h 238898"/>
                                                <a:gd name="connsiteX2" fmla="*/ 277478 w 285506"/>
                                                <a:gd name="connsiteY2" fmla="*/ 28052 h 238898"/>
                                                <a:gd name="connsiteX3" fmla="*/ 277348 w 285506"/>
                                                <a:gd name="connsiteY3" fmla="*/ 45026 h 238898"/>
                                                <a:gd name="connsiteX4" fmla="*/ 285381 w 285506"/>
                                                <a:gd name="connsiteY4" fmla="*/ 63490 h 238898"/>
                                                <a:gd name="connsiteX5" fmla="*/ 282595 w 285506"/>
                                                <a:gd name="connsiteY5" fmla="*/ 68802 h 238898"/>
                                                <a:gd name="connsiteX6" fmla="*/ 267111 w 285506"/>
                                                <a:gd name="connsiteY6" fmla="*/ 83120 h 238898"/>
                                                <a:gd name="connsiteX7" fmla="*/ 254673 w 285506"/>
                                                <a:gd name="connsiteY7" fmla="*/ 93421 h 238898"/>
                                                <a:gd name="connsiteX8" fmla="*/ 253701 w 285506"/>
                                                <a:gd name="connsiteY8" fmla="*/ 111820 h 238898"/>
                                                <a:gd name="connsiteX9" fmla="*/ 254414 w 285506"/>
                                                <a:gd name="connsiteY9" fmla="*/ 145249 h 238898"/>
                                                <a:gd name="connsiteX10" fmla="*/ 252989 w 285506"/>
                                                <a:gd name="connsiteY10" fmla="*/ 149719 h 238898"/>
                                                <a:gd name="connsiteX11" fmla="*/ 242946 w 285506"/>
                                                <a:gd name="connsiteY11" fmla="*/ 152116 h 238898"/>
                                                <a:gd name="connsiteX12" fmla="*/ 231221 w 285506"/>
                                                <a:gd name="connsiteY12" fmla="*/ 167535 h 238898"/>
                                                <a:gd name="connsiteX13" fmla="*/ 219818 w 285506"/>
                                                <a:gd name="connsiteY13" fmla="*/ 172718 h 238898"/>
                                                <a:gd name="connsiteX14" fmla="*/ 212238 w 285506"/>
                                                <a:gd name="connsiteY14" fmla="*/ 184898 h 238898"/>
                                                <a:gd name="connsiteX15" fmla="*/ 201873 w 285506"/>
                                                <a:gd name="connsiteY15" fmla="*/ 190210 h 238898"/>
                                                <a:gd name="connsiteX16" fmla="*/ 195588 w 285506"/>
                                                <a:gd name="connsiteY16" fmla="*/ 199086 h 238898"/>
                                                <a:gd name="connsiteX17" fmla="*/ 165528 w 285506"/>
                                                <a:gd name="connsiteY17" fmla="*/ 214052 h 238898"/>
                                                <a:gd name="connsiteX18" fmla="*/ 162094 w 285506"/>
                                                <a:gd name="connsiteY18" fmla="*/ 205046 h 238898"/>
                                                <a:gd name="connsiteX19" fmla="*/ 147193 w 285506"/>
                                                <a:gd name="connsiteY19" fmla="*/ 197855 h 238898"/>
                                                <a:gd name="connsiteX20" fmla="*/ 136115 w 285506"/>
                                                <a:gd name="connsiteY20" fmla="*/ 232515 h 238898"/>
                                                <a:gd name="connsiteX21" fmla="*/ 129636 w 285506"/>
                                                <a:gd name="connsiteY21" fmla="*/ 238282 h 238898"/>
                                                <a:gd name="connsiteX22" fmla="*/ 111950 w 285506"/>
                                                <a:gd name="connsiteY22" fmla="*/ 230442 h 238898"/>
                                                <a:gd name="connsiteX23" fmla="*/ 114541 w 285506"/>
                                                <a:gd name="connsiteY23" fmla="*/ 215153 h 238898"/>
                                                <a:gd name="connsiteX24" fmla="*/ 107804 w 285506"/>
                                                <a:gd name="connsiteY24" fmla="*/ 202585 h 238898"/>
                                                <a:gd name="connsiteX25" fmla="*/ 101584 w 285506"/>
                                                <a:gd name="connsiteY25" fmla="*/ 202520 h 238898"/>
                                                <a:gd name="connsiteX26" fmla="*/ 85776 w 285506"/>
                                                <a:gd name="connsiteY26" fmla="*/ 198633 h 238898"/>
                                                <a:gd name="connsiteX27" fmla="*/ 58955 w 285506"/>
                                                <a:gd name="connsiteY27" fmla="*/ 206407 h 238898"/>
                                                <a:gd name="connsiteX28" fmla="*/ 48978 w 285506"/>
                                                <a:gd name="connsiteY28" fmla="*/ 217291 h 238898"/>
                                                <a:gd name="connsiteX29" fmla="*/ 18983 w 285506"/>
                                                <a:gd name="connsiteY29" fmla="*/ 225843 h 238898"/>
                                                <a:gd name="connsiteX30" fmla="*/ 0 w 285506"/>
                                                <a:gd name="connsiteY30" fmla="*/ 222279 h 238898"/>
                                                <a:gd name="connsiteX31" fmla="*/ 25461 w 285506"/>
                                                <a:gd name="connsiteY31" fmla="*/ 202261 h 238898"/>
                                                <a:gd name="connsiteX32" fmla="*/ 32263 w 285506"/>
                                                <a:gd name="connsiteY32" fmla="*/ 195523 h 238898"/>
                                                <a:gd name="connsiteX33" fmla="*/ 36799 w 285506"/>
                                                <a:gd name="connsiteY33" fmla="*/ 187813 h 238898"/>
                                                <a:gd name="connsiteX34" fmla="*/ 44184 w 285506"/>
                                                <a:gd name="connsiteY34" fmla="*/ 184250 h 238898"/>
                                                <a:gd name="connsiteX35" fmla="*/ 79945 w 285506"/>
                                                <a:gd name="connsiteY35" fmla="*/ 182177 h 238898"/>
                                                <a:gd name="connsiteX36" fmla="*/ 83574 w 285506"/>
                                                <a:gd name="connsiteY36" fmla="*/ 183019 h 238898"/>
                                                <a:gd name="connsiteX37" fmla="*/ 87331 w 285506"/>
                                                <a:gd name="connsiteY37" fmla="*/ 180039 h 238898"/>
                                                <a:gd name="connsiteX38" fmla="*/ 110719 w 285506"/>
                                                <a:gd name="connsiteY38" fmla="*/ 175828 h 238898"/>
                                                <a:gd name="connsiteX39" fmla="*/ 117651 w 285506"/>
                                                <a:gd name="connsiteY39" fmla="*/ 181724 h 238898"/>
                                                <a:gd name="connsiteX40" fmla="*/ 125620 w 285506"/>
                                                <a:gd name="connsiteY40" fmla="*/ 180298 h 238898"/>
                                                <a:gd name="connsiteX41" fmla="*/ 126332 w 285506"/>
                                                <a:gd name="connsiteY41" fmla="*/ 174532 h 238898"/>
                                                <a:gd name="connsiteX42" fmla="*/ 137605 w 285506"/>
                                                <a:gd name="connsiteY42" fmla="*/ 166758 h 238898"/>
                                                <a:gd name="connsiteX43" fmla="*/ 140521 w 285506"/>
                                                <a:gd name="connsiteY43" fmla="*/ 151793 h 238898"/>
                                                <a:gd name="connsiteX44" fmla="*/ 143565 w 285506"/>
                                                <a:gd name="connsiteY44" fmla="*/ 142010 h 238898"/>
                                                <a:gd name="connsiteX45" fmla="*/ 152376 w 285506"/>
                                                <a:gd name="connsiteY45" fmla="*/ 127433 h 238898"/>
                                                <a:gd name="connsiteX46" fmla="*/ 168119 w 285506"/>
                                                <a:gd name="connsiteY46" fmla="*/ 125036 h 238898"/>
                                                <a:gd name="connsiteX47" fmla="*/ 173496 w 285506"/>
                                                <a:gd name="connsiteY47" fmla="*/ 137410 h 238898"/>
                                                <a:gd name="connsiteX48" fmla="*/ 181141 w 285506"/>
                                                <a:gd name="connsiteY48" fmla="*/ 124259 h 238898"/>
                                                <a:gd name="connsiteX49" fmla="*/ 191312 w 285506"/>
                                                <a:gd name="connsiteY49" fmla="*/ 122509 h 238898"/>
                                                <a:gd name="connsiteX50" fmla="*/ 200771 w 285506"/>
                                                <a:gd name="connsiteY50" fmla="*/ 110589 h 238898"/>
                                                <a:gd name="connsiteX51" fmla="*/ 207055 w 285506"/>
                                                <a:gd name="connsiteY51" fmla="*/ 109163 h 238898"/>
                                                <a:gd name="connsiteX52" fmla="*/ 211136 w 285506"/>
                                                <a:gd name="connsiteY52" fmla="*/ 97049 h 238898"/>
                                                <a:gd name="connsiteX53" fmla="*/ 225001 w 285506"/>
                                                <a:gd name="connsiteY53" fmla="*/ 82342 h 238898"/>
                                                <a:gd name="connsiteX54" fmla="*/ 225390 w 285506"/>
                                                <a:gd name="connsiteY54" fmla="*/ 75086 h 238898"/>
                                                <a:gd name="connsiteX55" fmla="*/ 234978 w 285506"/>
                                                <a:gd name="connsiteY55" fmla="*/ 60898 h 238898"/>
                                                <a:gd name="connsiteX56" fmla="*/ 228175 w 285506"/>
                                                <a:gd name="connsiteY56" fmla="*/ 34207 h 238898"/>
                                                <a:gd name="connsiteX57" fmla="*/ 243594 w 285506"/>
                                                <a:gd name="connsiteY57" fmla="*/ 9588 h 238898"/>
                                                <a:gd name="connsiteX58" fmla="*/ 254219 w 285506"/>
                                                <a:gd name="connsiteY58" fmla="*/ 647 h 238898"/>
                                                <a:gd name="connsiteX59" fmla="*/ 266140 w 285506"/>
                                                <a:gd name="connsiteY59" fmla="*/ 4859 h 238898"/>
                                                <a:gd name="connsiteX60" fmla="*/ 266658 w 285506"/>
                                                <a:gd name="connsiteY60" fmla="*/ 12633 h 23889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85506" h="238898">
                                                  <a:moveTo>
                                                    <a:pt x="266918" y="12633"/>
                                                  </a:moveTo>
                                                  <a:cubicBezTo>
                                                    <a:pt x="267111" y="16909"/>
                                                    <a:pt x="269185" y="21055"/>
                                                    <a:pt x="272489" y="23711"/>
                                                  </a:cubicBezTo>
                                                  <a:cubicBezTo>
                                                    <a:pt x="274238" y="25137"/>
                                                    <a:pt x="276246" y="26173"/>
                                                    <a:pt x="277478" y="28052"/>
                                                  </a:cubicBezTo>
                                                  <a:cubicBezTo>
                                                    <a:pt x="280652" y="32846"/>
                                                    <a:pt x="276441" y="39324"/>
                                                    <a:pt x="277348" y="45026"/>
                                                  </a:cubicBezTo>
                                                  <a:cubicBezTo>
                                                    <a:pt x="278384" y="51763"/>
                                                    <a:pt x="286612" y="56752"/>
                                                    <a:pt x="285381" y="63490"/>
                                                  </a:cubicBezTo>
                                                  <a:cubicBezTo>
                                                    <a:pt x="284992" y="65498"/>
                                                    <a:pt x="283827" y="67182"/>
                                                    <a:pt x="282595" y="68802"/>
                                                  </a:cubicBezTo>
                                                  <a:cubicBezTo>
                                                    <a:pt x="278319" y="74438"/>
                                                    <a:pt x="273072" y="79297"/>
                                                    <a:pt x="267111" y="83120"/>
                                                  </a:cubicBezTo>
                                                  <a:cubicBezTo>
                                                    <a:pt x="262512" y="86100"/>
                                                    <a:pt x="257329" y="88691"/>
                                                    <a:pt x="254673" y="93421"/>
                                                  </a:cubicBezTo>
                                                  <a:cubicBezTo>
                                                    <a:pt x="251628" y="98927"/>
                                                    <a:pt x="252859" y="105600"/>
                                                    <a:pt x="253701" y="111820"/>
                                                  </a:cubicBezTo>
                                                  <a:cubicBezTo>
                                                    <a:pt x="255256" y="122898"/>
                                                    <a:pt x="255515" y="134106"/>
                                                    <a:pt x="254414" y="145249"/>
                                                  </a:cubicBezTo>
                                                  <a:cubicBezTo>
                                                    <a:pt x="254284" y="146869"/>
                                                    <a:pt x="254025" y="148553"/>
                                                    <a:pt x="252989" y="149719"/>
                                                  </a:cubicBezTo>
                                                  <a:cubicBezTo>
                                                    <a:pt x="250656" y="152376"/>
                                                    <a:pt x="246315" y="151015"/>
                                                    <a:pt x="242946" y="152116"/>
                                                  </a:cubicBezTo>
                                                  <a:cubicBezTo>
                                                    <a:pt x="236662" y="154190"/>
                                                    <a:pt x="236468" y="163519"/>
                                                    <a:pt x="231221" y="167535"/>
                                                  </a:cubicBezTo>
                                                  <a:cubicBezTo>
                                                    <a:pt x="227916" y="170127"/>
                                                    <a:pt x="223058" y="170062"/>
                                                    <a:pt x="219818" y="172718"/>
                                                  </a:cubicBezTo>
                                                  <a:cubicBezTo>
                                                    <a:pt x="216125" y="175763"/>
                                                    <a:pt x="215607" y="181400"/>
                                                    <a:pt x="212238" y="184898"/>
                                                  </a:cubicBezTo>
                                                  <a:cubicBezTo>
                                                    <a:pt x="209517" y="187684"/>
                                                    <a:pt x="205435" y="188591"/>
                                                    <a:pt x="201873" y="190210"/>
                                                  </a:cubicBezTo>
                                                  <a:cubicBezTo>
                                                    <a:pt x="198309" y="191830"/>
                                                    <a:pt x="194811" y="195199"/>
                                                    <a:pt x="195588" y="199086"/>
                                                  </a:cubicBezTo>
                                                  <a:cubicBezTo>
                                                    <a:pt x="183992" y="199410"/>
                                                    <a:pt x="176800" y="216902"/>
                                                    <a:pt x="165528" y="214052"/>
                                                  </a:cubicBezTo>
                                                  <a:cubicBezTo>
                                                    <a:pt x="163714" y="211331"/>
                                                    <a:pt x="162547" y="208221"/>
                                                    <a:pt x="162094" y="205046"/>
                                                  </a:cubicBezTo>
                                                  <a:cubicBezTo>
                                                    <a:pt x="156393" y="205046"/>
                                                    <a:pt x="150756" y="202325"/>
                                                    <a:pt x="147193" y="197855"/>
                                                  </a:cubicBezTo>
                                                  <a:cubicBezTo>
                                                    <a:pt x="147258" y="210165"/>
                                                    <a:pt x="143306" y="222474"/>
                                                    <a:pt x="136115" y="232515"/>
                                                  </a:cubicBezTo>
                                                  <a:cubicBezTo>
                                                    <a:pt x="134430" y="234913"/>
                                                    <a:pt x="132358" y="237245"/>
                                                    <a:pt x="129636" y="238282"/>
                                                  </a:cubicBezTo>
                                                  <a:cubicBezTo>
                                                    <a:pt x="123223" y="240743"/>
                                                    <a:pt x="116679" y="235366"/>
                                                    <a:pt x="111950" y="230442"/>
                                                  </a:cubicBezTo>
                                                  <a:cubicBezTo>
                                                    <a:pt x="111950" y="225260"/>
                                                    <a:pt x="114088" y="220271"/>
                                                    <a:pt x="114541" y="215153"/>
                                                  </a:cubicBezTo>
                                                  <a:cubicBezTo>
                                                    <a:pt x="114995" y="209970"/>
                                                    <a:pt x="112857" y="203815"/>
                                                    <a:pt x="107804" y="202585"/>
                                                  </a:cubicBezTo>
                                                  <a:cubicBezTo>
                                                    <a:pt x="105796" y="202131"/>
                                                    <a:pt x="103657" y="202585"/>
                                                    <a:pt x="101584" y="202520"/>
                                                  </a:cubicBezTo>
                                                  <a:cubicBezTo>
                                                    <a:pt x="96142" y="202520"/>
                                                    <a:pt x="91154" y="199540"/>
                                                    <a:pt x="85776" y="198633"/>
                                                  </a:cubicBezTo>
                                                  <a:cubicBezTo>
                                                    <a:pt x="76383" y="197078"/>
                                                    <a:pt x="67248" y="201807"/>
                                                    <a:pt x="58955" y="206407"/>
                                                  </a:cubicBezTo>
                                                  <a:cubicBezTo>
                                                    <a:pt x="54485" y="208869"/>
                                                    <a:pt x="49432" y="212173"/>
                                                    <a:pt x="48978" y="217291"/>
                                                  </a:cubicBezTo>
                                                  <a:cubicBezTo>
                                                    <a:pt x="38548" y="217874"/>
                                                    <a:pt x="29348" y="224417"/>
                                                    <a:pt x="18983" y="225843"/>
                                                  </a:cubicBezTo>
                                                  <a:cubicBezTo>
                                                    <a:pt x="12504" y="226750"/>
                                                    <a:pt x="5701" y="225454"/>
                                                    <a:pt x="0" y="222279"/>
                                                  </a:cubicBezTo>
                                                  <a:cubicBezTo>
                                                    <a:pt x="8487" y="215607"/>
                                                    <a:pt x="16974" y="208934"/>
                                                    <a:pt x="25461" y="202261"/>
                                                  </a:cubicBezTo>
                                                  <a:cubicBezTo>
                                                    <a:pt x="27988" y="200252"/>
                                                    <a:pt x="30579" y="198244"/>
                                                    <a:pt x="32263" y="195523"/>
                                                  </a:cubicBezTo>
                                                  <a:cubicBezTo>
                                                    <a:pt x="33883" y="192996"/>
                                                    <a:pt x="34660" y="189887"/>
                                                    <a:pt x="36799" y="187813"/>
                                                  </a:cubicBezTo>
                                                  <a:cubicBezTo>
                                                    <a:pt x="38742" y="185870"/>
                                                    <a:pt x="41528" y="185028"/>
                                                    <a:pt x="44184" y="184250"/>
                                                  </a:cubicBezTo>
                                                  <a:cubicBezTo>
                                                    <a:pt x="55910" y="180881"/>
                                                    <a:pt x="68673" y="177512"/>
                                                    <a:pt x="79945" y="182177"/>
                                                  </a:cubicBezTo>
                                                  <a:cubicBezTo>
                                                    <a:pt x="81112" y="182631"/>
                                                    <a:pt x="82342" y="183214"/>
                                                    <a:pt x="83574" y="183019"/>
                                                  </a:cubicBezTo>
                                                  <a:cubicBezTo>
                                                    <a:pt x="85193" y="182760"/>
                                                    <a:pt x="86230" y="181270"/>
                                                    <a:pt x="87331" y="180039"/>
                                                  </a:cubicBezTo>
                                                  <a:cubicBezTo>
                                                    <a:pt x="92967" y="173366"/>
                                                    <a:pt x="103657" y="170645"/>
                                                    <a:pt x="110719" y="175828"/>
                                                  </a:cubicBezTo>
                                                  <a:cubicBezTo>
                                                    <a:pt x="113180" y="177642"/>
                                                    <a:pt x="114995" y="180233"/>
                                                    <a:pt x="117651" y="181724"/>
                                                  </a:cubicBezTo>
                                                  <a:cubicBezTo>
                                                    <a:pt x="120308" y="183214"/>
                                                    <a:pt x="124389" y="183084"/>
                                                    <a:pt x="125620" y="180298"/>
                                                  </a:cubicBezTo>
                                                  <a:cubicBezTo>
                                                    <a:pt x="126462" y="178549"/>
                                                    <a:pt x="125749" y="176411"/>
                                                    <a:pt x="126332" y="174532"/>
                                                  </a:cubicBezTo>
                                                  <a:cubicBezTo>
                                                    <a:pt x="127628" y="169997"/>
                                                    <a:pt x="134236" y="169997"/>
                                                    <a:pt x="137605" y="166758"/>
                                                  </a:cubicBezTo>
                                                  <a:cubicBezTo>
                                                    <a:pt x="141363" y="163130"/>
                                                    <a:pt x="139937" y="156975"/>
                                                    <a:pt x="140521" y="151793"/>
                                                  </a:cubicBezTo>
                                                  <a:cubicBezTo>
                                                    <a:pt x="140909" y="148359"/>
                                                    <a:pt x="142269" y="145184"/>
                                                    <a:pt x="143565" y="142010"/>
                                                  </a:cubicBezTo>
                                                  <a:cubicBezTo>
                                                    <a:pt x="145768" y="136762"/>
                                                    <a:pt x="148165" y="131255"/>
                                                    <a:pt x="152376" y="127433"/>
                                                  </a:cubicBezTo>
                                                  <a:cubicBezTo>
                                                    <a:pt x="156587" y="123611"/>
                                                    <a:pt x="163389" y="121862"/>
                                                    <a:pt x="168119" y="125036"/>
                                                  </a:cubicBezTo>
                                                  <a:cubicBezTo>
                                                    <a:pt x="166435" y="129701"/>
                                                    <a:pt x="168962" y="135467"/>
                                                    <a:pt x="173496" y="137410"/>
                                                  </a:cubicBezTo>
                                                  <a:cubicBezTo>
                                                    <a:pt x="171877" y="131968"/>
                                                    <a:pt x="175634" y="125554"/>
                                                    <a:pt x="181141" y="124259"/>
                                                  </a:cubicBezTo>
                                                  <a:cubicBezTo>
                                                    <a:pt x="184510" y="123481"/>
                                                    <a:pt x="188397" y="124323"/>
                                                    <a:pt x="191312" y="122509"/>
                                                  </a:cubicBezTo>
                                                  <a:cubicBezTo>
                                                    <a:pt x="195717" y="119788"/>
                                                    <a:pt x="195912" y="112468"/>
                                                    <a:pt x="200771" y="110589"/>
                                                  </a:cubicBezTo>
                                                  <a:cubicBezTo>
                                                    <a:pt x="202780" y="109811"/>
                                                    <a:pt x="205177" y="110265"/>
                                                    <a:pt x="207055" y="109163"/>
                                                  </a:cubicBezTo>
                                                  <a:cubicBezTo>
                                                    <a:pt x="210878" y="107026"/>
                                                    <a:pt x="209582" y="101195"/>
                                                    <a:pt x="211136" y="97049"/>
                                                  </a:cubicBezTo>
                                                  <a:cubicBezTo>
                                                    <a:pt x="213598" y="90635"/>
                                                    <a:pt x="222993" y="88886"/>
                                                    <a:pt x="225001" y="82342"/>
                                                  </a:cubicBezTo>
                                                  <a:cubicBezTo>
                                                    <a:pt x="225713" y="80010"/>
                                                    <a:pt x="225325" y="77548"/>
                                                    <a:pt x="225390" y="75086"/>
                                                  </a:cubicBezTo>
                                                  <a:cubicBezTo>
                                                    <a:pt x="225713" y="69126"/>
                                                    <a:pt x="229536" y="63425"/>
                                                    <a:pt x="234978" y="60898"/>
                                                  </a:cubicBezTo>
                                                  <a:cubicBezTo>
                                                    <a:pt x="227204" y="55003"/>
                                                    <a:pt x="225455" y="43600"/>
                                                    <a:pt x="228175" y="34207"/>
                                                  </a:cubicBezTo>
                                                  <a:cubicBezTo>
                                                    <a:pt x="230961" y="24877"/>
                                                    <a:pt x="237310" y="17038"/>
                                                    <a:pt x="243594" y="9588"/>
                                                  </a:cubicBezTo>
                                                  <a:cubicBezTo>
                                                    <a:pt x="246575" y="6025"/>
                                                    <a:pt x="249814" y="2267"/>
                                                    <a:pt x="254219" y="647"/>
                                                  </a:cubicBezTo>
                                                  <a:cubicBezTo>
                                                    <a:pt x="258625" y="-972"/>
                                                    <a:pt x="264521" y="453"/>
                                                    <a:pt x="266140" y="4859"/>
                                                  </a:cubicBezTo>
                                                  <a:cubicBezTo>
                                                    <a:pt x="267047" y="7320"/>
                                                    <a:pt x="266529" y="10041"/>
                                                    <a:pt x="266658" y="1263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2" name="Freeform: Shape 157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F228071C-F712-48CD-8EF1-F225580A01C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78937" y="3695508"/>
                                              <a:ext cx="47249" cy="8353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3027 w 47249"/>
                                                <a:gd name="connsiteY0" fmla="*/ 58449 h 83531"/>
                                                <a:gd name="connsiteX1" fmla="*/ 35489 w 47249"/>
                                                <a:gd name="connsiteY1" fmla="*/ 42123 h 83531"/>
                                                <a:gd name="connsiteX2" fmla="*/ 38015 w 47249"/>
                                                <a:gd name="connsiteY2" fmla="*/ 37588 h 83531"/>
                                                <a:gd name="connsiteX3" fmla="*/ 45661 w 47249"/>
                                                <a:gd name="connsiteY3" fmla="*/ 18606 h 83531"/>
                                                <a:gd name="connsiteX4" fmla="*/ 43976 w 47249"/>
                                                <a:gd name="connsiteY4" fmla="*/ 1761 h 83531"/>
                                                <a:gd name="connsiteX5" fmla="*/ 32249 w 47249"/>
                                                <a:gd name="connsiteY5" fmla="*/ 1697 h 83531"/>
                                                <a:gd name="connsiteX6" fmla="*/ 22791 w 47249"/>
                                                <a:gd name="connsiteY6" fmla="*/ 9730 h 83531"/>
                                                <a:gd name="connsiteX7" fmla="*/ 10741 w 47249"/>
                                                <a:gd name="connsiteY7" fmla="*/ 22493 h 83531"/>
                                                <a:gd name="connsiteX8" fmla="*/ 14693 w 47249"/>
                                                <a:gd name="connsiteY8" fmla="*/ 37653 h 83531"/>
                                                <a:gd name="connsiteX9" fmla="*/ 22143 w 47249"/>
                                                <a:gd name="connsiteY9" fmla="*/ 41346 h 83531"/>
                                                <a:gd name="connsiteX10" fmla="*/ 21042 w 47249"/>
                                                <a:gd name="connsiteY10" fmla="*/ 46075 h 83531"/>
                                                <a:gd name="connsiteX11" fmla="*/ 9251 w 47249"/>
                                                <a:gd name="connsiteY11" fmla="*/ 63826 h 83531"/>
                                                <a:gd name="connsiteX12" fmla="*/ 2189 w 47249"/>
                                                <a:gd name="connsiteY12" fmla="*/ 72054 h 83531"/>
                                                <a:gd name="connsiteX13" fmla="*/ 634 w 47249"/>
                                                <a:gd name="connsiteY13" fmla="*/ 82355 h 83531"/>
                                                <a:gd name="connsiteX14" fmla="*/ 8862 w 47249"/>
                                                <a:gd name="connsiteY14" fmla="*/ 83262 h 83531"/>
                                                <a:gd name="connsiteX15" fmla="*/ 21495 w 47249"/>
                                                <a:gd name="connsiteY15" fmla="*/ 80217 h 83531"/>
                                                <a:gd name="connsiteX16" fmla="*/ 25123 w 47249"/>
                                                <a:gd name="connsiteY16" fmla="*/ 63373 h 83531"/>
                                                <a:gd name="connsiteX17" fmla="*/ 33027 w 47249"/>
                                                <a:gd name="connsiteY17" fmla="*/ 58514 h 8353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7249" h="83531">
                                                  <a:moveTo>
                                                    <a:pt x="33027" y="58449"/>
                                                  </a:moveTo>
                                                  <a:cubicBezTo>
                                                    <a:pt x="36914" y="54368"/>
                                                    <a:pt x="33611" y="47435"/>
                                                    <a:pt x="35489" y="42123"/>
                                                  </a:cubicBezTo>
                                                  <a:cubicBezTo>
                                                    <a:pt x="36072" y="40503"/>
                                                    <a:pt x="37108" y="39078"/>
                                                    <a:pt x="38015" y="37588"/>
                                                  </a:cubicBezTo>
                                                  <a:cubicBezTo>
                                                    <a:pt x="41709" y="31822"/>
                                                    <a:pt x="43717" y="25149"/>
                                                    <a:pt x="45661" y="18606"/>
                                                  </a:cubicBezTo>
                                                  <a:cubicBezTo>
                                                    <a:pt x="47409" y="12840"/>
                                                    <a:pt x="48705" y="5519"/>
                                                    <a:pt x="43976" y="1761"/>
                                                  </a:cubicBezTo>
                                                  <a:cubicBezTo>
                                                    <a:pt x="40737" y="-830"/>
                                                    <a:pt x="35878" y="-312"/>
                                                    <a:pt x="32249" y="1697"/>
                                                  </a:cubicBezTo>
                                                  <a:cubicBezTo>
                                                    <a:pt x="28622" y="3705"/>
                                                    <a:pt x="25836" y="6880"/>
                                                    <a:pt x="22791" y="9730"/>
                                                  </a:cubicBezTo>
                                                  <a:cubicBezTo>
                                                    <a:pt x="18450" y="13747"/>
                                                    <a:pt x="13397" y="17245"/>
                                                    <a:pt x="10741" y="22493"/>
                                                  </a:cubicBezTo>
                                                  <a:cubicBezTo>
                                                    <a:pt x="8085" y="27741"/>
                                                    <a:pt x="9186" y="35580"/>
                                                    <a:pt x="14693" y="37653"/>
                                                  </a:cubicBezTo>
                                                  <a:cubicBezTo>
                                                    <a:pt x="17414" y="38689"/>
                                                    <a:pt x="21236" y="38560"/>
                                                    <a:pt x="22143" y="41346"/>
                                                  </a:cubicBezTo>
                                                  <a:cubicBezTo>
                                                    <a:pt x="22661" y="42900"/>
                                                    <a:pt x="21819" y="44650"/>
                                                    <a:pt x="21042" y="46075"/>
                                                  </a:cubicBezTo>
                                                  <a:cubicBezTo>
                                                    <a:pt x="17543" y="52294"/>
                                                    <a:pt x="14045" y="58514"/>
                                                    <a:pt x="9251" y="63826"/>
                                                  </a:cubicBezTo>
                                                  <a:cubicBezTo>
                                                    <a:pt x="6854" y="66547"/>
                                                    <a:pt x="4133" y="69009"/>
                                                    <a:pt x="2189" y="72054"/>
                                                  </a:cubicBezTo>
                                                  <a:cubicBezTo>
                                                    <a:pt x="246" y="75099"/>
                                                    <a:pt x="-726" y="79051"/>
                                                    <a:pt x="634" y="82355"/>
                                                  </a:cubicBezTo>
                                                  <a:cubicBezTo>
                                                    <a:pt x="3355" y="82679"/>
                                                    <a:pt x="6141" y="82938"/>
                                                    <a:pt x="8862" y="83262"/>
                                                  </a:cubicBezTo>
                                                  <a:cubicBezTo>
                                                    <a:pt x="13397" y="83780"/>
                                                    <a:pt x="18839" y="83910"/>
                                                    <a:pt x="21495" y="80217"/>
                                                  </a:cubicBezTo>
                                                  <a:cubicBezTo>
                                                    <a:pt x="24929" y="75423"/>
                                                    <a:pt x="21107" y="67649"/>
                                                    <a:pt x="25123" y="63373"/>
                                                  </a:cubicBezTo>
                                                  <a:cubicBezTo>
                                                    <a:pt x="27261" y="61105"/>
                                                    <a:pt x="30824" y="60781"/>
                                                    <a:pt x="33027" y="5851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3" name="Freeform: Shape 157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536205C-513D-4B12-BD00-88BEDF0693E3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71830" y="3881898"/>
                                              <a:ext cx="71469" cy="14284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7154 w 71469"/>
                                                <a:gd name="connsiteY0" fmla="*/ 76847 h 142841"/>
                                                <a:gd name="connsiteX1" fmla="*/ 48103 w 71469"/>
                                                <a:gd name="connsiteY1" fmla="*/ 72830 h 142841"/>
                                                <a:gd name="connsiteX2" fmla="*/ 56655 w 71469"/>
                                                <a:gd name="connsiteY2" fmla="*/ 65833 h 142841"/>
                                                <a:gd name="connsiteX3" fmla="*/ 57043 w 71469"/>
                                                <a:gd name="connsiteY3" fmla="*/ 59225 h 142841"/>
                                                <a:gd name="connsiteX4" fmla="*/ 61189 w 71469"/>
                                                <a:gd name="connsiteY4" fmla="*/ 57670 h 142841"/>
                                                <a:gd name="connsiteX5" fmla="*/ 69029 w 71469"/>
                                                <a:gd name="connsiteY5" fmla="*/ 41862 h 142841"/>
                                                <a:gd name="connsiteX6" fmla="*/ 57950 w 71469"/>
                                                <a:gd name="connsiteY6" fmla="*/ 25990 h 142841"/>
                                                <a:gd name="connsiteX7" fmla="*/ 57692 w 71469"/>
                                                <a:gd name="connsiteY7" fmla="*/ 11607 h 142841"/>
                                                <a:gd name="connsiteX8" fmla="*/ 57043 w 71469"/>
                                                <a:gd name="connsiteY8" fmla="*/ 7979 h 142841"/>
                                                <a:gd name="connsiteX9" fmla="*/ 53091 w 71469"/>
                                                <a:gd name="connsiteY9" fmla="*/ 4934 h 142841"/>
                                                <a:gd name="connsiteX10" fmla="*/ 30870 w 71469"/>
                                                <a:gd name="connsiteY10" fmla="*/ 11 h 142841"/>
                                                <a:gd name="connsiteX11" fmla="*/ 21670 w 71469"/>
                                                <a:gd name="connsiteY11" fmla="*/ 1630 h 142841"/>
                                                <a:gd name="connsiteX12" fmla="*/ 13572 w 71469"/>
                                                <a:gd name="connsiteY12" fmla="*/ 13875 h 142841"/>
                                                <a:gd name="connsiteX13" fmla="*/ 11434 w 71469"/>
                                                <a:gd name="connsiteY13" fmla="*/ 53589 h 142841"/>
                                                <a:gd name="connsiteX14" fmla="*/ 9620 w 71469"/>
                                                <a:gd name="connsiteY14" fmla="*/ 65250 h 142841"/>
                                                <a:gd name="connsiteX15" fmla="*/ 2105 w 71469"/>
                                                <a:gd name="connsiteY15" fmla="*/ 70822 h 142841"/>
                                                <a:gd name="connsiteX16" fmla="*/ 4114 w 71469"/>
                                                <a:gd name="connsiteY16" fmla="*/ 88573 h 142841"/>
                                                <a:gd name="connsiteX17" fmla="*/ 6316 w 71469"/>
                                                <a:gd name="connsiteY17" fmla="*/ 106324 h 142841"/>
                                                <a:gd name="connsiteX18" fmla="*/ 12342 w 71469"/>
                                                <a:gd name="connsiteY18" fmla="*/ 111896 h 142841"/>
                                                <a:gd name="connsiteX19" fmla="*/ 10657 w 71469"/>
                                                <a:gd name="connsiteY19" fmla="*/ 120966 h 142841"/>
                                                <a:gd name="connsiteX20" fmla="*/ 11499 w 71469"/>
                                                <a:gd name="connsiteY20" fmla="*/ 129841 h 142841"/>
                                                <a:gd name="connsiteX21" fmla="*/ 23031 w 71469"/>
                                                <a:gd name="connsiteY21" fmla="*/ 131267 h 142841"/>
                                                <a:gd name="connsiteX22" fmla="*/ 34757 w 71469"/>
                                                <a:gd name="connsiteY22" fmla="*/ 127315 h 142841"/>
                                                <a:gd name="connsiteX23" fmla="*/ 43050 w 71469"/>
                                                <a:gd name="connsiteY23" fmla="*/ 131720 h 142841"/>
                                                <a:gd name="connsiteX24" fmla="*/ 45577 w 71469"/>
                                                <a:gd name="connsiteY24" fmla="*/ 136190 h 142841"/>
                                                <a:gd name="connsiteX25" fmla="*/ 67603 w 71469"/>
                                                <a:gd name="connsiteY25" fmla="*/ 142669 h 142841"/>
                                                <a:gd name="connsiteX26" fmla="*/ 71361 w 71469"/>
                                                <a:gd name="connsiteY26" fmla="*/ 128934 h 142841"/>
                                                <a:gd name="connsiteX27" fmla="*/ 45641 w 71469"/>
                                                <a:gd name="connsiteY27" fmla="*/ 121808 h 142841"/>
                                                <a:gd name="connsiteX28" fmla="*/ 41171 w 71469"/>
                                                <a:gd name="connsiteY28" fmla="*/ 107361 h 142841"/>
                                                <a:gd name="connsiteX29" fmla="*/ 34239 w 71469"/>
                                                <a:gd name="connsiteY29" fmla="*/ 100364 h 142841"/>
                                                <a:gd name="connsiteX30" fmla="*/ 34627 w 71469"/>
                                                <a:gd name="connsiteY30" fmla="*/ 94274 h 142841"/>
                                                <a:gd name="connsiteX31" fmla="*/ 37154 w 71469"/>
                                                <a:gd name="connsiteY31" fmla="*/ 76976 h 14284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71469" h="142841">
                                                  <a:moveTo>
                                                    <a:pt x="37154" y="76847"/>
                                                  </a:moveTo>
                                                  <a:cubicBezTo>
                                                    <a:pt x="39875" y="73931"/>
                                                    <a:pt x="44216" y="73607"/>
                                                    <a:pt x="48103" y="72830"/>
                                                  </a:cubicBezTo>
                                                  <a:cubicBezTo>
                                                    <a:pt x="51990" y="72052"/>
                                                    <a:pt x="56395" y="69785"/>
                                                    <a:pt x="56655" y="65833"/>
                                                  </a:cubicBezTo>
                                                  <a:cubicBezTo>
                                                    <a:pt x="56784" y="63565"/>
                                                    <a:pt x="55553" y="60909"/>
                                                    <a:pt x="57043" y="59225"/>
                                                  </a:cubicBezTo>
                                                  <a:cubicBezTo>
                                                    <a:pt x="58015" y="58059"/>
                                                    <a:pt x="59764" y="57994"/>
                                                    <a:pt x="61189" y="57670"/>
                                                  </a:cubicBezTo>
                                                  <a:cubicBezTo>
                                                    <a:pt x="67538" y="56115"/>
                                                    <a:pt x="70584" y="48211"/>
                                                    <a:pt x="69029" y="41862"/>
                                                  </a:cubicBezTo>
                                                  <a:cubicBezTo>
                                                    <a:pt x="67473" y="35513"/>
                                                    <a:pt x="62679" y="30460"/>
                                                    <a:pt x="57950" y="25990"/>
                                                  </a:cubicBezTo>
                                                  <a:cubicBezTo>
                                                    <a:pt x="57885" y="21196"/>
                                                    <a:pt x="57756" y="16401"/>
                                                    <a:pt x="57692" y="11607"/>
                                                  </a:cubicBezTo>
                                                  <a:cubicBezTo>
                                                    <a:pt x="57692" y="10376"/>
                                                    <a:pt x="57692" y="9081"/>
                                                    <a:pt x="57043" y="7979"/>
                                                  </a:cubicBezTo>
                                                  <a:cubicBezTo>
                                                    <a:pt x="56266" y="6489"/>
                                                    <a:pt x="54646" y="5647"/>
                                                    <a:pt x="53091" y="4934"/>
                                                  </a:cubicBezTo>
                                                  <a:cubicBezTo>
                                                    <a:pt x="46095" y="1889"/>
                                                    <a:pt x="38514" y="205"/>
                                                    <a:pt x="30870" y="11"/>
                                                  </a:cubicBezTo>
                                                  <a:cubicBezTo>
                                                    <a:pt x="27696" y="-54"/>
                                                    <a:pt x="24456" y="140"/>
                                                    <a:pt x="21670" y="1630"/>
                                                  </a:cubicBezTo>
                                                  <a:cubicBezTo>
                                                    <a:pt x="17200" y="3963"/>
                                                    <a:pt x="14997" y="9081"/>
                                                    <a:pt x="13572" y="13875"/>
                                                  </a:cubicBezTo>
                                                  <a:cubicBezTo>
                                                    <a:pt x="9880" y="26702"/>
                                                    <a:pt x="10073" y="40307"/>
                                                    <a:pt x="11434" y="53589"/>
                                                  </a:cubicBezTo>
                                                  <a:cubicBezTo>
                                                    <a:pt x="11823" y="57605"/>
                                                    <a:pt x="12212" y="62140"/>
                                                    <a:pt x="9620" y="65250"/>
                                                  </a:cubicBezTo>
                                                  <a:cubicBezTo>
                                                    <a:pt x="7612" y="67647"/>
                                                    <a:pt x="4178" y="68489"/>
                                                    <a:pt x="2105" y="70822"/>
                                                  </a:cubicBezTo>
                                                  <a:cubicBezTo>
                                                    <a:pt x="-2171" y="75551"/>
                                                    <a:pt x="874" y="83066"/>
                                                    <a:pt x="4114" y="88573"/>
                                                  </a:cubicBezTo>
                                                  <a:cubicBezTo>
                                                    <a:pt x="7353" y="94080"/>
                                                    <a:pt x="10527" y="101465"/>
                                                    <a:pt x="6316" y="106324"/>
                                                  </a:cubicBezTo>
                                                  <a:cubicBezTo>
                                                    <a:pt x="9361" y="105741"/>
                                                    <a:pt x="12017" y="108851"/>
                                                    <a:pt x="12342" y="111896"/>
                                                  </a:cubicBezTo>
                                                  <a:cubicBezTo>
                                                    <a:pt x="12665" y="114941"/>
                                                    <a:pt x="11434" y="117986"/>
                                                    <a:pt x="10657" y="120966"/>
                                                  </a:cubicBezTo>
                                                  <a:cubicBezTo>
                                                    <a:pt x="9880" y="123946"/>
                                                    <a:pt x="9555" y="127444"/>
                                                    <a:pt x="11499" y="129841"/>
                                                  </a:cubicBezTo>
                                                  <a:cubicBezTo>
                                                    <a:pt x="14090" y="133145"/>
                                                    <a:pt x="19144" y="132757"/>
                                                    <a:pt x="23031" y="131267"/>
                                                  </a:cubicBezTo>
                                                  <a:cubicBezTo>
                                                    <a:pt x="26918" y="129712"/>
                                                    <a:pt x="30611" y="127315"/>
                                                    <a:pt x="34757" y="127315"/>
                                                  </a:cubicBezTo>
                                                  <a:cubicBezTo>
                                                    <a:pt x="37996" y="127315"/>
                                                    <a:pt x="41171" y="128999"/>
                                                    <a:pt x="43050" y="131720"/>
                                                  </a:cubicBezTo>
                                                  <a:cubicBezTo>
                                                    <a:pt x="44021" y="133145"/>
                                                    <a:pt x="44605" y="134765"/>
                                                    <a:pt x="45577" y="136190"/>
                                                  </a:cubicBezTo>
                                                  <a:cubicBezTo>
                                                    <a:pt x="49982" y="142928"/>
                                                    <a:pt x="59570" y="143187"/>
                                                    <a:pt x="67603" y="142669"/>
                                                  </a:cubicBezTo>
                                                  <a:cubicBezTo>
                                                    <a:pt x="70519" y="138782"/>
                                                    <a:pt x="71879" y="133728"/>
                                                    <a:pt x="71361" y="128934"/>
                                                  </a:cubicBezTo>
                                                  <a:cubicBezTo>
                                                    <a:pt x="64299" y="123103"/>
                                                    <a:pt x="54711" y="120447"/>
                                                    <a:pt x="45641" y="121808"/>
                                                  </a:cubicBezTo>
                                                  <a:cubicBezTo>
                                                    <a:pt x="47002" y="116690"/>
                                                    <a:pt x="45188" y="110859"/>
                                                    <a:pt x="41171" y="107361"/>
                                                  </a:cubicBezTo>
                                                  <a:cubicBezTo>
                                                    <a:pt x="38644" y="105158"/>
                                                    <a:pt x="35145" y="103603"/>
                                                    <a:pt x="34239" y="100364"/>
                                                  </a:cubicBezTo>
                                                  <a:cubicBezTo>
                                                    <a:pt x="33720" y="98420"/>
                                                    <a:pt x="34368" y="96347"/>
                                                    <a:pt x="34627" y="94274"/>
                                                  </a:cubicBezTo>
                                                  <a:cubicBezTo>
                                                    <a:pt x="35340" y="88378"/>
                                                    <a:pt x="33073" y="81317"/>
                                                    <a:pt x="37154" y="7697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4" name="Freeform: Shape 157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422097C-47F6-4C95-99F1-8167274643B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82506" y="4025179"/>
                                              <a:ext cx="32555" cy="4110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1985 w 32555"/>
                                                <a:gd name="connsiteY0" fmla="*/ 26663 h 41109"/>
                                                <a:gd name="connsiteX1" fmla="*/ 29135 w 32555"/>
                                                <a:gd name="connsiteY1" fmla="*/ 22581 h 41109"/>
                                                <a:gd name="connsiteX2" fmla="*/ 23563 w 32555"/>
                                                <a:gd name="connsiteY2" fmla="*/ 17204 h 41109"/>
                                                <a:gd name="connsiteX3" fmla="*/ 14234 w 32555"/>
                                                <a:gd name="connsiteY3" fmla="*/ 7227 h 41109"/>
                                                <a:gd name="connsiteX4" fmla="*/ 13651 w 32555"/>
                                                <a:gd name="connsiteY4" fmla="*/ 6255 h 41109"/>
                                                <a:gd name="connsiteX5" fmla="*/ 11448 w 32555"/>
                                                <a:gd name="connsiteY5" fmla="*/ 3340 h 41109"/>
                                                <a:gd name="connsiteX6" fmla="*/ 1212 w 32555"/>
                                                <a:gd name="connsiteY6" fmla="*/ 230 h 41109"/>
                                                <a:gd name="connsiteX7" fmla="*/ 434 w 32555"/>
                                                <a:gd name="connsiteY7" fmla="*/ 425 h 41109"/>
                                                <a:gd name="connsiteX8" fmla="*/ 434 w 32555"/>
                                                <a:gd name="connsiteY8" fmla="*/ 1202 h 41109"/>
                                                <a:gd name="connsiteX9" fmla="*/ 110 w 32555"/>
                                                <a:gd name="connsiteY9" fmla="*/ 16427 h 41109"/>
                                                <a:gd name="connsiteX10" fmla="*/ 434 w 32555"/>
                                                <a:gd name="connsiteY10" fmla="*/ 20962 h 41109"/>
                                                <a:gd name="connsiteX11" fmla="*/ 2054 w 32555"/>
                                                <a:gd name="connsiteY11" fmla="*/ 23359 h 41109"/>
                                                <a:gd name="connsiteX12" fmla="*/ 7625 w 32555"/>
                                                <a:gd name="connsiteY12" fmla="*/ 28217 h 41109"/>
                                                <a:gd name="connsiteX13" fmla="*/ 8144 w 32555"/>
                                                <a:gd name="connsiteY13" fmla="*/ 28542 h 41109"/>
                                                <a:gd name="connsiteX14" fmla="*/ 10994 w 32555"/>
                                                <a:gd name="connsiteY14" fmla="*/ 31003 h 41109"/>
                                                <a:gd name="connsiteX15" fmla="*/ 12031 w 32555"/>
                                                <a:gd name="connsiteY15" fmla="*/ 34048 h 41109"/>
                                                <a:gd name="connsiteX16" fmla="*/ 13067 w 32555"/>
                                                <a:gd name="connsiteY16" fmla="*/ 37288 h 41109"/>
                                                <a:gd name="connsiteX17" fmla="*/ 19352 w 32555"/>
                                                <a:gd name="connsiteY17" fmla="*/ 41110 h 41109"/>
                                                <a:gd name="connsiteX18" fmla="*/ 20129 w 32555"/>
                                                <a:gd name="connsiteY18" fmla="*/ 41110 h 41109"/>
                                                <a:gd name="connsiteX19" fmla="*/ 26284 w 32555"/>
                                                <a:gd name="connsiteY19" fmla="*/ 39296 h 41109"/>
                                                <a:gd name="connsiteX20" fmla="*/ 31985 w 32555"/>
                                                <a:gd name="connsiteY20" fmla="*/ 26663 h 41109"/>
                                                <a:gd name="connsiteX21" fmla="*/ 25312 w 32555"/>
                                                <a:gd name="connsiteY21" fmla="*/ 37611 h 41109"/>
                                                <a:gd name="connsiteX22" fmla="*/ 19482 w 32555"/>
                                                <a:gd name="connsiteY22" fmla="*/ 39166 h 41109"/>
                                                <a:gd name="connsiteX23" fmla="*/ 14752 w 32555"/>
                                                <a:gd name="connsiteY23" fmla="*/ 36316 h 41109"/>
                                                <a:gd name="connsiteX24" fmla="*/ 13909 w 32555"/>
                                                <a:gd name="connsiteY24" fmla="*/ 33595 h 41109"/>
                                                <a:gd name="connsiteX25" fmla="*/ 12614 w 32555"/>
                                                <a:gd name="connsiteY25" fmla="*/ 29967 h 41109"/>
                                                <a:gd name="connsiteX26" fmla="*/ 9245 w 32555"/>
                                                <a:gd name="connsiteY26" fmla="*/ 26987 h 41109"/>
                                                <a:gd name="connsiteX27" fmla="*/ 8727 w 32555"/>
                                                <a:gd name="connsiteY27" fmla="*/ 26598 h 41109"/>
                                                <a:gd name="connsiteX28" fmla="*/ 3544 w 32555"/>
                                                <a:gd name="connsiteY28" fmla="*/ 21998 h 41109"/>
                                                <a:gd name="connsiteX29" fmla="*/ 2248 w 32555"/>
                                                <a:gd name="connsiteY29" fmla="*/ 20184 h 41109"/>
                                                <a:gd name="connsiteX30" fmla="*/ 2054 w 32555"/>
                                                <a:gd name="connsiteY30" fmla="*/ 16491 h 41109"/>
                                                <a:gd name="connsiteX31" fmla="*/ 2443 w 32555"/>
                                                <a:gd name="connsiteY31" fmla="*/ 1979 h 41109"/>
                                                <a:gd name="connsiteX32" fmla="*/ 10022 w 32555"/>
                                                <a:gd name="connsiteY32" fmla="*/ 4700 h 41109"/>
                                                <a:gd name="connsiteX33" fmla="*/ 12031 w 32555"/>
                                                <a:gd name="connsiteY33" fmla="*/ 7356 h 41109"/>
                                                <a:gd name="connsiteX34" fmla="*/ 12614 w 32555"/>
                                                <a:gd name="connsiteY34" fmla="*/ 8264 h 41109"/>
                                                <a:gd name="connsiteX35" fmla="*/ 22267 w 32555"/>
                                                <a:gd name="connsiteY35" fmla="*/ 18629 h 41109"/>
                                                <a:gd name="connsiteX36" fmla="*/ 27709 w 32555"/>
                                                <a:gd name="connsiteY36" fmla="*/ 23942 h 41109"/>
                                                <a:gd name="connsiteX37" fmla="*/ 30171 w 32555"/>
                                                <a:gd name="connsiteY37" fmla="*/ 27375 h 41109"/>
                                                <a:gd name="connsiteX38" fmla="*/ 25312 w 32555"/>
                                                <a:gd name="connsiteY38" fmla="*/ 37611 h 4110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2555" h="41109">
                                                  <a:moveTo>
                                                    <a:pt x="31985" y="26663"/>
                                                  </a:moveTo>
                                                  <a:cubicBezTo>
                                                    <a:pt x="31337" y="24978"/>
                                                    <a:pt x="30171" y="23683"/>
                                                    <a:pt x="29135" y="22581"/>
                                                  </a:cubicBezTo>
                                                  <a:cubicBezTo>
                                                    <a:pt x="27385" y="20702"/>
                                                    <a:pt x="25441" y="18888"/>
                                                    <a:pt x="23563" y="17204"/>
                                                  </a:cubicBezTo>
                                                  <a:cubicBezTo>
                                                    <a:pt x="20259" y="14094"/>
                                                    <a:pt x="16760" y="10920"/>
                                                    <a:pt x="14234" y="7227"/>
                                                  </a:cubicBezTo>
                                                  <a:lnTo>
                                                    <a:pt x="13651" y="6255"/>
                                                  </a:lnTo>
                                                  <a:cubicBezTo>
                                                    <a:pt x="13003" y="5283"/>
                                                    <a:pt x="12290" y="4247"/>
                                                    <a:pt x="11448" y="3340"/>
                                                  </a:cubicBezTo>
                                                  <a:cubicBezTo>
                                                    <a:pt x="8986" y="684"/>
                                                    <a:pt x="4840" y="-547"/>
                                                    <a:pt x="1212" y="230"/>
                                                  </a:cubicBezTo>
                                                  <a:lnTo>
                                                    <a:pt x="434" y="425"/>
                                                  </a:lnTo>
                                                  <a:lnTo>
                                                    <a:pt x="434" y="1202"/>
                                                  </a:lnTo>
                                                  <a:cubicBezTo>
                                                    <a:pt x="694" y="6255"/>
                                                    <a:pt x="564" y="11309"/>
                                                    <a:pt x="110" y="16427"/>
                                                  </a:cubicBezTo>
                                                  <a:cubicBezTo>
                                                    <a:pt x="-19" y="17852"/>
                                                    <a:pt x="-149" y="19472"/>
                                                    <a:pt x="434" y="20962"/>
                                                  </a:cubicBezTo>
                                                  <a:cubicBezTo>
                                                    <a:pt x="823" y="21869"/>
                                                    <a:pt x="1471" y="22646"/>
                                                    <a:pt x="2054" y="23359"/>
                                                  </a:cubicBezTo>
                                                  <a:cubicBezTo>
                                                    <a:pt x="3738" y="25173"/>
                                                    <a:pt x="5617" y="26857"/>
                                                    <a:pt x="7625" y="28217"/>
                                                  </a:cubicBezTo>
                                                  <a:lnTo>
                                                    <a:pt x="8144" y="28542"/>
                                                  </a:lnTo>
                                                  <a:cubicBezTo>
                                                    <a:pt x="9245" y="29319"/>
                                                    <a:pt x="10347" y="30031"/>
                                                    <a:pt x="10994" y="31003"/>
                                                  </a:cubicBezTo>
                                                  <a:cubicBezTo>
                                                    <a:pt x="11512" y="31845"/>
                                                    <a:pt x="11772" y="32882"/>
                                                    <a:pt x="12031" y="34048"/>
                                                  </a:cubicBezTo>
                                                  <a:cubicBezTo>
                                                    <a:pt x="12226" y="35085"/>
                                                    <a:pt x="12484" y="36186"/>
                                                    <a:pt x="13067" y="37288"/>
                                                  </a:cubicBezTo>
                                                  <a:cubicBezTo>
                                                    <a:pt x="14234" y="39425"/>
                                                    <a:pt x="16631" y="40851"/>
                                                    <a:pt x="19352" y="41110"/>
                                                  </a:cubicBezTo>
                                                  <a:lnTo>
                                                    <a:pt x="20129" y="41110"/>
                                                  </a:lnTo>
                                                  <a:cubicBezTo>
                                                    <a:pt x="22137" y="41110"/>
                                                    <a:pt x="24211" y="40462"/>
                                                    <a:pt x="26284" y="39296"/>
                                                  </a:cubicBezTo>
                                                  <a:cubicBezTo>
                                                    <a:pt x="30625" y="36834"/>
                                                    <a:pt x="33929" y="31392"/>
                                                    <a:pt x="31985" y="26663"/>
                                                  </a:cubicBezTo>
                                                  <a:close/>
                                                  <a:moveTo>
                                                    <a:pt x="25312" y="37611"/>
                                                  </a:moveTo>
                                                  <a:cubicBezTo>
                                                    <a:pt x="23369" y="38778"/>
                                                    <a:pt x="21295" y="39296"/>
                                                    <a:pt x="19482" y="39166"/>
                                                  </a:cubicBezTo>
                                                  <a:cubicBezTo>
                                                    <a:pt x="17408" y="38972"/>
                                                    <a:pt x="15594" y="37871"/>
                                                    <a:pt x="14752" y="36316"/>
                                                  </a:cubicBezTo>
                                                  <a:cubicBezTo>
                                                    <a:pt x="14363" y="35538"/>
                                                    <a:pt x="14104" y="34567"/>
                                                    <a:pt x="13909" y="33595"/>
                                                  </a:cubicBezTo>
                                                  <a:cubicBezTo>
                                                    <a:pt x="13651" y="32364"/>
                                                    <a:pt x="13327" y="31133"/>
                                                    <a:pt x="12614" y="29967"/>
                                                  </a:cubicBezTo>
                                                  <a:cubicBezTo>
                                                    <a:pt x="11772" y="28671"/>
                                                    <a:pt x="10476" y="27764"/>
                                                    <a:pt x="9245" y="26987"/>
                                                  </a:cubicBezTo>
                                                  <a:lnTo>
                                                    <a:pt x="8727" y="26598"/>
                                                  </a:lnTo>
                                                  <a:cubicBezTo>
                                                    <a:pt x="6848" y="25302"/>
                                                    <a:pt x="5099" y="23747"/>
                                                    <a:pt x="3544" y="21998"/>
                                                  </a:cubicBezTo>
                                                  <a:cubicBezTo>
                                                    <a:pt x="2961" y="21415"/>
                                                    <a:pt x="2508" y="20832"/>
                                                    <a:pt x="2248" y="20184"/>
                                                  </a:cubicBezTo>
                                                  <a:cubicBezTo>
                                                    <a:pt x="1795" y="19148"/>
                                                    <a:pt x="1924" y="17852"/>
                                                    <a:pt x="2054" y="16491"/>
                                                  </a:cubicBezTo>
                                                  <a:cubicBezTo>
                                                    <a:pt x="2443" y="11697"/>
                                                    <a:pt x="2572" y="6838"/>
                                                    <a:pt x="2443" y="1979"/>
                                                  </a:cubicBezTo>
                                                  <a:cubicBezTo>
                                                    <a:pt x="5164" y="1655"/>
                                                    <a:pt x="8208" y="2692"/>
                                                    <a:pt x="10022" y="4700"/>
                                                  </a:cubicBezTo>
                                                  <a:cubicBezTo>
                                                    <a:pt x="10800" y="5478"/>
                                                    <a:pt x="11383" y="6385"/>
                                                    <a:pt x="12031" y="7356"/>
                                                  </a:cubicBezTo>
                                                  <a:lnTo>
                                                    <a:pt x="12614" y="8264"/>
                                                  </a:lnTo>
                                                  <a:cubicBezTo>
                                                    <a:pt x="15335" y="12215"/>
                                                    <a:pt x="18833" y="15455"/>
                                                    <a:pt x="22267" y="18629"/>
                                                  </a:cubicBezTo>
                                                  <a:cubicBezTo>
                                                    <a:pt x="24081" y="20314"/>
                                                    <a:pt x="26024" y="22063"/>
                                                    <a:pt x="27709" y="23942"/>
                                                  </a:cubicBezTo>
                                                  <a:cubicBezTo>
                                                    <a:pt x="28681" y="24914"/>
                                                    <a:pt x="29653" y="26015"/>
                                                    <a:pt x="30171" y="27375"/>
                                                  </a:cubicBezTo>
                                                  <a:cubicBezTo>
                                                    <a:pt x="31725" y="31133"/>
                                                    <a:pt x="28875" y="35538"/>
                                                    <a:pt x="25312" y="3761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5" name="Freeform: Shape 157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AA7485B2-4972-4629-A5EB-07F26736576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61318" y="4046983"/>
                                              <a:ext cx="12281" cy="2105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739 w 12281"/>
                                                <a:gd name="connsiteY0" fmla="*/ 4405 h 21055"/>
                                                <a:gd name="connsiteX1" fmla="*/ 6168 w 12281"/>
                                                <a:gd name="connsiteY1" fmla="*/ 0 h 21055"/>
                                                <a:gd name="connsiteX2" fmla="*/ 402 w 12281"/>
                                                <a:gd name="connsiteY2" fmla="*/ 4924 h 21055"/>
                                                <a:gd name="connsiteX3" fmla="*/ 402 w 12281"/>
                                                <a:gd name="connsiteY3" fmla="*/ 12245 h 21055"/>
                                                <a:gd name="connsiteX4" fmla="*/ 3122 w 12281"/>
                                                <a:gd name="connsiteY4" fmla="*/ 19695 h 21055"/>
                                                <a:gd name="connsiteX5" fmla="*/ 4936 w 12281"/>
                                                <a:gd name="connsiteY5" fmla="*/ 20926 h 21055"/>
                                                <a:gd name="connsiteX6" fmla="*/ 5779 w 12281"/>
                                                <a:gd name="connsiteY6" fmla="*/ 21055 h 21055"/>
                                                <a:gd name="connsiteX7" fmla="*/ 9342 w 12281"/>
                                                <a:gd name="connsiteY7" fmla="*/ 18918 h 21055"/>
                                                <a:gd name="connsiteX8" fmla="*/ 11998 w 12281"/>
                                                <a:gd name="connsiteY8" fmla="*/ 11143 h 21055"/>
                                                <a:gd name="connsiteX9" fmla="*/ 11739 w 12281"/>
                                                <a:gd name="connsiteY9" fmla="*/ 4405 h 21055"/>
                                                <a:gd name="connsiteX10" fmla="*/ 10119 w 12281"/>
                                                <a:gd name="connsiteY10" fmla="*/ 10884 h 21055"/>
                                                <a:gd name="connsiteX11" fmla="*/ 7722 w 12281"/>
                                                <a:gd name="connsiteY11" fmla="*/ 17751 h 21055"/>
                                                <a:gd name="connsiteX12" fmla="*/ 5455 w 12281"/>
                                                <a:gd name="connsiteY12" fmla="*/ 19047 h 21055"/>
                                                <a:gd name="connsiteX13" fmla="*/ 4548 w 12281"/>
                                                <a:gd name="connsiteY13" fmla="*/ 18399 h 21055"/>
                                                <a:gd name="connsiteX14" fmla="*/ 2345 w 12281"/>
                                                <a:gd name="connsiteY14" fmla="*/ 11921 h 21055"/>
                                                <a:gd name="connsiteX15" fmla="*/ 2216 w 12281"/>
                                                <a:gd name="connsiteY15" fmla="*/ 5507 h 21055"/>
                                                <a:gd name="connsiteX16" fmla="*/ 6168 w 12281"/>
                                                <a:gd name="connsiteY16" fmla="*/ 1943 h 21055"/>
                                                <a:gd name="connsiteX17" fmla="*/ 9925 w 12281"/>
                                                <a:gd name="connsiteY17" fmla="*/ 5053 h 21055"/>
                                                <a:gd name="connsiteX18" fmla="*/ 10119 w 12281"/>
                                                <a:gd name="connsiteY18" fmla="*/ 10884 h 2105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2281" h="21055">
                                                  <a:moveTo>
                                                    <a:pt x="11739" y="4405"/>
                                                  </a:moveTo>
                                                  <a:cubicBezTo>
                                                    <a:pt x="10832" y="1814"/>
                                                    <a:pt x="8565" y="0"/>
                                                    <a:pt x="6168" y="0"/>
                                                  </a:cubicBezTo>
                                                  <a:cubicBezTo>
                                                    <a:pt x="3317" y="0"/>
                                                    <a:pt x="1114" y="2462"/>
                                                    <a:pt x="402" y="4924"/>
                                                  </a:cubicBezTo>
                                                  <a:cubicBezTo>
                                                    <a:pt x="-311" y="7386"/>
                                                    <a:pt x="77" y="9977"/>
                                                    <a:pt x="402" y="12245"/>
                                                  </a:cubicBezTo>
                                                  <a:cubicBezTo>
                                                    <a:pt x="790" y="14577"/>
                                                    <a:pt x="1244" y="17492"/>
                                                    <a:pt x="3122" y="19695"/>
                                                  </a:cubicBezTo>
                                                  <a:cubicBezTo>
                                                    <a:pt x="3706" y="20343"/>
                                                    <a:pt x="4289" y="20732"/>
                                                    <a:pt x="4936" y="20926"/>
                                                  </a:cubicBezTo>
                                                  <a:cubicBezTo>
                                                    <a:pt x="5196" y="21055"/>
                                                    <a:pt x="5519" y="21055"/>
                                                    <a:pt x="5779" y="21055"/>
                                                  </a:cubicBezTo>
                                                  <a:cubicBezTo>
                                                    <a:pt x="7528" y="21055"/>
                                                    <a:pt x="8823" y="19565"/>
                                                    <a:pt x="9342" y="18918"/>
                                                  </a:cubicBezTo>
                                                  <a:cubicBezTo>
                                                    <a:pt x="11091" y="16520"/>
                                                    <a:pt x="11674" y="13670"/>
                                                    <a:pt x="11998" y="11143"/>
                                                  </a:cubicBezTo>
                                                  <a:cubicBezTo>
                                                    <a:pt x="12322" y="8940"/>
                                                    <a:pt x="12516" y="6608"/>
                                                    <a:pt x="11739" y="4405"/>
                                                  </a:cubicBezTo>
                                                  <a:close/>
                                                  <a:moveTo>
                                                    <a:pt x="10119" y="10884"/>
                                                  </a:moveTo>
                                                  <a:cubicBezTo>
                                                    <a:pt x="9795" y="13151"/>
                                                    <a:pt x="9212" y="15743"/>
                                                    <a:pt x="7722" y="17751"/>
                                                  </a:cubicBezTo>
                                                  <a:cubicBezTo>
                                                    <a:pt x="7075" y="18723"/>
                                                    <a:pt x="6232" y="19306"/>
                                                    <a:pt x="5455" y="19047"/>
                                                  </a:cubicBezTo>
                                                  <a:cubicBezTo>
                                                    <a:pt x="5196" y="18982"/>
                                                    <a:pt x="4871" y="18788"/>
                                                    <a:pt x="4548" y="18399"/>
                                                  </a:cubicBezTo>
                                                  <a:cubicBezTo>
                                                    <a:pt x="3058" y="16650"/>
                                                    <a:pt x="2669" y="14059"/>
                                                    <a:pt x="2345" y="11921"/>
                                                  </a:cubicBezTo>
                                                  <a:cubicBezTo>
                                                    <a:pt x="2021" y="9783"/>
                                                    <a:pt x="1632" y="7515"/>
                                                    <a:pt x="2216" y="5507"/>
                                                  </a:cubicBezTo>
                                                  <a:cubicBezTo>
                                                    <a:pt x="2734" y="3757"/>
                                                    <a:pt x="4289" y="1943"/>
                                                    <a:pt x="6168" y="1943"/>
                                                  </a:cubicBezTo>
                                                  <a:cubicBezTo>
                                                    <a:pt x="7917" y="1943"/>
                                                    <a:pt x="9342" y="3498"/>
                                                    <a:pt x="9925" y="5053"/>
                                                  </a:cubicBezTo>
                                                  <a:cubicBezTo>
                                                    <a:pt x="10573" y="6867"/>
                                                    <a:pt x="10378" y="8940"/>
                                                    <a:pt x="10119" y="1088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6" name="Freeform: Shape 157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7DE421C-69A4-4453-A37E-50FEBBFB03A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79283" y="4065452"/>
                                              <a:ext cx="33941" cy="5059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990 w 33941"/>
                                                <a:gd name="connsiteY0" fmla="*/ 40551 h 50592"/>
                                                <a:gd name="connsiteX1" fmla="*/ 6926 w 33941"/>
                                                <a:gd name="connsiteY1" fmla="*/ 44826 h 50592"/>
                                                <a:gd name="connsiteX2" fmla="*/ 8869 w 33941"/>
                                                <a:gd name="connsiteY2" fmla="*/ 46640 h 50592"/>
                                                <a:gd name="connsiteX3" fmla="*/ 18522 w 33941"/>
                                                <a:gd name="connsiteY3" fmla="*/ 50592 h 50592"/>
                                                <a:gd name="connsiteX4" fmla="*/ 21567 w 33941"/>
                                                <a:gd name="connsiteY4" fmla="*/ 49491 h 50592"/>
                                                <a:gd name="connsiteX5" fmla="*/ 22345 w 33941"/>
                                                <a:gd name="connsiteY5" fmla="*/ 46640 h 50592"/>
                                                <a:gd name="connsiteX6" fmla="*/ 21761 w 33941"/>
                                                <a:gd name="connsiteY6" fmla="*/ 32452 h 50592"/>
                                                <a:gd name="connsiteX7" fmla="*/ 31026 w 33941"/>
                                                <a:gd name="connsiteY7" fmla="*/ 25715 h 50592"/>
                                                <a:gd name="connsiteX8" fmla="*/ 33941 w 33941"/>
                                                <a:gd name="connsiteY8" fmla="*/ 14442 h 50592"/>
                                                <a:gd name="connsiteX9" fmla="*/ 32581 w 33941"/>
                                                <a:gd name="connsiteY9" fmla="*/ 8287 h 50592"/>
                                                <a:gd name="connsiteX10" fmla="*/ 30702 w 33941"/>
                                                <a:gd name="connsiteY10" fmla="*/ 6149 h 50592"/>
                                                <a:gd name="connsiteX11" fmla="*/ 6277 w 33941"/>
                                                <a:gd name="connsiteY11" fmla="*/ 1485 h 50592"/>
                                                <a:gd name="connsiteX12" fmla="*/ 1354 w 33941"/>
                                                <a:gd name="connsiteY12" fmla="*/ 4983 h 50592"/>
                                                <a:gd name="connsiteX13" fmla="*/ 123 w 33941"/>
                                                <a:gd name="connsiteY13" fmla="*/ 10684 h 50592"/>
                                                <a:gd name="connsiteX14" fmla="*/ 1483 w 33941"/>
                                                <a:gd name="connsiteY14" fmla="*/ 25261 h 50592"/>
                                                <a:gd name="connsiteX15" fmla="*/ 6990 w 33941"/>
                                                <a:gd name="connsiteY15" fmla="*/ 40615 h 5059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3941" h="50592">
                                                  <a:moveTo>
                                                    <a:pt x="6990" y="40551"/>
                                                  </a:moveTo>
                                                  <a:cubicBezTo>
                                                    <a:pt x="6796" y="41976"/>
                                                    <a:pt x="6277" y="43531"/>
                                                    <a:pt x="6926" y="44826"/>
                                                  </a:cubicBezTo>
                                                  <a:cubicBezTo>
                                                    <a:pt x="7314" y="45604"/>
                                                    <a:pt x="8092" y="46122"/>
                                                    <a:pt x="8869" y="46640"/>
                                                  </a:cubicBezTo>
                                                  <a:cubicBezTo>
                                                    <a:pt x="11849" y="48584"/>
                                                    <a:pt x="15024" y="50527"/>
                                                    <a:pt x="18522" y="50592"/>
                                                  </a:cubicBezTo>
                                                  <a:cubicBezTo>
                                                    <a:pt x="19624" y="50592"/>
                                                    <a:pt x="20854" y="50333"/>
                                                    <a:pt x="21567" y="49491"/>
                                                  </a:cubicBezTo>
                                                  <a:cubicBezTo>
                                                    <a:pt x="22215" y="48713"/>
                                                    <a:pt x="22280" y="47612"/>
                                                    <a:pt x="22345" y="46640"/>
                                                  </a:cubicBezTo>
                                                  <a:cubicBezTo>
                                                    <a:pt x="22539" y="41911"/>
                                                    <a:pt x="22345" y="37117"/>
                                                    <a:pt x="21761" y="32452"/>
                                                  </a:cubicBezTo>
                                                  <a:cubicBezTo>
                                                    <a:pt x="25584" y="31740"/>
                                                    <a:pt x="28952" y="29083"/>
                                                    <a:pt x="31026" y="25715"/>
                                                  </a:cubicBezTo>
                                                  <a:cubicBezTo>
                                                    <a:pt x="33099" y="22346"/>
                                                    <a:pt x="33941" y="18394"/>
                                                    <a:pt x="33941" y="14442"/>
                                                  </a:cubicBezTo>
                                                  <a:cubicBezTo>
                                                    <a:pt x="33941" y="12304"/>
                                                    <a:pt x="33747" y="10101"/>
                                                    <a:pt x="32581" y="8287"/>
                                                  </a:cubicBezTo>
                                                  <a:cubicBezTo>
                                                    <a:pt x="32063" y="7445"/>
                                                    <a:pt x="31414" y="6797"/>
                                                    <a:pt x="30702" y="6149"/>
                                                  </a:cubicBezTo>
                                                  <a:cubicBezTo>
                                                    <a:pt x="24223" y="254"/>
                                                    <a:pt x="14440" y="-1625"/>
                                                    <a:pt x="6277" y="1485"/>
                                                  </a:cubicBezTo>
                                                  <a:cubicBezTo>
                                                    <a:pt x="4334" y="2197"/>
                                                    <a:pt x="2455" y="3234"/>
                                                    <a:pt x="1354" y="4983"/>
                                                  </a:cubicBezTo>
                                                  <a:cubicBezTo>
                                                    <a:pt x="318" y="6668"/>
                                                    <a:pt x="188" y="8741"/>
                                                    <a:pt x="123" y="10684"/>
                                                  </a:cubicBezTo>
                                                  <a:cubicBezTo>
                                                    <a:pt x="-71" y="15608"/>
                                                    <a:pt x="-266" y="20661"/>
                                                    <a:pt x="1483" y="25261"/>
                                                  </a:cubicBezTo>
                                                  <a:cubicBezTo>
                                                    <a:pt x="3427" y="30444"/>
                                                    <a:pt x="7703" y="35108"/>
                                                    <a:pt x="6990" y="4061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7" name="Freeform: Shape 157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9D8D693-839B-4E46-AECF-CCE12367991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11966" y="4065658"/>
                                              <a:ext cx="61014" cy="8097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1850 w 61014"/>
                                                <a:gd name="connsiteY0" fmla="*/ 21621 h 80972"/>
                                                <a:gd name="connsiteX1" fmla="*/ 45607 w 61014"/>
                                                <a:gd name="connsiteY1" fmla="*/ 27387 h 80972"/>
                                                <a:gd name="connsiteX2" fmla="*/ 55066 w 61014"/>
                                                <a:gd name="connsiteY2" fmla="*/ 33866 h 80972"/>
                                                <a:gd name="connsiteX3" fmla="*/ 56167 w 61014"/>
                                                <a:gd name="connsiteY3" fmla="*/ 43713 h 80972"/>
                                                <a:gd name="connsiteX4" fmla="*/ 60314 w 61014"/>
                                                <a:gd name="connsiteY4" fmla="*/ 51163 h 80972"/>
                                                <a:gd name="connsiteX5" fmla="*/ 51503 w 61014"/>
                                                <a:gd name="connsiteY5" fmla="*/ 53561 h 80972"/>
                                                <a:gd name="connsiteX6" fmla="*/ 50596 w 61014"/>
                                                <a:gd name="connsiteY6" fmla="*/ 59067 h 80972"/>
                                                <a:gd name="connsiteX7" fmla="*/ 35177 w 61014"/>
                                                <a:gd name="connsiteY7" fmla="*/ 71571 h 80972"/>
                                                <a:gd name="connsiteX8" fmla="*/ 31743 w 61014"/>
                                                <a:gd name="connsiteY8" fmla="*/ 78374 h 80972"/>
                                                <a:gd name="connsiteX9" fmla="*/ 25264 w 61014"/>
                                                <a:gd name="connsiteY9" fmla="*/ 80188 h 80972"/>
                                                <a:gd name="connsiteX10" fmla="*/ 23839 w 61014"/>
                                                <a:gd name="connsiteY10" fmla="*/ 77207 h 80972"/>
                                                <a:gd name="connsiteX11" fmla="*/ 21766 w 61014"/>
                                                <a:gd name="connsiteY11" fmla="*/ 61270 h 80972"/>
                                                <a:gd name="connsiteX12" fmla="*/ 22284 w 61014"/>
                                                <a:gd name="connsiteY12" fmla="*/ 58679 h 80972"/>
                                                <a:gd name="connsiteX13" fmla="*/ 26366 w 61014"/>
                                                <a:gd name="connsiteY13" fmla="*/ 56994 h 80972"/>
                                                <a:gd name="connsiteX14" fmla="*/ 34010 w 61014"/>
                                                <a:gd name="connsiteY14" fmla="*/ 48961 h 80972"/>
                                                <a:gd name="connsiteX15" fmla="*/ 31808 w 61014"/>
                                                <a:gd name="connsiteY15" fmla="*/ 37753 h 80972"/>
                                                <a:gd name="connsiteX16" fmla="*/ 25524 w 61014"/>
                                                <a:gd name="connsiteY16" fmla="*/ 32764 h 80972"/>
                                                <a:gd name="connsiteX17" fmla="*/ 10558 w 61014"/>
                                                <a:gd name="connsiteY17" fmla="*/ 36069 h 80972"/>
                                                <a:gd name="connsiteX18" fmla="*/ 1099 w 61014"/>
                                                <a:gd name="connsiteY18" fmla="*/ 24601 h 80972"/>
                                                <a:gd name="connsiteX19" fmla="*/ 322 w 61014"/>
                                                <a:gd name="connsiteY19" fmla="*/ 17410 h 80972"/>
                                                <a:gd name="connsiteX20" fmla="*/ 6153 w 61014"/>
                                                <a:gd name="connsiteY20" fmla="*/ 9441 h 80972"/>
                                                <a:gd name="connsiteX21" fmla="*/ 6995 w 61014"/>
                                                <a:gd name="connsiteY21" fmla="*/ 5490 h 80972"/>
                                                <a:gd name="connsiteX22" fmla="*/ 16454 w 61014"/>
                                                <a:gd name="connsiteY22" fmla="*/ 112 h 80972"/>
                                                <a:gd name="connsiteX23" fmla="*/ 25005 w 61014"/>
                                                <a:gd name="connsiteY23" fmla="*/ 7563 h 80972"/>
                                                <a:gd name="connsiteX24" fmla="*/ 28374 w 61014"/>
                                                <a:gd name="connsiteY24" fmla="*/ 13653 h 80972"/>
                                                <a:gd name="connsiteX25" fmla="*/ 32067 w 61014"/>
                                                <a:gd name="connsiteY25" fmla="*/ 14883 h 80972"/>
                                                <a:gd name="connsiteX26" fmla="*/ 41720 w 61014"/>
                                                <a:gd name="connsiteY26" fmla="*/ 21621 h 8097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1014" h="80972">
                                                  <a:moveTo>
                                                    <a:pt x="41850" y="21621"/>
                                                  </a:moveTo>
                                                  <a:cubicBezTo>
                                                    <a:pt x="43145" y="23500"/>
                                                    <a:pt x="44052" y="25703"/>
                                                    <a:pt x="45607" y="27387"/>
                                                  </a:cubicBezTo>
                                                  <a:cubicBezTo>
                                                    <a:pt x="48199" y="30238"/>
                                                    <a:pt x="52151" y="31404"/>
                                                    <a:pt x="55066" y="33866"/>
                                                  </a:cubicBezTo>
                                                  <a:cubicBezTo>
                                                    <a:pt x="57981" y="36328"/>
                                                    <a:pt x="59407" y="41640"/>
                                                    <a:pt x="56167" y="43713"/>
                                                  </a:cubicBezTo>
                                                  <a:cubicBezTo>
                                                    <a:pt x="59082" y="45203"/>
                                                    <a:pt x="62516" y="48702"/>
                                                    <a:pt x="60314" y="51163"/>
                                                  </a:cubicBezTo>
                                                  <a:cubicBezTo>
                                                    <a:pt x="58240" y="53496"/>
                                                    <a:pt x="53576" y="51163"/>
                                                    <a:pt x="51503" y="53561"/>
                                                  </a:cubicBezTo>
                                                  <a:cubicBezTo>
                                                    <a:pt x="50272" y="54986"/>
                                                    <a:pt x="50854" y="57189"/>
                                                    <a:pt x="50596" y="59067"/>
                                                  </a:cubicBezTo>
                                                  <a:cubicBezTo>
                                                    <a:pt x="49624" y="65870"/>
                                                    <a:pt x="39258" y="66064"/>
                                                    <a:pt x="35177" y="71571"/>
                                                  </a:cubicBezTo>
                                                  <a:cubicBezTo>
                                                    <a:pt x="33687" y="73644"/>
                                                    <a:pt x="33168" y="76300"/>
                                                    <a:pt x="31743" y="78374"/>
                                                  </a:cubicBezTo>
                                                  <a:cubicBezTo>
                                                    <a:pt x="30318" y="80511"/>
                                                    <a:pt x="27143" y="81937"/>
                                                    <a:pt x="25264" y="80188"/>
                                                  </a:cubicBezTo>
                                                  <a:cubicBezTo>
                                                    <a:pt x="24422" y="79410"/>
                                                    <a:pt x="24098" y="78309"/>
                                                    <a:pt x="23839" y="77207"/>
                                                  </a:cubicBezTo>
                                                  <a:cubicBezTo>
                                                    <a:pt x="22608" y="71960"/>
                                                    <a:pt x="21895" y="66647"/>
                                                    <a:pt x="21766" y="61270"/>
                                                  </a:cubicBezTo>
                                                  <a:cubicBezTo>
                                                    <a:pt x="21766" y="60363"/>
                                                    <a:pt x="21766" y="59456"/>
                                                    <a:pt x="22284" y="58679"/>
                                                  </a:cubicBezTo>
                                                  <a:cubicBezTo>
                                                    <a:pt x="23127" y="57448"/>
                                                    <a:pt x="24876" y="57318"/>
                                                    <a:pt x="26366" y="56994"/>
                                                  </a:cubicBezTo>
                                                  <a:cubicBezTo>
                                                    <a:pt x="30188" y="56152"/>
                                                    <a:pt x="33103" y="52718"/>
                                                    <a:pt x="34010" y="48961"/>
                                                  </a:cubicBezTo>
                                                  <a:cubicBezTo>
                                                    <a:pt x="34853" y="45138"/>
                                                    <a:pt x="33881" y="41057"/>
                                                    <a:pt x="31808" y="37753"/>
                                                  </a:cubicBezTo>
                                                  <a:cubicBezTo>
                                                    <a:pt x="30383" y="35421"/>
                                                    <a:pt x="28244" y="33283"/>
                                                    <a:pt x="25524" y="32764"/>
                                                  </a:cubicBezTo>
                                                  <a:cubicBezTo>
                                                    <a:pt x="20405" y="31793"/>
                                                    <a:pt x="15676" y="36716"/>
                                                    <a:pt x="10558" y="36069"/>
                                                  </a:cubicBezTo>
                                                  <a:cubicBezTo>
                                                    <a:pt x="5375" y="35356"/>
                                                    <a:pt x="2719" y="29590"/>
                                                    <a:pt x="1099" y="24601"/>
                                                  </a:cubicBezTo>
                                                  <a:cubicBezTo>
                                                    <a:pt x="322" y="22269"/>
                                                    <a:pt x="-455" y="19742"/>
                                                    <a:pt x="322" y="17410"/>
                                                  </a:cubicBezTo>
                                                  <a:cubicBezTo>
                                                    <a:pt x="1423" y="14300"/>
                                                    <a:pt x="4986" y="12551"/>
                                                    <a:pt x="6153" y="9441"/>
                                                  </a:cubicBezTo>
                                                  <a:cubicBezTo>
                                                    <a:pt x="6606" y="8146"/>
                                                    <a:pt x="6606" y="6785"/>
                                                    <a:pt x="6995" y="5490"/>
                                                  </a:cubicBezTo>
                                                  <a:cubicBezTo>
                                                    <a:pt x="8161" y="1667"/>
                                                    <a:pt x="12567" y="-536"/>
                                                    <a:pt x="16454" y="112"/>
                                                  </a:cubicBezTo>
                                                  <a:cubicBezTo>
                                                    <a:pt x="20341" y="825"/>
                                                    <a:pt x="23515" y="3935"/>
                                                    <a:pt x="25005" y="7563"/>
                                                  </a:cubicBezTo>
                                                  <a:cubicBezTo>
                                                    <a:pt x="25912" y="9766"/>
                                                    <a:pt x="26431" y="12357"/>
                                                    <a:pt x="28374" y="13653"/>
                                                  </a:cubicBezTo>
                                                  <a:cubicBezTo>
                                                    <a:pt x="29476" y="14365"/>
                                                    <a:pt x="30771" y="14560"/>
                                                    <a:pt x="32067" y="14883"/>
                                                  </a:cubicBezTo>
                                                  <a:cubicBezTo>
                                                    <a:pt x="35954" y="15855"/>
                                                    <a:pt x="39453" y="18317"/>
                                                    <a:pt x="41720" y="2162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8" name="Freeform: Shape 157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DDE90A1-8DF2-427C-B275-DDC9BD88446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70071" y="4119249"/>
                                              <a:ext cx="20926" cy="2121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042 w 20926"/>
                                                <a:gd name="connsiteY0" fmla="*/ 7809 h 21219"/>
                                                <a:gd name="connsiteX1" fmla="*/ 3051 w 20926"/>
                                                <a:gd name="connsiteY1" fmla="*/ 3145 h 21219"/>
                                                <a:gd name="connsiteX2" fmla="*/ 6161 w 20926"/>
                                                <a:gd name="connsiteY2" fmla="*/ 1460 h 21219"/>
                                                <a:gd name="connsiteX3" fmla="*/ 16656 w 20926"/>
                                                <a:gd name="connsiteY3" fmla="*/ 1136 h 21219"/>
                                                <a:gd name="connsiteX4" fmla="*/ 20543 w 20926"/>
                                                <a:gd name="connsiteY4" fmla="*/ 3663 h 21219"/>
                                                <a:gd name="connsiteX5" fmla="*/ 19247 w 20926"/>
                                                <a:gd name="connsiteY5" fmla="*/ 11372 h 21219"/>
                                                <a:gd name="connsiteX6" fmla="*/ 10307 w 20926"/>
                                                <a:gd name="connsiteY6" fmla="*/ 13834 h 21219"/>
                                                <a:gd name="connsiteX7" fmla="*/ 5513 w 20926"/>
                                                <a:gd name="connsiteY7" fmla="*/ 21220 h 21219"/>
                                                <a:gd name="connsiteX8" fmla="*/ 1237 w 20926"/>
                                                <a:gd name="connsiteY8" fmla="*/ 20766 h 21219"/>
                                                <a:gd name="connsiteX9" fmla="*/ 5 w 20926"/>
                                                <a:gd name="connsiteY9" fmla="*/ 15259 h 21219"/>
                                                <a:gd name="connsiteX10" fmla="*/ 977 w 20926"/>
                                                <a:gd name="connsiteY10" fmla="*/ 7744 h 2121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0926" h="21219">
                                                  <a:moveTo>
                                                    <a:pt x="1042" y="7809"/>
                                                  </a:moveTo>
                                                  <a:cubicBezTo>
                                                    <a:pt x="1431" y="6125"/>
                                                    <a:pt x="1820" y="4311"/>
                                                    <a:pt x="3051" y="3145"/>
                                                  </a:cubicBezTo>
                                                  <a:cubicBezTo>
                                                    <a:pt x="3893" y="2302"/>
                                                    <a:pt x="5059" y="1914"/>
                                                    <a:pt x="6161" y="1460"/>
                                                  </a:cubicBezTo>
                                                  <a:cubicBezTo>
                                                    <a:pt x="9594" y="229"/>
                                                    <a:pt x="13676" y="-937"/>
                                                    <a:pt x="16656" y="1136"/>
                                                  </a:cubicBezTo>
                                                  <a:cubicBezTo>
                                                    <a:pt x="17951" y="2043"/>
                                                    <a:pt x="18988" y="3598"/>
                                                    <a:pt x="20543" y="3663"/>
                                                  </a:cubicBezTo>
                                                  <a:cubicBezTo>
                                                    <a:pt x="21061" y="6384"/>
                                                    <a:pt x="21385" y="9623"/>
                                                    <a:pt x="19247" y="11372"/>
                                                  </a:cubicBezTo>
                                                  <a:cubicBezTo>
                                                    <a:pt x="16850" y="13381"/>
                                                    <a:pt x="12834" y="12020"/>
                                                    <a:pt x="10307" y="13834"/>
                                                  </a:cubicBezTo>
                                                  <a:cubicBezTo>
                                                    <a:pt x="7910" y="15583"/>
                                                    <a:pt x="7845" y="19406"/>
                                                    <a:pt x="5513" y="21220"/>
                                                  </a:cubicBezTo>
                                                  <a:cubicBezTo>
                                                    <a:pt x="4087" y="21090"/>
                                                    <a:pt x="2662" y="20896"/>
                                                    <a:pt x="1237" y="20766"/>
                                                  </a:cubicBezTo>
                                                  <a:cubicBezTo>
                                                    <a:pt x="524" y="19017"/>
                                                    <a:pt x="70" y="17138"/>
                                                    <a:pt x="5" y="15259"/>
                                                  </a:cubicBezTo>
                                                  <a:cubicBezTo>
                                                    <a:pt x="-59" y="12733"/>
                                                    <a:pt x="459" y="10271"/>
                                                    <a:pt x="977" y="774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79" name="Freeform: Shape 157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9D31F99-AE34-4052-8483-975BD83104E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13038" y="4122784"/>
                                              <a:ext cx="123788" cy="12063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8456 w 123788"/>
                                                <a:gd name="connsiteY0" fmla="*/ 30383 h 120633"/>
                                                <a:gd name="connsiteX1" fmla="*/ 116317 w 123788"/>
                                                <a:gd name="connsiteY1" fmla="*/ 10882 h 120633"/>
                                                <a:gd name="connsiteX2" fmla="*/ 114180 w 123788"/>
                                                <a:gd name="connsiteY2" fmla="*/ 1229 h 120633"/>
                                                <a:gd name="connsiteX3" fmla="*/ 108219 w 123788"/>
                                                <a:gd name="connsiteY3" fmla="*/ 193 h 120633"/>
                                                <a:gd name="connsiteX4" fmla="*/ 76280 w 123788"/>
                                                <a:gd name="connsiteY4" fmla="*/ 30318 h 120633"/>
                                                <a:gd name="connsiteX5" fmla="*/ 72911 w 123788"/>
                                                <a:gd name="connsiteY5" fmla="*/ 31743 h 120633"/>
                                                <a:gd name="connsiteX6" fmla="*/ 72652 w 123788"/>
                                                <a:gd name="connsiteY6" fmla="*/ 38028 h 120633"/>
                                                <a:gd name="connsiteX7" fmla="*/ 67858 w 123788"/>
                                                <a:gd name="connsiteY7" fmla="*/ 43858 h 120633"/>
                                                <a:gd name="connsiteX8" fmla="*/ 59954 w 123788"/>
                                                <a:gd name="connsiteY8" fmla="*/ 44636 h 120633"/>
                                                <a:gd name="connsiteX9" fmla="*/ 55095 w 123788"/>
                                                <a:gd name="connsiteY9" fmla="*/ 43470 h 120633"/>
                                                <a:gd name="connsiteX10" fmla="*/ 51596 w 123788"/>
                                                <a:gd name="connsiteY10" fmla="*/ 38740 h 120633"/>
                                                <a:gd name="connsiteX11" fmla="*/ 40000 w 123788"/>
                                                <a:gd name="connsiteY11" fmla="*/ 37250 h 120633"/>
                                                <a:gd name="connsiteX12" fmla="*/ 29764 w 123788"/>
                                                <a:gd name="connsiteY12" fmla="*/ 44441 h 120633"/>
                                                <a:gd name="connsiteX13" fmla="*/ 16483 w 123788"/>
                                                <a:gd name="connsiteY13" fmla="*/ 52345 h 120633"/>
                                                <a:gd name="connsiteX14" fmla="*/ 480 w 123788"/>
                                                <a:gd name="connsiteY14" fmla="*/ 75344 h 120633"/>
                                                <a:gd name="connsiteX15" fmla="*/ 287 w 123788"/>
                                                <a:gd name="connsiteY15" fmla="*/ 80851 h 120633"/>
                                                <a:gd name="connsiteX16" fmla="*/ 12142 w 123788"/>
                                                <a:gd name="connsiteY16" fmla="*/ 83637 h 120633"/>
                                                <a:gd name="connsiteX17" fmla="*/ 18556 w 123788"/>
                                                <a:gd name="connsiteY17" fmla="*/ 71457 h 120633"/>
                                                <a:gd name="connsiteX18" fmla="*/ 20111 w 123788"/>
                                                <a:gd name="connsiteY18" fmla="*/ 67959 h 120633"/>
                                                <a:gd name="connsiteX19" fmla="*/ 23609 w 123788"/>
                                                <a:gd name="connsiteY19" fmla="*/ 67116 h 120633"/>
                                                <a:gd name="connsiteX20" fmla="*/ 36112 w 123788"/>
                                                <a:gd name="connsiteY20" fmla="*/ 66987 h 120633"/>
                                                <a:gd name="connsiteX21" fmla="*/ 44535 w 123788"/>
                                                <a:gd name="connsiteY21" fmla="*/ 55649 h 120633"/>
                                                <a:gd name="connsiteX22" fmla="*/ 58334 w 123788"/>
                                                <a:gd name="connsiteY22" fmla="*/ 58694 h 120633"/>
                                                <a:gd name="connsiteX23" fmla="*/ 59177 w 123788"/>
                                                <a:gd name="connsiteY23" fmla="*/ 100999 h 120633"/>
                                                <a:gd name="connsiteX24" fmla="*/ 69412 w 123788"/>
                                                <a:gd name="connsiteY24" fmla="*/ 102619 h 120633"/>
                                                <a:gd name="connsiteX25" fmla="*/ 79649 w 123788"/>
                                                <a:gd name="connsiteY25" fmla="*/ 113762 h 120633"/>
                                                <a:gd name="connsiteX26" fmla="*/ 84961 w 123788"/>
                                                <a:gd name="connsiteY26" fmla="*/ 114993 h 120633"/>
                                                <a:gd name="connsiteX27" fmla="*/ 88330 w 123788"/>
                                                <a:gd name="connsiteY27" fmla="*/ 118362 h 120633"/>
                                                <a:gd name="connsiteX28" fmla="*/ 99020 w 123788"/>
                                                <a:gd name="connsiteY28" fmla="*/ 119074 h 120633"/>
                                                <a:gd name="connsiteX29" fmla="*/ 101352 w 123788"/>
                                                <a:gd name="connsiteY29" fmla="*/ 108644 h 120633"/>
                                                <a:gd name="connsiteX30" fmla="*/ 95003 w 123788"/>
                                                <a:gd name="connsiteY30" fmla="*/ 102295 h 120633"/>
                                                <a:gd name="connsiteX31" fmla="*/ 92087 w 123788"/>
                                                <a:gd name="connsiteY31" fmla="*/ 94326 h 120633"/>
                                                <a:gd name="connsiteX32" fmla="*/ 94549 w 123788"/>
                                                <a:gd name="connsiteY32" fmla="*/ 90569 h 120633"/>
                                                <a:gd name="connsiteX33" fmla="*/ 92217 w 123788"/>
                                                <a:gd name="connsiteY33" fmla="*/ 79231 h 120633"/>
                                                <a:gd name="connsiteX34" fmla="*/ 107506 w 123788"/>
                                                <a:gd name="connsiteY34" fmla="*/ 78389 h 120633"/>
                                                <a:gd name="connsiteX35" fmla="*/ 122407 w 123788"/>
                                                <a:gd name="connsiteY35" fmla="*/ 76316 h 120633"/>
                                                <a:gd name="connsiteX36" fmla="*/ 120334 w 123788"/>
                                                <a:gd name="connsiteY36" fmla="*/ 57075 h 120633"/>
                                                <a:gd name="connsiteX37" fmla="*/ 122472 w 123788"/>
                                                <a:gd name="connsiteY37" fmla="*/ 38092 h 120633"/>
                                                <a:gd name="connsiteX38" fmla="*/ 118261 w 123788"/>
                                                <a:gd name="connsiteY38" fmla="*/ 30448 h 12063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23788" h="120633">
                                                  <a:moveTo>
                                                    <a:pt x="118456" y="30383"/>
                                                  </a:moveTo>
                                                  <a:cubicBezTo>
                                                    <a:pt x="115281" y="24552"/>
                                                    <a:pt x="115605" y="17490"/>
                                                    <a:pt x="116317" y="10882"/>
                                                  </a:cubicBezTo>
                                                  <a:cubicBezTo>
                                                    <a:pt x="116706" y="7449"/>
                                                    <a:pt x="116901" y="3367"/>
                                                    <a:pt x="114180" y="1229"/>
                                                  </a:cubicBezTo>
                                                  <a:cubicBezTo>
                                                    <a:pt x="112560" y="-66"/>
                                                    <a:pt x="110293" y="-196"/>
                                                    <a:pt x="108219" y="193"/>
                                                  </a:cubicBezTo>
                                                  <a:cubicBezTo>
                                                    <a:pt x="93384" y="2914"/>
                                                    <a:pt x="90987" y="26820"/>
                                                    <a:pt x="76280" y="30318"/>
                                                  </a:cubicBezTo>
                                                  <a:cubicBezTo>
                                                    <a:pt x="75049" y="30642"/>
                                                    <a:pt x="73689" y="30772"/>
                                                    <a:pt x="72911" y="31743"/>
                                                  </a:cubicBezTo>
                                                  <a:cubicBezTo>
                                                    <a:pt x="71486" y="33363"/>
                                                    <a:pt x="72717" y="35890"/>
                                                    <a:pt x="72652" y="38028"/>
                                                  </a:cubicBezTo>
                                                  <a:cubicBezTo>
                                                    <a:pt x="72587" y="40684"/>
                                                    <a:pt x="70384" y="42887"/>
                                                    <a:pt x="67858" y="43858"/>
                                                  </a:cubicBezTo>
                                                  <a:cubicBezTo>
                                                    <a:pt x="65396" y="44765"/>
                                                    <a:pt x="62610" y="44701"/>
                                                    <a:pt x="59954" y="44636"/>
                                                  </a:cubicBezTo>
                                                  <a:cubicBezTo>
                                                    <a:pt x="58269" y="44636"/>
                                                    <a:pt x="56455" y="44506"/>
                                                    <a:pt x="55095" y="43470"/>
                                                  </a:cubicBezTo>
                                                  <a:cubicBezTo>
                                                    <a:pt x="53475" y="42304"/>
                                                    <a:pt x="52893" y="40295"/>
                                                    <a:pt x="51596" y="38740"/>
                                                  </a:cubicBezTo>
                                                  <a:cubicBezTo>
                                                    <a:pt x="48876" y="35566"/>
                                                    <a:pt x="43822" y="35501"/>
                                                    <a:pt x="40000" y="37250"/>
                                                  </a:cubicBezTo>
                                                  <a:cubicBezTo>
                                                    <a:pt x="36177" y="38999"/>
                                                    <a:pt x="33197" y="42044"/>
                                                    <a:pt x="29764" y="44441"/>
                                                  </a:cubicBezTo>
                                                  <a:cubicBezTo>
                                                    <a:pt x="25552" y="47421"/>
                                                    <a:pt x="20758" y="49430"/>
                                                    <a:pt x="16483" y="52345"/>
                                                  </a:cubicBezTo>
                                                  <a:cubicBezTo>
                                                    <a:pt x="8579" y="57723"/>
                                                    <a:pt x="2748" y="66080"/>
                                                    <a:pt x="480" y="75344"/>
                                                  </a:cubicBezTo>
                                                  <a:cubicBezTo>
                                                    <a:pt x="27" y="77158"/>
                                                    <a:pt x="-232" y="79102"/>
                                                    <a:pt x="287" y="80851"/>
                                                  </a:cubicBezTo>
                                                  <a:cubicBezTo>
                                                    <a:pt x="1712" y="85321"/>
                                                    <a:pt x="8255" y="86293"/>
                                                    <a:pt x="12142" y="83637"/>
                                                  </a:cubicBezTo>
                                                  <a:cubicBezTo>
                                                    <a:pt x="16029" y="80916"/>
                                                    <a:pt x="17649" y="76057"/>
                                                    <a:pt x="18556" y="71457"/>
                                                  </a:cubicBezTo>
                                                  <a:cubicBezTo>
                                                    <a:pt x="18815" y="70161"/>
                                                    <a:pt x="19074" y="68736"/>
                                                    <a:pt x="20111" y="67959"/>
                                                  </a:cubicBezTo>
                                                  <a:cubicBezTo>
                                                    <a:pt x="21083" y="67181"/>
                                                    <a:pt x="22378" y="67116"/>
                                                    <a:pt x="23609" y="67116"/>
                                                  </a:cubicBezTo>
                                                  <a:cubicBezTo>
                                                    <a:pt x="27756" y="67116"/>
                                                    <a:pt x="31902" y="67052"/>
                                                    <a:pt x="36112" y="66987"/>
                                                  </a:cubicBezTo>
                                                  <a:cubicBezTo>
                                                    <a:pt x="36437" y="61998"/>
                                                    <a:pt x="39871" y="57399"/>
                                                    <a:pt x="44535" y="55649"/>
                                                  </a:cubicBezTo>
                                                  <a:cubicBezTo>
                                                    <a:pt x="49199" y="53900"/>
                                                    <a:pt x="54836" y="55131"/>
                                                    <a:pt x="58334" y="58694"/>
                                                  </a:cubicBezTo>
                                                  <a:cubicBezTo>
                                                    <a:pt x="55613" y="72623"/>
                                                    <a:pt x="55872" y="87200"/>
                                                    <a:pt x="59177" y="100999"/>
                                                  </a:cubicBezTo>
                                                  <a:cubicBezTo>
                                                    <a:pt x="62221" y="102749"/>
                                                    <a:pt x="65979" y="103332"/>
                                                    <a:pt x="69412" y="102619"/>
                                                  </a:cubicBezTo>
                                                  <a:cubicBezTo>
                                                    <a:pt x="71680" y="107284"/>
                                                    <a:pt x="74596" y="112531"/>
                                                    <a:pt x="79649" y="113762"/>
                                                  </a:cubicBezTo>
                                                  <a:cubicBezTo>
                                                    <a:pt x="81398" y="114216"/>
                                                    <a:pt x="83406" y="114086"/>
                                                    <a:pt x="84961" y="114993"/>
                                                  </a:cubicBezTo>
                                                  <a:cubicBezTo>
                                                    <a:pt x="86321" y="115771"/>
                                                    <a:pt x="87164" y="117260"/>
                                                    <a:pt x="88330" y="118362"/>
                                                  </a:cubicBezTo>
                                                  <a:cubicBezTo>
                                                    <a:pt x="91115" y="121083"/>
                                                    <a:pt x="95910" y="121407"/>
                                                    <a:pt x="99020" y="119074"/>
                                                  </a:cubicBezTo>
                                                  <a:cubicBezTo>
                                                    <a:pt x="102130" y="116742"/>
                                                    <a:pt x="103166" y="112078"/>
                                                    <a:pt x="101352" y="108644"/>
                                                  </a:cubicBezTo>
                                                  <a:cubicBezTo>
                                                    <a:pt x="99927" y="105988"/>
                                                    <a:pt x="97206" y="104368"/>
                                                    <a:pt x="95003" y="102295"/>
                                                  </a:cubicBezTo>
                                                  <a:cubicBezTo>
                                                    <a:pt x="92800" y="100222"/>
                                                    <a:pt x="90987" y="97112"/>
                                                    <a:pt x="92087" y="94326"/>
                                                  </a:cubicBezTo>
                                                  <a:cubicBezTo>
                                                    <a:pt x="92670" y="92966"/>
                                                    <a:pt x="93837" y="91929"/>
                                                    <a:pt x="94549" y="90569"/>
                                                  </a:cubicBezTo>
                                                  <a:cubicBezTo>
                                                    <a:pt x="96493" y="87006"/>
                                                    <a:pt x="94355" y="82665"/>
                                                    <a:pt x="92217" y="79231"/>
                                                  </a:cubicBezTo>
                                                  <a:cubicBezTo>
                                                    <a:pt x="96039" y="75474"/>
                                                    <a:pt x="102324" y="76964"/>
                                                    <a:pt x="107506" y="78389"/>
                                                  </a:cubicBezTo>
                                                  <a:cubicBezTo>
                                                    <a:pt x="112690" y="79814"/>
                                                    <a:pt x="119298" y="80657"/>
                                                    <a:pt x="122407" y="76316"/>
                                                  </a:cubicBezTo>
                                                  <a:cubicBezTo>
                                                    <a:pt x="126294" y="70874"/>
                                                    <a:pt x="120788" y="63748"/>
                                                    <a:pt x="120334" y="57075"/>
                                                  </a:cubicBezTo>
                                                  <a:cubicBezTo>
                                                    <a:pt x="119881" y="50661"/>
                                                    <a:pt x="124286" y="44247"/>
                                                    <a:pt x="122472" y="38092"/>
                                                  </a:cubicBezTo>
                                                  <a:cubicBezTo>
                                                    <a:pt x="121630" y="35307"/>
                                                    <a:pt x="119621" y="33039"/>
                                                    <a:pt x="118261" y="3044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80" name="Freeform: Shape 157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0D17E6C8-0C0E-4A0C-89CD-A5521A1CF02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06432" y="4083268"/>
                                              <a:ext cx="63055" cy="7961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0636 w 63055"/>
                                                <a:gd name="connsiteY0" fmla="*/ 24743 h 79616"/>
                                                <a:gd name="connsiteX1" fmla="*/ 63033 w 63055"/>
                                                <a:gd name="connsiteY1" fmla="*/ 14701 h 79616"/>
                                                <a:gd name="connsiteX2" fmla="*/ 59859 w 63055"/>
                                                <a:gd name="connsiteY2" fmla="*/ 3817 h 79616"/>
                                                <a:gd name="connsiteX3" fmla="*/ 49622 w 63055"/>
                                                <a:gd name="connsiteY3" fmla="*/ 578 h 79616"/>
                                                <a:gd name="connsiteX4" fmla="*/ 32065 w 63055"/>
                                                <a:gd name="connsiteY4" fmla="*/ 30120 h 79616"/>
                                                <a:gd name="connsiteX5" fmla="*/ 28567 w 63055"/>
                                                <a:gd name="connsiteY5" fmla="*/ 33554 h 79616"/>
                                                <a:gd name="connsiteX6" fmla="*/ 26364 w 63055"/>
                                                <a:gd name="connsiteY6" fmla="*/ 39450 h 79616"/>
                                                <a:gd name="connsiteX7" fmla="*/ 6799 w 63055"/>
                                                <a:gd name="connsiteY7" fmla="*/ 64262 h 79616"/>
                                                <a:gd name="connsiteX8" fmla="*/ 839 w 63055"/>
                                                <a:gd name="connsiteY8" fmla="*/ 79617 h 79616"/>
                                                <a:gd name="connsiteX9" fmla="*/ 21505 w 63055"/>
                                                <a:gd name="connsiteY9" fmla="*/ 65817 h 79616"/>
                                                <a:gd name="connsiteX10" fmla="*/ 24356 w 63055"/>
                                                <a:gd name="connsiteY10" fmla="*/ 60440 h 79616"/>
                                                <a:gd name="connsiteX11" fmla="*/ 31547 w 63055"/>
                                                <a:gd name="connsiteY11" fmla="*/ 56229 h 79616"/>
                                                <a:gd name="connsiteX12" fmla="*/ 38674 w 63055"/>
                                                <a:gd name="connsiteY12" fmla="*/ 42430 h 79616"/>
                                                <a:gd name="connsiteX13" fmla="*/ 44828 w 63055"/>
                                                <a:gd name="connsiteY13" fmla="*/ 38867 h 79616"/>
                                                <a:gd name="connsiteX14" fmla="*/ 48262 w 63055"/>
                                                <a:gd name="connsiteY14" fmla="*/ 34073 h 79616"/>
                                                <a:gd name="connsiteX15" fmla="*/ 60571 w 63055"/>
                                                <a:gd name="connsiteY15" fmla="*/ 24678 h 7961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3055" h="79616">
                                                  <a:moveTo>
                                                    <a:pt x="60636" y="24743"/>
                                                  </a:moveTo>
                                                  <a:cubicBezTo>
                                                    <a:pt x="62774" y="21893"/>
                                                    <a:pt x="63163" y="18200"/>
                                                    <a:pt x="63033" y="14701"/>
                                                  </a:cubicBezTo>
                                                  <a:cubicBezTo>
                                                    <a:pt x="62904" y="10879"/>
                                                    <a:pt x="62191" y="6862"/>
                                                    <a:pt x="59859" y="3817"/>
                                                  </a:cubicBezTo>
                                                  <a:cubicBezTo>
                                                    <a:pt x="57527" y="773"/>
                                                    <a:pt x="53186" y="-977"/>
                                                    <a:pt x="49622" y="578"/>
                                                  </a:cubicBezTo>
                                                  <a:cubicBezTo>
                                                    <a:pt x="47290" y="11981"/>
                                                    <a:pt x="41006" y="22605"/>
                                                    <a:pt x="32065" y="30120"/>
                                                  </a:cubicBezTo>
                                                  <a:cubicBezTo>
                                                    <a:pt x="30834" y="31157"/>
                                                    <a:pt x="29474" y="32194"/>
                                                    <a:pt x="28567" y="33554"/>
                                                  </a:cubicBezTo>
                                                  <a:cubicBezTo>
                                                    <a:pt x="27401" y="35303"/>
                                                    <a:pt x="27012" y="37441"/>
                                                    <a:pt x="26364" y="39450"/>
                                                  </a:cubicBezTo>
                                                  <a:cubicBezTo>
                                                    <a:pt x="23255" y="49686"/>
                                                    <a:pt x="14509" y="56942"/>
                                                    <a:pt x="6799" y="64262"/>
                                                  </a:cubicBezTo>
                                                  <a:cubicBezTo>
                                                    <a:pt x="2523" y="68344"/>
                                                    <a:pt x="-1882" y="74369"/>
                                                    <a:pt x="839" y="79617"/>
                                                  </a:cubicBezTo>
                                                  <a:cubicBezTo>
                                                    <a:pt x="9585" y="79487"/>
                                                    <a:pt x="18072" y="73851"/>
                                                    <a:pt x="21505" y="65817"/>
                                                  </a:cubicBezTo>
                                                  <a:cubicBezTo>
                                                    <a:pt x="22283" y="63939"/>
                                                    <a:pt x="22930" y="61930"/>
                                                    <a:pt x="24356" y="60440"/>
                                                  </a:cubicBezTo>
                                                  <a:cubicBezTo>
                                                    <a:pt x="26299" y="58432"/>
                                                    <a:pt x="29409" y="58043"/>
                                                    <a:pt x="31547" y="56229"/>
                                                  </a:cubicBezTo>
                                                  <a:cubicBezTo>
                                                    <a:pt x="35499" y="52795"/>
                                                    <a:pt x="34657" y="45799"/>
                                                    <a:pt x="38674" y="42430"/>
                                                  </a:cubicBezTo>
                                                  <a:cubicBezTo>
                                                    <a:pt x="40488" y="40940"/>
                                                    <a:pt x="43079" y="40486"/>
                                                    <a:pt x="44828" y="38867"/>
                                                  </a:cubicBezTo>
                                                  <a:cubicBezTo>
                                                    <a:pt x="46318" y="37571"/>
                                                    <a:pt x="47031" y="35627"/>
                                                    <a:pt x="48262" y="34073"/>
                                                  </a:cubicBezTo>
                                                  <a:cubicBezTo>
                                                    <a:pt x="51436" y="29991"/>
                                                    <a:pt x="57462" y="28825"/>
                                                    <a:pt x="60571" y="2467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grpSp>
                                          <p:nvGrpSpPr>
                                            <p:cNvPr id="1581" name="Graphic 41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7F7E851-9F26-453A-B969-6E8F146E223A}"/>
                                                </a:ext>
                                              </a:extLst>
                                            </p:cNvPr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11130575" y="5366018"/>
                                              <a:ext cx="278616" cy="379192"/>
                                              <a:chOff x="11130575" y="5366018"/>
                                              <a:chExt cx="278616" cy="379192"/>
                                            </a:xfrm>
                                            <a:solidFill>
                                              <a:srgbClr val="DDDDDD"/>
                                            </a:solidFill>
                                          </p:grpSpPr>
                                          <p:grpSp>
                                            <p:nvGrpSpPr>
                                              <p:cNvPr id="1582" name="Graphic 41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7E9E7FB5-5111-4540-9842-780A7882C6A2}"/>
                                                  </a:ext>
                                                </a:extLst>
                                              </p:cNvPr>
                                              <p:cNvGrpSpPr/>
                                              <p:nvPr/>
                                            </p:nvGrpSpPr>
                                            <p:grpSpPr>
                                              <a:xfrm>
                                                <a:off x="11130575" y="5552732"/>
                                                <a:ext cx="197714" cy="192478"/>
                                                <a:chOff x="11130575" y="5552732"/>
                                                <a:chExt cx="197714" cy="192478"/>
                                              </a:xfrm>
                                              <a:solidFill>
                                                <a:srgbClr val="DDDDDD"/>
                                              </a:solidFill>
                                            </p:grpSpPr>
                                            <p:sp>
                                              <p:nvSpPr>
                                                <p:cNvPr id="1583" name="Freeform: Shape 158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015BCFB-A199-47D2-9A18-812FFED4FA0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131549" y="5553747"/>
                                                  <a:ext cx="195704" cy="19063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8474 w 195704"/>
                                                    <a:gd name="connsiteY0" fmla="*/ 81846 h 190635"/>
                                                    <a:gd name="connsiteX1" fmla="*/ 115036 w 195704"/>
                                                    <a:gd name="connsiteY1" fmla="*/ 53276 h 190635"/>
                                                    <a:gd name="connsiteX2" fmla="*/ 132723 w 195704"/>
                                                    <a:gd name="connsiteY2" fmla="*/ 16412 h 190635"/>
                                                    <a:gd name="connsiteX3" fmla="*/ 134860 w 195704"/>
                                                    <a:gd name="connsiteY3" fmla="*/ 5269 h 190635"/>
                                                    <a:gd name="connsiteX4" fmla="*/ 155203 w 195704"/>
                                                    <a:gd name="connsiteY4" fmla="*/ 864 h 190635"/>
                                                    <a:gd name="connsiteX5" fmla="*/ 156952 w 195704"/>
                                                    <a:gd name="connsiteY5" fmla="*/ 13302 h 190635"/>
                                                    <a:gd name="connsiteX6" fmla="*/ 192260 w 195704"/>
                                                    <a:gd name="connsiteY6" fmla="*/ 18226 h 190635"/>
                                                    <a:gd name="connsiteX7" fmla="*/ 193492 w 195704"/>
                                                    <a:gd name="connsiteY7" fmla="*/ 39800 h 190635"/>
                                                    <a:gd name="connsiteX8" fmla="*/ 179887 w 195704"/>
                                                    <a:gd name="connsiteY8" fmla="*/ 57811 h 190635"/>
                                                    <a:gd name="connsiteX9" fmla="*/ 162265 w 195704"/>
                                                    <a:gd name="connsiteY9" fmla="*/ 76210 h 190635"/>
                                                    <a:gd name="connsiteX10" fmla="*/ 149956 w 195704"/>
                                                    <a:gd name="connsiteY10" fmla="*/ 86575 h 190635"/>
                                                    <a:gd name="connsiteX11" fmla="*/ 139201 w 195704"/>
                                                    <a:gd name="connsiteY11" fmla="*/ 92212 h 190635"/>
                                                    <a:gd name="connsiteX12" fmla="*/ 127993 w 195704"/>
                                                    <a:gd name="connsiteY12" fmla="*/ 112036 h 190635"/>
                                                    <a:gd name="connsiteX13" fmla="*/ 110631 w 195704"/>
                                                    <a:gd name="connsiteY13" fmla="*/ 128492 h 190635"/>
                                                    <a:gd name="connsiteX14" fmla="*/ 109983 w 195704"/>
                                                    <a:gd name="connsiteY14" fmla="*/ 136784 h 190635"/>
                                                    <a:gd name="connsiteX15" fmla="*/ 102273 w 195704"/>
                                                    <a:gd name="connsiteY15" fmla="*/ 146891 h 190635"/>
                                                    <a:gd name="connsiteX16" fmla="*/ 81931 w 195704"/>
                                                    <a:gd name="connsiteY16" fmla="*/ 164059 h 190635"/>
                                                    <a:gd name="connsiteX17" fmla="*/ 25243 w 195704"/>
                                                    <a:gd name="connsiteY17" fmla="*/ 190427 h 190635"/>
                                                    <a:gd name="connsiteX18" fmla="*/ 300 w 195704"/>
                                                    <a:gd name="connsiteY18" fmla="*/ 163735 h 190635"/>
                                                    <a:gd name="connsiteX19" fmla="*/ 26604 w 195704"/>
                                                    <a:gd name="connsiteY19" fmla="*/ 141190 h 190635"/>
                                                    <a:gd name="connsiteX20" fmla="*/ 33600 w 195704"/>
                                                    <a:gd name="connsiteY20" fmla="*/ 124540 h 190635"/>
                                                    <a:gd name="connsiteX21" fmla="*/ 53620 w 195704"/>
                                                    <a:gd name="connsiteY21" fmla="*/ 118191 h 190635"/>
                                                    <a:gd name="connsiteX22" fmla="*/ 73897 w 195704"/>
                                                    <a:gd name="connsiteY22" fmla="*/ 91693 h 190635"/>
                                                    <a:gd name="connsiteX23" fmla="*/ 88409 w 195704"/>
                                                    <a:gd name="connsiteY23" fmla="*/ 81976 h 19063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95704" h="190635">
                                                      <a:moveTo>
                                                        <a:pt x="88474" y="81846"/>
                                                      </a:moveTo>
                                                      <a:cubicBezTo>
                                                        <a:pt x="99423" y="74655"/>
                                                        <a:pt x="107391" y="63836"/>
                                                        <a:pt x="115036" y="53276"/>
                                                      </a:cubicBezTo>
                                                      <a:cubicBezTo>
                                                        <a:pt x="123134" y="42067"/>
                                                        <a:pt x="131556" y="30147"/>
                                                        <a:pt x="132723" y="16412"/>
                                                      </a:cubicBezTo>
                                                      <a:cubicBezTo>
                                                        <a:pt x="133046" y="12590"/>
                                                        <a:pt x="132852" y="8508"/>
                                                        <a:pt x="134860" y="5269"/>
                                                      </a:cubicBezTo>
                                                      <a:cubicBezTo>
                                                        <a:pt x="138747" y="-1015"/>
                                                        <a:pt x="147882" y="-497"/>
                                                        <a:pt x="155203" y="864"/>
                                                      </a:cubicBezTo>
                                                      <a:cubicBezTo>
                                                        <a:pt x="155786" y="5010"/>
                                                        <a:pt x="156370" y="9157"/>
                                                        <a:pt x="156952" y="13302"/>
                                                      </a:cubicBezTo>
                                                      <a:cubicBezTo>
                                                        <a:pt x="169197" y="10193"/>
                                                        <a:pt x="184681" y="8120"/>
                                                        <a:pt x="192260" y="18226"/>
                                                      </a:cubicBezTo>
                                                      <a:cubicBezTo>
                                                        <a:pt x="196796" y="24251"/>
                                                        <a:pt x="196472" y="32868"/>
                                                        <a:pt x="193492" y="39800"/>
                                                      </a:cubicBezTo>
                                                      <a:cubicBezTo>
                                                        <a:pt x="190447" y="46732"/>
                                                        <a:pt x="185134" y="52304"/>
                                                        <a:pt x="179887" y="57811"/>
                                                      </a:cubicBezTo>
                                                      <a:cubicBezTo>
                                                        <a:pt x="173991" y="63965"/>
                                                        <a:pt x="168095" y="70055"/>
                                                        <a:pt x="162265" y="76210"/>
                                                      </a:cubicBezTo>
                                                      <a:cubicBezTo>
                                                        <a:pt x="158572" y="80097"/>
                                                        <a:pt x="154750" y="84049"/>
                                                        <a:pt x="149956" y="86575"/>
                                                      </a:cubicBezTo>
                                                      <a:cubicBezTo>
                                                        <a:pt x="146392" y="88454"/>
                                                        <a:pt x="142311" y="89555"/>
                                                        <a:pt x="139201" y="92212"/>
                                                      </a:cubicBezTo>
                                                      <a:cubicBezTo>
                                                        <a:pt x="133435" y="97200"/>
                                                        <a:pt x="132982" y="106205"/>
                                                        <a:pt x="127993" y="112036"/>
                                                      </a:cubicBezTo>
                                                      <a:cubicBezTo>
                                                        <a:pt x="122681" y="118191"/>
                                                        <a:pt x="112445" y="120588"/>
                                                        <a:pt x="110631" y="128492"/>
                                                      </a:cubicBezTo>
                                                      <a:cubicBezTo>
                                                        <a:pt x="109983" y="131213"/>
                                                        <a:pt x="110631" y="134063"/>
                                                        <a:pt x="109983" y="136784"/>
                                                      </a:cubicBezTo>
                                                      <a:cubicBezTo>
                                                        <a:pt x="109076" y="140995"/>
                                                        <a:pt x="105577" y="144105"/>
                                                        <a:pt x="102273" y="146891"/>
                                                      </a:cubicBezTo>
                                                      <a:cubicBezTo>
                                                        <a:pt x="95471" y="152592"/>
                                                        <a:pt x="88733" y="158358"/>
                                                        <a:pt x="81931" y="164059"/>
                                                      </a:cubicBezTo>
                                                      <a:cubicBezTo>
                                                        <a:pt x="65540" y="177923"/>
                                                        <a:pt x="46557" y="192565"/>
                                                        <a:pt x="25243" y="190427"/>
                                                      </a:cubicBezTo>
                                                      <a:cubicBezTo>
                                                        <a:pt x="11638" y="189066"/>
                                                        <a:pt x="-2226" y="177211"/>
                                                        <a:pt x="300" y="163735"/>
                                                      </a:cubicBezTo>
                                                      <a:cubicBezTo>
                                                        <a:pt x="2568" y="151879"/>
                                                        <a:pt x="15331" y="145660"/>
                                                        <a:pt x="26604" y="141190"/>
                                                      </a:cubicBezTo>
                                                      <a:cubicBezTo>
                                                        <a:pt x="21939" y="135877"/>
                                                        <a:pt x="27186" y="127326"/>
                                                        <a:pt x="33600" y="124540"/>
                                                      </a:cubicBezTo>
                                                      <a:cubicBezTo>
                                                        <a:pt x="40079" y="121754"/>
                                                        <a:pt x="47594" y="121819"/>
                                                        <a:pt x="53620" y="118191"/>
                                                      </a:cubicBezTo>
                                                      <a:cubicBezTo>
                                                        <a:pt x="63273" y="112425"/>
                                                        <a:pt x="65863" y="99468"/>
                                                        <a:pt x="73897" y="91693"/>
                                                      </a:cubicBezTo>
                                                      <a:cubicBezTo>
                                                        <a:pt x="78108" y="87612"/>
                                                        <a:pt x="83551" y="85215"/>
                                                        <a:pt x="88409" y="8197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1584" name="Freeform: Shape 158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90E5C63-1D8E-4EF2-B8AE-74A63A6831C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130575" y="5552732"/>
                                                  <a:ext cx="197714" cy="19247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94077 w 197714"/>
                                                    <a:gd name="connsiteY0" fmla="*/ 18593 h 192478"/>
                                                    <a:gd name="connsiteX1" fmla="*/ 175225 w 197714"/>
                                                    <a:gd name="connsiteY1" fmla="*/ 10689 h 192478"/>
                                                    <a:gd name="connsiteX2" fmla="*/ 158769 w 197714"/>
                                                    <a:gd name="connsiteY2" fmla="*/ 13022 h 192478"/>
                                                    <a:gd name="connsiteX3" fmla="*/ 157085 w 197714"/>
                                                    <a:gd name="connsiteY3" fmla="*/ 972 h 192478"/>
                                                    <a:gd name="connsiteX4" fmla="*/ 156437 w 197714"/>
                                                    <a:gd name="connsiteY4" fmla="*/ 842 h 192478"/>
                                                    <a:gd name="connsiteX5" fmla="*/ 148080 w 197714"/>
                                                    <a:gd name="connsiteY5" fmla="*/ 0 h 192478"/>
                                                    <a:gd name="connsiteX6" fmla="*/ 135058 w 197714"/>
                                                    <a:gd name="connsiteY6" fmla="*/ 5701 h 192478"/>
                                                    <a:gd name="connsiteX7" fmla="*/ 132920 w 197714"/>
                                                    <a:gd name="connsiteY7" fmla="*/ 15160 h 192478"/>
                                                    <a:gd name="connsiteX8" fmla="*/ 132790 w 197714"/>
                                                    <a:gd name="connsiteY8" fmla="*/ 17298 h 192478"/>
                                                    <a:gd name="connsiteX9" fmla="*/ 115234 w 197714"/>
                                                    <a:gd name="connsiteY9" fmla="*/ 53707 h 192478"/>
                                                    <a:gd name="connsiteX10" fmla="*/ 88930 w 197714"/>
                                                    <a:gd name="connsiteY10" fmla="*/ 82019 h 192478"/>
                                                    <a:gd name="connsiteX11" fmla="*/ 84201 w 197714"/>
                                                    <a:gd name="connsiteY11" fmla="*/ 84869 h 192478"/>
                                                    <a:gd name="connsiteX12" fmla="*/ 74224 w 197714"/>
                                                    <a:gd name="connsiteY12" fmla="*/ 91866 h 192478"/>
                                                    <a:gd name="connsiteX13" fmla="*/ 65672 w 197714"/>
                                                    <a:gd name="connsiteY13" fmla="*/ 104046 h 192478"/>
                                                    <a:gd name="connsiteX14" fmla="*/ 54140 w 197714"/>
                                                    <a:gd name="connsiteY14" fmla="*/ 118234 h 192478"/>
                                                    <a:gd name="connsiteX15" fmla="*/ 43257 w 197714"/>
                                                    <a:gd name="connsiteY15" fmla="*/ 121927 h 192478"/>
                                                    <a:gd name="connsiteX16" fmla="*/ 34187 w 197714"/>
                                                    <a:gd name="connsiteY16" fmla="*/ 124518 h 192478"/>
                                                    <a:gd name="connsiteX17" fmla="*/ 25052 w 197714"/>
                                                    <a:gd name="connsiteY17" fmla="*/ 135143 h 192478"/>
                                                    <a:gd name="connsiteX18" fmla="*/ 26024 w 197714"/>
                                                    <a:gd name="connsiteY18" fmla="*/ 141686 h 192478"/>
                                                    <a:gd name="connsiteX19" fmla="*/ 304 w 197714"/>
                                                    <a:gd name="connsiteY19" fmla="*/ 164426 h 192478"/>
                                                    <a:gd name="connsiteX20" fmla="*/ 4385 w 197714"/>
                                                    <a:gd name="connsiteY20" fmla="*/ 180169 h 192478"/>
                                                    <a:gd name="connsiteX21" fmla="*/ 26153 w 197714"/>
                                                    <a:gd name="connsiteY21" fmla="*/ 192284 h 192478"/>
                                                    <a:gd name="connsiteX22" fmla="*/ 30493 w 197714"/>
                                                    <a:gd name="connsiteY22" fmla="*/ 192478 h 192478"/>
                                                    <a:gd name="connsiteX23" fmla="*/ 83553 w 197714"/>
                                                    <a:gd name="connsiteY23" fmla="*/ 165722 h 192478"/>
                                                    <a:gd name="connsiteX24" fmla="*/ 103896 w 197714"/>
                                                    <a:gd name="connsiteY24" fmla="*/ 148554 h 192478"/>
                                                    <a:gd name="connsiteX25" fmla="*/ 111929 w 197714"/>
                                                    <a:gd name="connsiteY25" fmla="*/ 137929 h 192478"/>
                                                    <a:gd name="connsiteX26" fmla="*/ 112253 w 197714"/>
                                                    <a:gd name="connsiteY26" fmla="*/ 133588 h 192478"/>
                                                    <a:gd name="connsiteX27" fmla="*/ 112577 w 197714"/>
                                                    <a:gd name="connsiteY27" fmla="*/ 129636 h 192478"/>
                                                    <a:gd name="connsiteX28" fmla="*/ 121906 w 197714"/>
                                                    <a:gd name="connsiteY28" fmla="*/ 119724 h 192478"/>
                                                    <a:gd name="connsiteX29" fmla="*/ 129746 w 197714"/>
                                                    <a:gd name="connsiteY29" fmla="*/ 113569 h 192478"/>
                                                    <a:gd name="connsiteX30" fmla="*/ 134863 w 197714"/>
                                                    <a:gd name="connsiteY30" fmla="*/ 104046 h 192478"/>
                                                    <a:gd name="connsiteX31" fmla="*/ 140888 w 197714"/>
                                                    <a:gd name="connsiteY31" fmla="*/ 93874 h 192478"/>
                                                    <a:gd name="connsiteX32" fmla="*/ 147562 w 197714"/>
                                                    <a:gd name="connsiteY32" fmla="*/ 90117 h 192478"/>
                                                    <a:gd name="connsiteX33" fmla="*/ 151449 w 197714"/>
                                                    <a:gd name="connsiteY33" fmla="*/ 88368 h 192478"/>
                                                    <a:gd name="connsiteX34" fmla="*/ 163952 w 197714"/>
                                                    <a:gd name="connsiteY34" fmla="*/ 77808 h 192478"/>
                                                    <a:gd name="connsiteX35" fmla="*/ 181574 w 197714"/>
                                                    <a:gd name="connsiteY35" fmla="*/ 59408 h 192478"/>
                                                    <a:gd name="connsiteX36" fmla="*/ 195373 w 197714"/>
                                                    <a:gd name="connsiteY36" fmla="*/ 41139 h 192478"/>
                                                    <a:gd name="connsiteX37" fmla="*/ 194077 w 197714"/>
                                                    <a:gd name="connsiteY37" fmla="*/ 18593 h 192478"/>
                                                    <a:gd name="connsiteX38" fmla="*/ 146784 w 197714"/>
                                                    <a:gd name="connsiteY38" fmla="*/ 88368 h 192478"/>
                                                    <a:gd name="connsiteX39" fmla="*/ 139593 w 197714"/>
                                                    <a:gd name="connsiteY39" fmla="*/ 92384 h 192478"/>
                                                    <a:gd name="connsiteX40" fmla="*/ 133050 w 197714"/>
                                                    <a:gd name="connsiteY40" fmla="*/ 103333 h 192478"/>
                                                    <a:gd name="connsiteX41" fmla="*/ 128256 w 197714"/>
                                                    <a:gd name="connsiteY41" fmla="*/ 112274 h 192478"/>
                                                    <a:gd name="connsiteX42" fmla="*/ 120870 w 197714"/>
                                                    <a:gd name="connsiteY42" fmla="*/ 118104 h 192478"/>
                                                    <a:gd name="connsiteX43" fmla="*/ 110698 w 197714"/>
                                                    <a:gd name="connsiteY43" fmla="*/ 129183 h 192478"/>
                                                    <a:gd name="connsiteX44" fmla="*/ 110310 w 197714"/>
                                                    <a:gd name="connsiteY44" fmla="*/ 133588 h 192478"/>
                                                    <a:gd name="connsiteX45" fmla="*/ 110050 w 197714"/>
                                                    <a:gd name="connsiteY45" fmla="*/ 137475 h 192478"/>
                                                    <a:gd name="connsiteX46" fmla="*/ 102665 w 197714"/>
                                                    <a:gd name="connsiteY46" fmla="*/ 147064 h 192478"/>
                                                    <a:gd name="connsiteX47" fmla="*/ 82322 w 197714"/>
                                                    <a:gd name="connsiteY47" fmla="*/ 164232 h 192478"/>
                                                    <a:gd name="connsiteX48" fmla="*/ 30493 w 197714"/>
                                                    <a:gd name="connsiteY48" fmla="*/ 190535 h 192478"/>
                                                    <a:gd name="connsiteX49" fmla="*/ 26347 w 197714"/>
                                                    <a:gd name="connsiteY49" fmla="*/ 190340 h 192478"/>
                                                    <a:gd name="connsiteX50" fmla="*/ 5940 w 197714"/>
                                                    <a:gd name="connsiteY50" fmla="*/ 179003 h 192478"/>
                                                    <a:gd name="connsiteX51" fmla="*/ 2247 w 197714"/>
                                                    <a:gd name="connsiteY51" fmla="*/ 164815 h 192478"/>
                                                    <a:gd name="connsiteX52" fmla="*/ 27902 w 197714"/>
                                                    <a:gd name="connsiteY52" fmla="*/ 142982 h 192478"/>
                                                    <a:gd name="connsiteX53" fmla="*/ 29198 w 197714"/>
                                                    <a:gd name="connsiteY53" fmla="*/ 142464 h 192478"/>
                                                    <a:gd name="connsiteX54" fmla="*/ 28291 w 197714"/>
                                                    <a:gd name="connsiteY54" fmla="*/ 141427 h 192478"/>
                                                    <a:gd name="connsiteX55" fmla="*/ 26995 w 197714"/>
                                                    <a:gd name="connsiteY55" fmla="*/ 135596 h 192478"/>
                                                    <a:gd name="connsiteX56" fmla="*/ 34964 w 197714"/>
                                                    <a:gd name="connsiteY56" fmla="*/ 126332 h 192478"/>
                                                    <a:gd name="connsiteX57" fmla="*/ 43645 w 197714"/>
                                                    <a:gd name="connsiteY57" fmla="*/ 123805 h 192478"/>
                                                    <a:gd name="connsiteX58" fmla="*/ 55112 w 197714"/>
                                                    <a:gd name="connsiteY58" fmla="*/ 119918 h 192478"/>
                                                    <a:gd name="connsiteX59" fmla="*/ 67357 w 197714"/>
                                                    <a:gd name="connsiteY59" fmla="*/ 105017 h 192478"/>
                                                    <a:gd name="connsiteX60" fmla="*/ 75585 w 197714"/>
                                                    <a:gd name="connsiteY60" fmla="*/ 93227 h 192478"/>
                                                    <a:gd name="connsiteX61" fmla="*/ 85173 w 197714"/>
                                                    <a:gd name="connsiteY61" fmla="*/ 86554 h 192478"/>
                                                    <a:gd name="connsiteX62" fmla="*/ 89967 w 197714"/>
                                                    <a:gd name="connsiteY62" fmla="*/ 83703 h 192478"/>
                                                    <a:gd name="connsiteX63" fmla="*/ 116853 w 197714"/>
                                                    <a:gd name="connsiteY63" fmla="*/ 54873 h 192478"/>
                                                    <a:gd name="connsiteX64" fmla="*/ 134734 w 197714"/>
                                                    <a:gd name="connsiteY64" fmla="*/ 17492 h 192478"/>
                                                    <a:gd name="connsiteX65" fmla="*/ 134863 w 197714"/>
                                                    <a:gd name="connsiteY65" fmla="*/ 15289 h 192478"/>
                                                    <a:gd name="connsiteX66" fmla="*/ 136742 w 197714"/>
                                                    <a:gd name="connsiteY66" fmla="*/ 6738 h 192478"/>
                                                    <a:gd name="connsiteX67" fmla="*/ 148080 w 197714"/>
                                                    <a:gd name="connsiteY67" fmla="*/ 1943 h 192478"/>
                                                    <a:gd name="connsiteX68" fmla="*/ 155400 w 197714"/>
                                                    <a:gd name="connsiteY68" fmla="*/ 2656 h 192478"/>
                                                    <a:gd name="connsiteX69" fmla="*/ 157150 w 197714"/>
                                                    <a:gd name="connsiteY69" fmla="*/ 15419 h 192478"/>
                                                    <a:gd name="connsiteX70" fmla="*/ 158187 w 197714"/>
                                                    <a:gd name="connsiteY70" fmla="*/ 15160 h 192478"/>
                                                    <a:gd name="connsiteX71" fmla="*/ 175225 w 197714"/>
                                                    <a:gd name="connsiteY71" fmla="*/ 12633 h 192478"/>
                                                    <a:gd name="connsiteX72" fmla="*/ 192523 w 197714"/>
                                                    <a:gd name="connsiteY72" fmla="*/ 19695 h 192478"/>
                                                    <a:gd name="connsiteX73" fmla="*/ 193624 w 197714"/>
                                                    <a:gd name="connsiteY73" fmla="*/ 40361 h 192478"/>
                                                    <a:gd name="connsiteX74" fmla="*/ 180213 w 197714"/>
                                                    <a:gd name="connsiteY74" fmla="*/ 58048 h 192478"/>
                                                    <a:gd name="connsiteX75" fmla="*/ 162592 w 197714"/>
                                                    <a:gd name="connsiteY75" fmla="*/ 76447 h 192478"/>
                                                    <a:gd name="connsiteX76" fmla="*/ 150541 w 197714"/>
                                                    <a:gd name="connsiteY76" fmla="*/ 86618 h 192478"/>
                                                    <a:gd name="connsiteX77" fmla="*/ 146784 w 197714"/>
                                                    <a:gd name="connsiteY77" fmla="*/ 88368 h 19247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97714" h="192478">
                                                      <a:moveTo>
                                                        <a:pt x="194077" y="18593"/>
                                                      </a:moveTo>
                                                      <a:cubicBezTo>
                                                        <a:pt x="190125" y="13346"/>
                                                        <a:pt x="183841" y="10689"/>
                                                        <a:pt x="175225" y="10689"/>
                                                      </a:cubicBezTo>
                                                      <a:cubicBezTo>
                                                        <a:pt x="170560" y="10689"/>
                                                        <a:pt x="165183" y="11467"/>
                                                        <a:pt x="158769" y="13022"/>
                                                      </a:cubicBezTo>
                                                      <a:lnTo>
                                                        <a:pt x="157085" y="972"/>
                                                      </a:lnTo>
                                                      <a:lnTo>
                                                        <a:pt x="156437" y="842"/>
                                                      </a:lnTo>
                                                      <a:cubicBezTo>
                                                        <a:pt x="153263" y="259"/>
                                                        <a:pt x="150541" y="0"/>
                                                        <a:pt x="148080" y="0"/>
                                                      </a:cubicBezTo>
                                                      <a:cubicBezTo>
                                                        <a:pt x="141796" y="0"/>
                                                        <a:pt x="137455" y="1879"/>
                                                        <a:pt x="135058" y="5701"/>
                                                      </a:cubicBezTo>
                                                      <a:cubicBezTo>
                                                        <a:pt x="133308" y="8552"/>
                                                        <a:pt x="133115" y="11920"/>
                                                        <a:pt x="132920" y="15160"/>
                                                      </a:cubicBezTo>
                                                      <a:cubicBezTo>
                                                        <a:pt x="132920" y="15873"/>
                                                        <a:pt x="132920" y="16585"/>
                                                        <a:pt x="132790" y="17298"/>
                                                      </a:cubicBezTo>
                                                      <a:cubicBezTo>
                                                        <a:pt x="131624" y="31227"/>
                                                        <a:pt x="122554" y="43666"/>
                                                        <a:pt x="115234" y="53707"/>
                                                      </a:cubicBezTo>
                                                      <a:cubicBezTo>
                                                        <a:pt x="108042" y="63620"/>
                                                        <a:pt x="99879" y="74892"/>
                                                        <a:pt x="88930" y="82019"/>
                                                      </a:cubicBezTo>
                                                      <a:cubicBezTo>
                                                        <a:pt x="87375" y="83055"/>
                                                        <a:pt x="85821" y="83962"/>
                                                        <a:pt x="84201" y="84869"/>
                                                      </a:cubicBezTo>
                                                      <a:cubicBezTo>
                                                        <a:pt x="80767" y="86942"/>
                                                        <a:pt x="77204" y="89016"/>
                                                        <a:pt x="74224" y="91866"/>
                                                      </a:cubicBezTo>
                                                      <a:cubicBezTo>
                                                        <a:pt x="70661" y="95300"/>
                                                        <a:pt x="68134" y="99770"/>
                                                        <a:pt x="65672" y="104046"/>
                                                      </a:cubicBezTo>
                                                      <a:cubicBezTo>
                                                        <a:pt x="62433" y="109682"/>
                                                        <a:pt x="59388" y="115059"/>
                                                        <a:pt x="54140" y="118234"/>
                                                      </a:cubicBezTo>
                                                      <a:cubicBezTo>
                                                        <a:pt x="50836" y="120177"/>
                                                        <a:pt x="47144" y="121020"/>
                                                        <a:pt x="43257" y="121927"/>
                                                      </a:cubicBezTo>
                                                      <a:cubicBezTo>
                                                        <a:pt x="40211" y="122574"/>
                                                        <a:pt x="37102" y="123287"/>
                                                        <a:pt x="34187" y="124518"/>
                                                      </a:cubicBezTo>
                                                      <a:cubicBezTo>
                                                        <a:pt x="29781" y="126461"/>
                                                        <a:pt x="26024" y="130802"/>
                                                        <a:pt x="25052" y="135143"/>
                                                      </a:cubicBezTo>
                                                      <a:cubicBezTo>
                                                        <a:pt x="24534" y="137540"/>
                                                        <a:pt x="24857" y="139808"/>
                                                        <a:pt x="26024" y="141686"/>
                                                      </a:cubicBezTo>
                                                      <a:cubicBezTo>
                                                        <a:pt x="14362" y="146351"/>
                                                        <a:pt x="2571" y="152765"/>
                                                        <a:pt x="304" y="164426"/>
                                                      </a:cubicBezTo>
                                                      <a:cubicBezTo>
                                                        <a:pt x="-668" y="169803"/>
                                                        <a:pt x="692" y="175245"/>
                                                        <a:pt x="4385" y="180169"/>
                                                      </a:cubicBezTo>
                                                      <a:cubicBezTo>
                                                        <a:pt x="9308" y="186777"/>
                                                        <a:pt x="17666" y="191442"/>
                                                        <a:pt x="26153" y="192284"/>
                                                      </a:cubicBezTo>
                                                      <a:cubicBezTo>
                                                        <a:pt x="27578" y="192414"/>
                                                        <a:pt x="29003" y="192478"/>
                                                        <a:pt x="30493" y="192478"/>
                                                      </a:cubicBezTo>
                                                      <a:cubicBezTo>
                                                        <a:pt x="50188" y="192478"/>
                                                        <a:pt x="67487" y="179262"/>
                                                        <a:pt x="83553" y="165722"/>
                                                      </a:cubicBezTo>
                                                      <a:lnTo>
                                                        <a:pt x="103896" y="148554"/>
                                                      </a:lnTo>
                                                      <a:cubicBezTo>
                                                        <a:pt x="107589" y="145444"/>
                                                        <a:pt x="111022" y="142269"/>
                                                        <a:pt x="111929" y="137929"/>
                                                      </a:cubicBezTo>
                                                      <a:cubicBezTo>
                                                        <a:pt x="112253" y="136439"/>
                                                        <a:pt x="112253" y="135013"/>
                                                        <a:pt x="112253" y="133588"/>
                                                      </a:cubicBezTo>
                                                      <a:cubicBezTo>
                                                        <a:pt x="112318" y="132227"/>
                                                        <a:pt x="112318" y="130867"/>
                                                        <a:pt x="112577" y="129636"/>
                                                      </a:cubicBezTo>
                                                      <a:cubicBezTo>
                                                        <a:pt x="113614" y="125101"/>
                                                        <a:pt x="117631" y="122510"/>
                                                        <a:pt x="121906" y="119724"/>
                                                      </a:cubicBezTo>
                                                      <a:cubicBezTo>
                                                        <a:pt x="124692" y="117910"/>
                                                        <a:pt x="127607" y="116031"/>
                                                        <a:pt x="129746" y="113569"/>
                                                      </a:cubicBezTo>
                                                      <a:cubicBezTo>
                                                        <a:pt x="132143" y="110783"/>
                                                        <a:pt x="133503" y="107350"/>
                                                        <a:pt x="134863" y="104046"/>
                                                      </a:cubicBezTo>
                                                      <a:cubicBezTo>
                                                        <a:pt x="136418" y="100094"/>
                                                        <a:pt x="137909" y="96401"/>
                                                        <a:pt x="140888" y="93874"/>
                                                      </a:cubicBezTo>
                                                      <a:cubicBezTo>
                                                        <a:pt x="142768" y="92190"/>
                                                        <a:pt x="145100" y="91218"/>
                                                        <a:pt x="147562" y="90117"/>
                                                      </a:cubicBezTo>
                                                      <a:cubicBezTo>
                                                        <a:pt x="148857" y="89599"/>
                                                        <a:pt x="150153" y="89016"/>
                                                        <a:pt x="151449" y="88368"/>
                                                      </a:cubicBezTo>
                                                      <a:cubicBezTo>
                                                        <a:pt x="156372" y="85776"/>
                                                        <a:pt x="160194" y="81695"/>
                                                        <a:pt x="163952" y="77808"/>
                                                      </a:cubicBezTo>
                                                      <a:lnTo>
                                                        <a:pt x="181574" y="59408"/>
                                                      </a:lnTo>
                                                      <a:cubicBezTo>
                                                        <a:pt x="186563" y="54161"/>
                                                        <a:pt x="192264" y="48265"/>
                                                        <a:pt x="195373" y="41139"/>
                                                      </a:cubicBezTo>
                                                      <a:cubicBezTo>
                                                        <a:pt x="198159" y="34790"/>
                                                        <a:pt x="199260" y="25526"/>
                                                        <a:pt x="194077" y="18593"/>
                                                      </a:cubicBezTo>
                                                      <a:close/>
                                                      <a:moveTo>
                                                        <a:pt x="146784" y="88368"/>
                                                      </a:moveTo>
                                                      <a:cubicBezTo>
                                                        <a:pt x="144322" y="89404"/>
                                                        <a:pt x="141731" y="90570"/>
                                                        <a:pt x="139593" y="92384"/>
                                                      </a:cubicBezTo>
                                                      <a:cubicBezTo>
                                                        <a:pt x="136289" y="95235"/>
                                                        <a:pt x="134604" y="99317"/>
                                                        <a:pt x="133050" y="103333"/>
                                                      </a:cubicBezTo>
                                                      <a:cubicBezTo>
                                                        <a:pt x="131753" y="106508"/>
                                                        <a:pt x="130458" y="109747"/>
                                                        <a:pt x="128256" y="112274"/>
                                                      </a:cubicBezTo>
                                                      <a:cubicBezTo>
                                                        <a:pt x="126312" y="114606"/>
                                                        <a:pt x="123526" y="116355"/>
                                                        <a:pt x="120870" y="118104"/>
                                                      </a:cubicBezTo>
                                                      <a:cubicBezTo>
                                                        <a:pt x="116464" y="120955"/>
                                                        <a:pt x="111929" y="123935"/>
                                                        <a:pt x="110698" y="129183"/>
                                                      </a:cubicBezTo>
                                                      <a:cubicBezTo>
                                                        <a:pt x="110375" y="130673"/>
                                                        <a:pt x="110375" y="132163"/>
                                                        <a:pt x="110310" y="133588"/>
                                                      </a:cubicBezTo>
                                                      <a:cubicBezTo>
                                                        <a:pt x="110310" y="134949"/>
                                                        <a:pt x="110310" y="136244"/>
                                                        <a:pt x="110050" y="137475"/>
                                                      </a:cubicBezTo>
                                                      <a:cubicBezTo>
                                                        <a:pt x="109208" y="141233"/>
                                                        <a:pt x="106099" y="144148"/>
                                                        <a:pt x="102665" y="147064"/>
                                                      </a:cubicBezTo>
                                                      <a:lnTo>
                                                        <a:pt x="82322" y="164232"/>
                                                      </a:lnTo>
                                                      <a:cubicBezTo>
                                                        <a:pt x="66515" y="177577"/>
                                                        <a:pt x="49541" y="190535"/>
                                                        <a:pt x="30493" y="190535"/>
                                                      </a:cubicBezTo>
                                                      <a:cubicBezTo>
                                                        <a:pt x="29068" y="190535"/>
                                                        <a:pt x="27708" y="190470"/>
                                                        <a:pt x="26347" y="190340"/>
                                                      </a:cubicBezTo>
                                                      <a:cubicBezTo>
                                                        <a:pt x="18508" y="189563"/>
                                                        <a:pt x="10475" y="185093"/>
                                                        <a:pt x="5940" y="179003"/>
                                                      </a:cubicBezTo>
                                                      <a:cubicBezTo>
                                                        <a:pt x="2571" y="174533"/>
                                                        <a:pt x="1340" y="169609"/>
                                                        <a:pt x="2247" y="164815"/>
                                                      </a:cubicBezTo>
                                                      <a:cubicBezTo>
                                                        <a:pt x="4320" y="153672"/>
                                                        <a:pt x="16435" y="147517"/>
                                                        <a:pt x="27902" y="142982"/>
                                                      </a:cubicBezTo>
                                                      <a:lnTo>
                                                        <a:pt x="29198" y="142464"/>
                                                      </a:lnTo>
                                                      <a:lnTo>
                                                        <a:pt x="28291" y="141427"/>
                                                      </a:lnTo>
                                                      <a:cubicBezTo>
                                                        <a:pt x="26542" y="139483"/>
                                                        <a:pt x="26606" y="137151"/>
                                                        <a:pt x="26995" y="135596"/>
                                                      </a:cubicBezTo>
                                                      <a:cubicBezTo>
                                                        <a:pt x="27773" y="131839"/>
                                                        <a:pt x="31141" y="127952"/>
                                                        <a:pt x="34964" y="126332"/>
                                                      </a:cubicBezTo>
                                                      <a:cubicBezTo>
                                                        <a:pt x="37684" y="125101"/>
                                                        <a:pt x="40730" y="124453"/>
                                                        <a:pt x="43645" y="123805"/>
                                                      </a:cubicBezTo>
                                                      <a:cubicBezTo>
                                                        <a:pt x="47597" y="122898"/>
                                                        <a:pt x="51614" y="121992"/>
                                                        <a:pt x="55112" y="119918"/>
                                                      </a:cubicBezTo>
                                                      <a:cubicBezTo>
                                                        <a:pt x="60813" y="116485"/>
                                                        <a:pt x="64182" y="110654"/>
                                                        <a:pt x="67357" y="105017"/>
                                                      </a:cubicBezTo>
                                                      <a:cubicBezTo>
                                                        <a:pt x="69754" y="100807"/>
                                                        <a:pt x="72216" y="96530"/>
                                                        <a:pt x="75585" y="93227"/>
                                                      </a:cubicBezTo>
                                                      <a:cubicBezTo>
                                                        <a:pt x="78370" y="90570"/>
                                                        <a:pt x="81869" y="88562"/>
                                                        <a:pt x="85173" y="86554"/>
                                                      </a:cubicBezTo>
                                                      <a:cubicBezTo>
                                                        <a:pt x="86793" y="85647"/>
                                                        <a:pt x="88412" y="84675"/>
                                                        <a:pt x="89967" y="83703"/>
                                                      </a:cubicBezTo>
                                                      <a:cubicBezTo>
                                                        <a:pt x="101240" y="76317"/>
                                                        <a:pt x="109532" y="64915"/>
                                                        <a:pt x="116853" y="54873"/>
                                                      </a:cubicBezTo>
                                                      <a:cubicBezTo>
                                                        <a:pt x="124239" y="44637"/>
                                                        <a:pt x="133503" y="31939"/>
                                                        <a:pt x="134734" y="17492"/>
                                                      </a:cubicBezTo>
                                                      <a:cubicBezTo>
                                                        <a:pt x="134798" y="16715"/>
                                                        <a:pt x="134863" y="16002"/>
                                                        <a:pt x="134863" y="15289"/>
                                                      </a:cubicBezTo>
                                                      <a:cubicBezTo>
                                                        <a:pt x="135058" y="12115"/>
                                                        <a:pt x="135252" y="9135"/>
                                                        <a:pt x="136742" y="6738"/>
                                                      </a:cubicBezTo>
                                                      <a:cubicBezTo>
                                                        <a:pt x="138751" y="3498"/>
                                                        <a:pt x="142443" y="1943"/>
                                                        <a:pt x="148080" y="1943"/>
                                                      </a:cubicBezTo>
                                                      <a:cubicBezTo>
                                                        <a:pt x="150217" y="1943"/>
                                                        <a:pt x="152614" y="2138"/>
                                                        <a:pt x="155400" y="2656"/>
                                                      </a:cubicBezTo>
                                                      <a:lnTo>
                                                        <a:pt x="157150" y="15419"/>
                                                      </a:lnTo>
                                                      <a:lnTo>
                                                        <a:pt x="158187" y="15160"/>
                                                      </a:lnTo>
                                                      <a:cubicBezTo>
                                                        <a:pt x="164924" y="13476"/>
                                                        <a:pt x="170495" y="12633"/>
                                                        <a:pt x="175225" y="12633"/>
                                                      </a:cubicBezTo>
                                                      <a:cubicBezTo>
                                                        <a:pt x="183259" y="12633"/>
                                                        <a:pt x="188960" y="14965"/>
                                                        <a:pt x="192523" y="19695"/>
                                                      </a:cubicBezTo>
                                                      <a:cubicBezTo>
                                                        <a:pt x="197187" y="25979"/>
                                                        <a:pt x="196151" y="34466"/>
                                                        <a:pt x="193624" y="40361"/>
                                                      </a:cubicBezTo>
                                                      <a:cubicBezTo>
                                                        <a:pt x="190579" y="47164"/>
                                                        <a:pt x="185331" y="52736"/>
                                                        <a:pt x="180213" y="58048"/>
                                                      </a:cubicBezTo>
                                                      <a:lnTo>
                                                        <a:pt x="162592" y="76447"/>
                                                      </a:lnTo>
                                                      <a:cubicBezTo>
                                                        <a:pt x="158899" y="80270"/>
                                                        <a:pt x="155141" y="84157"/>
                                                        <a:pt x="150541" y="86618"/>
                                                      </a:cubicBezTo>
                                                      <a:cubicBezTo>
                                                        <a:pt x="149311" y="87266"/>
                                                        <a:pt x="148080" y="87849"/>
                                                        <a:pt x="146784" y="8836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</p:grpSp>
                                          <p:grpSp>
                                            <p:nvGrpSpPr>
                                              <p:cNvPr id="1585" name="Graphic 41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51E802E2-E6DD-4E4D-9087-500B7EE9780C}"/>
                                                  </a:ext>
                                                </a:extLst>
                                              </p:cNvPr>
                                              <p:cNvGrpSpPr/>
                                              <p:nvPr/>
                                            </p:nvGrpSpPr>
                                            <p:grpSpPr>
                                              <a:xfrm>
                                                <a:off x="11332526" y="5566013"/>
                                                <a:ext cx="16715" cy="19565"/>
                                                <a:chOff x="11332526" y="5566013"/>
                                                <a:chExt cx="16715" cy="19565"/>
                                              </a:xfrm>
                                              <a:solidFill>
                                                <a:srgbClr val="DDDDDD"/>
                                              </a:solidFill>
                                            </p:grpSpPr>
                                            <p:sp>
                                              <p:nvSpPr>
                                                <p:cNvPr id="1586" name="Freeform: Shape 158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08E5F73-3AB7-435A-9DFD-8BF7AE1EFDB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333478" y="5567050"/>
                                                  <a:ext cx="14766" cy="1747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04 w 14766"/>
                                                    <a:gd name="connsiteY0" fmla="*/ 13670 h 17476"/>
                                                    <a:gd name="connsiteX1" fmla="*/ 13979 w 14766"/>
                                                    <a:gd name="connsiteY1" fmla="*/ 16715 h 17476"/>
                                                    <a:gd name="connsiteX2" fmla="*/ 12489 w 14766"/>
                                                    <a:gd name="connsiteY2" fmla="*/ 1102 h 17476"/>
                                                    <a:gd name="connsiteX3" fmla="*/ 6399 w 14766"/>
                                                    <a:gd name="connsiteY3" fmla="*/ 0 h 17476"/>
                                                    <a:gd name="connsiteX4" fmla="*/ 504 w 14766"/>
                                                    <a:gd name="connsiteY4" fmla="*/ 13670 h 1747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4766" h="17476">
                                                      <a:moveTo>
                                                        <a:pt x="504" y="13670"/>
                                                      </a:moveTo>
                                                      <a:cubicBezTo>
                                                        <a:pt x="2512" y="18270"/>
                                                        <a:pt x="9120" y="17881"/>
                                                        <a:pt x="13979" y="16715"/>
                                                      </a:cubicBezTo>
                                                      <a:cubicBezTo>
                                                        <a:pt x="15404" y="11532"/>
                                                        <a:pt x="14886" y="5896"/>
                                                        <a:pt x="12489" y="1102"/>
                                                      </a:cubicBezTo>
                                                      <a:cubicBezTo>
                                                        <a:pt x="10480" y="713"/>
                                                        <a:pt x="8472" y="389"/>
                                                        <a:pt x="6399" y="0"/>
                                                      </a:cubicBezTo>
                                                      <a:cubicBezTo>
                                                        <a:pt x="3549" y="4341"/>
                                                        <a:pt x="-1635" y="8876"/>
                                                        <a:pt x="504" y="1367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1587" name="Freeform: Shape 158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C149D9D-BAC5-475A-B9A6-3C0438D1F8D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332526" y="5566013"/>
                                                  <a:ext cx="16715" cy="1956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4348 w 16715"/>
                                                    <a:gd name="connsiteY0" fmla="*/ 1749 h 19565"/>
                                                    <a:gd name="connsiteX1" fmla="*/ 14089 w 16715"/>
                                                    <a:gd name="connsiteY1" fmla="*/ 1296 h 19565"/>
                                                    <a:gd name="connsiteX2" fmla="*/ 6898 w 16715"/>
                                                    <a:gd name="connsiteY2" fmla="*/ 0 h 19565"/>
                                                    <a:gd name="connsiteX3" fmla="*/ 6573 w 16715"/>
                                                    <a:gd name="connsiteY3" fmla="*/ 583 h 19565"/>
                                                    <a:gd name="connsiteX4" fmla="*/ 4436 w 16715"/>
                                                    <a:gd name="connsiteY4" fmla="*/ 3434 h 19565"/>
                                                    <a:gd name="connsiteX5" fmla="*/ 549 w 16715"/>
                                                    <a:gd name="connsiteY5" fmla="*/ 15160 h 19565"/>
                                                    <a:gd name="connsiteX6" fmla="*/ 9035 w 16715"/>
                                                    <a:gd name="connsiteY6" fmla="*/ 19565 h 19565"/>
                                                    <a:gd name="connsiteX7" fmla="*/ 15190 w 16715"/>
                                                    <a:gd name="connsiteY7" fmla="*/ 18723 h 19565"/>
                                                    <a:gd name="connsiteX8" fmla="*/ 15708 w 16715"/>
                                                    <a:gd name="connsiteY8" fmla="*/ 18593 h 19565"/>
                                                    <a:gd name="connsiteX9" fmla="*/ 15903 w 16715"/>
                                                    <a:gd name="connsiteY9" fmla="*/ 18075 h 19565"/>
                                                    <a:gd name="connsiteX10" fmla="*/ 14348 w 16715"/>
                                                    <a:gd name="connsiteY10" fmla="*/ 1749 h 19565"/>
                                                    <a:gd name="connsiteX11" fmla="*/ 14154 w 16715"/>
                                                    <a:gd name="connsiteY11" fmla="*/ 16974 h 19565"/>
                                                    <a:gd name="connsiteX12" fmla="*/ 9035 w 16715"/>
                                                    <a:gd name="connsiteY12" fmla="*/ 17622 h 19565"/>
                                                    <a:gd name="connsiteX13" fmla="*/ 2363 w 16715"/>
                                                    <a:gd name="connsiteY13" fmla="*/ 14382 h 19565"/>
                                                    <a:gd name="connsiteX14" fmla="*/ 5990 w 16715"/>
                                                    <a:gd name="connsiteY14" fmla="*/ 4664 h 19565"/>
                                                    <a:gd name="connsiteX15" fmla="*/ 7805 w 16715"/>
                                                    <a:gd name="connsiteY15" fmla="*/ 2138 h 19565"/>
                                                    <a:gd name="connsiteX16" fmla="*/ 12793 w 16715"/>
                                                    <a:gd name="connsiteY16" fmla="*/ 3045 h 19565"/>
                                                    <a:gd name="connsiteX17" fmla="*/ 14154 w 16715"/>
                                                    <a:gd name="connsiteY17" fmla="*/ 16974 h 1956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715" h="19565">
                                                      <a:moveTo>
                                                        <a:pt x="14348" y="1749"/>
                                                      </a:moveTo>
                                                      <a:lnTo>
                                                        <a:pt x="14089" y="1296"/>
                                                      </a:lnTo>
                                                      <a:lnTo>
                                                        <a:pt x="6898" y="0"/>
                                                      </a:lnTo>
                                                      <a:lnTo>
                                                        <a:pt x="6573" y="583"/>
                                                      </a:lnTo>
                                                      <a:cubicBezTo>
                                                        <a:pt x="5926" y="1555"/>
                                                        <a:pt x="5213" y="2462"/>
                                                        <a:pt x="4436" y="3434"/>
                                                      </a:cubicBezTo>
                                                      <a:cubicBezTo>
                                                        <a:pt x="1779" y="6932"/>
                                                        <a:pt x="-1265" y="10884"/>
                                                        <a:pt x="549" y="15160"/>
                                                      </a:cubicBezTo>
                                                      <a:cubicBezTo>
                                                        <a:pt x="1779" y="18011"/>
                                                        <a:pt x="4760" y="19565"/>
                                                        <a:pt x="9035" y="19565"/>
                                                      </a:cubicBezTo>
                                                      <a:cubicBezTo>
                                                        <a:pt x="10914" y="19565"/>
                                                        <a:pt x="12988" y="19306"/>
                                                        <a:pt x="15190" y="18723"/>
                                                      </a:cubicBezTo>
                                                      <a:lnTo>
                                                        <a:pt x="15708" y="18593"/>
                                                      </a:lnTo>
                                                      <a:lnTo>
                                                        <a:pt x="15903" y="18075"/>
                                                      </a:lnTo>
                                                      <a:cubicBezTo>
                                                        <a:pt x="17393" y="12698"/>
                                                        <a:pt x="16810" y="6738"/>
                                                        <a:pt x="14348" y="1749"/>
                                                      </a:cubicBezTo>
                                                      <a:close/>
                                                      <a:moveTo>
                                                        <a:pt x="14154" y="16974"/>
                                                      </a:moveTo>
                                                      <a:cubicBezTo>
                                                        <a:pt x="12339" y="17363"/>
                                                        <a:pt x="10590" y="17622"/>
                                                        <a:pt x="9035" y="17622"/>
                                                      </a:cubicBezTo>
                                                      <a:cubicBezTo>
                                                        <a:pt x="5537" y="17622"/>
                                                        <a:pt x="3270" y="16520"/>
                                                        <a:pt x="2363" y="14382"/>
                                                      </a:cubicBezTo>
                                                      <a:cubicBezTo>
                                                        <a:pt x="937" y="11208"/>
                                                        <a:pt x="3399" y="8033"/>
                                                        <a:pt x="5990" y="4664"/>
                                                      </a:cubicBezTo>
                                                      <a:cubicBezTo>
                                                        <a:pt x="6638" y="3823"/>
                                                        <a:pt x="7287" y="2980"/>
                                                        <a:pt x="7805" y="2138"/>
                                                      </a:cubicBezTo>
                                                      <a:lnTo>
                                                        <a:pt x="12793" y="3045"/>
                                                      </a:lnTo>
                                                      <a:cubicBezTo>
                                                        <a:pt x="14801" y="7321"/>
                                                        <a:pt x="15320" y="12374"/>
                                                        <a:pt x="14154" y="1697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</p:grpSp>
                                          <p:grpSp>
                                            <p:nvGrpSpPr>
                                              <p:cNvPr id="1588" name="Graphic 41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32A2D7F3-934B-4600-8779-4D9F4CCB3F5F}"/>
                                                  </a:ext>
                                                </a:extLst>
                                              </p:cNvPr>
                                              <p:cNvGrpSpPr/>
                                              <p:nvPr/>
                                            </p:nvGrpSpPr>
                                            <p:grpSpPr>
                                              <a:xfrm>
                                                <a:off x="11304187" y="5427039"/>
                                                <a:ext cx="105003" cy="123490"/>
                                                <a:chOff x="11304187" y="5427039"/>
                                                <a:chExt cx="105003" cy="123490"/>
                                              </a:xfrm>
                                              <a:solidFill>
                                                <a:srgbClr val="DDDDDD"/>
                                              </a:solidFill>
                                            </p:grpSpPr>
                                            <p:sp>
                                              <p:nvSpPr>
                                                <p:cNvPr id="1589" name="Freeform: Shape 158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904DDCF-5645-4429-A3FA-653EAB01996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305217" y="5427889"/>
                                                  <a:ext cx="102952" cy="12143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5437 w 102952"/>
                                                    <a:gd name="connsiteY0" fmla="*/ 13995 h 121434"/>
                                                    <a:gd name="connsiteX1" fmla="*/ 49690 w 102952"/>
                                                    <a:gd name="connsiteY1" fmla="*/ 10173 h 121434"/>
                                                    <a:gd name="connsiteX2" fmla="*/ 51050 w 102952"/>
                                                    <a:gd name="connsiteY2" fmla="*/ 14967 h 121434"/>
                                                    <a:gd name="connsiteX3" fmla="*/ 56428 w 102952"/>
                                                    <a:gd name="connsiteY3" fmla="*/ 14967 h 121434"/>
                                                    <a:gd name="connsiteX4" fmla="*/ 60833 w 102952"/>
                                                    <a:gd name="connsiteY4" fmla="*/ 844 h 121434"/>
                                                    <a:gd name="connsiteX5" fmla="*/ 67117 w 102952"/>
                                                    <a:gd name="connsiteY5" fmla="*/ 2204 h 121434"/>
                                                    <a:gd name="connsiteX6" fmla="*/ 68413 w 102952"/>
                                                    <a:gd name="connsiteY6" fmla="*/ 9331 h 121434"/>
                                                    <a:gd name="connsiteX7" fmla="*/ 68219 w 102952"/>
                                                    <a:gd name="connsiteY7" fmla="*/ 24166 h 121434"/>
                                                    <a:gd name="connsiteX8" fmla="*/ 69773 w 102952"/>
                                                    <a:gd name="connsiteY8" fmla="*/ 33560 h 121434"/>
                                                    <a:gd name="connsiteX9" fmla="*/ 81953 w 102952"/>
                                                    <a:gd name="connsiteY9" fmla="*/ 39585 h 121434"/>
                                                    <a:gd name="connsiteX10" fmla="*/ 95947 w 102952"/>
                                                    <a:gd name="connsiteY10" fmla="*/ 41270 h 121434"/>
                                                    <a:gd name="connsiteX11" fmla="*/ 102620 w 102952"/>
                                                    <a:gd name="connsiteY11" fmla="*/ 52154 h 121434"/>
                                                    <a:gd name="connsiteX12" fmla="*/ 98214 w 102952"/>
                                                    <a:gd name="connsiteY12" fmla="*/ 57466 h 121434"/>
                                                    <a:gd name="connsiteX13" fmla="*/ 63165 w 102952"/>
                                                    <a:gd name="connsiteY13" fmla="*/ 74959 h 121434"/>
                                                    <a:gd name="connsiteX14" fmla="*/ 63813 w 102952"/>
                                                    <a:gd name="connsiteY14" fmla="*/ 100031 h 121434"/>
                                                    <a:gd name="connsiteX15" fmla="*/ 53836 w 102952"/>
                                                    <a:gd name="connsiteY15" fmla="*/ 121151 h 121434"/>
                                                    <a:gd name="connsiteX16" fmla="*/ 47552 w 102952"/>
                                                    <a:gd name="connsiteY16" fmla="*/ 119207 h 121434"/>
                                                    <a:gd name="connsiteX17" fmla="*/ 47552 w 102952"/>
                                                    <a:gd name="connsiteY17" fmla="*/ 112469 h 121434"/>
                                                    <a:gd name="connsiteX18" fmla="*/ 37834 w 102952"/>
                                                    <a:gd name="connsiteY18" fmla="*/ 108906 h 121434"/>
                                                    <a:gd name="connsiteX19" fmla="*/ 17167 w 102952"/>
                                                    <a:gd name="connsiteY19" fmla="*/ 89470 h 121434"/>
                                                    <a:gd name="connsiteX20" fmla="*/ 2915 w 102952"/>
                                                    <a:gd name="connsiteY20" fmla="*/ 89017 h 121434"/>
                                                    <a:gd name="connsiteX21" fmla="*/ 6542 w 102952"/>
                                                    <a:gd name="connsiteY21" fmla="*/ 68675 h 121434"/>
                                                    <a:gd name="connsiteX22" fmla="*/ 24035 w 102952"/>
                                                    <a:gd name="connsiteY22" fmla="*/ 61483 h 121434"/>
                                                    <a:gd name="connsiteX23" fmla="*/ 26432 w 102952"/>
                                                    <a:gd name="connsiteY23" fmla="*/ 33042 h 121434"/>
                                                    <a:gd name="connsiteX24" fmla="*/ 35955 w 102952"/>
                                                    <a:gd name="connsiteY24" fmla="*/ 19696 h 121434"/>
                                                    <a:gd name="connsiteX25" fmla="*/ 35502 w 102952"/>
                                                    <a:gd name="connsiteY25" fmla="*/ 13931 h 12143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02952" h="121434">
                                                      <a:moveTo>
                                                        <a:pt x="35437" y="13995"/>
                                                      </a:moveTo>
                                                      <a:cubicBezTo>
                                                        <a:pt x="36344" y="8488"/>
                                                        <a:pt x="44313" y="8618"/>
                                                        <a:pt x="49690" y="10173"/>
                                                      </a:cubicBezTo>
                                                      <a:cubicBezTo>
                                                        <a:pt x="50856" y="11404"/>
                                                        <a:pt x="51439" y="13282"/>
                                                        <a:pt x="51050" y="14967"/>
                                                      </a:cubicBezTo>
                                                      <a:cubicBezTo>
                                                        <a:pt x="52864" y="14967"/>
                                                        <a:pt x="54679" y="14967"/>
                                                        <a:pt x="56428" y="14967"/>
                                                      </a:cubicBezTo>
                                                      <a:cubicBezTo>
                                                        <a:pt x="59019" y="10691"/>
                                                        <a:pt x="60574" y="5832"/>
                                                        <a:pt x="60833" y="844"/>
                                                      </a:cubicBezTo>
                                                      <a:cubicBezTo>
                                                        <a:pt x="62582" y="-841"/>
                                                        <a:pt x="65822" y="196"/>
                                                        <a:pt x="67117" y="2204"/>
                                                      </a:cubicBezTo>
                                                      <a:cubicBezTo>
                                                        <a:pt x="68478" y="4278"/>
                                                        <a:pt x="68478" y="6869"/>
                                                        <a:pt x="68413" y="9331"/>
                                                      </a:cubicBezTo>
                                                      <a:cubicBezTo>
                                                        <a:pt x="68348" y="14254"/>
                                                        <a:pt x="68283" y="19243"/>
                                                        <a:pt x="68219" y="24166"/>
                                                      </a:cubicBezTo>
                                                      <a:cubicBezTo>
                                                        <a:pt x="68219" y="27406"/>
                                                        <a:pt x="68219" y="30775"/>
                                                        <a:pt x="69773" y="33560"/>
                                                      </a:cubicBezTo>
                                                      <a:cubicBezTo>
                                                        <a:pt x="72170" y="37642"/>
                                                        <a:pt x="77289" y="39197"/>
                                                        <a:pt x="81953" y="39585"/>
                                                      </a:cubicBezTo>
                                                      <a:cubicBezTo>
                                                        <a:pt x="86618" y="39974"/>
                                                        <a:pt x="91541" y="39585"/>
                                                        <a:pt x="95947" y="41270"/>
                                                      </a:cubicBezTo>
                                                      <a:cubicBezTo>
                                                        <a:pt x="100352" y="42954"/>
                                                        <a:pt x="104110" y="47684"/>
                                                        <a:pt x="102620" y="52154"/>
                                                      </a:cubicBezTo>
                                                      <a:cubicBezTo>
                                                        <a:pt x="101907" y="54357"/>
                                                        <a:pt x="100029" y="56041"/>
                                                        <a:pt x="98214" y="57466"/>
                                                      </a:cubicBezTo>
                                                      <a:cubicBezTo>
                                                        <a:pt x="87979" y="65759"/>
                                                        <a:pt x="75929" y="71719"/>
                                                        <a:pt x="63165" y="74959"/>
                                                      </a:cubicBezTo>
                                                      <a:cubicBezTo>
                                                        <a:pt x="60315" y="82927"/>
                                                        <a:pt x="63035" y="91609"/>
                                                        <a:pt x="63813" y="100031"/>
                                                      </a:cubicBezTo>
                                                      <a:cubicBezTo>
                                                        <a:pt x="64591" y="108453"/>
                                                        <a:pt x="61999" y="118754"/>
                                                        <a:pt x="53836" y="121151"/>
                                                      </a:cubicBezTo>
                                                      <a:cubicBezTo>
                                                        <a:pt x="51504" y="121798"/>
                                                        <a:pt x="48459" y="121410"/>
                                                        <a:pt x="47552" y="119207"/>
                                                      </a:cubicBezTo>
                                                      <a:cubicBezTo>
                                                        <a:pt x="46645" y="117134"/>
                                                        <a:pt x="48135" y="114607"/>
                                                        <a:pt x="47552" y="112469"/>
                                                      </a:cubicBezTo>
                                                      <a:cubicBezTo>
                                                        <a:pt x="46516" y="108906"/>
                                                        <a:pt x="41592" y="108971"/>
                                                        <a:pt x="37834" y="108906"/>
                                                      </a:cubicBezTo>
                                                      <a:cubicBezTo>
                                                        <a:pt x="27468" y="108647"/>
                                                        <a:pt x="18075" y="99772"/>
                                                        <a:pt x="17167" y="89470"/>
                                                      </a:cubicBezTo>
                                                      <a:cubicBezTo>
                                                        <a:pt x="12438" y="89341"/>
                                                        <a:pt x="7644" y="89147"/>
                                                        <a:pt x="2915" y="89017"/>
                                                      </a:cubicBezTo>
                                                      <a:cubicBezTo>
                                                        <a:pt x="-2203" y="83057"/>
                                                        <a:pt x="-324" y="72562"/>
                                                        <a:pt x="6542" y="68675"/>
                                                      </a:cubicBezTo>
                                                      <a:cubicBezTo>
                                                        <a:pt x="12114" y="65565"/>
                                                        <a:pt x="19889" y="66342"/>
                                                        <a:pt x="24035" y="61483"/>
                                                      </a:cubicBezTo>
                                                      <a:cubicBezTo>
                                                        <a:pt x="30319" y="54033"/>
                                                        <a:pt x="21767" y="41659"/>
                                                        <a:pt x="26432" y="33042"/>
                                                      </a:cubicBezTo>
                                                      <a:cubicBezTo>
                                                        <a:pt x="29088" y="28119"/>
                                                        <a:pt x="35761" y="25268"/>
                                                        <a:pt x="35955" y="19696"/>
                                                      </a:cubicBezTo>
                                                      <a:cubicBezTo>
                                                        <a:pt x="35955" y="17753"/>
                                                        <a:pt x="35178" y="15809"/>
                                                        <a:pt x="35502" y="1393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1590" name="Freeform: Shape 158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1CE4FFD-1D85-4C7B-B0D2-F6CB372D700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304187" y="5427039"/>
                                                  <a:ext cx="105003" cy="12349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97366 w 105003"/>
                                                    <a:gd name="connsiteY0" fmla="*/ 41342 h 123490"/>
                                                    <a:gd name="connsiteX1" fmla="*/ 86935 w 105003"/>
                                                    <a:gd name="connsiteY1" fmla="*/ 39788 h 123490"/>
                                                    <a:gd name="connsiteX2" fmla="*/ 83113 w 105003"/>
                                                    <a:gd name="connsiteY2" fmla="*/ 39593 h 123490"/>
                                                    <a:gd name="connsiteX3" fmla="*/ 71711 w 105003"/>
                                                    <a:gd name="connsiteY3" fmla="*/ 34022 h 123490"/>
                                                    <a:gd name="connsiteX4" fmla="*/ 70286 w 105003"/>
                                                    <a:gd name="connsiteY4" fmla="*/ 25146 h 123490"/>
                                                    <a:gd name="connsiteX5" fmla="*/ 70480 w 105003"/>
                                                    <a:gd name="connsiteY5" fmla="*/ 10310 h 123490"/>
                                                    <a:gd name="connsiteX6" fmla="*/ 68989 w 105003"/>
                                                    <a:gd name="connsiteY6" fmla="*/ 2601 h 123490"/>
                                                    <a:gd name="connsiteX7" fmla="*/ 61215 w 105003"/>
                                                    <a:gd name="connsiteY7" fmla="*/ 1046 h 123490"/>
                                                    <a:gd name="connsiteX8" fmla="*/ 60891 w 105003"/>
                                                    <a:gd name="connsiteY8" fmla="*/ 1305 h 123490"/>
                                                    <a:gd name="connsiteX9" fmla="*/ 60891 w 105003"/>
                                                    <a:gd name="connsiteY9" fmla="*/ 1694 h 123490"/>
                                                    <a:gd name="connsiteX10" fmla="*/ 56939 w 105003"/>
                                                    <a:gd name="connsiteY10" fmla="*/ 14910 h 123490"/>
                                                    <a:gd name="connsiteX11" fmla="*/ 53182 w 105003"/>
                                                    <a:gd name="connsiteY11" fmla="*/ 14910 h 123490"/>
                                                    <a:gd name="connsiteX12" fmla="*/ 51433 w 105003"/>
                                                    <a:gd name="connsiteY12" fmla="*/ 10375 h 123490"/>
                                                    <a:gd name="connsiteX13" fmla="*/ 51238 w 105003"/>
                                                    <a:gd name="connsiteY13" fmla="*/ 10181 h 123490"/>
                                                    <a:gd name="connsiteX14" fmla="*/ 50980 w 105003"/>
                                                    <a:gd name="connsiteY14" fmla="*/ 10181 h 123490"/>
                                                    <a:gd name="connsiteX15" fmla="*/ 44371 w 105003"/>
                                                    <a:gd name="connsiteY15" fmla="*/ 9144 h 123490"/>
                                                    <a:gd name="connsiteX16" fmla="*/ 35496 w 105003"/>
                                                    <a:gd name="connsiteY16" fmla="*/ 14716 h 123490"/>
                                                    <a:gd name="connsiteX17" fmla="*/ 35689 w 105003"/>
                                                    <a:gd name="connsiteY17" fmla="*/ 18279 h 123490"/>
                                                    <a:gd name="connsiteX18" fmla="*/ 35949 w 105003"/>
                                                    <a:gd name="connsiteY18" fmla="*/ 20611 h 123490"/>
                                                    <a:gd name="connsiteX19" fmla="*/ 31090 w 105003"/>
                                                    <a:gd name="connsiteY19" fmla="*/ 28126 h 123490"/>
                                                    <a:gd name="connsiteX20" fmla="*/ 26555 w 105003"/>
                                                    <a:gd name="connsiteY20" fmla="*/ 33568 h 123490"/>
                                                    <a:gd name="connsiteX21" fmla="*/ 25713 w 105003"/>
                                                    <a:gd name="connsiteY21" fmla="*/ 47951 h 123490"/>
                                                    <a:gd name="connsiteX22" fmla="*/ 24288 w 105003"/>
                                                    <a:gd name="connsiteY22" fmla="*/ 61815 h 123490"/>
                                                    <a:gd name="connsiteX23" fmla="*/ 14764 w 105003"/>
                                                    <a:gd name="connsiteY23" fmla="*/ 66220 h 123490"/>
                                                    <a:gd name="connsiteX24" fmla="*/ 7055 w 105003"/>
                                                    <a:gd name="connsiteY24" fmla="*/ 68812 h 123490"/>
                                                    <a:gd name="connsiteX25" fmla="*/ 252 w 105003"/>
                                                    <a:gd name="connsiteY25" fmla="*/ 78853 h 123490"/>
                                                    <a:gd name="connsiteX26" fmla="*/ 3168 w 105003"/>
                                                    <a:gd name="connsiteY26" fmla="*/ 90644 h 123490"/>
                                                    <a:gd name="connsiteX27" fmla="*/ 3426 w 105003"/>
                                                    <a:gd name="connsiteY27" fmla="*/ 90969 h 123490"/>
                                                    <a:gd name="connsiteX28" fmla="*/ 17290 w 105003"/>
                                                    <a:gd name="connsiteY28" fmla="*/ 91357 h 123490"/>
                                                    <a:gd name="connsiteX29" fmla="*/ 38800 w 105003"/>
                                                    <a:gd name="connsiteY29" fmla="*/ 110857 h 123490"/>
                                                    <a:gd name="connsiteX30" fmla="*/ 39447 w 105003"/>
                                                    <a:gd name="connsiteY30" fmla="*/ 110857 h 123490"/>
                                                    <a:gd name="connsiteX31" fmla="*/ 47611 w 105003"/>
                                                    <a:gd name="connsiteY31" fmla="*/ 113773 h 123490"/>
                                                    <a:gd name="connsiteX32" fmla="*/ 47546 w 105003"/>
                                                    <a:gd name="connsiteY32" fmla="*/ 116559 h 123490"/>
                                                    <a:gd name="connsiteX33" fmla="*/ 47675 w 105003"/>
                                                    <a:gd name="connsiteY33" fmla="*/ 120640 h 123490"/>
                                                    <a:gd name="connsiteX34" fmla="*/ 52793 w 105003"/>
                                                    <a:gd name="connsiteY34" fmla="*/ 123491 h 123490"/>
                                                    <a:gd name="connsiteX35" fmla="*/ 55125 w 105003"/>
                                                    <a:gd name="connsiteY35" fmla="*/ 123167 h 123490"/>
                                                    <a:gd name="connsiteX36" fmla="*/ 65815 w 105003"/>
                                                    <a:gd name="connsiteY36" fmla="*/ 101010 h 123490"/>
                                                    <a:gd name="connsiteX37" fmla="*/ 64973 w 105003"/>
                                                    <a:gd name="connsiteY37" fmla="*/ 94402 h 123490"/>
                                                    <a:gd name="connsiteX38" fmla="*/ 64973 w 105003"/>
                                                    <a:gd name="connsiteY38" fmla="*/ 76780 h 123490"/>
                                                    <a:gd name="connsiteX39" fmla="*/ 99892 w 105003"/>
                                                    <a:gd name="connsiteY39" fmla="*/ 59223 h 123490"/>
                                                    <a:gd name="connsiteX40" fmla="*/ 104621 w 105003"/>
                                                    <a:gd name="connsiteY40" fmla="*/ 53457 h 123490"/>
                                                    <a:gd name="connsiteX41" fmla="*/ 97366 w 105003"/>
                                                    <a:gd name="connsiteY41" fmla="*/ 41342 h 123490"/>
                                                    <a:gd name="connsiteX42" fmla="*/ 102743 w 105003"/>
                                                    <a:gd name="connsiteY42" fmla="*/ 52874 h 123490"/>
                                                    <a:gd name="connsiteX43" fmla="*/ 98662 w 105003"/>
                                                    <a:gd name="connsiteY43" fmla="*/ 57733 h 123490"/>
                                                    <a:gd name="connsiteX44" fmla="*/ 64002 w 105003"/>
                                                    <a:gd name="connsiteY44" fmla="*/ 75031 h 123490"/>
                                                    <a:gd name="connsiteX45" fmla="*/ 63483 w 105003"/>
                                                    <a:gd name="connsiteY45" fmla="*/ 75161 h 123490"/>
                                                    <a:gd name="connsiteX46" fmla="*/ 63288 w 105003"/>
                                                    <a:gd name="connsiteY46" fmla="*/ 75679 h 123490"/>
                                                    <a:gd name="connsiteX47" fmla="*/ 63030 w 105003"/>
                                                    <a:gd name="connsiteY47" fmla="*/ 94661 h 123490"/>
                                                    <a:gd name="connsiteX48" fmla="*/ 63872 w 105003"/>
                                                    <a:gd name="connsiteY48" fmla="*/ 101204 h 123490"/>
                                                    <a:gd name="connsiteX49" fmla="*/ 54607 w 105003"/>
                                                    <a:gd name="connsiteY49" fmla="*/ 121288 h 123490"/>
                                                    <a:gd name="connsiteX50" fmla="*/ 52793 w 105003"/>
                                                    <a:gd name="connsiteY50" fmla="*/ 121547 h 123490"/>
                                                    <a:gd name="connsiteX51" fmla="*/ 49489 w 105003"/>
                                                    <a:gd name="connsiteY51" fmla="*/ 119863 h 123490"/>
                                                    <a:gd name="connsiteX52" fmla="*/ 49425 w 105003"/>
                                                    <a:gd name="connsiteY52" fmla="*/ 116818 h 123490"/>
                                                    <a:gd name="connsiteX53" fmla="*/ 49489 w 105003"/>
                                                    <a:gd name="connsiteY53" fmla="*/ 113255 h 123490"/>
                                                    <a:gd name="connsiteX54" fmla="*/ 39512 w 105003"/>
                                                    <a:gd name="connsiteY54" fmla="*/ 108914 h 123490"/>
                                                    <a:gd name="connsiteX55" fmla="*/ 38865 w 105003"/>
                                                    <a:gd name="connsiteY55" fmla="*/ 108914 h 123490"/>
                                                    <a:gd name="connsiteX56" fmla="*/ 19105 w 105003"/>
                                                    <a:gd name="connsiteY56" fmla="*/ 90320 h 123490"/>
                                                    <a:gd name="connsiteX57" fmla="*/ 19105 w 105003"/>
                                                    <a:gd name="connsiteY57" fmla="*/ 89478 h 123490"/>
                                                    <a:gd name="connsiteX58" fmla="*/ 4333 w 105003"/>
                                                    <a:gd name="connsiteY58" fmla="*/ 89025 h 123490"/>
                                                    <a:gd name="connsiteX59" fmla="*/ 2131 w 105003"/>
                                                    <a:gd name="connsiteY59" fmla="*/ 79177 h 123490"/>
                                                    <a:gd name="connsiteX60" fmla="*/ 7962 w 105003"/>
                                                    <a:gd name="connsiteY60" fmla="*/ 70496 h 123490"/>
                                                    <a:gd name="connsiteX61" fmla="*/ 15218 w 105003"/>
                                                    <a:gd name="connsiteY61" fmla="*/ 68099 h 123490"/>
                                                    <a:gd name="connsiteX62" fmla="*/ 25713 w 105003"/>
                                                    <a:gd name="connsiteY62" fmla="*/ 63046 h 123490"/>
                                                    <a:gd name="connsiteX63" fmla="*/ 27656 w 105003"/>
                                                    <a:gd name="connsiteY63" fmla="*/ 47627 h 123490"/>
                                                    <a:gd name="connsiteX64" fmla="*/ 28240 w 105003"/>
                                                    <a:gd name="connsiteY64" fmla="*/ 34475 h 123490"/>
                                                    <a:gd name="connsiteX65" fmla="*/ 32450 w 105003"/>
                                                    <a:gd name="connsiteY65" fmla="*/ 29551 h 123490"/>
                                                    <a:gd name="connsiteX66" fmla="*/ 37893 w 105003"/>
                                                    <a:gd name="connsiteY66" fmla="*/ 20676 h 123490"/>
                                                    <a:gd name="connsiteX67" fmla="*/ 37633 w 105003"/>
                                                    <a:gd name="connsiteY67" fmla="*/ 17955 h 123490"/>
                                                    <a:gd name="connsiteX68" fmla="*/ 37439 w 105003"/>
                                                    <a:gd name="connsiteY68" fmla="*/ 15039 h 123490"/>
                                                    <a:gd name="connsiteX69" fmla="*/ 44371 w 105003"/>
                                                    <a:gd name="connsiteY69" fmla="*/ 11088 h 123490"/>
                                                    <a:gd name="connsiteX70" fmla="*/ 50202 w 105003"/>
                                                    <a:gd name="connsiteY70" fmla="*/ 11930 h 123490"/>
                                                    <a:gd name="connsiteX71" fmla="*/ 51108 w 105003"/>
                                                    <a:gd name="connsiteY71" fmla="*/ 15687 h 123490"/>
                                                    <a:gd name="connsiteX72" fmla="*/ 50915 w 105003"/>
                                                    <a:gd name="connsiteY72" fmla="*/ 16854 h 123490"/>
                                                    <a:gd name="connsiteX73" fmla="*/ 58041 w 105003"/>
                                                    <a:gd name="connsiteY73" fmla="*/ 16854 h 123490"/>
                                                    <a:gd name="connsiteX74" fmla="*/ 58300 w 105003"/>
                                                    <a:gd name="connsiteY74" fmla="*/ 16335 h 123490"/>
                                                    <a:gd name="connsiteX75" fmla="*/ 62835 w 105003"/>
                                                    <a:gd name="connsiteY75" fmla="*/ 2212 h 123490"/>
                                                    <a:gd name="connsiteX76" fmla="*/ 67370 w 105003"/>
                                                    <a:gd name="connsiteY76" fmla="*/ 3637 h 123490"/>
                                                    <a:gd name="connsiteX77" fmla="*/ 68536 w 105003"/>
                                                    <a:gd name="connsiteY77" fmla="*/ 10245 h 123490"/>
                                                    <a:gd name="connsiteX78" fmla="*/ 68342 w 105003"/>
                                                    <a:gd name="connsiteY78" fmla="*/ 25081 h 123490"/>
                                                    <a:gd name="connsiteX79" fmla="*/ 70026 w 105003"/>
                                                    <a:gd name="connsiteY79" fmla="*/ 34994 h 123490"/>
                                                    <a:gd name="connsiteX80" fmla="*/ 82983 w 105003"/>
                                                    <a:gd name="connsiteY80" fmla="*/ 41537 h 123490"/>
                                                    <a:gd name="connsiteX81" fmla="*/ 86870 w 105003"/>
                                                    <a:gd name="connsiteY81" fmla="*/ 41731 h 123490"/>
                                                    <a:gd name="connsiteX82" fmla="*/ 96653 w 105003"/>
                                                    <a:gd name="connsiteY82" fmla="*/ 43157 h 123490"/>
                                                    <a:gd name="connsiteX83" fmla="*/ 102743 w 105003"/>
                                                    <a:gd name="connsiteY83" fmla="*/ 52874 h 12349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05003" h="123490">
                                                      <a:moveTo>
                                                        <a:pt x="97366" y="41342"/>
                                                      </a:moveTo>
                                                      <a:cubicBezTo>
                                                        <a:pt x="93997" y="40047"/>
                                                        <a:pt x="90434" y="39917"/>
                                                        <a:pt x="86935" y="39788"/>
                                                      </a:cubicBezTo>
                                                      <a:cubicBezTo>
                                                        <a:pt x="85640" y="39723"/>
                                                        <a:pt x="84408" y="39658"/>
                                                        <a:pt x="83113" y="39593"/>
                                                      </a:cubicBezTo>
                                                      <a:cubicBezTo>
                                                        <a:pt x="79226" y="39269"/>
                                                        <a:pt x="74043" y="38038"/>
                                                        <a:pt x="71711" y="34022"/>
                                                      </a:cubicBezTo>
                                                      <a:cubicBezTo>
                                                        <a:pt x="70156" y="31430"/>
                                                        <a:pt x="70221" y="28061"/>
                                                        <a:pt x="70286" y="25146"/>
                                                      </a:cubicBezTo>
                                                      <a:lnTo>
                                                        <a:pt x="70480" y="10310"/>
                                                      </a:lnTo>
                                                      <a:cubicBezTo>
                                                        <a:pt x="70480" y="7913"/>
                                                        <a:pt x="70544" y="4998"/>
                                                        <a:pt x="68989" y="2601"/>
                                                      </a:cubicBezTo>
                                                      <a:cubicBezTo>
                                                        <a:pt x="67305" y="9"/>
                                                        <a:pt x="63223" y="-898"/>
                                                        <a:pt x="61215" y="1046"/>
                                                      </a:cubicBezTo>
                                                      <a:lnTo>
                                                        <a:pt x="60891" y="1305"/>
                                                      </a:lnTo>
                                                      <a:lnTo>
                                                        <a:pt x="60891" y="1694"/>
                                                      </a:lnTo>
                                                      <a:cubicBezTo>
                                                        <a:pt x="60633" y="6358"/>
                                                        <a:pt x="59271" y="10893"/>
                                                        <a:pt x="56939" y="14910"/>
                                                      </a:cubicBezTo>
                                                      <a:lnTo>
                                                        <a:pt x="53182" y="14910"/>
                                                      </a:lnTo>
                                                      <a:cubicBezTo>
                                                        <a:pt x="53182" y="13226"/>
                                                        <a:pt x="52534" y="11606"/>
                                                        <a:pt x="51433" y="10375"/>
                                                      </a:cubicBezTo>
                                                      <a:lnTo>
                                                        <a:pt x="51238" y="10181"/>
                                                      </a:lnTo>
                                                      <a:lnTo>
                                                        <a:pt x="50980" y="10181"/>
                                                      </a:lnTo>
                                                      <a:cubicBezTo>
                                                        <a:pt x="48841" y="9468"/>
                                                        <a:pt x="46509" y="9144"/>
                                                        <a:pt x="44371" y="9144"/>
                                                      </a:cubicBezTo>
                                                      <a:cubicBezTo>
                                                        <a:pt x="39253" y="9144"/>
                                                        <a:pt x="36143" y="11088"/>
                                                        <a:pt x="35496" y="14716"/>
                                                      </a:cubicBezTo>
                                                      <a:cubicBezTo>
                                                        <a:pt x="35301" y="15947"/>
                                                        <a:pt x="35496" y="17113"/>
                                                        <a:pt x="35689" y="18279"/>
                                                      </a:cubicBezTo>
                                                      <a:cubicBezTo>
                                                        <a:pt x="35819" y="19121"/>
                                                        <a:pt x="35949" y="19898"/>
                                                        <a:pt x="35949" y="20611"/>
                                                      </a:cubicBezTo>
                                                      <a:cubicBezTo>
                                                        <a:pt x="35819" y="23591"/>
                                                        <a:pt x="33552" y="25794"/>
                                                        <a:pt x="31090" y="28126"/>
                                                      </a:cubicBezTo>
                                                      <a:cubicBezTo>
                                                        <a:pt x="29405" y="29811"/>
                                                        <a:pt x="27656" y="31495"/>
                                                        <a:pt x="26555" y="33568"/>
                                                      </a:cubicBezTo>
                                                      <a:cubicBezTo>
                                                        <a:pt x="24158" y="37909"/>
                                                        <a:pt x="24936" y="43027"/>
                                                        <a:pt x="25713" y="47951"/>
                                                      </a:cubicBezTo>
                                                      <a:cubicBezTo>
                                                        <a:pt x="26555" y="53198"/>
                                                        <a:pt x="27333" y="58187"/>
                                                        <a:pt x="24288" y="61815"/>
                                                      </a:cubicBezTo>
                                                      <a:cubicBezTo>
                                                        <a:pt x="22020" y="64471"/>
                                                        <a:pt x="18457" y="65313"/>
                                                        <a:pt x="14764" y="66220"/>
                                                      </a:cubicBezTo>
                                                      <a:cubicBezTo>
                                                        <a:pt x="12108" y="66803"/>
                                                        <a:pt x="9387" y="67451"/>
                                                        <a:pt x="7055" y="68812"/>
                                                      </a:cubicBezTo>
                                                      <a:cubicBezTo>
                                                        <a:pt x="3491" y="70755"/>
                                                        <a:pt x="1029" y="74448"/>
                                                        <a:pt x="252" y="78853"/>
                                                      </a:cubicBezTo>
                                                      <a:cubicBezTo>
                                                        <a:pt x="-526" y="83259"/>
                                                        <a:pt x="511" y="87535"/>
                                                        <a:pt x="3168" y="90644"/>
                                                      </a:cubicBezTo>
                                                      <a:lnTo>
                                                        <a:pt x="3426" y="90969"/>
                                                      </a:lnTo>
                                                      <a:lnTo>
                                                        <a:pt x="17290" y="91357"/>
                                                      </a:lnTo>
                                                      <a:cubicBezTo>
                                                        <a:pt x="18652" y="101723"/>
                                                        <a:pt x="28305" y="110598"/>
                                                        <a:pt x="38800" y="110857"/>
                                                      </a:cubicBezTo>
                                                      <a:lnTo>
                                                        <a:pt x="39447" y="110857"/>
                                                      </a:lnTo>
                                                      <a:cubicBezTo>
                                                        <a:pt x="43659" y="110987"/>
                                                        <a:pt x="46898" y="111246"/>
                                                        <a:pt x="47611" y="113773"/>
                                                      </a:cubicBezTo>
                                                      <a:cubicBezTo>
                                                        <a:pt x="47805" y="114550"/>
                                                        <a:pt x="47611" y="115522"/>
                                                        <a:pt x="47546" y="116559"/>
                                                      </a:cubicBezTo>
                                                      <a:cubicBezTo>
                                                        <a:pt x="47351" y="117854"/>
                                                        <a:pt x="47092" y="119280"/>
                                                        <a:pt x="47675" y="120640"/>
                                                      </a:cubicBezTo>
                                                      <a:cubicBezTo>
                                                        <a:pt x="48453" y="122454"/>
                                                        <a:pt x="50331" y="123491"/>
                                                        <a:pt x="52793" y="123491"/>
                                                      </a:cubicBezTo>
                                                      <a:cubicBezTo>
                                                        <a:pt x="53570" y="123491"/>
                                                        <a:pt x="54413" y="123361"/>
                                                        <a:pt x="55125" y="123167"/>
                                                      </a:cubicBezTo>
                                                      <a:cubicBezTo>
                                                        <a:pt x="63677" y="120640"/>
                                                        <a:pt x="66657" y="110210"/>
                                                        <a:pt x="65815" y="101010"/>
                                                      </a:cubicBezTo>
                                                      <a:cubicBezTo>
                                                        <a:pt x="65621" y="98807"/>
                                                        <a:pt x="65297" y="96540"/>
                                                        <a:pt x="64973" y="94402"/>
                                                      </a:cubicBezTo>
                                                      <a:cubicBezTo>
                                                        <a:pt x="64066" y="88442"/>
                                                        <a:pt x="63159" y="82352"/>
                                                        <a:pt x="64973" y="76780"/>
                                                      </a:cubicBezTo>
                                                      <a:cubicBezTo>
                                                        <a:pt x="77671" y="73541"/>
                                                        <a:pt x="89721" y="67451"/>
                                                        <a:pt x="99892" y="59223"/>
                                                      </a:cubicBezTo>
                                                      <a:cubicBezTo>
                                                        <a:pt x="101771" y="57733"/>
                                                        <a:pt x="103779" y="55984"/>
                                                        <a:pt x="104621" y="53457"/>
                                                      </a:cubicBezTo>
                                                      <a:cubicBezTo>
                                                        <a:pt x="106306" y="48339"/>
                                                        <a:pt x="102160" y="43221"/>
                                                        <a:pt x="97366" y="41342"/>
                                                      </a:cubicBezTo>
                                                      <a:close/>
                                                      <a:moveTo>
                                                        <a:pt x="102743" y="52874"/>
                                                      </a:moveTo>
                                                      <a:cubicBezTo>
                                                        <a:pt x="102095" y="54883"/>
                                                        <a:pt x="100281" y="56438"/>
                                                        <a:pt x="98662" y="57733"/>
                                                      </a:cubicBezTo>
                                                      <a:cubicBezTo>
                                                        <a:pt x="88555" y="65896"/>
                                                        <a:pt x="76570" y="71857"/>
                                                        <a:pt x="64002" y="75031"/>
                                                      </a:cubicBezTo>
                                                      <a:lnTo>
                                                        <a:pt x="63483" y="75161"/>
                                                      </a:lnTo>
                                                      <a:lnTo>
                                                        <a:pt x="63288" y="75679"/>
                                                      </a:lnTo>
                                                      <a:cubicBezTo>
                                                        <a:pt x="61086" y="81769"/>
                                                        <a:pt x="62058" y="88377"/>
                                                        <a:pt x="63030" y="94661"/>
                                                      </a:cubicBezTo>
                                                      <a:cubicBezTo>
                                                        <a:pt x="63353" y="96799"/>
                                                        <a:pt x="63677" y="99067"/>
                                                        <a:pt x="63872" y="101204"/>
                                                      </a:cubicBezTo>
                                                      <a:cubicBezTo>
                                                        <a:pt x="64649" y="109367"/>
                                                        <a:pt x="62058" y="119085"/>
                                                        <a:pt x="54607" y="121288"/>
                                                      </a:cubicBezTo>
                                                      <a:cubicBezTo>
                                                        <a:pt x="54024" y="121482"/>
                                                        <a:pt x="53441" y="121547"/>
                                                        <a:pt x="52793" y="121547"/>
                                                      </a:cubicBezTo>
                                                      <a:cubicBezTo>
                                                        <a:pt x="52210" y="121547"/>
                                                        <a:pt x="50137" y="121417"/>
                                                        <a:pt x="49489" y="119863"/>
                                                      </a:cubicBezTo>
                                                      <a:cubicBezTo>
                                                        <a:pt x="49100" y="119020"/>
                                                        <a:pt x="49230" y="117984"/>
                                                        <a:pt x="49425" y="116818"/>
                                                      </a:cubicBezTo>
                                                      <a:cubicBezTo>
                                                        <a:pt x="49618" y="115652"/>
                                                        <a:pt x="49813" y="114485"/>
                                                        <a:pt x="49489" y="113255"/>
                                                      </a:cubicBezTo>
                                                      <a:cubicBezTo>
                                                        <a:pt x="48323" y="109173"/>
                                                        <a:pt x="43205" y="109044"/>
                                                        <a:pt x="39512" y="108914"/>
                                                      </a:cubicBezTo>
                                                      <a:lnTo>
                                                        <a:pt x="38865" y="108914"/>
                                                      </a:lnTo>
                                                      <a:cubicBezTo>
                                                        <a:pt x="29017" y="108655"/>
                                                        <a:pt x="20012" y="100168"/>
                                                        <a:pt x="19105" y="90320"/>
                                                      </a:cubicBezTo>
                                                      <a:lnTo>
                                                        <a:pt x="19105" y="89478"/>
                                                      </a:lnTo>
                                                      <a:cubicBezTo>
                                                        <a:pt x="19105" y="89478"/>
                                                        <a:pt x="4333" y="89025"/>
                                                        <a:pt x="4333" y="89025"/>
                                                      </a:cubicBezTo>
                                                      <a:cubicBezTo>
                                                        <a:pt x="2325" y="86433"/>
                                                        <a:pt x="1483" y="82870"/>
                                                        <a:pt x="2131" y="79177"/>
                                                      </a:cubicBezTo>
                                                      <a:cubicBezTo>
                                                        <a:pt x="2843" y="75355"/>
                                                        <a:pt x="4981" y="72181"/>
                                                        <a:pt x="7962" y="70496"/>
                                                      </a:cubicBezTo>
                                                      <a:cubicBezTo>
                                                        <a:pt x="10099" y="69265"/>
                                                        <a:pt x="12691" y="68682"/>
                                                        <a:pt x="15218" y="68099"/>
                                                      </a:cubicBezTo>
                                                      <a:cubicBezTo>
                                                        <a:pt x="19105" y="67192"/>
                                                        <a:pt x="23056" y="66220"/>
                                                        <a:pt x="25713" y="63046"/>
                                                      </a:cubicBezTo>
                                                      <a:cubicBezTo>
                                                        <a:pt x="29341" y="58770"/>
                                                        <a:pt x="28498" y="53133"/>
                                                        <a:pt x="27656" y="47627"/>
                                                      </a:cubicBezTo>
                                                      <a:cubicBezTo>
                                                        <a:pt x="26943" y="43027"/>
                                                        <a:pt x="26166" y="38233"/>
                                                        <a:pt x="28240" y="34475"/>
                                                      </a:cubicBezTo>
                                                      <a:cubicBezTo>
                                                        <a:pt x="29211" y="32661"/>
                                                        <a:pt x="30895" y="31106"/>
                                                        <a:pt x="32450" y="29551"/>
                                                      </a:cubicBezTo>
                                                      <a:cubicBezTo>
                                                        <a:pt x="35042" y="27025"/>
                                                        <a:pt x="37763" y="24433"/>
                                                        <a:pt x="37893" y="20676"/>
                                                      </a:cubicBezTo>
                                                      <a:cubicBezTo>
                                                        <a:pt x="37893" y="19769"/>
                                                        <a:pt x="37763" y="18862"/>
                                                        <a:pt x="37633" y="17955"/>
                                                      </a:cubicBezTo>
                                                      <a:cubicBezTo>
                                                        <a:pt x="37439" y="16918"/>
                                                        <a:pt x="37245" y="15947"/>
                                                        <a:pt x="37439" y="15039"/>
                                                      </a:cubicBezTo>
                                                      <a:cubicBezTo>
                                                        <a:pt x="37958" y="11735"/>
                                                        <a:pt x="41520" y="11088"/>
                                                        <a:pt x="44371" y="11088"/>
                                                      </a:cubicBezTo>
                                                      <a:cubicBezTo>
                                                        <a:pt x="46249" y="11088"/>
                                                        <a:pt x="48258" y="11347"/>
                                                        <a:pt x="50202" y="11930"/>
                                                      </a:cubicBezTo>
                                                      <a:cubicBezTo>
                                                        <a:pt x="51044" y="12901"/>
                                                        <a:pt x="51433" y="14392"/>
                                                        <a:pt x="51108" y="15687"/>
                                                      </a:cubicBezTo>
                                                      <a:lnTo>
                                                        <a:pt x="50915" y="16854"/>
                                                      </a:lnTo>
                                                      <a:lnTo>
                                                        <a:pt x="58041" y="16854"/>
                                                      </a:lnTo>
                                                      <a:lnTo>
                                                        <a:pt x="58300" y="16335"/>
                                                      </a:lnTo>
                                                      <a:cubicBezTo>
                                                        <a:pt x="60956" y="12124"/>
                                                        <a:pt x="62511" y="7200"/>
                                                        <a:pt x="62835" y="2212"/>
                                                      </a:cubicBezTo>
                                                      <a:cubicBezTo>
                                                        <a:pt x="64066" y="1370"/>
                                                        <a:pt x="66399" y="2147"/>
                                                        <a:pt x="67370" y="3637"/>
                                                      </a:cubicBezTo>
                                                      <a:cubicBezTo>
                                                        <a:pt x="68601" y="5516"/>
                                                        <a:pt x="68536" y="8172"/>
                                                        <a:pt x="68536" y="10245"/>
                                                      </a:cubicBezTo>
                                                      <a:lnTo>
                                                        <a:pt x="68342" y="25081"/>
                                                      </a:lnTo>
                                                      <a:cubicBezTo>
                                                        <a:pt x="68277" y="28126"/>
                                                        <a:pt x="68212" y="31948"/>
                                                        <a:pt x="70026" y="34994"/>
                                                      </a:cubicBezTo>
                                                      <a:cubicBezTo>
                                                        <a:pt x="72747" y="39723"/>
                                                        <a:pt x="78578" y="41148"/>
                                                        <a:pt x="82983" y="41537"/>
                                                      </a:cubicBezTo>
                                                      <a:cubicBezTo>
                                                        <a:pt x="84279" y="41601"/>
                                                        <a:pt x="85575" y="41666"/>
                                                        <a:pt x="86870" y="41731"/>
                                                      </a:cubicBezTo>
                                                      <a:cubicBezTo>
                                                        <a:pt x="90304" y="41861"/>
                                                        <a:pt x="93608" y="41991"/>
                                                        <a:pt x="96653" y="43157"/>
                                                      </a:cubicBezTo>
                                                      <a:cubicBezTo>
                                                        <a:pt x="100670" y="44711"/>
                                                        <a:pt x="104039" y="48987"/>
                                                        <a:pt x="102743" y="5287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</p:grpSp>
                                          <p:grpSp>
                                            <p:nvGrpSpPr>
                                              <p:cNvPr id="1591" name="Graphic 41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67825EA5-26F0-44C5-BF54-6A5461EBE249}"/>
                                                  </a:ext>
                                                </a:extLst>
                                              </p:cNvPr>
                                              <p:cNvGrpSpPr/>
                                              <p:nvPr/>
                                            </p:nvGrpSpPr>
                                            <p:grpSpPr>
                                              <a:xfrm>
                                                <a:off x="11287270" y="5366018"/>
                                                <a:ext cx="50950" cy="64528"/>
                                                <a:chOff x="11287270" y="5366018"/>
                                                <a:chExt cx="50950" cy="64528"/>
                                              </a:xfrm>
                                              <a:solidFill>
                                                <a:srgbClr val="DDDDDD"/>
                                              </a:solidFill>
                                            </p:grpSpPr>
                                            <p:sp>
                                              <p:nvSpPr>
                                                <p:cNvPr id="1592" name="Freeform: Shape 159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A22C09A-75E8-4462-8ED8-363A477BD86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288761" y="5366996"/>
                                                  <a:ext cx="48422" cy="6253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4382 w 48422"/>
                                                    <a:gd name="connsiteY0" fmla="*/ 385 h 62531"/>
                                                    <a:gd name="connsiteX1" fmla="*/ 30125 w 48422"/>
                                                    <a:gd name="connsiteY1" fmla="*/ 4790 h 62531"/>
                                                    <a:gd name="connsiteX2" fmla="*/ 39454 w 48422"/>
                                                    <a:gd name="connsiteY2" fmla="*/ 29927 h 62531"/>
                                                    <a:gd name="connsiteX3" fmla="*/ 48395 w 48422"/>
                                                    <a:gd name="connsiteY3" fmla="*/ 48520 h 62531"/>
                                                    <a:gd name="connsiteX4" fmla="*/ 34855 w 48422"/>
                                                    <a:gd name="connsiteY4" fmla="*/ 62320 h 62531"/>
                                                    <a:gd name="connsiteX5" fmla="*/ 8811 w 48422"/>
                                                    <a:gd name="connsiteY5" fmla="*/ 17423 h 62531"/>
                                                    <a:gd name="connsiteX6" fmla="*/ 0 w 48422"/>
                                                    <a:gd name="connsiteY6" fmla="*/ 2263 h 62531"/>
                                                    <a:gd name="connsiteX7" fmla="*/ 14317 w 48422"/>
                                                    <a:gd name="connsiteY7" fmla="*/ 320 h 6253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8422" h="62531">
                                                      <a:moveTo>
                                                        <a:pt x="14382" y="385"/>
                                                      </a:moveTo>
                                                      <a:cubicBezTo>
                                                        <a:pt x="20148" y="-393"/>
                                                        <a:pt x="27534" y="-458"/>
                                                        <a:pt x="30125" y="4790"/>
                                                      </a:cubicBezTo>
                                                      <a:cubicBezTo>
                                                        <a:pt x="31486" y="13666"/>
                                                        <a:pt x="34660" y="22282"/>
                                                        <a:pt x="39454" y="29927"/>
                                                      </a:cubicBezTo>
                                                      <a:cubicBezTo>
                                                        <a:pt x="43147" y="35822"/>
                                                        <a:pt x="47941" y="41588"/>
                                                        <a:pt x="48395" y="48520"/>
                                                      </a:cubicBezTo>
                                                      <a:cubicBezTo>
                                                        <a:pt x="48913" y="55971"/>
                                                        <a:pt x="42111" y="63940"/>
                                                        <a:pt x="34855" y="62320"/>
                                                      </a:cubicBezTo>
                                                      <a:cubicBezTo>
                                                        <a:pt x="26173" y="47354"/>
                                                        <a:pt x="17492" y="32389"/>
                                                        <a:pt x="8811" y="17423"/>
                                                      </a:cubicBezTo>
                                                      <a:cubicBezTo>
                                                        <a:pt x="5895" y="12370"/>
                                                        <a:pt x="2980" y="7316"/>
                                                        <a:pt x="0" y="2263"/>
                                                      </a:cubicBezTo>
                                                      <a:cubicBezTo>
                                                        <a:pt x="4794" y="1616"/>
                                                        <a:pt x="9588" y="968"/>
                                                        <a:pt x="14317" y="32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1593" name="Freeform: Shape 159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1BCE180-7AFD-44B1-9DF1-C833A4385C9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11287270" y="5366018"/>
                                                  <a:ext cx="50950" cy="6452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3925 w 50950"/>
                                                    <a:gd name="connsiteY0" fmla="*/ 33755 h 64528"/>
                                                    <a:gd name="connsiteX1" fmla="*/ 41787 w 50950"/>
                                                    <a:gd name="connsiteY1" fmla="*/ 30451 h 64528"/>
                                                    <a:gd name="connsiteX2" fmla="*/ 32587 w 50950"/>
                                                    <a:gd name="connsiteY2" fmla="*/ 5638 h 64528"/>
                                                    <a:gd name="connsiteX3" fmla="*/ 32587 w 50950"/>
                                                    <a:gd name="connsiteY3" fmla="*/ 5379 h 64528"/>
                                                    <a:gd name="connsiteX4" fmla="*/ 15743 w 50950"/>
                                                    <a:gd name="connsiteY4" fmla="*/ 390 h 64528"/>
                                                    <a:gd name="connsiteX5" fmla="*/ 0 w 50950"/>
                                                    <a:gd name="connsiteY5" fmla="*/ 2528 h 64528"/>
                                                    <a:gd name="connsiteX6" fmla="*/ 25914 w 50950"/>
                                                    <a:gd name="connsiteY6" fmla="*/ 47230 h 64528"/>
                                                    <a:gd name="connsiteX7" fmla="*/ 35762 w 50950"/>
                                                    <a:gd name="connsiteY7" fmla="*/ 64204 h 64528"/>
                                                    <a:gd name="connsiteX8" fmla="*/ 36151 w 50950"/>
                                                    <a:gd name="connsiteY8" fmla="*/ 64204 h 64528"/>
                                                    <a:gd name="connsiteX9" fmla="*/ 38289 w 50950"/>
                                                    <a:gd name="connsiteY9" fmla="*/ 64528 h 64528"/>
                                                    <a:gd name="connsiteX10" fmla="*/ 46776 w 50950"/>
                                                    <a:gd name="connsiteY10" fmla="*/ 60511 h 64528"/>
                                                    <a:gd name="connsiteX11" fmla="*/ 50922 w 50950"/>
                                                    <a:gd name="connsiteY11" fmla="*/ 49433 h 64528"/>
                                                    <a:gd name="connsiteX12" fmla="*/ 43925 w 50950"/>
                                                    <a:gd name="connsiteY12" fmla="*/ 33755 h 64528"/>
                                                    <a:gd name="connsiteX13" fmla="*/ 36993 w 50950"/>
                                                    <a:gd name="connsiteY13" fmla="*/ 62455 h 64528"/>
                                                    <a:gd name="connsiteX14" fmla="*/ 3110 w 50950"/>
                                                    <a:gd name="connsiteY14" fmla="*/ 4083 h 64528"/>
                                                    <a:gd name="connsiteX15" fmla="*/ 16003 w 50950"/>
                                                    <a:gd name="connsiteY15" fmla="*/ 2334 h 64528"/>
                                                    <a:gd name="connsiteX16" fmla="*/ 30709 w 50950"/>
                                                    <a:gd name="connsiteY16" fmla="*/ 6092 h 64528"/>
                                                    <a:gd name="connsiteX17" fmla="*/ 40103 w 50950"/>
                                                    <a:gd name="connsiteY17" fmla="*/ 31487 h 64528"/>
                                                    <a:gd name="connsiteX18" fmla="*/ 42305 w 50950"/>
                                                    <a:gd name="connsiteY18" fmla="*/ 34856 h 64528"/>
                                                    <a:gd name="connsiteX19" fmla="*/ 48978 w 50950"/>
                                                    <a:gd name="connsiteY19" fmla="*/ 49627 h 64528"/>
                                                    <a:gd name="connsiteX20" fmla="*/ 45415 w 50950"/>
                                                    <a:gd name="connsiteY20" fmla="*/ 59151 h 64528"/>
                                                    <a:gd name="connsiteX21" fmla="*/ 36993 w 50950"/>
                                                    <a:gd name="connsiteY21" fmla="*/ 62455 h 6452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0950" h="64528">
                                                      <a:moveTo>
                                                        <a:pt x="43925" y="33755"/>
                                                      </a:moveTo>
                                                      <a:cubicBezTo>
                                                        <a:pt x="43212" y="32654"/>
                                                        <a:pt x="42500" y="31552"/>
                                                        <a:pt x="41787" y="30451"/>
                                                      </a:cubicBezTo>
                                                      <a:cubicBezTo>
                                                        <a:pt x="37058" y="22936"/>
                                                        <a:pt x="33884" y="14384"/>
                                                        <a:pt x="32587" y="5638"/>
                                                      </a:cubicBezTo>
                                                      <a:lnTo>
                                                        <a:pt x="32587" y="5379"/>
                                                      </a:lnTo>
                                                      <a:cubicBezTo>
                                                        <a:pt x="30255" y="844"/>
                                                        <a:pt x="24813" y="-841"/>
                                                        <a:pt x="15743" y="390"/>
                                                      </a:cubicBezTo>
                                                      <a:lnTo>
                                                        <a:pt x="0" y="2528"/>
                                                      </a:lnTo>
                                                      <a:lnTo>
                                                        <a:pt x="25914" y="47230"/>
                                                      </a:lnTo>
                                                      <a:lnTo>
                                                        <a:pt x="35762" y="64204"/>
                                                      </a:lnTo>
                                                      <a:lnTo>
                                                        <a:pt x="36151" y="64204"/>
                                                      </a:lnTo>
                                                      <a:cubicBezTo>
                                                        <a:pt x="36863" y="64399"/>
                                                        <a:pt x="37576" y="64528"/>
                                                        <a:pt x="38289" y="64528"/>
                                                      </a:cubicBezTo>
                                                      <a:cubicBezTo>
                                                        <a:pt x="41333" y="64528"/>
                                                        <a:pt x="44379" y="63103"/>
                                                        <a:pt x="46776" y="60511"/>
                                                      </a:cubicBezTo>
                                                      <a:cubicBezTo>
                                                        <a:pt x="49626" y="57467"/>
                                                        <a:pt x="51181" y="53320"/>
                                                        <a:pt x="50922" y="49433"/>
                                                      </a:cubicBezTo>
                                                      <a:cubicBezTo>
                                                        <a:pt x="50468" y="43602"/>
                                                        <a:pt x="47164" y="38614"/>
                                                        <a:pt x="43925" y="33755"/>
                                                      </a:cubicBezTo>
                                                      <a:close/>
                                                      <a:moveTo>
                                                        <a:pt x="36993" y="62455"/>
                                                      </a:moveTo>
                                                      <a:lnTo>
                                                        <a:pt x="3110" y="4083"/>
                                                      </a:lnTo>
                                                      <a:lnTo>
                                                        <a:pt x="16003" y="2334"/>
                                                      </a:lnTo>
                                                      <a:cubicBezTo>
                                                        <a:pt x="23971" y="1233"/>
                                                        <a:pt x="28830" y="2528"/>
                                                        <a:pt x="30709" y="6092"/>
                                                      </a:cubicBezTo>
                                                      <a:cubicBezTo>
                                                        <a:pt x="32069" y="15032"/>
                                                        <a:pt x="35309" y="23778"/>
                                                        <a:pt x="40103" y="31487"/>
                                                      </a:cubicBezTo>
                                                      <a:cubicBezTo>
                                                        <a:pt x="40815" y="32589"/>
                                                        <a:pt x="41593" y="33690"/>
                                                        <a:pt x="42305" y="34856"/>
                                                      </a:cubicBezTo>
                                                      <a:cubicBezTo>
                                                        <a:pt x="45415" y="39456"/>
                                                        <a:pt x="48589" y="44250"/>
                                                        <a:pt x="48978" y="49627"/>
                                                      </a:cubicBezTo>
                                                      <a:cubicBezTo>
                                                        <a:pt x="49173" y="52932"/>
                                                        <a:pt x="47877" y="56495"/>
                                                        <a:pt x="45415" y="59151"/>
                                                      </a:cubicBezTo>
                                                      <a:cubicBezTo>
                                                        <a:pt x="42953" y="61742"/>
                                                        <a:pt x="39908" y="62909"/>
                                                        <a:pt x="36993" y="6245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</p:grpSp>
                                        </p:grpSp>
                                        <p:sp>
                                          <p:nvSpPr>
                                            <p:cNvPr id="1598" name="Freeform: Shape 159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F6908576-2ACD-45B4-A5E9-F0113E85038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798910" y="4690725"/>
                                              <a:ext cx="996409" cy="80503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8193 w 996409"/>
                                                <a:gd name="connsiteY0" fmla="*/ 686438 h 805031"/>
                                                <a:gd name="connsiteX1" fmla="*/ 47720 w 996409"/>
                                                <a:gd name="connsiteY1" fmla="*/ 658062 h 805031"/>
                                                <a:gd name="connsiteX2" fmla="*/ 41436 w 996409"/>
                                                <a:gd name="connsiteY2" fmla="*/ 652490 h 805031"/>
                                                <a:gd name="connsiteX3" fmla="*/ 47138 w 996409"/>
                                                <a:gd name="connsiteY3" fmla="*/ 648474 h 805031"/>
                                                <a:gd name="connsiteX4" fmla="*/ 63204 w 996409"/>
                                                <a:gd name="connsiteY4" fmla="*/ 626900 h 805031"/>
                                                <a:gd name="connsiteX5" fmla="*/ 60742 w 996409"/>
                                                <a:gd name="connsiteY5" fmla="*/ 598848 h 805031"/>
                                                <a:gd name="connsiteX6" fmla="*/ 70914 w 996409"/>
                                                <a:gd name="connsiteY6" fmla="*/ 593406 h 805031"/>
                                                <a:gd name="connsiteX7" fmla="*/ 64824 w 996409"/>
                                                <a:gd name="connsiteY7" fmla="*/ 580902 h 805031"/>
                                                <a:gd name="connsiteX8" fmla="*/ 56855 w 996409"/>
                                                <a:gd name="connsiteY8" fmla="*/ 569176 h 805031"/>
                                                <a:gd name="connsiteX9" fmla="*/ 54458 w 996409"/>
                                                <a:gd name="connsiteY9" fmla="*/ 556413 h 805031"/>
                                                <a:gd name="connsiteX10" fmla="*/ 46230 w 996409"/>
                                                <a:gd name="connsiteY10" fmla="*/ 552461 h 805031"/>
                                                <a:gd name="connsiteX11" fmla="*/ 36837 w 996409"/>
                                                <a:gd name="connsiteY11" fmla="*/ 520975 h 805031"/>
                                                <a:gd name="connsiteX12" fmla="*/ 35930 w 996409"/>
                                                <a:gd name="connsiteY12" fmla="*/ 486444 h 805031"/>
                                                <a:gd name="connsiteX13" fmla="*/ 27637 w 996409"/>
                                                <a:gd name="connsiteY13" fmla="*/ 478152 h 805031"/>
                                                <a:gd name="connsiteX14" fmla="*/ 12283 w 996409"/>
                                                <a:gd name="connsiteY14" fmla="*/ 449257 h 805031"/>
                                                <a:gd name="connsiteX15" fmla="*/ 9886 w 996409"/>
                                                <a:gd name="connsiteY15" fmla="*/ 434810 h 805031"/>
                                                <a:gd name="connsiteX16" fmla="*/ 20058 w 996409"/>
                                                <a:gd name="connsiteY16" fmla="*/ 426194 h 805031"/>
                                                <a:gd name="connsiteX17" fmla="*/ 26536 w 996409"/>
                                                <a:gd name="connsiteY17" fmla="*/ 428202 h 805031"/>
                                                <a:gd name="connsiteX18" fmla="*/ 34763 w 996409"/>
                                                <a:gd name="connsiteY18" fmla="*/ 420363 h 805031"/>
                                                <a:gd name="connsiteX19" fmla="*/ 21806 w 996409"/>
                                                <a:gd name="connsiteY19" fmla="*/ 399632 h 805031"/>
                                                <a:gd name="connsiteX20" fmla="*/ 2241 w 996409"/>
                                                <a:gd name="connsiteY20" fmla="*/ 383176 h 805031"/>
                                                <a:gd name="connsiteX21" fmla="*/ 20640 w 996409"/>
                                                <a:gd name="connsiteY21" fmla="*/ 340223 h 805031"/>
                                                <a:gd name="connsiteX22" fmla="*/ 58993 w 996409"/>
                                                <a:gd name="connsiteY22" fmla="*/ 307830 h 805031"/>
                                                <a:gd name="connsiteX23" fmla="*/ 116459 w 996409"/>
                                                <a:gd name="connsiteY23" fmla="*/ 273429 h 805031"/>
                                                <a:gd name="connsiteX24" fmla="*/ 132719 w 996409"/>
                                                <a:gd name="connsiteY24" fmla="*/ 264683 h 805031"/>
                                                <a:gd name="connsiteX25" fmla="*/ 171267 w 996409"/>
                                                <a:gd name="connsiteY25" fmla="*/ 248357 h 805031"/>
                                                <a:gd name="connsiteX26" fmla="*/ 189666 w 996409"/>
                                                <a:gd name="connsiteY26" fmla="*/ 238250 h 805031"/>
                                                <a:gd name="connsiteX27" fmla="*/ 191221 w 996409"/>
                                                <a:gd name="connsiteY27" fmla="*/ 230671 h 805031"/>
                                                <a:gd name="connsiteX28" fmla="*/ 201004 w 996409"/>
                                                <a:gd name="connsiteY28" fmla="*/ 221147 h 805031"/>
                                                <a:gd name="connsiteX29" fmla="*/ 230675 w 996409"/>
                                                <a:gd name="connsiteY29" fmla="*/ 189337 h 805031"/>
                                                <a:gd name="connsiteX30" fmla="*/ 226918 w 996409"/>
                                                <a:gd name="connsiteY30" fmla="*/ 169383 h 805031"/>
                                                <a:gd name="connsiteX31" fmla="*/ 237090 w 996409"/>
                                                <a:gd name="connsiteY31" fmla="*/ 152863 h 805031"/>
                                                <a:gd name="connsiteX32" fmla="*/ 252897 w 996409"/>
                                                <a:gd name="connsiteY32" fmla="*/ 160702 h 805031"/>
                                                <a:gd name="connsiteX33" fmla="*/ 253092 w 996409"/>
                                                <a:gd name="connsiteY33" fmla="*/ 166079 h 805031"/>
                                                <a:gd name="connsiteX34" fmla="*/ 268964 w 996409"/>
                                                <a:gd name="connsiteY34" fmla="*/ 166662 h 805031"/>
                                                <a:gd name="connsiteX35" fmla="*/ 263004 w 996409"/>
                                                <a:gd name="connsiteY35" fmla="*/ 151762 h 805031"/>
                                                <a:gd name="connsiteX36" fmla="*/ 263457 w 996409"/>
                                                <a:gd name="connsiteY36" fmla="*/ 137120 h 805031"/>
                                                <a:gd name="connsiteX37" fmla="*/ 272722 w 996409"/>
                                                <a:gd name="connsiteY37" fmla="*/ 146838 h 805031"/>
                                                <a:gd name="connsiteX38" fmla="*/ 285095 w 996409"/>
                                                <a:gd name="connsiteY38" fmla="*/ 145348 h 805031"/>
                                                <a:gd name="connsiteX39" fmla="*/ 281597 w 996409"/>
                                                <a:gd name="connsiteY39" fmla="*/ 114251 h 805031"/>
                                                <a:gd name="connsiteX40" fmla="*/ 298377 w 996409"/>
                                                <a:gd name="connsiteY40" fmla="*/ 93195 h 805031"/>
                                                <a:gd name="connsiteX41" fmla="*/ 323060 w 996409"/>
                                                <a:gd name="connsiteY41" fmla="*/ 88207 h 805031"/>
                                                <a:gd name="connsiteX42" fmla="*/ 358433 w 996409"/>
                                                <a:gd name="connsiteY42" fmla="*/ 79720 h 805031"/>
                                                <a:gd name="connsiteX43" fmla="*/ 374888 w 996409"/>
                                                <a:gd name="connsiteY43" fmla="*/ 94426 h 805031"/>
                                                <a:gd name="connsiteX44" fmla="*/ 380784 w 996409"/>
                                                <a:gd name="connsiteY44" fmla="*/ 112631 h 805031"/>
                                                <a:gd name="connsiteX45" fmla="*/ 392381 w 996409"/>
                                                <a:gd name="connsiteY45" fmla="*/ 103820 h 805031"/>
                                                <a:gd name="connsiteX46" fmla="*/ 419008 w 996409"/>
                                                <a:gd name="connsiteY46" fmla="*/ 112242 h 805031"/>
                                                <a:gd name="connsiteX47" fmla="*/ 418295 w 996409"/>
                                                <a:gd name="connsiteY47" fmla="*/ 73500 h 805031"/>
                                                <a:gd name="connsiteX48" fmla="*/ 438897 w 996409"/>
                                                <a:gd name="connsiteY48" fmla="*/ 40200 h 805031"/>
                                                <a:gd name="connsiteX49" fmla="*/ 482886 w 996409"/>
                                                <a:gd name="connsiteY49" fmla="*/ 26012 h 805031"/>
                                                <a:gd name="connsiteX50" fmla="*/ 476408 w 996409"/>
                                                <a:gd name="connsiteY50" fmla="*/ 1135 h 805031"/>
                                                <a:gd name="connsiteX51" fmla="*/ 501285 w 996409"/>
                                                <a:gd name="connsiteY51" fmla="*/ 19534 h 805031"/>
                                                <a:gd name="connsiteX52" fmla="*/ 548709 w 996409"/>
                                                <a:gd name="connsiteY52" fmla="*/ 39294 h 805031"/>
                                                <a:gd name="connsiteX53" fmla="*/ 569959 w 996409"/>
                                                <a:gd name="connsiteY53" fmla="*/ 27632 h 805031"/>
                                                <a:gd name="connsiteX54" fmla="*/ 573068 w 996409"/>
                                                <a:gd name="connsiteY54" fmla="*/ 38840 h 805031"/>
                                                <a:gd name="connsiteX55" fmla="*/ 589135 w 996409"/>
                                                <a:gd name="connsiteY55" fmla="*/ 28474 h 805031"/>
                                                <a:gd name="connsiteX56" fmla="*/ 590107 w 996409"/>
                                                <a:gd name="connsiteY56" fmla="*/ 50372 h 805031"/>
                                                <a:gd name="connsiteX57" fmla="*/ 571902 w 996409"/>
                                                <a:gd name="connsiteY57" fmla="*/ 55101 h 805031"/>
                                                <a:gd name="connsiteX58" fmla="*/ 560953 w 996409"/>
                                                <a:gd name="connsiteY58" fmla="*/ 68253 h 805031"/>
                                                <a:gd name="connsiteX59" fmla="*/ 569570 w 996409"/>
                                                <a:gd name="connsiteY59" fmla="*/ 88142 h 805031"/>
                                                <a:gd name="connsiteX60" fmla="*/ 552466 w 996409"/>
                                                <a:gd name="connsiteY60" fmla="*/ 99091 h 805031"/>
                                                <a:gd name="connsiteX61" fmla="*/ 564970 w 996409"/>
                                                <a:gd name="connsiteY61" fmla="*/ 103366 h 805031"/>
                                                <a:gd name="connsiteX62" fmla="*/ 586479 w 996409"/>
                                                <a:gd name="connsiteY62" fmla="*/ 125005 h 805031"/>
                                                <a:gd name="connsiteX63" fmla="*/ 609543 w 996409"/>
                                                <a:gd name="connsiteY63" fmla="*/ 145737 h 805031"/>
                                                <a:gd name="connsiteX64" fmla="*/ 656383 w 996409"/>
                                                <a:gd name="connsiteY64" fmla="*/ 172817 h 805031"/>
                                                <a:gd name="connsiteX65" fmla="*/ 656836 w 996409"/>
                                                <a:gd name="connsiteY65" fmla="*/ 182794 h 805031"/>
                                                <a:gd name="connsiteX66" fmla="*/ 685212 w 996409"/>
                                                <a:gd name="connsiteY66" fmla="*/ 184673 h 805031"/>
                                                <a:gd name="connsiteX67" fmla="*/ 694542 w 996409"/>
                                                <a:gd name="connsiteY67" fmla="*/ 163488 h 805031"/>
                                                <a:gd name="connsiteX68" fmla="*/ 698493 w 996409"/>
                                                <a:gd name="connsiteY68" fmla="*/ 151049 h 805031"/>
                                                <a:gd name="connsiteX69" fmla="*/ 715662 w 996409"/>
                                                <a:gd name="connsiteY69" fmla="*/ 57304 h 805031"/>
                                                <a:gd name="connsiteX70" fmla="*/ 715143 w 996409"/>
                                                <a:gd name="connsiteY70" fmla="*/ 34499 h 805031"/>
                                                <a:gd name="connsiteX71" fmla="*/ 754533 w 996409"/>
                                                <a:gd name="connsiteY71" fmla="*/ 69807 h 805031"/>
                                                <a:gd name="connsiteX72" fmla="*/ 754662 w 996409"/>
                                                <a:gd name="connsiteY72" fmla="*/ 87559 h 805031"/>
                                                <a:gd name="connsiteX73" fmla="*/ 794830 w 996409"/>
                                                <a:gd name="connsiteY73" fmla="*/ 103820 h 805031"/>
                                                <a:gd name="connsiteX74" fmla="*/ 800854 w 996409"/>
                                                <a:gd name="connsiteY74" fmla="*/ 143534 h 805031"/>
                                                <a:gd name="connsiteX75" fmla="*/ 815755 w 996409"/>
                                                <a:gd name="connsiteY75" fmla="*/ 163812 h 805031"/>
                                                <a:gd name="connsiteX76" fmla="*/ 816208 w 996409"/>
                                                <a:gd name="connsiteY76" fmla="*/ 177935 h 805031"/>
                                                <a:gd name="connsiteX77" fmla="*/ 828000 w 996409"/>
                                                <a:gd name="connsiteY77" fmla="*/ 217713 h 805031"/>
                                                <a:gd name="connsiteX78" fmla="*/ 834284 w 996409"/>
                                                <a:gd name="connsiteY78" fmla="*/ 224257 h 805031"/>
                                                <a:gd name="connsiteX79" fmla="*/ 846464 w 996409"/>
                                                <a:gd name="connsiteY79" fmla="*/ 229116 h 805031"/>
                                                <a:gd name="connsiteX80" fmla="*/ 900624 w 996409"/>
                                                <a:gd name="connsiteY80" fmla="*/ 299538 h 805031"/>
                                                <a:gd name="connsiteX81" fmla="*/ 915979 w 996409"/>
                                                <a:gd name="connsiteY81" fmla="*/ 319168 h 805031"/>
                                                <a:gd name="connsiteX82" fmla="*/ 922069 w 996409"/>
                                                <a:gd name="connsiteY82" fmla="*/ 317354 h 805031"/>
                                                <a:gd name="connsiteX83" fmla="*/ 937876 w 996409"/>
                                                <a:gd name="connsiteY83" fmla="*/ 329339 h 805031"/>
                                                <a:gd name="connsiteX84" fmla="*/ 935674 w 996409"/>
                                                <a:gd name="connsiteY84" fmla="*/ 350913 h 805031"/>
                                                <a:gd name="connsiteX85" fmla="*/ 955045 w 996409"/>
                                                <a:gd name="connsiteY85" fmla="*/ 359141 h 805031"/>
                                                <a:gd name="connsiteX86" fmla="*/ 966058 w 996409"/>
                                                <a:gd name="connsiteY86" fmla="*/ 379094 h 805031"/>
                                                <a:gd name="connsiteX87" fmla="*/ 987567 w 996409"/>
                                                <a:gd name="connsiteY87" fmla="*/ 409868 h 805031"/>
                                                <a:gd name="connsiteX88" fmla="*/ 993009 w 996409"/>
                                                <a:gd name="connsiteY88" fmla="*/ 507694 h 805031"/>
                                                <a:gd name="connsiteX89" fmla="*/ 981348 w 996409"/>
                                                <a:gd name="connsiteY89" fmla="*/ 612259 h 805031"/>
                                                <a:gd name="connsiteX90" fmla="*/ 960551 w 996409"/>
                                                <a:gd name="connsiteY90" fmla="*/ 626965 h 805031"/>
                                                <a:gd name="connsiteX91" fmla="*/ 945586 w 996409"/>
                                                <a:gd name="connsiteY91" fmla="*/ 649446 h 805031"/>
                                                <a:gd name="connsiteX92" fmla="*/ 936646 w 996409"/>
                                                <a:gd name="connsiteY92" fmla="*/ 670306 h 805031"/>
                                                <a:gd name="connsiteX93" fmla="*/ 922652 w 996409"/>
                                                <a:gd name="connsiteY93" fmla="*/ 706003 h 805031"/>
                                                <a:gd name="connsiteX94" fmla="*/ 912804 w 996409"/>
                                                <a:gd name="connsiteY94" fmla="*/ 767226 h 805031"/>
                                                <a:gd name="connsiteX95" fmla="*/ 854044 w 996409"/>
                                                <a:gd name="connsiteY95" fmla="*/ 789383 h 805031"/>
                                                <a:gd name="connsiteX96" fmla="*/ 830527 w 996409"/>
                                                <a:gd name="connsiteY96" fmla="*/ 804996 h 805031"/>
                                                <a:gd name="connsiteX97" fmla="*/ 793469 w 996409"/>
                                                <a:gd name="connsiteY97" fmla="*/ 777851 h 805031"/>
                                                <a:gd name="connsiteX98" fmla="*/ 774227 w 996409"/>
                                                <a:gd name="connsiteY98" fmla="*/ 792298 h 805031"/>
                                                <a:gd name="connsiteX99" fmla="*/ 753950 w 996409"/>
                                                <a:gd name="connsiteY99" fmla="*/ 803959 h 805031"/>
                                                <a:gd name="connsiteX100" fmla="*/ 742936 w 996409"/>
                                                <a:gd name="connsiteY100" fmla="*/ 784005 h 805031"/>
                                                <a:gd name="connsiteX101" fmla="*/ 713070 w 996409"/>
                                                <a:gd name="connsiteY101" fmla="*/ 765347 h 805031"/>
                                                <a:gd name="connsiteX102" fmla="*/ 707369 w 996409"/>
                                                <a:gd name="connsiteY102" fmla="*/ 756147 h 805031"/>
                                                <a:gd name="connsiteX103" fmla="*/ 682167 w 996409"/>
                                                <a:gd name="connsiteY103" fmla="*/ 749475 h 805031"/>
                                                <a:gd name="connsiteX104" fmla="*/ 674782 w 996409"/>
                                                <a:gd name="connsiteY104" fmla="*/ 739044 h 805031"/>
                                                <a:gd name="connsiteX105" fmla="*/ 665129 w 996409"/>
                                                <a:gd name="connsiteY105" fmla="*/ 738591 h 805031"/>
                                                <a:gd name="connsiteX106" fmla="*/ 650811 w 996409"/>
                                                <a:gd name="connsiteY106" fmla="*/ 706651 h 805031"/>
                                                <a:gd name="connsiteX107" fmla="*/ 638955 w 996409"/>
                                                <a:gd name="connsiteY107" fmla="*/ 700043 h 805031"/>
                                                <a:gd name="connsiteX108" fmla="*/ 626063 w 996409"/>
                                                <a:gd name="connsiteY108" fmla="*/ 662727 h 805031"/>
                                                <a:gd name="connsiteX109" fmla="*/ 597557 w 996409"/>
                                                <a:gd name="connsiteY109" fmla="*/ 690973 h 805031"/>
                                                <a:gd name="connsiteX110" fmla="*/ 601509 w 996409"/>
                                                <a:gd name="connsiteY110" fmla="*/ 660718 h 805031"/>
                                                <a:gd name="connsiteX111" fmla="*/ 618807 w 996409"/>
                                                <a:gd name="connsiteY111" fmla="*/ 632601 h 805031"/>
                                                <a:gd name="connsiteX112" fmla="*/ 616669 w 996409"/>
                                                <a:gd name="connsiteY112" fmla="*/ 625151 h 805031"/>
                                                <a:gd name="connsiteX113" fmla="*/ 599112 w 996409"/>
                                                <a:gd name="connsiteY113" fmla="*/ 629297 h 805031"/>
                                                <a:gd name="connsiteX114" fmla="*/ 579677 w 996409"/>
                                                <a:gd name="connsiteY114" fmla="*/ 658127 h 805031"/>
                                                <a:gd name="connsiteX115" fmla="*/ 550652 w 996409"/>
                                                <a:gd name="connsiteY115" fmla="*/ 674453 h 805031"/>
                                                <a:gd name="connsiteX116" fmla="*/ 522665 w 996409"/>
                                                <a:gd name="connsiteY116" fmla="*/ 617895 h 805031"/>
                                                <a:gd name="connsiteX117" fmla="*/ 512947 w 996409"/>
                                                <a:gd name="connsiteY117" fmla="*/ 604873 h 805031"/>
                                                <a:gd name="connsiteX118" fmla="*/ 491374 w 996409"/>
                                                <a:gd name="connsiteY118" fmla="*/ 593017 h 805031"/>
                                                <a:gd name="connsiteX119" fmla="*/ 419137 w 996409"/>
                                                <a:gd name="connsiteY119" fmla="*/ 579023 h 805031"/>
                                                <a:gd name="connsiteX120" fmla="*/ 342884 w 996409"/>
                                                <a:gd name="connsiteY120" fmla="*/ 602800 h 805031"/>
                                                <a:gd name="connsiteX121" fmla="*/ 296757 w 996409"/>
                                                <a:gd name="connsiteY121" fmla="*/ 591268 h 805031"/>
                                                <a:gd name="connsiteX122" fmla="*/ 270389 w 996409"/>
                                                <a:gd name="connsiteY122" fmla="*/ 594896 h 805031"/>
                                                <a:gd name="connsiteX123" fmla="*/ 214738 w 996409"/>
                                                <a:gd name="connsiteY123" fmla="*/ 623143 h 805031"/>
                                                <a:gd name="connsiteX124" fmla="*/ 68128 w 996409"/>
                                                <a:gd name="connsiteY124" fmla="*/ 686503 h 80503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  <a:cxn ang="0">
                                                  <a:pos x="connsiteX104" y="connsiteY104"/>
                                                </a:cxn>
                                                <a:cxn ang="0">
                                                  <a:pos x="connsiteX105" y="connsiteY105"/>
                                                </a:cxn>
                                                <a:cxn ang="0">
                                                  <a:pos x="connsiteX106" y="connsiteY106"/>
                                                </a:cxn>
                                                <a:cxn ang="0">
                                                  <a:pos x="connsiteX107" y="connsiteY107"/>
                                                </a:cxn>
                                                <a:cxn ang="0">
                                                  <a:pos x="connsiteX108" y="connsiteY108"/>
                                                </a:cxn>
                                                <a:cxn ang="0">
                                                  <a:pos x="connsiteX109" y="connsiteY109"/>
                                                </a:cxn>
                                                <a:cxn ang="0">
                                                  <a:pos x="connsiteX110" y="connsiteY110"/>
                                                </a:cxn>
                                                <a:cxn ang="0">
                                                  <a:pos x="connsiteX111" y="connsiteY111"/>
                                                </a:cxn>
                                                <a:cxn ang="0">
                                                  <a:pos x="connsiteX112" y="connsiteY112"/>
                                                </a:cxn>
                                                <a:cxn ang="0">
                                                  <a:pos x="connsiteX113" y="connsiteY113"/>
                                                </a:cxn>
                                                <a:cxn ang="0">
                                                  <a:pos x="connsiteX114" y="connsiteY114"/>
                                                </a:cxn>
                                                <a:cxn ang="0">
                                                  <a:pos x="connsiteX115" y="connsiteY115"/>
                                                </a:cxn>
                                                <a:cxn ang="0">
                                                  <a:pos x="connsiteX116" y="connsiteY116"/>
                                                </a:cxn>
                                                <a:cxn ang="0">
                                                  <a:pos x="connsiteX117" y="connsiteY117"/>
                                                </a:cxn>
                                                <a:cxn ang="0">
                                                  <a:pos x="connsiteX118" y="connsiteY118"/>
                                                </a:cxn>
                                                <a:cxn ang="0">
                                                  <a:pos x="connsiteX119" y="connsiteY119"/>
                                                </a:cxn>
                                                <a:cxn ang="0">
                                                  <a:pos x="connsiteX120" y="connsiteY120"/>
                                                </a:cxn>
                                                <a:cxn ang="0">
                                                  <a:pos x="connsiteX121" y="connsiteY121"/>
                                                </a:cxn>
                                                <a:cxn ang="0">
                                                  <a:pos x="connsiteX122" y="connsiteY122"/>
                                                </a:cxn>
                                                <a:cxn ang="0">
                                                  <a:pos x="connsiteX123" y="connsiteY123"/>
                                                </a:cxn>
                                                <a:cxn ang="0">
                                                  <a:pos x="connsiteX124" y="connsiteY12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96409" h="805031">
                                                  <a:moveTo>
                                                    <a:pt x="68193" y="686438"/>
                                                  </a:moveTo>
                                                  <a:cubicBezTo>
                                                    <a:pt x="68258" y="673934"/>
                                                    <a:pt x="59577" y="661949"/>
                                                    <a:pt x="47720" y="658062"/>
                                                  </a:cubicBezTo>
                                                  <a:cubicBezTo>
                                                    <a:pt x="44805" y="657090"/>
                                                    <a:pt x="40918" y="655535"/>
                                                    <a:pt x="41436" y="652490"/>
                                                  </a:cubicBezTo>
                                                  <a:cubicBezTo>
                                                    <a:pt x="41825" y="650028"/>
                                                    <a:pt x="44805" y="649251"/>
                                                    <a:pt x="47138" y="648474"/>
                                                  </a:cubicBezTo>
                                                  <a:cubicBezTo>
                                                    <a:pt x="56078" y="645494"/>
                                                    <a:pt x="61714" y="636229"/>
                                                    <a:pt x="63204" y="626900"/>
                                                  </a:cubicBezTo>
                                                  <a:cubicBezTo>
                                                    <a:pt x="64694" y="617571"/>
                                                    <a:pt x="62686" y="608112"/>
                                                    <a:pt x="60742" y="598848"/>
                                                  </a:cubicBezTo>
                                                  <a:cubicBezTo>
                                                    <a:pt x="64241" y="602152"/>
                                                    <a:pt x="70525" y="598135"/>
                                                    <a:pt x="70914" y="593406"/>
                                                  </a:cubicBezTo>
                                                  <a:cubicBezTo>
                                                    <a:pt x="71302" y="588612"/>
                                                    <a:pt x="68128" y="584336"/>
                                                    <a:pt x="64824" y="580902"/>
                                                  </a:cubicBezTo>
                                                  <a:cubicBezTo>
                                                    <a:pt x="61520" y="577404"/>
                                                    <a:pt x="57827" y="573905"/>
                                                    <a:pt x="56855" y="569176"/>
                                                  </a:cubicBezTo>
                                                  <a:cubicBezTo>
                                                    <a:pt x="55948" y="564835"/>
                                                    <a:pt x="57373" y="559717"/>
                                                    <a:pt x="54458" y="556413"/>
                                                  </a:cubicBezTo>
                                                  <a:cubicBezTo>
                                                    <a:pt x="52450" y="554081"/>
                                                    <a:pt x="49081" y="553692"/>
                                                    <a:pt x="46230" y="552461"/>
                                                  </a:cubicBezTo>
                                                  <a:cubicBezTo>
                                                    <a:pt x="35347" y="547732"/>
                                                    <a:pt x="34440" y="532637"/>
                                                    <a:pt x="36837" y="520975"/>
                                                  </a:cubicBezTo>
                                                  <a:cubicBezTo>
                                                    <a:pt x="39234" y="509314"/>
                                                    <a:pt x="42861" y="496097"/>
                                                    <a:pt x="35930" y="486444"/>
                                                  </a:cubicBezTo>
                                                  <a:cubicBezTo>
                                                    <a:pt x="33662" y="483270"/>
                                                    <a:pt x="30423" y="480938"/>
                                                    <a:pt x="27637" y="478152"/>
                                                  </a:cubicBezTo>
                                                  <a:cubicBezTo>
                                                    <a:pt x="19863" y="470378"/>
                                                    <a:pt x="15976" y="459623"/>
                                                    <a:pt x="12283" y="449257"/>
                                                  </a:cubicBezTo>
                                                  <a:cubicBezTo>
                                                    <a:pt x="10663" y="444593"/>
                                                    <a:pt x="8979" y="439669"/>
                                                    <a:pt x="9886" y="434810"/>
                                                  </a:cubicBezTo>
                                                  <a:cubicBezTo>
                                                    <a:pt x="10793" y="429951"/>
                                                    <a:pt x="15199" y="425352"/>
                                                    <a:pt x="20058" y="426194"/>
                                                  </a:cubicBezTo>
                                                  <a:cubicBezTo>
                                                    <a:pt x="22325" y="426582"/>
                                                    <a:pt x="24268" y="428008"/>
                                                    <a:pt x="26536" y="428202"/>
                                                  </a:cubicBezTo>
                                                  <a:cubicBezTo>
                                                    <a:pt x="30682" y="428591"/>
                                                    <a:pt x="34116" y="424509"/>
                                                    <a:pt x="34763" y="420363"/>
                                                  </a:cubicBezTo>
                                                  <a:cubicBezTo>
                                                    <a:pt x="36124" y="411812"/>
                                                    <a:pt x="29062" y="404361"/>
                                                    <a:pt x="21806" y="399632"/>
                                                  </a:cubicBezTo>
                                                  <a:cubicBezTo>
                                                    <a:pt x="14550" y="394902"/>
                                                    <a:pt x="6193" y="390821"/>
                                                    <a:pt x="2241" y="383176"/>
                                                  </a:cubicBezTo>
                                                  <a:cubicBezTo>
                                                    <a:pt x="-5468" y="368210"/>
                                                    <a:pt x="8201" y="351496"/>
                                                    <a:pt x="20640" y="340223"/>
                                                  </a:cubicBezTo>
                                                  <a:cubicBezTo>
                                                    <a:pt x="33015" y="328950"/>
                                                    <a:pt x="45453" y="317743"/>
                                                    <a:pt x="58993" y="307830"/>
                                                  </a:cubicBezTo>
                                                  <a:cubicBezTo>
                                                    <a:pt x="77004" y="294614"/>
                                                    <a:pt x="96764" y="284054"/>
                                                    <a:pt x="116459" y="273429"/>
                                                  </a:cubicBezTo>
                                                  <a:cubicBezTo>
                                                    <a:pt x="121900" y="270514"/>
                                                    <a:pt x="127342" y="267598"/>
                                                    <a:pt x="132719" y="264683"/>
                                                  </a:cubicBezTo>
                                                  <a:cubicBezTo>
                                                    <a:pt x="145029" y="258075"/>
                                                    <a:pt x="157597" y="251337"/>
                                                    <a:pt x="171267" y="248357"/>
                                                  </a:cubicBezTo>
                                                  <a:cubicBezTo>
                                                    <a:pt x="178458" y="246737"/>
                                                    <a:pt x="187204" y="245118"/>
                                                    <a:pt x="189666" y="238250"/>
                                                  </a:cubicBezTo>
                                                  <a:cubicBezTo>
                                                    <a:pt x="190508" y="235788"/>
                                                    <a:pt x="190379" y="233132"/>
                                                    <a:pt x="191221" y="230671"/>
                                                  </a:cubicBezTo>
                                                  <a:cubicBezTo>
                                                    <a:pt x="192776" y="226265"/>
                                                    <a:pt x="197117" y="223674"/>
                                                    <a:pt x="201004" y="221147"/>
                                                  </a:cubicBezTo>
                                                  <a:cubicBezTo>
                                                    <a:pt x="213248" y="213113"/>
                                                    <a:pt x="223484" y="202100"/>
                                                    <a:pt x="230675" y="189337"/>
                                                  </a:cubicBezTo>
                                                  <a:cubicBezTo>
                                                    <a:pt x="228602" y="182859"/>
                                                    <a:pt x="226530" y="176186"/>
                                                    <a:pt x="226918" y="169383"/>
                                                  </a:cubicBezTo>
                                                  <a:cubicBezTo>
                                                    <a:pt x="227307" y="162581"/>
                                                    <a:pt x="230805" y="155519"/>
                                                    <a:pt x="237090" y="152863"/>
                                                  </a:cubicBezTo>
                                                  <a:cubicBezTo>
                                                    <a:pt x="243374" y="150207"/>
                                                    <a:pt x="252055" y="153900"/>
                                                    <a:pt x="252897" y="160702"/>
                                                  </a:cubicBezTo>
                                                  <a:cubicBezTo>
                                                    <a:pt x="253092" y="162451"/>
                                                    <a:pt x="252832" y="164265"/>
                                                    <a:pt x="253092" y="166079"/>
                                                  </a:cubicBezTo>
                                                  <a:cubicBezTo>
                                                    <a:pt x="254257" y="173400"/>
                                                    <a:pt x="267279" y="173853"/>
                                                    <a:pt x="268964" y="166662"/>
                                                  </a:cubicBezTo>
                                                  <a:cubicBezTo>
                                                    <a:pt x="270260" y="161285"/>
                                                    <a:pt x="266049" y="156426"/>
                                                    <a:pt x="263004" y="151762"/>
                                                  </a:cubicBezTo>
                                                  <a:cubicBezTo>
                                                    <a:pt x="259958" y="147162"/>
                                                    <a:pt x="258598" y="139712"/>
                                                    <a:pt x="263457" y="137120"/>
                                                  </a:cubicBezTo>
                                                  <a:cubicBezTo>
                                                    <a:pt x="266049" y="140813"/>
                                                    <a:pt x="268769" y="144700"/>
                                                    <a:pt x="272722" y="146838"/>
                                                  </a:cubicBezTo>
                                                  <a:cubicBezTo>
                                                    <a:pt x="276674" y="148976"/>
                                                    <a:pt x="282310" y="148846"/>
                                                    <a:pt x="285095" y="145348"/>
                                                  </a:cubicBezTo>
                                                  <a:cubicBezTo>
                                                    <a:pt x="291963" y="136666"/>
                                                    <a:pt x="275184" y="123256"/>
                                                    <a:pt x="281597" y="114251"/>
                                                  </a:cubicBezTo>
                                                  <a:cubicBezTo>
                                                    <a:pt x="292093" y="114898"/>
                                                    <a:pt x="301357" y="103302"/>
                                                    <a:pt x="298377" y="93195"/>
                                                  </a:cubicBezTo>
                                                  <a:cubicBezTo>
                                                    <a:pt x="306734" y="95528"/>
                                                    <a:pt x="316258" y="93649"/>
                                                    <a:pt x="323060" y="88207"/>
                                                  </a:cubicBezTo>
                                                  <a:cubicBezTo>
                                                    <a:pt x="333037" y="80303"/>
                                                    <a:pt x="348326" y="72010"/>
                                                    <a:pt x="358433" y="79720"/>
                                                  </a:cubicBezTo>
                                                  <a:cubicBezTo>
                                                    <a:pt x="358692" y="87947"/>
                                                    <a:pt x="366661" y="95074"/>
                                                    <a:pt x="374888" y="94426"/>
                                                  </a:cubicBezTo>
                                                  <a:cubicBezTo>
                                                    <a:pt x="374435" y="100969"/>
                                                    <a:pt x="376573" y="107643"/>
                                                    <a:pt x="380784" y="112631"/>
                                                  </a:cubicBezTo>
                                                  <a:cubicBezTo>
                                                    <a:pt x="386097" y="114315"/>
                                                    <a:pt x="392057" y="109392"/>
                                                    <a:pt x="392381" y="103820"/>
                                                  </a:cubicBezTo>
                                                  <a:cubicBezTo>
                                                    <a:pt x="401256" y="106606"/>
                                                    <a:pt x="410132" y="109456"/>
                                                    <a:pt x="419008" y="112242"/>
                                                  </a:cubicBezTo>
                                                  <a:cubicBezTo>
                                                    <a:pt x="407735" y="103950"/>
                                                    <a:pt x="412464" y="86263"/>
                                                    <a:pt x="418295" y="73500"/>
                                                  </a:cubicBezTo>
                                                  <a:cubicBezTo>
                                                    <a:pt x="423737" y="61580"/>
                                                    <a:pt x="429438" y="49335"/>
                                                    <a:pt x="438897" y="40200"/>
                                                  </a:cubicBezTo>
                                                  <a:cubicBezTo>
                                                    <a:pt x="450364" y="29122"/>
                                                    <a:pt x="467079" y="23745"/>
                                                    <a:pt x="482886" y="26012"/>
                                                  </a:cubicBezTo>
                                                  <a:cubicBezTo>
                                                    <a:pt x="485154" y="17331"/>
                                                    <a:pt x="482627" y="7613"/>
                                                    <a:pt x="476408" y="1135"/>
                                                  </a:cubicBezTo>
                                                  <a:cubicBezTo>
                                                    <a:pt x="487486" y="-3659"/>
                                                    <a:pt x="500249" y="7549"/>
                                                    <a:pt x="501285" y="19534"/>
                                                  </a:cubicBezTo>
                                                  <a:cubicBezTo>
                                                    <a:pt x="519036" y="14416"/>
                                                    <a:pt x="539768" y="23097"/>
                                                    <a:pt x="548709" y="39294"/>
                                                  </a:cubicBezTo>
                                                  <a:cubicBezTo>
                                                    <a:pt x="555770" y="35406"/>
                                                    <a:pt x="562897" y="31519"/>
                                                    <a:pt x="569959" y="27632"/>
                                                  </a:cubicBezTo>
                                                  <a:cubicBezTo>
                                                    <a:pt x="569440" y="31584"/>
                                                    <a:pt x="570606" y="35730"/>
                                                    <a:pt x="573068" y="38840"/>
                                                  </a:cubicBezTo>
                                                  <a:cubicBezTo>
                                                    <a:pt x="575789" y="32621"/>
                                                    <a:pt x="582397" y="28410"/>
                                                    <a:pt x="589135" y="28474"/>
                                                  </a:cubicBezTo>
                                                  <a:cubicBezTo>
                                                    <a:pt x="589458" y="35795"/>
                                                    <a:pt x="589783" y="43051"/>
                                                    <a:pt x="590107" y="50372"/>
                                                  </a:cubicBezTo>
                                                  <a:cubicBezTo>
                                                    <a:pt x="584729" y="53611"/>
                                                    <a:pt x="577992" y="53482"/>
                                                    <a:pt x="571902" y="55101"/>
                                                  </a:cubicBezTo>
                                                  <a:cubicBezTo>
                                                    <a:pt x="565812" y="56786"/>
                                                    <a:pt x="559528" y="62098"/>
                                                    <a:pt x="560953" y="68253"/>
                                                  </a:cubicBezTo>
                                                  <a:cubicBezTo>
                                                    <a:pt x="562702" y="75962"/>
                                                    <a:pt x="575206" y="82635"/>
                                                    <a:pt x="569570" y="88142"/>
                                                  </a:cubicBezTo>
                                                  <a:cubicBezTo>
                                                    <a:pt x="562249" y="84644"/>
                                                    <a:pt x="552401" y="90993"/>
                                                    <a:pt x="552466" y="99091"/>
                                                  </a:cubicBezTo>
                                                  <a:cubicBezTo>
                                                    <a:pt x="556612" y="100516"/>
                                                    <a:pt x="560824" y="101941"/>
                                                    <a:pt x="564970" y="103366"/>
                                                  </a:cubicBezTo>
                                                  <a:cubicBezTo>
                                                    <a:pt x="560759" y="114186"/>
                                                    <a:pt x="575141" y="122478"/>
                                                    <a:pt x="586479" y="125005"/>
                                                  </a:cubicBezTo>
                                                  <a:cubicBezTo>
                                                    <a:pt x="597816" y="127532"/>
                                                    <a:pt x="612458" y="134528"/>
                                                    <a:pt x="609543" y="145737"/>
                                                  </a:cubicBezTo>
                                                  <a:cubicBezTo>
                                                    <a:pt x="626710" y="151567"/>
                                                    <a:pt x="642778" y="160831"/>
                                                    <a:pt x="656383" y="172817"/>
                                                  </a:cubicBezTo>
                                                  <a:cubicBezTo>
                                                    <a:pt x="656512" y="176121"/>
                                                    <a:pt x="656641" y="179490"/>
                                                    <a:pt x="656836" y="182794"/>
                                                  </a:cubicBezTo>
                                                  <a:cubicBezTo>
                                                    <a:pt x="666295" y="183442"/>
                                                    <a:pt x="675754" y="184090"/>
                                                    <a:pt x="685212" y="184673"/>
                                                  </a:cubicBezTo>
                                                  <a:cubicBezTo>
                                                    <a:pt x="679900" y="178194"/>
                                                    <a:pt x="689941" y="170549"/>
                                                    <a:pt x="694542" y="163488"/>
                                                  </a:cubicBezTo>
                                                  <a:cubicBezTo>
                                                    <a:pt x="696874" y="159795"/>
                                                    <a:pt x="697716" y="155390"/>
                                                    <a:pt x="698493" y="151049"/>
                                                  </a:cubicBezTo>
                                                  <a:cubicBezTo>
                                                    <a:pt x="704195" y="119822"/>
                                                    <a:pt x="709961" y="88531"/>
                                                    <a:pt x="715662" y="57304"/>
                                                  </a:cubicBezTo>
                                                  <a:cubicBezTo>
                                                    <a:pt x="717022" y="49724"/>
                                                    <a:pt x="718382" y="41561"/>
                                                    <a:pt x="715143" y="34499"/>
                                                  </a:cubicBezTo>
                                                  <a:cubicBezTo>
                                                    <a:pt x="733089" y="40460"/>
                                                    <a:pt x="754403" y="50890"/>
                                                    <a:pt x="754533" y="69807"/>
                                                  </a:cubicBezTo>
                                                  <a:cubicBezTo>
                                                    <a:pt x="754533" y="75768"/>
                                                    <a:pt x="752330" y="82052"/>
                                                    <a:pt x="754662" y="87559"/>
                                                  </a:cubicBezTo>
                                                  <a:cubicBezTo>
                                                    <a:pt x="760558" y="101423"/>
                                                    <a:pt x="784464" y="92871"/>
                                                    <a:pt x="794830" y="103820"/>
                                                  </a:cubicBezTo>
                                                  <a:cubicBezTo>
                                                    <a:pt x="804223" y="113797"/>
                                                    <a:pt x="795089" y="131095"/>
                                                    <a:pt x="800854" y="143534"/>
                                                  </a:cubicBezTo>
                                                  <a:cubicBezTo>
                                                    <a:pt x="804418" y="151178"/>
                                                    <a:pt x="813164" y="155778"/>
                                                    <a:pt x="815755" y="163812"/>
                                                  </a:cubicBezTo>
                                                  <a:cubicBezTo>
                                                    <a:pt x="817180" y="168347"/>
                                                    <a:pt x="816403" y="173206"/>
                                                    <a:pt x="816208" y="177935"/>
                                                  </a:cubicBezTo>
                                                  <a:cubicBezTo>
                                                    <a:pt x="815496" y="191994"/>
                                                    <a:pt x="819707" y="206311"/>
                                                    <a:pt x="828000" y="217713"/>
                                                  </a:cubicBezTo>
                                                  <a:cubicBezTo>
                                                    <a:pt x="829814" y="220175"/>
                                                    <a:pt x="831822" y="222572"/>
                                                    <a:pt x="834284" y="224257"/>
                                                  </a:cubicBezTo>
                                                  <a:cubicBezTo>
                                                    <a:pt x="837912" y="226719"/>
                                                    <a:pt x="842317" y="227755"/>
                                                    <a:pt x="846464" y="229116"/>
                                                  </a:cubicBezTo>
                                                  <a:cubicBezTo>
                                                    <a:pt x="875877" y="238898"/>
                                                    <a:pt x="894340" y="269153"/>
                                                    <a:pt x="900624" y="299538"/>
                                                  </a:cubicBezTo>
                                                  <a:cubicBezTo>
                                                    <a:pt x="902504" y="308543"/>
                                                    <a:pt x="906844" y="320463"/>
                                                    <a:pt x="915979" y="319168"/>
                                                  </a:cubicBezTo>
                                                  <a:cubicBezTo>
                                                    <a:pt x="918052" y="318844"/>
                                                    <a:pt x="919995" y="317807"/>
                                                    <a:pt x="922069" y="317354"/>
                                                  </a:cubicBezTo>
                                                  <a:cubicBezTo>
                                                    <a:pt x="929195" y="315799"/>
                                                    <a:pt x="936127" y="322213"/>
                                                    <a:pt x="937876" y="329339"/>
                                                  </a:cubicBezTo>
                                                  <a:cubicBezTo>
                                                    <a:pt x="939626" y="336466"/>
                                                    <a:pt x="937618" y="343851"/>
                                                    <a:pt x="935674" y="350913"/>
                                                  </a:cubicBezTo>
                                                  <a:cubicBezTo>
                                                    <a:pt x="942152" y="353634"/>
                                                    <a:pt x="948566" y="356355"/>
                                                    <a:pt x="955045" y="359141"/>
                                                  </a:cubicBezTo>
                                                  <a:cubicBezTo>
                                                    <a:pt x="951870" y="366656"/>
                                                    <a:pt x="959904" y="373718"/>
                                                    <a:pt x="966058" y="379094"/>
                                                  </a:cubicBezTo>
                                                  <a:cubicBezTo>
                                                    <a:pt x="975582" y="387322"/>
                                                    <a:pt x="982773" y="398141"/>
                                                    <a:pt x="987567" y="409868"/>
                                                  </a:cubicBezTo>
                                                  <a:cubicBezTo>
                                                    <a:pt x="1000135" y="440382"/>
                                                    <a:pt x="996702" y="474848"/>
                                                    <a:pt x="993009" y="507694"/>
                                                  </a:cubicBezTo>
                                                  <a:cubicBezTo>
                                                    <a:pt x="989122" y="542549"/>
                                                    <a:pt x="985235" y="577404"/>
                                                    <a:pt x="981348" y="612259"/>
                                                  </a:cubicBezTo>
                                                  <a:cubicBezTo>
                                                    <a:pt x="972213" y="611870"/>
                                                    <a:pt x="963273" y="618219"/>
                                                    <a:pt x="960551" y="626965"/>
                                                  </a:cubicBezTo>
                                                  <a:cubicBezTo>
                                                    <a:pt x="957960" y="635452"/>
                                                    <a:pt x="949149" y="641282"/>
                                                    <a:pt x="945586" y="649446"/>
                                                  </a:cubicBezTo>
                                                  <a:cubicBezTo>
                                                    <a:pt x="942605" y="656378"/>
                                                    <a:pt x="939626" y="663374"/>
                                                    <a:pt x="936646" y="670306"/>
                                                  </a:cubicBezTo>
                                                  <a:cubicBezTo>
                                                    <a:pt x="931592" y="682033"/>
                                                    <a:pt x="926539" y="693824"/>
                                                    <a:pt x="922652" y="706003"/>
                                                  </a:cubicBezTo>
                                                  <a:cubicBezTo>
                                                    <a:pt x="916303" y="725763"/>
                                                    <a:pt x="912934" y="746430"/>
                                                    <a:pt x="912804" y="767226"/>
                                                  </a:cubicBezTo>
                                                  <a:cubicBezTo>
                                                    <a:pt x="891361" y="766449"/>
                                                    <a:pt x="869657" y="774612"/>
                                                    <a:pt x="854044" y="789383"/>
                                                  </a:cubicBezTo>
                                                  <a:cubicBezTo>
                                                    <a:pt x="847047" y="795991"/>
                                                    <a:pt x="840115" y="804413"/>
                                                    <a:pt x="830527" y="804996"/>
                                                  </a:cubicBezTo>
                                                  <a:cubicBezTo>
                                                    <a:pt x="814783" y="805968"/>
                                                    <a:pt x="806685" y="786467"/>
                                                    <a:pt x="793469" y="777851"/>
                                                  </a:cubicBezTo>
                                                  <a:cubicBezTo>
                                                    <a:pt x="785047" y="775972"/>
                                                    <a:pt x="778633" y="784912"/>
                                                    <a:pt x="774227" y="792298"/>
                                                  </a:cubicBezTo>
                                                  <a:cubicBezTo>
                                                    <a:pt x="769822" y="799684"/>
                                                    <a:pt x="761659" y="807847"/>
                                                    <a:pt x="753950" y="803959"/>
                                                  </a:cubicBezTo>
                                                  <a:cubicBezTo>
                                                    <a:pt x="747018" y="800461"/>
                                                    <a:pt x="747406" y="790354"/>
                                                    <a:pt x="742936" y="784005"/>
                                                  </a:cubicBezTo>
                                                  <a:cubicBezTo>
                                                    <a:pt x="736133" y="774158"/>
                                                    <a:pt x="719807" y="775194"/>
                                                    <a:pt x="713070" y="765347"/>
                                                  </a:cubicBezTo>
                                                  <a:cubicBezTo>
                                                    <a:pt x="711061" y="762367"/>
                                                    <a:pt x="710089" y="758609"/>
                                                    <a:pt x="707369" y="756147"/>
                                                  </a:cubicBezTo>
                                                  <a:cubicBezTo>
                                                    <a:pt x="700761" y="750187"/>
                                                    <a:pt x="688257" y="756018"/>
                                                    <a:pt x="682167" y="749475"/>
                                                  </a:cubicBezTo>
                                                  <a:cubicBezTo>
                                                    <a:pt x="679252" y="746300"/>
                                                    <a:pt x="678733" y="740858"/>
                                                    <a:pt x="674782" y="739044"/>
                                                  </a:cubicBezTo>
                                                  <a:cubicBezTo>
                                                    <a:pt x="671867" y="737684"/>
                                                    <a:pt x="668368" y="739044"/>
                                                    <a:pt x="665129" y="738591"/>
                                                  </a:cubicBezTo>
                                                  <a:cubicBezTo>
                                                    <a:pt x="652884" y="736647"/>
                                                    <a:pt x="659233" y="715786"/>
                                                    <a:pt x="650811" y="706651"/>
                                                  </a:cubicBezTo>
                                                  <a:cubicBezTo>
                                                    <a:pt x="647702" y="703282"/>
                                                    <a:pt x="642972" y="702116"/>
                                                    <a:pt x="638955" y="700043"/>
                                                  </a:cubicBezTo>
                                                  <a:cubicBezTo>
                                                    <a:pt x="625998" y="693435"/>
                                                    <a:pt x="619973" y="675943"/>
                                                    <a:pt x="626063" y="662727"/>
                                                  </a:cubicBezTo>
                                                  <a:cubicBezTo>
                                                    <a:pt x="616539" y="672121"/>
                                                    <a:pt x="607081" y="681579"/>
                                                    <a:pt x="597557" y="690973"/>
                                                  </a:cubicBezTo>
                                                  <a:cubicBezTo>
                                                    <a:pt x="589458" y="683199"/>
                                                    <a:pt x="594317" y="669335"/>
                                                    <a:pt x="601509" y="660718"/>
                                                  </a:cubicBezTo>
                                                  <a:cubicBezTo>
                                                    <a:pt x="608700" y="652102"/>
                                                    <a:pt x="618224" y="643809"/>
                                                    <a:pt x="618807" y="632601"/>
                                                  </a:cubicBezTo>
                                                  <a:cubicBezTo>
                                                    <a:pt x="618936" y="629945"/>
                                                    <a:pt x="618483" y="627094"/>
                                                    <a:pt x="616669" y="625151"/>
                                                  </a:cubicBezTo>
                                                  <a:cubicBezTo>
                                                    <a:pt x="612133" y="620097"/>
                                                    <a:pt x="603647" y="624244"/>
                                                    <a:pt x="599112" y="629297"/>
                                                  </a:cubicBezTo>
                                                  <a:cubicBezTo>
                                                    <a:pt x="591402" y="637978"/>
                                                    <a:pt x="586608" y="648862"/>
                                                    <a:pt x="579677" y="658127"/>
                                                  </a:cubicBezTo>
                                                  <a:cubicBezTo>
                                                    <a:pt x="572679" y="667391"/>
                                                    <a:pt x="562184" y="675489"/>
                                                    <a:pt x="550652" y="674453"/>
                                                  </a:cubicBezTo>
                                                  <a:cubicBezTo>
                                                    <a:pt x="542943" y="654822"/>
                                                    <a:pt x="533548" y="635905"/>
                                                    <a:pt x="522665" y="617895"/>
                                                  </a:cubicBezTo>
                                                  <a:cubicBezTo>
                                                    <a:pt x="519814" y="613230"/>
                                                    <a:pt x="516899" y="608631"/>
                                                    <a:pt x="512947" y="604873"/>
                                                  </a:cubicBezTo>
                                                  <a:cubicBezTo>
                                                    <a:pt x="506922" y="599237"/>
                                                    <a:pt x="499083" y="596062"/>
                                                    <a:pt x="491374" y="593017"/>
                                                  </a:cubicBezTo>
                                                  <a:cubicBezTo>
                                                    <a:pt x="468245" y="583818"/>
                                                    <a:pt x="443627" y="574488"/>
                                                    <a:pt x="419137" y="579023"/>
                                                  </a:cubicBezTo>
                                                  <a:cubicBezTo>
                                                    <a:pt x="392769" y="583947"/>
                                                    <a:pt x="369706" y="604678"/>
                                                    <a:pt x="342884" y="602800"/>
                                                  </a:cubicBezTo>
                                                  <a:cubicBezTo>
                                                    <a:pt x="327012" y="601698"/>
                                                    <a:pt x="312564" y="592628"/>
                                                    <a:pt x="296757" y="591268"/>
                                                  </a:cubicBezTo>
                                                  <a:cubicBezTo>
                                                    <a:pt x="287881" y="590490"/>
                                                    <a:pt x="278876" y="592240"/>
                                                    <a:pt x="270389" y="594896"/>
                                                  </a:cubicBezTo>
                                                  <a:cubicBezTo>
                                                    <a:pt x="250500" y="601180"/>
                                                    <a:pt x="232749" y="612582"/>
                                                    <a:pt x="214738" y="623143"/>
                                                  </a:cubicBezTo>
                                                  <a:cubicBezTo>
                                                    <a:pt x="167768" y="650741"/>
                                                    <a:pt x="119892" y="669335"/>
                                                    <a:pt x="68128" y="68650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599" name="Freeform: Shape 159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4C93C6E-FF83-43A5-9010-35089698D75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376887" y="5389278"/>
                                              <a:ext cx="34979" cy="2688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4481 w 34979"/>
                                                <a:gd name="connsiteY0" fmla="*/ 12893 h 26886"/>
                                                <a:gd name="connsiteX1" fmla="*/ 32537 w 34979"/>
                                                <a:gd name="connsiteY1" fmla="*/ 9718 h 26886"/>
                                                <a:gd name="connsiteX2" fmla="*/ 15628 w 34979"/>
                                                <a:gd name="connsiteY2" fmla="*/ 0 h 26886"/>
                                                <a:gd name="connsiteX3" fmla="*/ 4486 w 34979"/>
                                                <a:gd name="connsiteY3" fmla="*/ 5053 h 26886"/>
                                                <a:gd name="connsiteX4" fmla="*/ 16 w 34979"/>
                                                <a:gd name="connsiteY4" fmla="*/ 16391 h 26886"/>
                                                <a:gd name="connsiteX5" fmla="*/ 1571 w 34979"/>
                                                <a:gd name="connsiteY5" fmla="*/ 21833 h 26886"/>
                                                <a:gd name="connsiteX6" fmla="*/ 15110 w 34979"/>
                                                <a:gd name="connsiteY6" fmla="*/ 26886 h 26886"/>
                                                <a:gd name="connsiteX7" fmla="*/ 16341 w 34979"/>
                                                <a:gd name="connsiteY7" fmla="*/ 26886 h 26886"/>
                                                <a:gd name="connsiteX8" fmla="*/ 29104 w 34979"/>
                                                <a:gd name="connsiteY8" fmla="*/ 24554 h 26886"/>
                                                <a:gd name="connsiteX9" fmla="*/ 34481 w 34979"/>
                                                <a:gd name="connsiteY9" fmla="*/ 12893 h 26886"/>
                                                <a:gd name="connsiteX10" fmla="*/ 28197 w 34979"/>
                                                <a:gd name="connsiteY10" fmla="*/ 22870 h 26886"/>
                                                <a:gd name="connsiteX11" fmla="*/ 16341 w 34979"/>
                                                <a:gd name="connsiteY11" fmla="*/ 24943 h 26886"/>
                                                <a:gd name="connsiteX12" fmla="*/ 15110 w 34979"/>
                                                <a:gd name="connsiteY12" fmla="*/ 24943 h 26886"/>
                                                <a:gd name="connsiteX13" fmla="*/ 3190 w 34979"/>
                                                <a:gd name="connsiteY13" fmla="*/ 20796 h 26886"/>
                                                <a:gd name="connsiteX14" fmla="*/ 1959 w 34979"/>
                                                <a:gd name="connsiteY14" fmla="*/ 16326 h 26886"/>
                                                <a:gd name="connsiteX15" fmla="*/ 5911 w 34979"/>
                                                <a:gd name="connsiteY15" fmla="*/ 6349 h 26886"/>
                                                <a:gd name="connsiteX16" fmla="*/ 15758 w 34979"/>
                                                <a:gd name="connsiteY16" fmla="*/ 1944 h 26886"/>
                                                <a:gd name="connsiteX17" fmla="*/ 31048 w 34979"/>
                                                <a:gd name="connsiteY17" fmla="*/ 10884 h 26886"/>
                                                <a:gd name="connsiteX18" fmla="*/ 32667 w 34979"/>
                                                <a:gd name="connsiteY18" fmla="*/ 13605 h 26886"/>
                                                <a:gd name="connsiteX19" fmla="*/ 28197 w 34979"/>
                                                <a:gd name="connsiteY19" fmla="*/ 22870 h 2688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4979" h="26886">
                                                  <a:moveTo>
                                                    <a:pt x="34481" y="12893"/>
                                                  </a:moveTo>
                                                  <a:cubicBezTo>
                                                    <a:pt x="34028" y="11662"/>
                                                    <a:pt x="33315" y="10625"/>
                                                    <a:pt x="32537" y="9718"/>
                                                  </a:cubicBezTo>
                                                  <a:cubicBezTo>
                                                    <a:pt x="27808" y="3564"/>
                                                    <a:pt x="21654" y="65"/>
                                                    <a:pt x="15628" y="0"/>
                                                  </a:cubicBezTo>
                                                  <a:cubicBezTo>
                                                    <a:pt x="11612" y="0"/>
                                                    <a:pt x="7530" y="1814"/>
                                                    <a:pt x="4486" y="5053"/>
                                                  </a:cubicBezTo>
                                                  <a:cubicBezTo>
                                                    <a:pt x="1441" y="8228"/>
                                                    <a:pt x="-179" y="12374"/>
                                                    <a:pt x="16" y="16391"/>
                                                  </a:cubicBezTo>
                                                  <a:cubicBezTo>
                                                    <a:pt x="16" y="18529"/>
                                                    <a:pt x="663" y="20343"/>
                                                    <a:pt x="1571" y="21833"/>
                                                  </a:cubicBezTo>
                                                  <a:cubicBezTo>
                                                    <a:pt x="4486" y="26303"/>
                                                    <a:pt x="10316" y="26886"/>
                                                    <a:pt x="15110" y="26886"/>
                                                  </a:cubicBezTo>
                                                  <a:lnTo>
                                                    <a:pt x="16341" y="26886"/>
                                                  </a:lnTo>
                                                  <a:cubicBezTo>
                                                    <a:pt x="20487" y="26821"/>
                                                    <a:pt x="25153" y="26757"/>
                                                    <a:pt x="29104" y="24554"/>
                                                  </a:cubicBezTo>
                                                  <a:cubicBezTo>
                                                    <a:pt x="33121" y="22416"/>
                                                    <a:pt x="36231" y="17427"/>
                                                    <a:pt x="34481" y="12893"/>
                                                  </a:cubicBezTo>
                                                  <a:close/>
                                                  <a:moveTo>
                                                    <a:pt x="28197" y="22870"/>
                                                  </a:moveTo>
                                                  <a:cubicBezTo>
                                                    <a:pt x="24634" y="24813"/>
                                                    <a:pt x="20229" y="24878"/>
                                                    <a:pt x="16341" y="24943"/>
                                                  </a:cubicBezTo>
                                                  <a:lnTo>
                                                    <a:pt x="15110" y="24943"/>
                                                  </a:lnTo>
                                                  <a:cubicBezTo>
                                                    <a:pt x="10834" y="24943"/>
                                                    <a:pt x="5587" y="24489"/>
                                                    <a:pt x="3190" y="20796"/>
                                                  </a:cubicBezTo>
                                                  <a:cubicBezTo>
                                                    <a:pt x="2478" y="19565"/>
                                                    <a:pt x="2024" y="18075"/>
                                                    <a:pt x="1959" y="16326"/>
                                                  </a:cubicBezTo>
                                                  <a:cubicBezTo>
                                                    <a:pt x="1764" y="12828"/>
                                                    <a:pt x="3190" y="9200"/>
                                                    <a:pt x="5911" y="6349"/>
                                                  </a:cubicBezTo>
                                                  <a:cubicBezTo>
                                                    <a:pt x="8567" y="3564"/>
                                                    <a:pt x="12131" y="1944"/>
                                                    <a:pt x="15758" y="1944"/>
                                                  </a:cubicBezTo>
                                                  <a:cubicBezTo>
                                                    <a:pt x="21071" y="2009"/>
                                                    <a:pt x="26643" y="5248"/>
                                                    <a:pt x="31048" y="10884"/>
                                                  </a:cubicBezTo>
                                                  <a:cubicBezTo>
                                                    <a:pt x="31695" y="11727"/>
                                                    <a:pt x="32344" y="12633"/>
                                                    <a:pt x="32667" y="13605"/>
                                                  </a:cubicBezTo>
                                                  <a:cubicBezTo>
                                                    <a:pt x="34028" y="17104"/>
                                                    <a:pt x="31372" y="21120"/>
                                                    <a:pt x="28197" y="2287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4" name="Freeform: Shape 198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D7C424F8-6000-4D40-AD4B-3DC4F2B0391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587130" y="5548348"/>
                                              <a:ext cx="92474" cy="9053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9198 w 92474"/>
                                                <a:gd name="connsiteY0" fmla="*/ 15333 h 90533"/>
                                                <a:gd name="connsiteX1" fmla="*/ 59022 w 92474"/>
                                                <a:gd name="connsiteY1" fmla="*/ 7235 h 90533"/>
                                                <a:gd name="connsiteX2" fmla="*/ 79170 w 92474"/>
                                                <a:gd name="connsiteY2" fmla="*/ 1210 h 90533"/>
                                                <a:gd name="connsiteX3" fmla="*/ 86296 w 92474"/>
                                                <a:gd name="connsiteY3" fmla="*/ 14685 h 90533"/>
                                                <a:gd name="connsiteX4" fmla="*/ 88045 w 92474"/>
                                                <a:gd name="connsiteY4" fmla="*/ 30428 h 90533"/>
                                                <a:gd name="connsiteX5" fmla="*/ 91479 w 92474"/>
                                                <a:gd name="connsiteY5" fmla="*/ 38267 h 90533"/>
                                                <a:gd name="connsiteX6" fmla="*/ 83964 w 92474"/>
                                                <a:gd name="connsiteY6" fmla="*/ 60424 h 90533"/>
                                                <a:gd name="connsiteX7" fmla="*/ 79753 w 92474"/>
                                                <a:gd name="connsiteY7" fmla="*/ 63728 h 90533"/>
                                                <a:gd name="connsiteX8" fmla="*/ 78587 w 92474"/>
                                                <a:gd name="connsiteY8" fmla="*/ 68069 h 90533"/>
                                                <a:gd name="connsiteX9" fmla="*/ 76578 w 92474"/>
                                                <a:gd name="connsiteY9" fmla="*/ 86598 h 90533"/>
                                                <a:gd name="connsiteX10" fmla="*/ 50729 w 92474"/>
                                                <a:gd name="connsiteY10" fmla="*/ 90226 h 90533"/>
                                                <a:gd name="connsiteX11" fmla="*/ 44380 w 92474"/>
                                                <a:gd name="connsiteY11" fmla="*/ 89966 h 90533"/>
                                                <a:gd name="connsiteX12" fmla="*/ 39198 w 92474"/>
                                                <a:gd name="connsiteY12" fmla="*/ 78305 h 90533"/>
                                                <a:gd name="connsiteX13" fmla="*/ 29285 w 92474"/>
                                                <a:gd name="connsiteY13" fmla="*/ 48374 h 90533"/>
                                                <a:gd name="connsiteX14" fmla="*/ 8035 w 92474"/>
                                                <a:gd name="connsiteY14" fmla="*/ 19933 h 90533"/>
                                                <a:gd name="connsiteX15" fmla="*/ 2 w 92474"/>
                                                <a:gd name="connsiteY15" fmla="*/ 10863 h 90533"/>
                                                <a:gd name="connsiteX16" fmla="*/ 12052 w 92474"/>
                                                <a:gd name="connsiteY16" fmla="*/ 2700 h 90533"/>
                                                <a:gd name="connsiteX17" fmla="*/ 23714 w 92474"/>
                                                <a:gd name="connsiteY17" fmla="*/ 3931 h 90533"/>
                                                <a:gd name="connsiteX18" fmla="*/ 39262 w 92474"/>
                                                <a:gd name="connsiteY18" fmla="*/ 15398 h 9053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2474" h="90533">
                                                  <a:moveTo>
                                                    <a:pt x="39198" y="15333"/>
                                                  </a:moveTo>
                                                  <a:cubicBezTo>
                                                    <a:pt x="46389" y="17471"/>
                                                    <a:pt x="53320" y="12029"/>
                                                    <a:pt x="59022" y="7235"/>
                                                  </a:cubicBezTo>
                                                  <a:cubicBezTo>
                                                    <a:pt x="64723" y="2441"/>
                                                    <a:pt x="72562" y="-2289"/>
                                                    <a:pt x="79170" y="1210"/>
                                                  </a:cubicBezTo>
                                                  <a:cubicBezTo>
                                                    <a:pt x="83834" y="3672"/>
                                                    <a:pt x="85778" y="9438"/>
                                                    <a:pt x="86296" y="14685"/>
                                                  </a:cubicBezTo>
                                                  <a:cubicBezTo>
                                                    <a:pt x="86815" y="19933"/>
                                                    <a:pt x="86296" y="25440"/>
                                                    <a:pt x="88045" y="30428"/>
                                                  </a:cubicBezTo>
                                                  <a:cubicBezTo>
                                                    <a:pt x="89017" y="33149"/>
                                                    <a:pt x="90572" y="35611"/>
                                                    <a:pt x="91479" y="38267"/>
                                                  </a:cubicBezTo>
                                                  <a:cubicBezTo>
                                                    <a:pt x="94265" y="46171"/>
                                                    <a:pt x="91026" y="55824"/>
                                                    <a:pt x="83964" y="60424"/>
                                                  </a:cubicBezTo>
                                                  <a:cubicBezTo>
                                                    <a:pt x="82474" y="61396"/>
                                                    <a:pt x="80725" y="62238"/>
                                                    <a:pt x="79753" y="63728"/>
                                                  </a:cubicBezTo>
                                                  <a:cubicBezTo>
                                                    <a:pt x="78911" y="65024"/>
                                                    <a:pt x="78717" y="66579"/>
                                                    <a:pt x="78587" y="68069"/>
                                                  </a:cubicBezTo>
                                                  <a:cubicBezTo>
                                                    <a:pt x="77939" y="74223"/>
                                                    <a:pt x="77227" y="80378"/>
                                                    <a:pt x="76578" y="86598"/>
                                                  </a:cubicBezTo>
                                                  <a:cubicBezTo>
                                                    <a:pt x="67962" y="87829"/>
                                                    <a:pt x="59346" y="88995"/>
                                                    <a:pt x="50729" y="90226"/>
                                                  </a:cubicBezTo>
                                                  <a:cubicBezTo>
                                                    <a:pt x="48591" y="90549"/>
                                                    <a:pt x="46324" y="90808"/>
                                                    <a:pt x="44380" y="89966"/>
                                                  </a:cubicBezTo>
                                                  <a:cubicBezTo>
                                                    <a:pt x="40298" y="88152"/>
                                                    <a:pt x="39716" y="82710"/>
                                                    <a:pt x="39198" y="78305"/>
                                                  </a:cubicBezTo>
                                                  <a:cubicBezTo>
                                                    <a:pt x="37966" y="67810"/>
                                                    <a:pt x="33820" y="57962"/>
                                                    <a:pt x="29285" y="48374"/>
                                                  </a:cubicBezTo>
                                                  <a:cubicBezTo>
                                                    <a:pt x="24167" y="37555"/>
                                                    <a:pt x="18012" y="26541"/>
                                                    <a:pt x="8035" y="19933"/>
                                                  </a:cubicBezTo>
                                                  <a:cubicBezTo>
                                                    <a:pt x="4537" y="17601"/>
                                                    <a:pt x="132" y="15074"/>
                                                    <a:pt x="2" y="10863"/>
                                                  </a:cubicBezTo>
                                                  <a:cubicBezTo>
                                                    <a:pt x="-128" y="5486"/>
                                                    <a:pt x="6675" y="3154"/>
                                                    <a:pt x="12052" y="2700"/>
                                                  </a:cubicBezTo>
                                                  <a:cubicBezTo>
                                                    <a:pt x="16004" y="2376"/>
                                                    <a:pt x="20085" y="2246"/>
                                                    <a:pt x="23714" y="3931"/>
                                                  </a:cubicBezTo>
                                                  <a:cubicBezTo>
                                                    <a:pt x="29609" y="6652"/>
                                                    <a:pt x="33042" y="13519"/>
                                                    <a:pt x="39262" y="1539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5" name="Freeform: Shape 198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3844407-AEC2-4C36-977E-29991BAA6F0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218771" y="4698468"/>
                                              <a:ext cx="32592" cy="1613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9403 w 32592"/>
                                                <a:gd name="connsiteY0" fmla="*/ 3822 h 16131"/>
                                                <a:gd name="connsiteX1" fmla="*/ 18324 w 32592"/>
                                                <a:gd name="connsiteY1" fmla="*/ 0 h 16131"/>
                                                <a:gd name="connsiteX2" fmla="*/ 17871 w 32592"/>
                                                <a:gd name="connsiteY2" fmla="*/ 0 h 16131"/>
                                                <a:gd name="connsiteX3" fmla="*/ 9253 w 32592"/>
                                                <a:gd name="connsiteY3" fmla="*/ 1943 h 16131"/>
                                                <a:gd name="connsiteX4" fmla="*/ 2711 w 32592"/>
                                                <a:gd name="connsiteY4" fmla="*/ 5118 h 16131"/>
                                                <a:gd name="connsiteX5" fmla="*/ 313 w 32592"/>
                                                <a:gd name="connsiteY5" fmla="*/ 12439 h 16131"/>
                                                <a:gd name="connsiteX6" fmla="*/ 508 w 32592"/>
                                                <a:gd name="connsiteY6" fmla="*/ 12827 h 16131"/>
                                                <a:gd name="connsiteX7" fmla="*/ 962 w 32592"/>
                                                <a:gd name="connsiteY7" fmla="*/ 13022 h 16131"/>
                                                <a:gd name="connsiteX8" fmla="*/ 18907 w 32592"/>
                                                <a:gd name="connsiteY8" fmla="*/ 16132 h 16131"/>
                                                <a:gd name="connsiteX9" fmla="*/ 19685 w 32592"/>
                                                <a:gd name="connsiteY9" fmla="*/ 16132 h 16131"/>
                                                <a:gd name="connsiteX10" fmla="*/ 31993 w 32592"/>
                                                <a:gd name="connsiteY10" fmla="*/ 10819 h 16131"/>
                                                <a:gd name="connsiteX11" fmla="*/ 29403 w 32592"/>
                                                <a:gd name="connsiteY11" fmla="*/ 3822 h 16131"/>
                                                <a:gd name="connsiteX12" fmla="*/ 30309 w 32592"/>
                                                <a:gd name="connsiteY12" fmla="*/ 9782 h 16131"/>
                                                <a:gd name="connsiteX13" fmla="*/ 19685 w 32592"/>
                                                <a:gd name="connsiteY13" fmla="*/ 14188 h 16131"/>
                                                <a:gd name="connsiteX14" fmla="*/ 18971 w 32592"/>
                                                <a:gd name="connsiteY14" fmla="*/ 14188 h 16131"/>
                                                <a:gd name="connsiteX15" fmla="*/ 2062 w 32592"/>
                                                <a:gd name="connsiteY15" fmla="*/ 11338 h 16131"/>
                                                <a:gd name="connsiteX16" fmla="*/ 3941 w 32592"/>
                                                <a:gd name="connsiteY16" fmla="*/ 6608 h 16131"/>
                                                <a:gd name="connsiteX17" fmla="*/ 9837 w 32592"/>
                                                <a:gd name="connsiteY17" fmla="*/ 3757 h 16131"/>
                                                <a:gd name="connsiteX18" fmla="*/ 17935 w 32592"/>
                                                <a:gd name="connsiteY18" fmla="*/ 1943 h 16131"/>
                                                <a:gd name="connsiteX19" fmla="*/ 18324 w 32592"/>
                                                <a:gd name="connsiteY19" fmla="*/ 1943 h 16131"/>
                                                <a:gd name="connsiteX20" fmla="*/ 28301 w 32592"/>
                                                <a:gd name="connsiteY20" fmla="*/ 5377 h 16131"/>
                                                <a:gd name="connsiteX21" fmla="*/ 30309 w 32592"/>
                                                <a:gd name="connsiteY21" fmla="*/ 9782 h 1613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2592" h="16131">
                                                  <a:moveTo>
                                                    <a:pt x="29403" y="3822"/>
                                                  </a:moveTo>
                                                  <a:cubicBezTo>
                                                    <a:pt x="26034" y="1360"/>
                                                    <a:pt x="22082" y="0"/>
                                                    <a:pt x="18324" y="0"/>
                                                  </a:cubicBezTo>
                                                  <a:lnTo>
                                                    <a:pt x="17871" y="0"/>
                                                  </a:lnTo>
                                                  <a:cubicBezTo>
                                                    <a:pt x="14890" y="129"/>
                                                    <a:pt x="12040" y="1036"/>
                                                    <a:pt x="9253" y="1943"/>
                                                  </a:cubicBezTo>
                                                  <a:cubicBezTo>
                                                    <a:pt x="7051" y="2656"/>
                                                    <a:pt x="4589" y="3433"/>
                                                    <a:pt x="2711" y="5118"/>
                                                  </a:cubicBezTo>
                                                  <a:cubicBezTo>
                                                    <a:pt x="767" y="6802"/>
                                                    <a:pt x="-658" y="9653"/>
                                                    <a:pt x="313" y="12439"/>
                                                  </a:cubicBezTo>
                                                  <a:lnTo>
                                                    <a:pt x="508" y="12827"/>
                                                  </a:lnTo>
                                                  <a:lnTo>
                                                    <a:pt x="962" y="13022"/>
                                                  </a:lnTo>
                                                  <a:cubicBezTo>
                                                    <a:pt x="6728" y="14965"/>
                                                    <a:pt x="12817" y="16002"/>
                                                    <a:pt x="18907" y="16132"/>
                                                  </a:cubicBezTo>
                                                  <a:lnTo>
                                                    <a:pt x="19685" y="16132"/>
                                                  </a:lnTo>
                                                  <a:cubicBezTo>
                                                    <a:pt x="25904" y="16132"/>
                                                    <a:pt x="30180" y="14253"/>
                                                    <a:pt x="31993" y="10819"/>
                                                  </a:cubicBezTo>
                                                  <a:cubicBezTo>
                                                    <a:pt x="33548" y="8551"/>
                                                    <a:pt x="31864" y="5571"/>
                                                    <a:pt x="29403" y="3822"/>
                                                  </a:cubicBezTo>
                                                  <a:close/>
                                                  <a:moveTo>
                                                    <a:pt x="30309" y="9782"/>
                                                  </a:moveTo>
                                                  <a:cubicBezTo>
                                                    <a:pt x="28431" y="13410"/>
                                                    <a:pt x="23442" y="14188"/>
                                                    <a:pt x="19685" y="14188"/>
                                                  </a:cubicBezTo>
                                                  <a:lnTo>
                                                    <a:pt x="18971" y="14188"/>
                                                  </a:lnTo>
                                                  <a:cubicBezTo>
                                                    <a:pt x="13206" y="14058"/>
                                                    <a:pt x="7505" y="13086"/>
                                                    <a:pt x="2062" y="11338"/>
                                                  </a:cubicBezTo>
                                                  <a:cubicBezTo>
                                                    <a:pt x="1674" y="9588"/>
                                                    <a:pt x="2711" y="7645"/>
                                                    <a:pt x="3941" y="6608"/>
                                                  </a:cubicBezTo>
                                                  <a:cubicBezTo>
                                                    <a:pt x="5561" y="5183"/>
                                                    <a:pt x="7764" y="4470"/>
                                                    <a:pt x="9837" y="3757"/>
                                                  </a:cubicBezTo>
                                                  <a:cubicBezTo>
                                                    <a:pt x="12493" y="2915"/>
                                                    <a:pt x="15214" y="2073"/>
                                                    <a:pt x="17935" y="1943"/>
                                                  </a:cubicBezTo>
                                                  <a:lnTo>
                                                    <a:pt x="18324" y="1943"/>
                                                  </a:lnTo>
                                                  <a:cubicBezTo>
                                                    <a:pt x="21693" y="1943"/>
                                                    <a:pt x="25191" y="3174"/>
                                                    <a:pt x="28301" y="5377"/>
                                                  </a:cubicBezTo>
                                                  <a:cubicBezTo>
                                                    <a:pt x="29726" y="6414"/>
                                                    <a:pt x="31281" y="8422"/>
                                                    <a:pt x="30309" y="978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6" name="Freeform: Shape 198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660BB0E-0807-4980-9A81-406DF9638CF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4715797" y="3879900"/>
                                              <a:ext cx="107868" cy="13060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74050 w 107868"/>
                                                <a:gd name="connsiteY0" fmla="*/ 114671 h 130608"/>
                                                <a:gd name="connsiteX1" fmla="*/ 85388 w 107868"/>
                                                <a:gd name="connsiteY1" fmla="*/ 104176 h 130608"/>
                                                <a:gd name="connsiteX2" fmla="*/ 85841 w 107868"/>
                                                <a:gd name="connsiteY2" fmla="*/ 96336 h 130608"/>
                                                <a:gd name="connsiteX3" fmla="*/ 94652 w 107868"/>
                                                <a:gd name="connsiteY3" fmla="*/ 91931 h 130608"/>
                                                <a:gd name="connsiteX4" fmla="*/ 97697 w 107868"/>
                                                <a:gd name="connsiteY4" fmla="*/ 81176 h 130608"/>
                                                <a:gd name="connsiteX5" fmla="*/ 101325 w 107868"/>
                                                <a:gd name="connsiteY5" fmla="*/ 79492 h 130608"/>
                                                <a:gd name="connsiteX6" fmla="*/ 86748 w 107868"/>
                                                <a:gd name="connsiteY6" fmla="*/ 79492 h 130608"/>
                                                <a:gd name="connsiteX7" fmla="*/ 89469 w 107868"/>
                                                <a:gd name="connsiteY7" fmla="*/ 71264 h 130608"/>
                                                <a:gd name="connsiteX8" fmla="*/ 98085 w 107868"/>
                                                <a:gd name="connsiteY8" fmla="*/ 66146 h 130608"/>
                                                <a:gd name="connsiteX9" fmla="*/ 99640 w 107868"/>
                                                <a:gd name="connsiteY9" fmla="*/ 58761 h 130608"/>
                                                <a:gd name="connsiteX10" fmla="*/ 99835 w 107868"/>
                                                <a:gd name="connsiteY10" fmla="*/ 14642 h 130608"/>
                                                <a:gd name="connsiteX11" fmla="*/ 102361 w 107868"/>
                                                <a:gd name="connsiteY11" fmla="*/ 3952 h 130608"/>
                                                <a:gd name="connsiteX12" fmla="*/ 107868 w 107868"/>
                                                <a:gd name="connsiteY12" fmla="*/ 0 h 130608"/>
                                                <a:gd name="connsiteX13" fmla="*/ 87266 w 107868"/>
                                                <a:gd name="connsiteY13" fmla="*/ 14642 h 130608"/>
                                                <a:gd name="connsiteX14" fmla="*/ 84286 w 107868"/>
                                                <a:gd name="connsiteY14" fmla="*/ 19954 h 130608"/>
                                                <a:gd name="connsiteX15" fmla="*/ 78196 w 107868"/>
                                                <a:gd name="connsiteY15" fmla="*/ 21250 h 130608"/>
                                                <a:gd name="connsiteX16" fmla="*/ 42370 w 107868"/>
                                                <a:gd name="connsiteY16" fmla="*/ 16391 h 130608"/>
                                                <a:gd name="connsiteX17" fmla="*/ 37705 w 107868"/>
                                                <a:gd name="connsiteY17" fmla="*/ 27987 h 130608"/>
                                                <a:gd name="connsiteX18" fmla="*/ 32911 w 107868"/>
                                                <a:gd name="connsiteY18" fmla="*/ 29413 h 130608"/>
                                                <a:gd name="connsiteX19" fmla="*/ 34207 w 107868"/>
                                                <a:gd name="connsiteY19" fmla="*/ 38159 h 130608"/>
                                                <a:gd name="connsiteX20" fmla="*/ 38677 w 107868"/>
                                                <a:gd name="connsiteY20" fmla="*/ 44184 h 130608"/>
                                                <a:gd name="connsiteX21" fmla="*/ 54549 w 107868"/>
                                                <a:gd name="connsiteY21" fmla="*/ 57595 h 130608"/>
                                                <a:gd name="connsiteX22" fmla="*/ 53448 w 107868"/>
                                                <a:gd name="connsiteY22" fmla="*/ 67766 h 130608"/>
                                                <a:gd name="connsiteX23" fmla="*/ 40426 w 107868"/>
                                                <a:gd name="connsiteY23" fmla="*/ 67442 h 130608"/>
                                                <a:gd name="connsiteX24" fmla="*/ 27210 w 107868"/>
                                                <a:gd name="connsiteY24" fmla="*/ 65304 h 130608"/>
                                                <a:gd name="connsiteX25" fmla="*/ 26238 w 107868"/>
                                                <a:gd name="connsiteY25" fmla="*/ 69839 h 130608"/>
                                                <a:gd name="connsiteX26" fmla="*/ 9588 w 107868"/>
                                                <a:gd name="connsiteY26" fmla="*/ 70876 h 130608"/>
                                                <a:gd name="connsiteX27" fmla="*/ 11532 w 107868"/>
                                                <a:gd name="connsiteY27" fmla="*/ 88497 h 130608"/>
                                                <a:gd name="connsiteX28" fmla="*/ 0 w 107868"/>
                                                <a:gd name="connsiteY28" fmla="*/ 96984 h 130608"/>
                                                <a:gd name="connsiteX29" fmla="*/ 259 w 107868"/>
                                                <a:gd name="connsiteY29" fmla="*/ 97243 h 130608"/>
                                                <a:gd name="connsiteX30" fmla="*/ 23971 w 107868"/>
                                                <a:gd name="connsiteY30" fmla="*/ 110978 h 130608"/>
                                                <a:gd name="connsiteX31" fmla="*/ 28700 w 107868"/>
                                                <a:gd name="connsiteY31" fmla="*/ 123935 h 130608"/>
                                                <a:gd name="connsiteX32" fmla="*/ 44832 w 107868"/>
                                                <a:gd name="connsiteY32" fmla="*/ 125360 h 130608"/>
                                                <a:gd name="connsiteX33" fmla="*/ 62388 w 107868"/>
                                                <a:gd name="connsiteY33" fmla="*/ 130608 h 130608"/>
                                                <a:gd name="connsiteX34" fmla="*/ 68478 w 107868"/>
                                                <a:gd name="connsiteY34" fmla="*/ 127757 h 130608"/>
                                                <a:gd name="connsiteX35" fmla="*/ 73985 w 107868"/>
                                                <a:gd name="connsiteY35" fmla="*/ 114865 h 13060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7868" h="130608">
                                                  <a:moveTo>
                                                    <a:pt x="74050" y="114671"/>
                                                  </a:moveTo>
                                                  <a:cubicBezTo>
                                                    <a:pt x="79816" y="115124"/>
                                                    <a:pt x="85388" y="109941"/>
                                                    <a:pt x="85388" y="104176"/>
                                                  </a:cubicBezTo>
                                                  <a:cubicBezTo>
                                                    <a:pt x="85388" y="101519"/>
                                                    <a:pt x="84480" y="98604"/>
                                                    <a:pt x="85841" y="96336"/>
                                                  </a:cubicBezTo>
                                                  <a:cubicBezTo>
                                                    <a:pt x="87590" y="93486"/>
                                                    <a:pt x="91737" y="93551"/>
                                                    <a:pt x="94652" y="91931"/>
                                                  </a:cubicBezTo>
                                                  <a:cubicBezTo>
                                                    <a:pt x="98280" y="89923"/>
                                                    <a:pt x="99705" y="84804"/>
                                                    <a:pt x="97697" y="81176"/>
                                                  </a:cubicBezTo>
                                                  <a:cubicBezTo>
                                                    <a:pt x="98928" y="80723"/>
                                                    <a:pt x="100159" y="80140"/>
                                                    <a:pt x="101325" y="79492"/>
                                                  </a:cubicBezTo>
                                                  <a:cubicBezTo>
                                                    <a:pt x="96466" y="79557"/>
                                                    <a:pt x="91607" y="79687"/>
                                                    <a:pt x="86748" y="79492"/>
                                                  </a:cubicBezTo>
                                                  <a:cubicBezTo>
                                                    <a:pt x="84221" y="77225"/>
                                                    <a:pt x="86554" y="72949"/>
                                                    <a:pt x="89469" y="71264"/>
                                                  </a:cubicBezTo>
                                                  <a:cubicBezTo>
                                                    <a:pt x="92449" y="69645"/>
                                                    <a:pt x="96142" y="68932"/>
                                                    <a:pt x="98085" y="66146"/>
                                                  </a:cubicBezTo>
                                                  <a:cubicBezTo>
                                                    <a:pt x="99576" y="64073"/>
                                                    <a:pt x="99640" y="61287"/>
                                                    <a:pt x="99640" y="58761"/>
                                                  </a:cubicBezTo>
                                                  <a:cubicBezTo>
                                                    <a:pt x="99640" y="44054"/>
                                                    <a:pt x="99770" y="29348"/>
                                                    <a:pt x="99835" y="14642"/>
                                                  </a:cubicBezTo>
                                                  <a:cubicBezTo>
                                                    <a:pt x="99835" y="10884"/>
                                                    <a:pt x="99964" y="6803"/>
                                                    <a:pt x="102361" y="3952"/>
                                                  </a:cubicBezTo>
                                                  <a:cubicBezTo>
                                                    <a:pt x="103787" y="2203"/>
                                                    <a:pt x="105860" y="1101"/>
                                                    <a:pt x="107868" y="0"/>
                                                  </a:cubicBezTo>
                                                  <a:cubicBezTo>
                                                    <a:pt x="99057" y="1814"/>
                                                    <a:pt x="90700" y="6479"/>
                                                    <a:pt x="87266" y="14642"/>
                                                  </a:cubicBezTo>
                                                  <a:cubicBezTo>
                                                    <a:pt x="86489" y="16520"/>
                                                    <a:pt x="85906" y="18658"/>
                                                    <a:pt x="84286" y="19954"/>
                                                  </a:cubicBezTo>
                                                  <a:cubicBezTo>
                                                    <a:pt x="82602" y="21250"/>
                                                    <a:pt x="80334" y="21315"/>
                                                    <a:pt x="78196" y="21250"/>
                                                  </a:cubicBezTo>
                                                  <a:cubicBezTo>
                                                    <a:pt x="66146" y="20926"/>
                                                    <a:pt x="54096" y="19306"/>
                                                    <a:pt x="42370" y="16391"/>
                                                  </a:cubicBezTo>
                                                  <a:cubicBezTo>
                                                    <a:pt x="44961" y="20472"/>
                                                    <a:pt x="42370" y="26821"/>
                                                    <a:pt x="37705" y="27987"/>
                                                  </a:cubicBezTo>
                                                  <a:cubicBezTo>
                                                    <a:pt x="36085" y="28376"/>
                                                    <a:pt x="34207" y="28311"/>
                                                    <a:pt x="32911" y="29413"/>
                                                  </a:cubicBezTo>
                                                  <a:cubicBezTo>
                                                    <a:pt x="30385" y="31486"/>
                                                    <a:pt x="32199" y="35567"/>
                                                    <a:pt x="34207" y="38159"/>
                                                  </a:cubicBezTo>
                                                  <a:cubicBezTo>
                                                    <a:pt x="35697" y="40167"/>
                                                    <a:pt x="37187" y="42176"/>
                                                    <a:pt x="38677" y="44184"/>
                                                  </a:cubicBezTo>
                                                  <a:cubicBezTo>
                                                    <a:pt x="42888" y="49885"/>
                                                    <a:pt x="47682" y="55975"/>
                                                    <a:pt x="54549" y="57595"/>
                                                  </a:cubicBezTo>
                                                  <a:cubicBezTo>
                                                    <a:pt x="55262" y="61093"/>
                                                    <a:pt x="55845" y="65110"/>
                                                    <a:pt x="53448" y="67766"/>
                                                  </a:cubicBezTo>
                                                  <a:cubicBezTo>
                                                    <a:pt x="50338" y="71200"/>
                                                    <a:pt x="44637" y="69645"/>
                                                    <a:pt x="40426" y="67442"/>
                                                  </a:cubicBezTo>
                                                  <a:cubicBezTo>
                                                    <a:pt x="36280" y="65304"/>
                                                    <a:pt x="31227" y="62842"/>
                                                    <a:pt x="27210" y="65304"/>
                                                  </a:cubicBezTo>
                                                  <a:cubicBezTo>
                                                    <a:pt x="26886" y="66794"/>
                                                    <a:pt x="26562" y="68349"/>
                                                    <a:pt x="26238" y="69839"/>
                                                  </a:cubicBezTo>
                                                  <a:cubicBezTo>
                                                    <a:pt x="20731" y="70552"/>
                                                    <a:pt x="15160" y="70940"/>
                                                    <a:pt x="9588" y="70876"/>
                                                  </a:cubicBezTo>
                                                  <a:cubicBezTo>
                                                    <a:pt x="12633" y="76188"/>
                                                    <a:pt x="13864" y="82796"/>
                                                    <a:pt x="11532" y="88497"/>
                                                  </a:cubicBezTo>
                                                  <a:cubicBezTo>
                                                    <a:pt x="9653" y="93162"/>
                                                    <a:pt x="4924" y="96725"/>
                                                    <a:pt x="0" y="96984"/>
                                                  </a:cubicBezTo>
                                                  <a:cubicBezTo>
                                                    <a:pt x="65" y="97049"/>
                                                    <a:pt x="194" y="97114"/>
                                                    <a:pt x="259" y="97243"/>
                                                  </a:cubicBezTo>
                                                  <a:cubicBezTo>
                                                    <a:pt x="6673" y="104499"/>
                                                    <a:pt x="14641" y="113699"/>
                                                    <a:pt x="23971" y="110978"/>
                                                  </a:cubicBezTo>
                                                  <a:cubicBezTo>
                                                    <a:pt x="20148" y="114865"/>
                                                    <a:pt x="23647" y="121862"/>
                                                    <a:pt x="28700" y="123935"/>
                                                  </a:cubicBezTo>
                                                  <a:cubicBezTo>
                                                    <a:pt x="33753" y="125943"/>
                                                    <a:pt x="39390" y="124972"/>
                                                    <a:pt x="44832" y="125360"/>
                                                  </a:cubicBezTo>
                                                  <a:cubicBezTo>
                                                    <a:pt x="51051" y="125749"/>
                                                    <a:pt x="56752" y="127887"/>
                                                    <a:pt x="62388" y="130608"/>
                                                  </a:cubicBezTo>
                                                  <a:cubicBezTo>
                                                    <a:pt x="64462" y="129766"/>
                                                    <a:pt x="66535" y="128924"/>
                                                    <a:pt x="68478" y="127757"/>
                                                  </a:cubicBezTo>
                                                  <a:cubicBezTo>
                                                    <a:pt x="72884" y="125037"/>
                                                    <a:pt x="76382" y="119400"/>
                                                    <a:pt x="73985" y="11486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7" name="Freeform: Shape 198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4062BD2-3940-4D8B-A2FA-822388D814E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5459796" y="4916451"/>
                                              <a:ext cx="224239" cy="25715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943 w 224239"/>
                                                <a:gd name="connsiteY0" fmla="*/ 87027 h 257154"/>
                                                <a:gd name="connsiteX1" fmla="*/ 14058 w 224239"/>
                                                <a:gd name="connsiteY1" fmla="*/ 91368 h 257154"/>
                                                <a:gd name="connsiteX2" fmla="*/ 14123 w 224239"/>
                                                <a:gd name="connsiteY2" fmla="*/ 98624 h 257154"/>
                                                <a:gd name="connsiteX3" fmla="*/ 25914 w 224239"/>
                                                <a:gd name="connsiteY3" fmla="*/ 106723 h 257154"/>
                                                <a:gd name="connsiteX4" fmla="*/ 31745 w 224239"/>
                                                <a:gd name="connsiteY4" fmla="*/ 118189 h 257154"/>
                                                <a:gd name="connsiteX5" fmla="*/ 45933 w 224239"/>
                                                <a:gd name="connsiteY5" fmla="*/ 121882 h 257154"/>
                                                <a:gd name="connsiteX6" fmla="*/ 58566 w 224239"/>
                                                <a:gd name="connsiteY6" fmla="*/ 131535 h 257154"/>
                                                <a:gd name="connsiteX7" fmla="*/ 64786 w 224239"/>
                                                <a:gd name="connsiteY7" fmla="*/ 132183 h 257154"/>
                                                <a:gd name="connsiteX8" fmla="*/ 70293 w 224239"/>
                                                <a:gd name="connsiteY8" fmla="*/ 138273 h 257154"/>
                                                <a:gd name="connsiteX9" fmla="*/ 80140 w 224239"/>
                                                <a:gd name="connsiteY9" fmla="*/ 138856 h 257154"/>
                                                <a:gd name="connsiteX10" fmla="*/ 89469 w 224239"/>
                                                <a:gd name="connsiteY10" fmla="*/ 147602 h 257154"/>
                                                <a:gd name="connsiteX11" fmla="*/ 98604 w 224239"/>
                                                <a:gd name="connsiteY11" fmla="*/ 148898 h 257154"/>
                                                <a:gd name="connsiteX12" fmla="*/ 105277 w 224239"/>
                                                <a:gd name="connsiteY12" fmla="*/ 156931 h 257154"/>
                                                <a:gd name="connsiteX13" fmla="*/ 114152 w 224239"/>
                                                <a:gd name="connsiteY13" fmla="*/ 159846 h 257154"/>
                                                <a:gd name="connsiteX14" fmla="*/ 130414 w 224239"/>
                                                <a:gd name="connsiteY14" fmla="*/ 168593 h 257154"/>
                                                <a:gd name="connsiteX15" fmla="*/ 129183 w 224239"/>
                                                <a:gd name="connsiteY15" fmla="*/ 178958 h 257154"/>
                                                <a:gd name="connsiteX16" fmla="*/ 119659 w 224239"/>
                                                <a:gd name="connsiteY16" fmla="*/ 185761 h 257154"/>
                                                <a:gd name="connsiteX17" fmla="*/ 118817 w 224239"/>
                                                <a:gd name="connsiteY17" fmla="*/ 209796 h 257154"/>
                                                <a:gd name="connsiteX18" fmla="*/ 111755 w 224239"/>
                                                <a:gd name="connsiteY18" fmla="*/ 216340 h 257154"/>
                                                <a:gd name="connsiteX19" fmla="*/ 143306 w 224239"/>
                                                <a:gd name="connsiteY19" fmla="*/ 227807 h 257154"/>
                                                <a:gd name="connsiteX20" fmla="*/ 159697 w 224239"/>
                                                <a:gd name="connsiteY20" fmla="*/ 227742 h 257154"/>
                                                <a:gd name="connsiteX21" fmla="*/ 170386 w 224239"/>
                                                <a:gd name="connsiteY21" fmla="*/ 238561 h 257154"/>
                                                <a:gd name="connsiteX22" fmla="*/ 169609 w 224239"/>
                                                <a:gd name="connsiteY22" fmla="*/ 248603 h 257154"/>
                                                <a:gd name="connsiteX23" fmla="*/ 173496 w 224239"/>
                                                <a:gd name="connsiteY23" fmla="*/ 252685 h 257154"/>
                                                <a:gd name="connsiteX24" fmla="*/ 179716 w 224239"/>
                                                <a:gd name="connsiteY24" fmla="*/ 257155 h 257154"/>
                                                <a:gd name="connsiteX25" fmla="*/ 182242 w 224239"/>
                                                <a:gd name="connsiteY25" fmla="*/ 255535 h 257154"/>
                                                <a:gd name="connsiteX26" fmla="*/ 194551 w 224239"/>
                                                <a:gd name="connsiteY26" fmla="*/ 234998 h 257154"/>
                                                <a:gd name="connsiteX27" fmla="*/ 208545 w 224239"/>
                                                <a:gd name="connsiteY27" fmla="*/ 226900 h 257154"/>
                                                <a:gd name="connsiteX28" fmla="*/ 214052 w 224239"/>
                                                <a:gd name="connsiteY28" fmla="*/ 213360 h 257154"/>
                                                <a:gd name="connsiteX29" fmla="*/ 223835 w 224239"/>
                                                <a:gd name="connsiteY29" fmla="*/ 207853 h 257154"/>
                                                <a:gd name="connsiteX30" fmla="*/ 219105 w 224239"/>
                                                <a:gd name="connsiteY30" fmla="*/ 192952 h 257154"/>
                                                <a:gd name="connsiteX31" fmla="*/ 209517 w 224239"/>
                                                <a:gd name="connsiteY31" fmla="*/ 184724 h 257154"/>
                                                <a:gd name="connsiteX32" fmla="*/ 209387 w 224239"/>
                                                <a:gd name="connsiteY32" fmla="*/ 166261 h 257154"/>
                                                <a:gd name="connsiteX33" fmla="*/ 213404 w 224239"/>
                                                <a:gd name="connsiteY33" fmla="*/ 147473 h 257154"/>
                                                <a:gd name="connsiteX34" fmla="*/ 204334 w 224239"/>
                                                <a:gd name="connsiteY34" fmla="*/ 131535 h 257154"/>
                                                <a:gd name="connsiteX35" fmla="*/ 178744 w 224239"/>
                                                <a:gd name="connsiteY35" fmla="*/ 127907 h 257154"/>
                                                <a:gd name="connsiteX36" fmla="*/ 173237 w 224239"/>
                                                <a:gd name="connsiteY36" fmla="*/ 98689 h 257154"/>
                                                <a:gd name="connsiteX37" fmla="*/ 167406 w 224239"/>
                                                <a:gd name="connsiteY37" fmla="*/ 83270 h 257154"/>
                                                <a:gd name="connsiteX38" fmla="*/ 124324 w 224239"/>
                                                <a:gd name="connsiteY38" fmla="*/ 76143 h 257154"/>
                                                <a:gd name="connsiteX39" fmla="*/ 117197 w 224239"/>
                                                <a:gd name="connsiteY39" fmla="*/ 21399 h 257154"/>
                                                <a:gd name="connsiteX40" fmla="*/ 121668 w 224239"/>
                                                <a:gd name="connsiteY40" fmla="*/ 18873 h 257154"/>
                                                <a:gd name="connsiteX41" fmla="*/ 122315 w 224239"/>
                                                <a:gd name="connsiteY41" fmla="*/ 13625 h 257154"/>
                                                <a:gd name="connsiteX42" fmla="*/ 117845 w 224239"/>
                                                <a:gd name="connsiteY42" fmla="*/ 11034 h 257154"/>
                                                <a:gd name="connsiteX43" fmla="*/ 110330 w 224239"/>
                                                <a:gd name="connsiteY43" fmla="*/ 7276 h 257154"/>
                                                <a:gd name="connsiteX44" fmla="*/ 95818 w 224239"/>
                                                <a:gd name="connsiteY44" fmla="*/ 8378 h 257154"/>
                                                <a:gd name="connsiteX45" fmla="*/ 79946 w 224239"/>
                                                <a:gd name="connsiteY45" fmla="*/ 3389 h 257154"/>
                                                <a:gd name="connsiteX46" fmla="*/ 52930 w 224239"/>
                                                <a:gd name="connsiteY46" fmla="*/ 3713 h 257154"/>
                                                <a:gd name="connsiteX47" fmla="*/ 35567 w 224239"/>
                                                <a:gd name="connsiteY47" fmla="*/ 280 h 257154"/>
                                                <a:gd name="connsiteX48" fmla="*/ 25461 w 224239"/>
                                                <a:gd name="connsiteY48" fmla="*/ 8183 h 257154"/>
                                                <a:gd name="connsiteX49" fmla="*/ 13022 w 224239"/>
                                                <a:gd name="connsiteY49" fmla="*/ 33579 h 257154"/>
                                                <a:gd name="connsiteX50" fmla="*/ 4665 w 224239"/>
                                                <a:gd name="connsiteY50" fmla="*/ 70766 h 257154"/>
                                                <a:gd name="connsiteX51" fmla="*/ 0 w 224239"/>
                                                <a:gd name="connsiteY51" fmla="*/ 71479 h 257154"/>
                                                <a:gd name="connsiteX52" fmla="*/ 1943 w 224239"/>
                                                <a:gd name="connsiteY52" fmla="*/ 86963 h 25715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24239" h="257154">
                                                  <a:moveTo>
                                                    <a:pt x="1943" y="87027"/>
                                                  </a:moveTo>
                                                  <a:lnTo>
                                                    <a:pt x="14058" y="91368"/>
                                                  </a:lnTo>
                                                  <a:cubicBezTo>
                                                    <a:pt x="13411" y="93765"/>
                                                    <a:pt x="13151" y="96357"/>
                                                    <a:pt x="14123" y="98624"/>
                                                  </a:cubicBezTo>
                                                  <a:cubicBezTo>
                                                    <a:pt x="16067" y="103159"/>
                                                    <a:pt x="21509" y="104584"/>
                                                    <a:pt x="25914" y="106723"/>
                                                  </a:cubicBezTo>
                                                  <a:cubicBezTo>
                                                    <a:pt x="30320" y="108860"/>
                                                    <a:pt x="34596" y="114173"/>
                                                    <a:pt x="31745" y="118189"/>
                                                  </a:cubicBezTo>
                                                  <a:cubicBezTo>
                                                    <a:pt x="35826" y="114626"/>
                                                    <a:pt x="42305" y="117865"/>
                                                    <a:pt x="45933" y="121882"/>
                                                  </a:cubicBezTo>
                                                  <a:cubicBezTo>
                                                    <a:pt x="49626" y="125899"/>
                                                    <a:pt x="53124" y="131082"/>
                                                    <a:pt x="58566" y="131535"/>
                                                  </a:cubicBezTo>
                                                  <a:cubicBezTo>
                                                    <a:pt x="60639" y="131730"/>
                                                    <a:pt x="62907" y="131211"/>
                                                    <a:pt x="64786" y="132183"/>
                                                  </a:cubicBezTo>
                                                  <a:cubicBezTo>
                                                    <a:pt x="67248" y="133479"/>
                                                    <a:pt x="67895" y="136912"/>
                                                    <a:pt x="70293" y="138273"/>
                                                  </a:cubicBezTo>
                                                  <a:cubicBezTo>
                                                    <a:pt x="73208" y="139958"/>
                                                    <a:pt x="76965" y="137820"/>
                                                    <a:pt x="80140" y="138856"/>
                                                  </a:cubicBezTo>
                                                  <a:cubicBezTo>
                                                    <a:pt x="84286" y="140152"/>
                                                    <a:pt x="85517" y="145853"/>
                                                    <a:pt x="89469" y="147602"/>
                                                  </a:cubicBezTo>
                                                  <a:cubicBezTo>
                                                    <a:pt x="92320" y="148898"/>
                                                    <a:pt x="95688" y="147732"/>
                                                    <a:pt x="98604" y="148898"/>
                                                  </a:cubicBezTo>
                                                  <a:cubicBezTo>
                                                    <a:pt x="101908" y="150258"/>
                                                    <a:pt x="103333" y="154016"/>
                                                    <a:pt x="105277" y="156931"/>
                                                  </a:cubicBezTo>
                                                  <a:cubicBezTo>
                                                    <a:pt x="107220" y="159846"/>
                                                    <a:pt x="111561" y="162308"/>
                                                    <a:pt x="114152" y="159846"/>
                                                  </a:cubicBezTo>
                                                  <a:cubicBezTo>
                                                    <a:pt x="115837" y="166584"/>
                                                    <a:pt x="123935" y="170860"/>
                                                    <a:pt x="130414" y="168593"/>
                                                  </a:cubicBezTo>
                                                  <a:cubicBezTo>
                                                    <a:pt x="133264" y="171249"/>
                                                    <a:pt x="131968" y="176237"/>
                                                    <a:pt x="129183" y="178958"/>
                                                  </a:cubicBezTo>
                                                  <a:cubicBezTo>
                                                    <a:pt x="126397" y="181680"/>
                                                    <a:pt x="122639" y="183170"/>
                                                    <a:pt x="119659" y="185761"/>
                                                  </a:cubicBezTo>
                                                  <a:cubicBezTo>
                                                    <a:pt x="112857" y="191656"/>
                                                    <a:pt x="112468" y="203448"/>
                                                    <a:pt x="118817" y="209796"/>
                                                  </a:cubicBezTo>
                                                  <a:cubicBezTo>
                                                    <a:pt x="115707" y="210898"/>
                                                    <a:pt x="113051" y="213295"/>
                                                    <a:pt x="111755" y="216340"/>
                                                  </a:cubicBezTo>
                                                  <a:cubicBezTo>
                                                    <a:pt x="120372" y="223855"/>
                                                    <a:pt x="131839" y="228001"/>
                                                    <a:pt x="143306" y="227807"/>
                                                  </a:cubicBezTo>
                                                  <a:cubicBezTo>
                                                    <a:pt x="148813" y="227677"/>
                                                    <a:pt x="154320" y="226641"/>
                                                    <a:pt x="159697" y="227742"/>
                                                  </a:cubicBezTo>
                                                  <a:cubicBezTo>
                                                    <a:pt x="165074" y="228843"/>
                                                    <a:pt x="170386" y="233055"/>
                                                    <a:pt x="170386" y="238561"/>
                                                  </a:cubicBezTo>
                                                  <a:cubicBezTo>
                                                    <a:pt x="170386" y="241930"/>
                                                    <a:pt x="168313" y="245429"/>
                                                    <a:pt x="169609" y="248603"/>
                                                  </a:cubicBezTo>
                                                  <a:cubicBezTo>
                                                    <a:pt x="170322" y="250352"/>
                                                    <a:pt x="171941" y="251583"/>
                                                    <a:pt x="173496" y="252685"/>
                                                  </a:cubicBezTo>
                                                  <a:lnTo>
                                                    <a:pt x="179716" y="257155"/>
                                                  </a:lnTo>
                                                  <a:cubicBezTo>
                                                    <a:pt x="180623" y="256701"/>
                                                    <a:pt x="181465" y="256183"/>
                                                    <a:pt x="182242" y="255535"/>
                                                  </a:cubicBezTo>
                                                  <a:cubicBezTo>
                                                    <a:pt x="188526" y="250482"/>
                                                    <a:pt x="188915" y="240764"/>
                                                    <a:pt x="194551" y="234998"/>
                                                  </a:cubicBezTo>
                                                  <a:cubicBezTo>
                                                    <a:pt x="198374" y="231176"/>
                                                    <a:pt x="203945" y="229751"/>
                                                    <a:pt x="208545" y="226900"/>
                                                  </a:cubicBezTo>
                                                  <a:cubicBezTo>
                                                    <a:pt x="213145" y="223984"/>
                                                    <a:pt x="216838" y="217959"/>
                                                    <a:pt x="214052" y="213360"/>
                                                  </a:cubicBezTo>
                                                  <a:cubicBezTo>
                                                    <a:pt x="217291" y="211546"/>
                                                    <a:pt x="220595" y="209667"/>
                                                    <a:pt x="223835" y="207853"/>
                                                  </a:cubicBezTo>
                                                  <a:cubicBezTo>
                                                    <a:pt x="225130" y="202540"/>
                                                    <a:pt x="223252" y="196515"/>
                                                    <a:pt x="219105" y="192952"/>
                                                  </a:cubicBezTo>
                                                  <a:cubicBezTo>
                                                    <a:pt x="215866" y="190167"/>
                                                    <a:pt x="211331" y="188547"/>
                                                    <a:pt x="209517" y="184724"/>
                                                  </a:cubicBezTo>
                                                  <a:cubicBezTo>
                                                    <a:pt x="206861" y="179023"/>
                                                    <a:pt x="213404" y="171055"/>
                                                    <a:pt x="209387" y="166261"/>
                                                  </a:cubicBezTo>
                                                  <a:cubicBezTo>
                                                    <a:pt x="211460" y="160171"/>
                                                    <a:pt x="213599" y="153951"/>
                                                    <a:pt x="213404" y="147473"/>
                                                  </a:cubicBezTo>
                                                  <a:cubicBezTo>
                                                    <a:pt x="213210" y="141059"/>
                                                    <a:pt x="210100" y="134256"/>
                                                    <a:pt x="204334" y="131535"/>
                                                  </a:cubicBezTo>
                                                  <a:cubicBezTo>
                                                    <a:pt x="196430" y="127778"/>
                                                    <a:pt x="186259" y="132313"/>
                                                    <a:pt x="178744" y="127907"/>
                                                  </a:cubicBezTo>
                                                  <a:cubicBezTo>
                                                    <a:pt x="176930" y="118189"/>
                                                    <a:pt x="175051" y="108407"/>
                                                    <a:pt x="173237" y="98689"/>
                                                  </a:cubicBezTo>
                                                  <a:cubicBezTo>
                                                    <a:pt x="172200" y="93247"/>
                                                    <a:pt x="171034" y="87481"/>
                                                    <a:pt x="167406" y="83270"/>
                                                  </a:cubicBezTo>
                                                  <a:cubicBezTo>
                                                    <a:pt x="157559" y="71933"/>
                                                    <a:pt x="138965" y="79512"/>
                                                    <a:pt x="124324" y="76143"/>
                                                  </a:cubicBezTo>
                                                  <a:cubicBezTo>
                                                    <a:pt x="128535" y="57809"/>
                                                    <a:pt x="125943" y="38049"/>
                                                    <a:pt x="117197" y="21399"/>
                                                  </a:cubicBezTo>
                                                  <a:cubicBezTo>
                                                    <a:pt x="118687" y="20557"/>
                                                    <a:pt x="120177" y="19715"/>
                                                    <a:pt x="121668" y="18873"/>
                                                  </a:cubicBezTo>
                                                  <a:lnTo>
                                                    <a:pt x="122315" y="13625"/>
                                                  </a:lnTo>
                                                  <a:cubicBezTo>
                                                    <a:pt x="120825" y="12783"/>
                                                    <a:pt x="119335" y="12006"/>
                                                    <a:pt x="117845" y="11034"/>
                                                  </a:cubicBezTo>
                                                  <a:cubicBezTo>
                                                    <a:pt x="115513" y="9544"/>
                                                    <a:pt x="113116" y="7859"/>
                                                    <a:pt x="110330" y="7276"/>
                                                  </a:cubicBezTo>
                                                  <a:cubicBezTo>
                                                    <a:pt x="105536" y="6240"/>
                                                    <a:pt x="100677" y="8572"/>
                                                    <a:pt x="95818" y="8378"/>
                                                  </a:cubicBezTo>
                                                  <a:cubicBezTo>
                                                    <a:pt x="90246" y="8118"/>
                                                    <a:pt x="85388" y="4685"/>
                                                    <a:pt x="79946" y="3389"/>
                                                  </a:cubicBezTo>
                                                  <a:cubicBezTo>
                                                    <a:pt x="71135" y="1381"/>
                                                    <a:pt x="61805" y="5398"/>
                                                    <a:pt x="52930" y="3713"/>
                                                  </a:cubicBezTo>
                                                  <a:cubicBezTo>
                                                    <a:pt x="47034" y="2547"/>
                                                    <a:pt x="41398" y="-1016"/>
                                                    <a:pt x="35567" y="280"/>
                                                  </a:cubicBezTo>
                                                  <a:cubicBezTo>
                                                    <a:pt x="31291" y="1251"/>
                                                    <a:pt x="28052" y="4620"/>
                                                    <a:pt x="25461" y="8183"/>
                                                  </a:cubicBezTo>
                                                  <a:cubicBezTo>
                                                    <a:pt x="19824" y="15828"/>
                                                    <a:pt x="16067" y="24574"/>
                                                    <a:pt x="13022" y="33579"/>
                                                  </a:cubicBezTo>
                                                  <a:cubicBezTo>
                                                    <a:pt x="8940" y="45630"/>
                                                    <a:pt x="6155" y="58133"/>
                                                    <a:pt x="4665" y="70766"/>
                                                  </a:cubicBezTo>
                                                  <a:cubicBezTo>
                                                    <a:pt x="3110" y="71026"/>
                                                    <a:pt x="1555" y="71220"/>
                                                    <a:pt x="0" y="71479"/>
                                                  </a:cubicBezTo>
                                                  <a:cubicBezTo>
                                                    <a:pt x="2851" y="75820"/>
                                                    <a:pt x="2527" y="81715"/>
                                                    <a:pt x="1943" y="8696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8" name="Freeform: Shape 198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C4BBD4F-242A-4B68-B27D-C8EE914CEC4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858811" y="3482958"/>
                                              <a:ext cx="34196" cy="7618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433 w 34196"/>
                                                <a:gd name="connsiteY0" fmla="*/ 43795 h 76188"/>
                                                <a:gd name="connsiteX1" fmla="*/ 24618 w 34196"/>
                                                <a:gd name="connsiteY1" fmla="*/ 39066 h 76188"/>
                                                <a:gd name="connsiteX2" fmla="*/ 32328 w 34196"/>
                                                <a:gd name="connsiteY2" fmla="*/ 24683 h 76188"/>
                                                <a:gd name="connsiteX3" fmla="*/ 27534 w 34196"/>
                                                <a:gd name="connsiteY3" fmla="*/ 3369 h 76188"/>
                                                <a:gd name="connsiteX4" fmla="*/ 21768 w 34196"/>
                                                <a:gd name="connsiteY4" fmla="*/ 0 h 76188"/>
                                                <a:gd name="connsiteX5" fmla="*/ 21898 w 34196"/>
                                                <a:gd name="connsiteY5" fmla="*/ 842 h 76188"/>
                                                <a:gd name="connsiteX6" fmla="*/ 7969 w 34196"/>
                                                <a:gd name="connsiteY6" fmla="*/ 5442 h 76188"/>
                                                <a:gd name="connsiteX7" fmla="*/ 2851 w 34196"/>
                                                <a:gd name="connsiteY7" fmla="*/ 26368 h 76188"/>
                                                <a:gd name="connsiteX8" fmla="*/ 0 w 34196"/>
                                                <a:gd name="connsiteY8" fmla="*/ 28052 h 76188"/>
                                                <a:gd name="connsiteX9" fmla="*/ 3758 w 34196"/>
                                                <a:gd name="connsiteY9" fmla="*/ 32004 h 76188"/>
                                                <a:gd name="connsiteX10" fmla="*/ 7904 w 34196"/>
                                                <a:gd name="connsiteY10" fmla="*/ 38288 h 76188"/>
                                                <a:gd name="connsiteX11" fmla="*/ 12892 w 34196"/>
                                                <a:gd name="connsiteY11" fmla="*/ 41204 h 76188"/>
                                                <a:gd name="connsiteX12" fmla="*/ 13346 w 34196"/>
                                                <a:gd name="connsiteY12" fmla="*/ 44378 h 76188"/>
                                                <a:gd name="connsiteX13" fmla="*/ 14383 w 34196"/>
                                                <a:gd name="connsiteY13" fmla="*/ 59992 h 76188"/>
                                                <a:gd name="connsiteX14" fmla="*/ 20861 w 34196"/>
                                                <a:gd name="connsiteY14" fmla="*/ 60834 h 76188"/>
                                                <a:gd name="connsiteX15" fmla="*/ 18593 w 34196"/>
                                                <a:gd name="connsiteY15" fmla="*/ 76188 h 76188"/>
                                                <a:gd name="connsiteX16" fmla="*/ 23193 w 34196"/>
                                                <a:gd name="connsiteY16" fmla="*/ 62777 h 76188"/>
                                                <a:gd name="connsiteX17" fmla="*/ 26498 w 34196"/>
                                                <a:gd name="connsiteY17" fmla="*/ 43860 h 7618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4196" h="76188">
                                                  <a:moveTo>
                                                    <a:pt x="26433" y="43795"/>
                                                  </a:moveTo>
                                                  <a:cubicBezTo>
                                                    <a:pt x="25849" y="42176"/>
                                                    <a:pt x="24942" y="40750"/>
                                                    <a:pt x="24618" y="39066"/>
                                                  </a:cubicBezTo>
                                                  <a:cubicBezTo>
                                                    <a:pt x="23647" y="33559"/>
                                                    <a:pt x="29542" y="29542"/>
                                                    <a:pt x="32328" y="24683"/>
                                                  </a:cubicBezTo>
                                                  <a:cubicBezTo>
                                                    <a:pt x="36280" y="17816"/>
                                                    <a:pt x="33624" y="8422"/>
                                                    <a:pt x="27534" y="3369"/>
                                                  </a:cubicBezTo>
                                                  <a:cubicBezTo>
                                                    <a:pt x="25785" y="1943"/>
                                                    <a:pt x="23841" y="842"/>
                                                    <a:pt x="21768" y="0"/>
                                                  </a:cubicBezTo>
                                                  <a:cubicBezTo>
                                                    <a:pt x="21833" y="259"/>
                                                    <a:pt x="21833" y="583"/>
                                                    <a:pt x="21898" y="842"/>
                                                  </a:cubicBezTo>
                                                  <a:lnTo>
                                                    <a:pt x="7969" y="5442"/>
                                                  </a:lnTo>
                                                  <a:cubicBezTo>
                                                    <a:pt x="13022" y="11726"/>
                                                    <a:pt x="9459" y="21768"/>
                                                    <a:pt x="2851" y="26368"/>
                                                  </a:cubicBezTo>
                                                  <a:cubicBezTo>
                                                    <a:pt x="1943" y="27016"/>
                                                    <a:pt x="972" y="27534"/>
                                                    <a:pt x="0" y="28052"/>
                                                  </a:cubicBezTo>
                                                  <a:cubicBezTo>
                                                    <a:pt x="1425" y="29218"/>
                                                    <a:pt x="2786" y="30514"/>
                                                    <a:pt x="3758" y="32004"/>
                                                  </a:cubicBezTo>
                                                  <a:cubicBezTo>
                                                    <a:pt x="5118" y="34142"/>
                                                    <a:pt x="5766" y="36928"/>
                                                    <a:pt x="7904" y="38288"/>
                                                  </a:cubicBezTo>
                                                  <a:cubicBezTo>
                                                    <a:pt x="9524" y="39390"/>
                                                    <a:pt x="11921" y="39519"/>
                                                    <a:pt x="12892" y="41204"/>
                                                  </a:cubicBezTo>
                                                  <a:cubicBezTo>
                                                    <a:pt x="13476" y="42111"/>
                                                    <a:pt x="13411" y="43277"/>
                                                    <a:pt x="13346" y="44378"/>
                                                  </a:cubicBezTo>
                                                  <a:cubicBezTo>
                                                    <a:pt x="13216" y="49626"/>
                                                    <a:pt x="13605" y="54809"/>
                                                    <a:pt x="14383" y="59992"/>
                                                  </a:cubicBezTo>
                                                  <a:cubicBezTo>
                                                    <a:pt x="16520" y="60251"/>
                                                    <a:pt x="18658" y="60575"/>
                                                    <a:pt x="20861" y="60834"/>
                                                  </a:cubicBezTo>
                                                  <a:cubicBezTo>
                                                    <a:pt x="19630" y="65887"/>
                                                    <a:pt x="18917" y="71005"/>
                                                    <a:pt x="18593" y="76188"/>
                                                  </a:cubicBezTo>
                                                  <a:cubicBezTo>
                                                    <a:pt x="19889" y="71653"/>
                                                    <a:pt x="21379" y="67183"/>
                                                    <a:pt x="23193" y="62777"/>
                                                  </a:cubicBezTo>
                                                  <a:cubicBezTo>
                                                    <a:pt x="25720" y="56688"/>
                                                    <a:pt x="28765" y="50015"/>
                                                    <a:pt x="26498" y="4386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89" name="Freeform: Shape 198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16F46BE-BF43-4D7E-B315-4252F720C5F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877080" y="3453539"/>
                                              <a:ext cx="104369" cy="12153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04370 w 104369"/>
                                                <a:gd name="connsiteY0" fmla="*/ 11732 h 121532"/>
                                                <a:gd name="connsiteX1" fmla="*/ 96790 w 104369"/>
                                                <a:gd name="connsiteY1" fmla="*/ 1172 h 121532"/>
                                                <a:gd name="connsiteX2" fmla="*/ 83833 w 104369"/>
                                                <a:gd name="connsiteY2" fmla="*/ 2274 h 121532"/>
                                                <a:gd name="connsiteX3" fmla="*/ 79686 w 104369"/>
                                                <a:gd name="connsiteY3" fmla="*/ 5513 h 121532"/>
                                                <a:gd name="connsiteX4" fmla="*/ 65110 w 104369"/>
                                                <a:gd name="connsiteY4" fmla="*/ 10501 h 121532"/>
                                                <a:gd name="connsiteX5" fmla="*/ 48524 w 104369"/>
                                                <a:gd name="connsiteY5" fmla="*/ 20090 h 121532"/>
                                                <a:gd name="connsiteX6" fmla="*/ 28959 w 104369"/>
                                                <a:gd name="connsiteY6" fmla="*/ 14648 h 121532"/>
                                                <a:gd name="connsiteX7" fmla="*/ 21250 w 104369"/>
                                                <a:gd name="connsiteY7" fmla="*/ 15360 h 121532"/>
                                                <a:gd name="connsiteX8" fmla="*/ 20213 w 104369"/>
                                                <a:gd name="connsiteY8" fmla="*/ 19377 h 121532"/>
                                                <a:gd name="connsiteX9" fmla="*/ 19565 w 104369"/>
                                                <a:gd name="connsiteY9" fmla="*/ 33371 h 121532"/>
                                                <a:gd name="connsiteX10" fmla="*/ 17298 w 104369"/>
                                                <a:gd name="connsiteY10" fmla="*/ 42829 h 121532"/>
                                                <a:gd name="connsiteX11" fmla="*/ 15678 w 104369"/>
                                                <a:gd name="connsiteY11" fmla="*/ 44643 h 121532"/>
                                                <a:gd name="connsiteX12" fmla="*/ 13994 w 104369"/>
                                                <a:gd name="connsiteY12" fmla="*/ 54102 h 121532"/>
                                                <a:gd name="connsiteX13" fmla="*/ 6284 w 104369"/>
                                                <a:gd name="connsiteY13" fmla="*/ 68485 h 121532"/>
                                                <a:gd name="connsiteX14" fmla="*/ 8098 w 104369"/>
                                                <a:gd name="connsiteY14" fmla="*/ 73214 h 121532"/>
                                                <a:gd name="connsiteX15" fmla="*/ 4794 w 104369"/>
                                                <a:gd name="connsiteY15" fmla="*/ 92131 h 121532"/>
                                                <a:gd name="connsiteX16" fmla="*/ 194 w 104369"/>
                                                <a:gd name="connsiteY16" fmla="*/ 105542 h 121532"/>
                                                <a:gd name="connsiteX17" fmla="*/ 0 w 104369"/>
                                                <a:gd name="connsiteY17" fmla="*/ 107421 h 121532"/>
                                                <a:gd name="connsiteX18" fmla="*/ 17104 w 104369"/>
                                                <a:gd name="connsiteY18" fmla="*/ 113187 h 121532"/>
                                                <a:gd name="connsiteX19" fmla="*/ 22221 w 104369"/>
                                                <a:gd name="connsiteY19" fmla="*/ 115001 h 121532"/>
                                                <a:gd name="connsiteX20" fmla="*/ 23323 w 104369"/>
                                                <a:gd name="connsiteY20" fmla="*/ 120831 h 121532"/>
                                                <a:gd name="connsiteX21" fmla="*/ 34920 w 104369"/>
                                                <a:gd name="connsiteY21" fmla="*/ 118240 h 121532"/>
                                                <a:gd name="connsiteX22" fmla="*/ 36863 w 104369"/>
                                                <a:gd name="connsiteY22" fmla="*/ 106514 h 121532"/>
                                                <a:gd name="connsiteX23" fmla="*/ 48265 w 104369"/>
                                                <a:gd name="connsiteY23" fmla="*/ 101460 h 121532"/>
                                                <a:gd name="connsiteX24" fmla="*/ 48460 w 104369"/>
                                                <a:gd name="connsiteY24" fmla="*/ 95695 h 121532"/>
                                                <a:gd name="connsiteX25" fmla="*/ 58242 w 104369"/>
                                                <a:gd name="connsiteY25" fmla="*/ 91937 h 121532"/>
                                                <a:gd name="connsiteX26" fmla="*/ 72236 w 104369"/>
                                                <a:gd name="connsiteY26" fmla="*/ 86430 h 121532"/>
                                                <a:gd name="connsiteX27" fmla="*/ 74633 w 104369"/>
                                                <a:gd name="connsiteY27" fmla="*/ 72242 h 121532"/>
                                                <a:gd name="connsiteX28" fmla="*/ 56493 w 104369"/>
                                                <a:gd name="connsiteY28" fmla="*/ 56175 h 121532"/>
                                                <a:gd name="connsiteX29" fmla="*/ 67636 w 104369"/>
                                                <a:gd name="connsiteY29" fmla="*/ 47883 h 121532"/>
                                                <a:gd name="connsiteX30" fmla="*/ 76317 w 104369"/>
                                                <a:gd name="connsiteY30" fmla="*/ 40108 h 121532"/>
                                                <a:gd name="connsiteX31" fmla="*/ 89016 w 104369"/>
                                                <a:gd name="connsiteY31" fmla="*/ 40108 h 121532"/>
                                                <a:gd name="connsiteX32" fmla="*/ 98021 w 104369"/>
                                                <a:gd name="connsiteY32" fmla="*/ 37971 h 121532"/>
                                                <a:gd name="connsiteX33" fmla="*/ 103527 w 104369"/>
                                                <a:gd name="connsiteY33" fmla="*/ 36740 h 121532"/>
                                                <a:gd name="connsiteX34" fmla="*/ 101779 w 104369"/>
                                                <a:gd name="connsiteY34" fmla="*/ 28188 h 121532"/>
                                                <a:gd name="connsiteX35" fmla="*/ 104240 w 104369"/>
                                                <a:gd name="connsiteY35" fmla="*/ 11732 h 12153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4369" h="121532">
                                                  <a:moveTo>
                                                    <a:pt x="104370" y="11732"/>
                                                  </a:moveTo>
                                                  <a:cubicBezTo>
                                                    <a:pt x="103916" y="7197"/>
                                                    <a:pt x="100871" y="3051"/>
                                                    <a:pt x="96790" y="1172"/>
                                                  </a:cubicBezTo>
                                                  <a:cubicBezTo>
                                                    <a:pt x="92643" y="-707"/>
                                                    <a:pt x="87590" y="-318"/>
                                                    <a:pt x="83833" y="2274"/>
                                                  </a:cubicBezTo>
                                                  <a:cubicBezTo>
                                                    <a:pt x="82407" y="3245"/>
                                                    <a:pt x="81176" y="4541"/>
                                                    <a:pt x="79686" y="5513"/>
                                                  </a:cubicBezTo>
                                                  <a:cubicBezTo>
                                                    <a:pt x="75411" y="8363"/>
                                                    <a:pt x="69839" y="8428"/>
                                                    <a:pt x="65110" y="10501"/>
                                                  </a:cubicBezTo>
                                                  <a:cubicBezTo>
                                                    <a:pt x="59214" y="13093"/>
                                                    <a:pt x="54873" y="18859"/>
                                                    <a:pt x="48524" y="20090"/>
                                                  </a:cubicBezTo>
                                                  <a:cubicBezTo>
                                                    <a:pt x="41787" y="21385"/>
                                                    <a:pt x="35373" y="17110"/>
                                                    <a:pt x="28959" y="14648"/>
                                                  </a:cubicBezTo>
                                                  <a:cubicBezTo>
                                                    <a:pt x="26368" y="13676"/>
                                                    <a:pt x="22934" y="13157"/>
                                                    <a:pt x="21250" y="15360"/>
                                                  </a:cubicBezTo>
                                                  <a:cubicBezTo>
                                                    <a:pt x="20408" y="16462"/>
                                                    <a:pt x="20278" y="17952"/>
                                                    <a:pt x="20213" y="19377"/>
                                                  </a:cubicBezTo>
                                                  <a:cubicBezTo>
                                                    <a:pt x="20019" y="24042"/>
                                                    <a:pt x="19760" y="28706"/>
                                                    <a:pt x="19565" y="33371"/>
                                                  </a:cubicBezTo>
                                                  <a:cubicBezTo>
                                                    <a:pt x="19436" y="36675"/>
                                                    <a:pt x="19177" y="40108"/>
                                                    <a:pt x="17298" y="42829"/>
                                                  </a:cubicBezTo>
                                                  <a:cubicBezTo>
                                                    <a:pt x="16844" y="43477"/>
                                                    <a:pt x="16261" y="44060"/>
                                                    <a:pt x="15678" y="44643"/>
                                                  </a:cubicBezTo>
                                                  <a:cubicBezTo>
                                                    <a:pt x="16132" y="47947"/>
                                                    <a:pt x="15678" y="51252"/>
                                                    <a:pt x="13994" y="54102"/>
                                                  </a:cubicBezTo>
                                                  <a:cubicBezTo>
                                                    <a:pt x="11143" y="58961"/>
                                                    <a:pt x="5312" y="62978"/>
                                                    <a:pt x="6284" y="68485"/>
                                                  </a:cubicBezTo>
                                                  <a:cubicBezTo>
                                                    <a:pt x="6608" y="70169"/>
                                                    <a:pt x="7515" y="71659"/>
                                                    <a:pt x="8098" y="73214"/>
                                                  </a:cubicBezTo>
                                                  <a:cubicBezTo>
                                                    <a:pt x="10366" y="79368"/>
                                                    <a:pt x="7321" y="86106"/>
                                                    <a:pt x="4794" y="92131"/>
                                                  </a:cubicBezTo>
                                                  <a:cubicBezTo>
                                                    <a:pt x="2980" y="96472"/>
                                                    <a:pt x="1490" y="101007"/>
                                                    <a:pt x="194" y="105542"/>
                                                  </a:cubicBezTo>
                                                  <a:cubicBezTo>
                                                    <a:pt x="194" y="106190"/>
                                                    <a:pt x="65" y="106838"/>
                                                    <a:pt x="0" y="107421"/>
                                                  </a:cubicBezTo>
                                                  <a:cubicBezTo>
                                                    <a:pt x="6867" y="106708"/>
                                                    <a:pt x="14058" y="107421"/>
                                                    <a:pt x="17104" y="113187"/>
                                                  </a:cubicBezTo>
                                                  <a:cubicBezTo>
                                                    <a:pt x="18852" y="112150"/>
                                                    <a:pt x="21185" y="113251"/>
                                                    <a:pt x="22221" y="115001"/>
                                                  </a:cubicBezTo>
                                                  <a:cubicBezTo>
                                                    <a:pt x="23258" y="116750"/>
                                                    <a:pt x="23323" y="118823"/>
                                                    <a:pt x="23323" y="120831"/>
                                                  </a:cubicBezTo>
                                                  <a:cubicBezTo>
                                                    <a:pt x="27210" y="122386"/>
                                                    <a:pt x="32069" y="121285"/>
                                                    <a:pt x="34920" y="118240"/>
                                                  </a:cubicBezTo>
                                                  <a:cubicBezTo>
                                                    <a:pt x="37770" y="115195"/>
                                                    <a:pt x="38612" y="110336"/>
                                                    <a:pt x="36863" y="106514"/>
                                                  </a:cubicBezTo>
                                                  <a:cubicBezTo>
                                                    <a:pt x="41398" y="106773"/>
                                                    <a:pt x="47358" y="105931"/>
                                                    <a:pt x="48265" y="101460"/>
                                                  </a:cubicBezTo>
                                                  <a:cubicBezTo>
                                                    <a:pt x="48654" y="99582"/>
                                                    <a:pt x="47812" y="97509"/>
                                                    <a:pt x="48460" y="95695"/>
                                                  </a:cubicBezTo>
                                                  <a:cubicBezTo>
                                                    <a:pt x="49626" y="92131"/>
                                                    <a:pt x="54485" y="92002"/>
                                                    <a:pt x="58242" y="91937"/>
                                                  </a:cubicBezTo>
                                                  <a:cubicBezTo>
                                                    <a:pt x="63360" y="91807"/>
                                                    <a:pt x="68673" y="90123"/>
                                                    <a:pt x="72236" y="86430"/>
                                                  </a:cubicBezTo>
                                                  <a:cubicBezTo>
                                                    <a:pt x="75799" y="82737"/>
                                                    <a:pt x="77160" y="76712"/>
                                                    <a:pt x="74633" y="72242"/>
                                                  </a:cubicBezTo>
                                                  <a:cubicBezTo>
                                                    <a:pt x="70552" y="65051"/>
                                                    <a:pt x="58696" y="64144"/>
                                                    <a:pt x="56493" y="56175"/>
                                                  </a:cubicBezTo>
                                                  <a:cubicBezTo>
                                                    <a:pt x="54873" y="50280"/>
                                                    <a:pt x="62907" y="43996"/>
                                                    <a:pt x="67636" y="47883"/>
                                                  </a:cubicBezTo>
                                                  <a:cubicBezTo>
                                                    <a:pt x="67636" y="43672"/>
                                                    <a:pt x="72171" y="40691"/>
                                                    <a:pt x="76317" y="40108"/>
                                                  </a:cubicBezTo>
                                                  <a:cubicBezTo>
                                                    <a:pt x="80529" y="39525"/>
                                                    <a:pt x="84805" y="40497"/>
                                                    <a:pt x="89016" y="40108"/>
                                                  </a:cubicBezTo>
                                                  <a:cubicBezTo>
                                                    <a:pt x="92125" y="39849"/>
                                                    <a:pt x="95041" y="38813"/>
                                                    <a:pt x="98021" y="37971"/>
                                                  </a:cubicBezTo>
                                                  <a:cubicBezTo>
                                                    <a:pt x="99835" y="37452"/>
                                                    <a:pt x="101649" y="37128"/>
                                                    <a:pt x="103527" y="36740"/>
                                                  </a:cubicBezTo>
                                                  <a:cubicBezTo>
                                                    <a:pt x="102426" y="34018"/>
                                                    <a:pt x="101714" y="31168"/>
                                                    <a:pt x="101779" y="28188"/>
                                                  </a:cubicBezTo>
                                                  <a:cubicBezTo>
                                                    <a:pt x="101908" y="22616"/>
                                                    <a:pt x="104823" y="17239"/>
                                                    <a:pt x="104240" y="1173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0" name="Freeform: Shape 198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D93AE981-CACD-4C00-9E27-F2D311A0849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878964" y="3404827"/>
                                              <a:ext cx="43922" cy="9529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6211 w 43922"/>
                                                <a:gd name="connsiteY0" fmla="*/ 3239 h 95299"/>
                                                <a:gd name="connsiteX1" fmla="*/ 31157 w 43922"/>
                                                <a:gd name="connsiteY1" fmla="*/ 583 h 95299"/>
                                                <a:gd name="connsiteX2" fmla="*/ 30768 w 43922"/>
                                                <a:gd name="connsiteY2" fmla="*/ 389 h 95299"/>
                                                <a:gd name="connsiteX3" fmla="*/ 29797 w 43922"/>
                                                <a:gd name="connsiteY3" fmla="*/ 0 h 95299"/>
                                                <a:gd name="connsiteX4" fmla="*/ 29797 w 43922"/>
                                                <a:gd name="connsiteY4" fmla="*/ 7321 h 95299"/>
                                                <a:gd name="connsiteX5" fmla="*/ 20079 w 43922"/>
                                                <a:gd name="connsiteY5" fmla="*/ 17233 h 95299"/>
                                                <a:gd name="connsiteX6" fmla="*/ 14313 w 43922"/>
                                                <a:gd name="connsiteY6" fmla="*/ 27016 h 95299"/>
                                                <a:gd name="connsiteX7" fmla="*/ 11786 w 43922"/>
                                                <a:gd name="connsiteY7" fmla="*/ 51569 h 95299"/>
                                                <a:gd name="connsiteX8" fmla="*/ 643 w 43922"/>
                                                <a:gd name="connsiteY8" fmla="*/ 78391 h 95299"/>
                                                <a:gd name="connsiteX9" fmla="*/ 773 w 43922"/>
                                                <a:gd name="connsiteY9" fmla="*/ 78844 h 95299"/>
                                                <a:gd name="connsiteX10" fmla="*/ 1226 w 43922"/>
                                                <a:gd name="connsiteY10" fmla="*/ 79038 h 95299"/>
                                                <a:gd name="connsiteX11" fmla="*/ 1356 w 43922"/>
                                                <a:gd name="connsiteY11" fmla="*/ 79103 h 95299"/>
                                                <a:gd name="connsiteX12" fmla="*/ 6733 w 43922"/>
                                                <a:gd name="connsiteY12" fmla="*/ 82278 h 95299"/>
                                                <a:gd name="connsiteX13" fmla="*/ 12823 w 43922"/>
                                                <a:gd name="connsiteY13" fmla="*/ 93486 h 95299"/>
                                                <a:gd name="connsiteX14" fmla="*/ 13082 w 43922"/>
                                                <a:gd name="connsiteY14" fmla="*/ 95300 h 95299"/>
                                                <a:gd name="connsiteX15" fmla="*/ 13924 w 43922"/>
                                                <a:gd name="connsiteY15" fmla="*/ 94587 h 95299"/>
                                                <a:gd name="connsiteX16" fmla="*/ 13924 w 43922"/>
                                                <a:gd name="connsiteY16" fmla="*/ 94457 h 95299"/>
                                                <a:gd name="connsiteX17" fmla="*/ 14443 w 43922"/>
                                                <a:gd name="connsiteY17" fmla="*/ 94069 h 95299"/>
                                                <a:gd name="connsiteX18" fmla="*/ 16256 w 43922"/>
                                                <a:gd name="connsiteY18" fmla="*/ 92125 h 95299"/>
                                                <a:gd name="connsiteX19" fmla="*/ 18653 w 43922"/>
                                                <a:gd name="connsiteY19" fmla="*/ 82148 h 95299"/>
                                                <a:gd name="connsiteX20" fmla="*/ 19366 w 43922"/>
                                                <a:gd name="connsiteY20" fmla="*/ 68090 h 95299"/>
                                                <a:gd name="connsiteX21" fmla="*/ 20144 w 43922"/>
                                                <a:gd name="connsiteY21" fmla="*/ 64656 h 95299"/>
                                                <a:gd name="connsiteX22" fmla="*/ 23059 w 43922"/>
                                                <a:gd name="connsiteY22" fmla="*/ 63425 h 95299"/>
                                                <a:gd name="connsiteX23" fmla="*/ 26752 w 43922"/>
                                                <a:gd name="connsiteY23" fmla="*/ 64203 h 95299"/>
                                                <a:gd name="connsiteX24" fmla="*/ 27011 w 43922"/>
                                                <a:gd name="connsiteY24" fmla="*/ 63490 h 95299"/>
                                                <a:gd name="connsiteX25" fmla="*/ 27076 w 43922"/>
                                                <a:gd name="connsiteY25" fmla="*/ 63490 h 95299"/>
                                                <a:gd name="connsiteX26" fmla="*/ 27076 w 43922"/>
                                                <a:gd name="connsiteY26" fmla="*/ 64332 h 95299"/>
                                                <a:gd name="connsiteX27" fmla="*/ 28501 w 43922"/>
                                                <a:gd name="connsiteY27" fmla="*/ 64915 h 95299"/>
                                                <a:gd name="connsiteX28" fmla="*/ 28371 w 43922"/>
                                                <a:gd name="connsiteY28" fmla="*/ 63879 h 95299"/>
                                                <a:gd name="connsiteX29" fmla="*/ 28371 w 43922"/>
                                                <a:gd name="connsiteY29" fmla="*/ 63879 h 95299"/>
                                                <a:gd name="connsiteX30" fmla="*/ 28371 w 43922"/>
                                                <a:gd name="connsiteY30" fmla="*/ 63296 h 95299"/>
                                                <a:gd name="connsiteX31" fmla="*/ 27529 w 43922"/>
                                                <a:gd name="connsiteY31" fmla="*/ 58178 h 95299"/>
                                                <a:gd name="connsiteX32" fmla="*/ 26881 w 43922"/>
                                                <a:gd name="connsiteY32" fmla="*/ 55327 h 95299"/>
                                                <a:gd name="connsiteX33" fmla="*/ 25650 w 43922"/>
                                                <a:gd name="connsiteY33" fmla="*/ 47553 h 95299"/>
                                                <a:gd name="connsiteX34" fmla="*/ 29343 w 43922"/>
                                                <a:gd name="connsiteY34" fmla="*/ 38677 h 95299"/>
                                                <a:gd name="connsiteX35" fmla="*/ 30056 w 43922"/>
                                                <a:gd name="connsiteY35" fmla="*/ 38224 h 95299"/>
                                                <a:gd name="connsiteX36" fmla="*/ 32129 w 43922"/>
                                                <a:gd name="connsiteY36" fmla="*/ 36474 h 95299"/>
                                                <a:gd name="connsiteX37" fmla="*/ 32906 w 43922"/>
                                                <a:gd name="connsiteY37" fmla="*/ 32587 h 95299"/>
                                                <a:gd name="connsiteX38" fmla="*/ 32906 w 43922"/>
                                                <a:gd name="connsiteY38" fmla="*/ 31227 h 95299"/>
                                                <a:gd name="connsiteX39" fmla="*/ 38154 w 43922"/>
                                                <a:gd name="connsiteY39" fmla="*/ 23193 h 95299"/>
                                                <a:gd name="connsiteX40" fmla="*/ 43920 w 43922"/>
                                                <a:gd name="connsiteY40" fmla="*/ 13670 h 95299"/>
                                                <a:gd name="connsiteX41" fmla="*/ 36275 w 43922"/>
                                                <a:gd name="connsiteY41" fmla="*/ 3239 h 95299"/>
                                                <a:gd name="connsiteX42" fmla="*/ 13859 w 43922"/>
                                                <a:gd name="connsiteY42" fmla="*/ 52606 h 95299"/>
                                                <a:gd name="connsiteX43" fmla="*/ 15090 w 43922"/>
                                                <a:gd name="connsiteY43" fmla="*/ 51893 h 95299"/>
                                                <a:gd name="connsiteX44" fmla="*/ 13989 w 43922"/>
                                                <a:gd name="connsiteY44" fmla="*/ 50986 h 95299"/>
                                                <a:gd name="connsiteX45" fmla="*/ 15997 w 43922"/>
                                                <a:gd name="connsiteY45" fmla="*/ 27987 h 95299"/>
                                                <a:gd name="connsiteX46" fmla="*/ 21763 w 43922"/>
                                                <a:gd name="connsiteY46" fmla="*/ 18205 h 95299"/>
                                                <a:gd name="connsiteX47" fmla="*/ 30963 w 43922"/>
                                                <a:gd name="connsiteY47" fmla="*/ 9005 h 95299"/>
                                                <a:gd name="connsiteX48" fmla="*/ 31675 w 43922"/>
                                                <a:gd name="connsiteY48" fmla="*/ 8811 h 95299"/>
                                                <a:gd name="connsiteX49" fmla="*/ 31675 w 43922"/>
                                                <a:gd name="connsiteY49" fmla="*/ 3045 h 95299"/>
                                                <a:gd name="connsiteX50" fmla="*/ 35239 w 43922"/>
                                                <a:gd name="connsiteY50" fmla="*/ 4859 h 95299"/>
                                                <a:gd name="connsiteX51" fmla="*/ 41912 w 43922"/>
                                                <a:gd name="connsiteY51" fmla="*/ 13605 h 95299"/>
                                                <a:gd name="connsiteX52" fmla="*/ 36729 w 43922"/>
                                                <a:gd name="connsiteY52" fmla="*/ 21833 h 95299"/>
                                                <a:gd name="connsiteX53" fmla="*/ 30898 w 43922"/>
                                                <a:gd name="connsiteY53" fmla="*/ 31097 h 95299"/>
                                                <a:gd name="connsiteX54" fmla="*/ 30898 w 43922"/>
                                                <a:gd name="connsiteY54" fmla="*/ 32587 h 95299"/>
                                                <a:gd name="connsiteX55" fmla="*/ 30445 w 43922"/>
                                                <a:gd name="connsiteY55" fmla="*/ 35373 h 95299"/>
                                                <a:gd name="connsiteX56" fmla="*/ 28890 w 43922"/>
                                                <a:gd name="connsiteY56" fmla="*/ 36604 h 95299"/>
                                                <a:gd name="connsiteX57" fmla="*/ 28177 w 43922"/>
                                                <a:gd name="connsiteY57" fmla="*/ 37122 h 95299"/>
                                                <a:gd name="connsiteX58" fmla="*/ 23642 w 43922"/>
                                                <a:gd name="connsiteY58" fmla="*/ 47618 h 95299"/>
                                                <a:gd name="connsiteX59" fmla="*/ 24938 w 43922"/>
                                                <a:gd name="connsiteY59" fmla="*/ 55780 h 95299"/>
                                                <a:gd name="connsiteX60" fmla="*/ 25586 w 43922"/>
                                                <a:gd name="connsiteY60" fmla="*/ 58566 h 95299"/>
                                                <a:gd name="connsiteX61" fmla="*/ 26169 w 43922"/>
                                                <a:gd name="connsiteY61" fmla="*/ 62000 h 95299"/>
                                                <a:gd name="connsiteX62" fmla="*/ 23059 w 43922"/>
                                                <a:gd name="connsiteY62" fmla="*/ 61482 h 95299"/>
                                                <a:gd name="connsiteX63" fmla="*/ 18589 w 43922"/>
                                                <a:gd name="connsiteY63" fmla="*/ 63490 h 95299"/>
                                                <a:gd name="connsiteX64" fmla="*/ 17423 w 43922"/>
                                                <a:gd name="connsiteY64" fmla="*/ 68025 h 95299"/>
                                                <a:gd name="connsiteX65" fmla="*/ 16775 w 43922"/>
                                                <a:gd name="connsiteY65" fmla="*/ 82019 h 95299"/>
                                                <a:gd name="connsiteX66" fmla="*/ 14637 w 43922"/>
                                                <a:gd name="connsiteY66" fmla="*/ 90959 h 95299"/>
                                                <a:gd name="connsiteX67" fmla="*/ 14443 w 43922"/>
                                                <a:gd name="connsiteY67" fmla="*/ 91283 h 95299"/>
                                                <a:gd name="connsiteX68" fmla="*/ 7964 w 43922"/>
                                                <a:gd name="connsiteY68" fmla="*/ 80788 h 95299"/>
                                                <a:gd name="connsiteX69" fmla="*/ 2392 w 43922"/>
                                                <a:gd name="connsiteY69" fmla="*/ 77419 h 95299"/>
                                                <a:gd name="connsiteX70" fmla="*/ 13859 w 43922"/>
                                                <a:gd name="connsiteY70" fmla="*/ 52606 h 9529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3922" h="95299">
                                                  <a:moveTo>
                                                    <a:pt x="36211" y="3239"/>
                                                  </a:moveTo>
                                                  <a:cubicBezTo>
                                                    <a:pt x="34721" y="2332"/>
                                                    <a:pt x="33036" y="1425"/>
                                                    <a:pt x="31157" y="583"/>
                                                  </a:cubicBezTo>
                                                  <a:lnTo>
                                                    <a:pt x="30768" y="389"/>
                                                  </a:lnTo>
                                                  <a:lnTo>
                                                    <a:pt x="29797" y="0"/>
                                                  </a:lnTo>
                                                  <a:lnTo>
                                                    <a:pt x="29797" y="7321"/>
                                                  </a:lnTo>
                                                  <a:cubicBezTo>
                                                    <a:pt x="25327" y="8811"/>
                                                    <a:pt x="22541" y="13022"/>
                                                    <a:pt x="20079" y="17233"/>
                                                  </a:cubicBezTo>
                                                  <a:lnTo>
                                                    <a:pt x="14313" y="27016"/>
                                                  </a:lnTo>
                                                  <a:cubicBezTo>
                                                    <a:pt x="11268" y="32134"/>
                                                    <a:pt x="5178" y="44508"/>
                                                    <a:pt x="11786" y="51569"/>
                                                  </a:cubicBezTo>
                                                  <a:cubicBezTo>
                                                    <a:pt x="2975" y="56947"/>
                                                    <a:pt x="-1819" y="68219"/>
                                                    <a:pt x="643" y="78391"/>
                                                  </a:cubicBezTo>
                                                  <a:lnTo>
                                                    <a:pt x="773" y="78844"/>
                                                  </a:lnTo>
                                                  <a:lnTo>
                                                    <a:pt x="1226" y="79038"/>
                                                  </a:lnTo>
                                                  <a:cubicBezTo>
                                                    <a:pt x="1226" y="79038"/>
                                                    <a:pt x="1226" y="79103"/>
                                                    <a:pt x="1356" y="79103"/>
                                                  </a:cubicBezTo>
                                                  <a:cubicBezTo>
                                                    <a:pt x="3494" y="80010"/>
                                                    <a:pt x="5243" y="80982"/>
                                                    <a:pt x="6733" y="82278"/>
                                                  </a:cubicBezTo>
                                                  <a:cubicBezTo>
                                                    <a:pt x="10037" y="84999"/>
                                                    <a:pt x="12240" y="89080"/>
                                                    <a:pt x="12823" y="93486"/>
                                                  </a:cubicBezTo>
                                                  <a:lnTo>
                                                    <a:pt x="13082" y="95300"/>
                                                  </a:lnTo>
                                                  <a:lnTo>
                                                    <a:pt x="13924" y="94587"/>
                                                  </a:lnTo>
                                                  <a:lnTo>
                                                    <a:pt x="13924" y="94457"/>
                                                  </a:lnTo>
                                                  <a:cubicBezTo>
                                                    <a:pt x="13924" y="94457"/>
                                                    <a:pt x="14443" y="94069"/>
                                                    <a:pt x="14443" y="94069"/>
                                                  </a:cubicBezTo>
                                                  <a:cubicBezTo>
                                                    <a:pt x="15090" y="93486"/>
                                                    <a:pt x="15738" y="92838"/>
                                                    <a:pt x="16256" y="92125"/>
                                                  </a:cubicBezTo>
                                                  <a:cubicBezTo>
                                                    <a:pt x="18330" y="89080"/>
                                                    <a:pt x="18524" y="85193"/>
                                                    <a:pt x="18653" y="82148"/>
                                                  </a:cubicBezTo>
                                                  <a:lnTo>
                                                    <a:pt x="19366" y="68090"/>
                                                  </a:lnTo>
                                                  <a:cubicBezTo>
                                                    <a:pt x="19431" y="66924"/>
                                                    <a:pt x="19496" y="65563"/>
                                                    <a:pt x="20144" y="64656"/>
                                                  </a:cubicBezTo>
                                                  <a:cubicBezTo>
                                                    <a:pt x="20727" y="63879"/>
                                                    <a:pt x="21699" y="63425"/>
                                                    <a:pt x="23059" y="63425"/>
                                                  </a:cubicBezTo>
                                                  <a:cubicBezTo>
                                                    <a:pt x="24420" y="63425"/>
                                                    <a:pt x="25780" y="63879"/>
                                                    <a:pt x="26752" y="64203"/>
                                                  </a:cubicBezTo>
                                                  <a:lnTo>
                                                    <a:pt x="27011" y="63490"/>
                                                  </a:lnTo>
                                                  <a:lnTo>
                                                    <a:pt x="27076" y="63490"/>
                                                  </a:lnTo>
                                                  <a:lnTo>
                                                    <a:pt x="27076" y="64332"/>
                                                  </a:lnTo>
                                                  <a:cubicBezTo>
                                                    <a:pt x="27076" y="64332"/>
                                                    <a:pt x="28501" y="64915"/>
                                                    <a:pt x="28501" y="64915"/>
                                                  </a:cubicBezTo>
                                                  <a:lnTo>
                                                    <a:pt x="28371" y="63879"/>
                                                  </a:lnTo>
                                                  <a:lnTo>
                                                    <a:pt x="28371" y="63879"/>
                                                  </a:lnTo>
                                                  <a:cubicBezTo>
                                                    <a:pt x="28371" y="63879"/>
                                                    <a:pt x="28371" y="63296"/>
                                                    <a:pt x="28371" y="63296"/>
                                                  </a:cubicBezTo>
                                                  <a:cubicBezTo>
                                                    <a:pt x="28177" y="61417"/>
                                                    <a:pt x="27918" y="59732"/>
                                                    <a:pt x="27529" y="58178"/>
                                                  </a:cubicBezTo>
                                                  <a:cubicBezTo>
                                                    <a:pt x="27335" y="57206"/>
                                                    <a:pt x="27140" y="56299"/>
                                                    <a:pt x="26881" y="55327"/>
                                                  </a:cubicBezTo>
                                                  <a:cubicBezTo>
                                                    <a:pt x="26298" y="52671"/>
                                                    <a:pt x="25715" y="50144"/>
                                                    <a:pt x="25650" y="47553"/>
                                                  </a:cubicBezTo>
                                                  <a:cubicBezTo>
                                                    <a:pt x="25650" y="43730"/>
                                                    <a:pt x="26946" y="40362"/>
                                                    <a:pt x="29343" y="38677"/>
                                                  </a:cubicBezTo>
                                                  <a:cubicBezTo>
                                                    <a:pt x="29537" y="38547"/>
                                                    <a:pt x="29797" y="38418"/>
                                                    <a:pt x="30056" y="38224"/>
                                                  </a:cubicBezTo>
                                                  <a:cubicBezTo>
                                                    <a:pt x="30768" y="37770"/>
                                                    <a:pt x="31546" y="37252"/>
                                                    <a:pt x="32129" y="36474"/>
                                                  </a:cubicBezTo>
                                                  <a:cubicBezTo>
                                                    <a:pt x="32906" y="35243"/>
                                                    <a:pt x="32906" y="33818"/>
                                                    <a:pt x="32906" y="32587"/>
                                                  </a:cubicBezTo>
                                                  <a:cubicBezTo>
                                                    <a:pt x="32906" y="32134"/>
                                                    <a:pt x="32842" y="31680"/>
                                                    <a:pt x="32906" y="31227"/>
                                                  </a:cubicBezTo>
                                                  <a:cubicBezTo>
                                                    <a:pt x="33165" y="28117"/>
                                                    <a:pt x="35562" y="25720"/>
                                                    <a:pt x="38154" y="23193"/>
                                                  </a:cubicBezTo>
                                                  <a:cubicBezTo>
                                                    <a:pt x="41005" y="20472"/>
                                                    <a:pt x="43855" y="17622"/>
                                                    <a:pt x="43920" y="13670"/>
                                                  </a:cubicBezTo>
                                                  <a:cubicBezTo>
                                                    <a:pt x="44050" y="8811"/>
                                                    <a:pt x="39839" y="5312"/>
                                                    <a:pt x="36275" y="3239"/>
                                                  </a:cubicBezTo>
                                                  <a:close/>
                                                  <a:moveTo>
                                                    <a:pt x="13859" y="52606"/>
                                                  </a:moveTo>
                                                  <a:lnTo>
                                                    <a:pt x="15090" y="51893"/>
                                                  </a:lnTo>
                                                  <a:lnTo>
                                                    <a:pt x="13989" y="50986"/>
                                                  </a:lnTo>
                                                  <a:cubicBezTo>
                                                    <a:pt x="7057" y="45091"/>
                                                    <a:pt x="13082" y="32976"/>
                                                    <a:pt x="15997" y="27987"/>
                                                  </a:cubicBezTo>
                                                  <a:lnTo>
                                                    <a:pt x="21763" y="18205"/>
                                                  </a:lnTo>
                                                  <a:cubicBezTo>
                                                    <a:pt x="24161" y="14123"/>
                                                    <a:pt x="26817" y="10042"/>
                                                    <a:pt x="30963" y="9005"/>
                                                  </a:cubicBezTo>
                                                  <a:lnTo>
                                                    <a:pt x="31675" y="8811"/>
                                                  </a:lnTo>
                                                  <a:lnTo>
                                                    <a:pt x="31675" y="3045"/>
                                                  </a:lnTo>
                                                  <a:cubicBezTo>
                                                    <a:pt x="32971" y="3628"/>
                                                    <a:pt x="34137" y="4211"/>
                                                    <a:pt x="35239" y="4859"/>
                                                  </a:cubicBezTo>
                                                  <a:cubicBezTo>
                                                    <a:pt x="38349" y="6738"/>
                                                    <a:pt x="42041" y="9718"/>
                                                    <a:pt x="41912" y="13605"/>
                                                  </a:cubicBezTo>
                                                  <a:cubicBezTo>
                                                    <a:pt x="41912" y="16844"/>
                                                    <a:pt x="39385" y="19241"/>
                                                    <a:pt x="36729" y="21833"/>
                                                  </a:cubicBezTo>
                                                  <a:cubicBezTo>
                                                    <a:pt x="34008" y="24489"/>
                                                    <a:pt x="31222" y="27210"/>
                                                    <a:pt x="30898" y="31097"/>
                                                  </a:cubicBezTo>
                                                  <a:cubicBezTo>
                                                    <a:pt x="30833" y="31551"/>
                                                    <a:pt x="30898" y="32069"/>
                                                    <a:pt x="30898" y="32587"/>
                                                  </a:cubicBezTo>
                                                  <a:cubicBezTo>
                                                    <a:pt x="30898" y="33688"/>
                                                    <a:pt x="30898" y="34660"/>
                                                    <a:pt x="30445" y="35373"/>
                                                  </a:cubicBezTo>
                                                  <a:cubicBezTo>
                                                    <a:pt x="30121" y="35891"/>
                                                    <a:pt x="29537" y="36215"/>
                                                    <a:pt x="28890" y="36604"/>
                                                  </a:cubicBezTo>
                                                  <a:cubicBezTo>
                                                    <a:pt x="28631" y="36798"/>
                                                    <a:pt x="28436" y="36928"/>
                                                    <a:pt x="28177" y="37122"/>
                                                  </a:cubicBezTo>
                                                  <a:cubicBezTo>
                                                    <a:pt x="25262" y="39195"/>
                                                    <a:pt x="23577" y="43082"/>
                                                    <a:pt x="23642" y="47618"/>
                                                  </a:cubicBezTo>
                                                  <a:cubicBezTo>
                                                    <a:pt x="23707" y="50403"/>
                                                    <a:pt x="24355" y="53124"/>
                                                    <a:pt x="24938" y="55780"/>
                                                  </a:cubicBezTo>
                                                  <a:cubicBezTo>
                                                    <a:pt x="25197" y="56688"/>
                                                    <a:pt x="25391" y="57659"/>
                                                    <a:pt x="25586" y="58566"/>
                                                  </a:cubicBezTo>
                                                  <a:cubicBezTo>
                                                    <a:pt x="25845" y="59668"/>
                                                    <a:pt x="26039" y="60769"/>
                                                    <a:pt x="26169" y="62000"/>
                                                  </a:cubicBezTo>
                                                  <a:cubicBezTo>
                                                    <a:pt x="25262" y="61741"/>
                                                    <a:pt x="24161" y="61482"/>
                                                    <a:pt x="23059" y="61482"/>
                                                  </a:cubicBezTo>
                                                  <a:cubicBezTo>
                                                    <a:pt x="21115" y="61482"/>
                                                    <a:pt x="19561" y="62194"/>
                                                    <a:pt x="18589" y="63490"/>
                                                  </a:cubicBezTo>
                                                  <a:cubicBezTo>
                                                    <a:pt x="17552" y="64851"/>
                                                    <a:pt x="17487" y="66600"/>
                                                    <a:pt x="17423" y="68025"/>
                                                  </a:cubicBezTo>
                                                  <a:lnTo>
                                                    <a:pt x="16775" y="82019"/>
                                                  </a:lnTo>
                                                  <a:cubicBezTo>
                                                    <a:pt x="16580" y="84869"/>
                                                    <a:pt x="16451" y="88432"/>
                                                    <a:pt x="14637" y="90959"/>
                                                  </a:cubicBezTo>
                                                  <a:cubicBezTo>
                                                    <a:pt x="14637" y="91089"/>
                                                    <a:pt x="14507" y="91218"/>
                                                    <a:pt x="14443" y="91283"/>
                                                  </a:cubicBezTo>
                                                  <a:cubicBezTo>
                                                    <a:pt x="13471" y="87202"/>
                                                    <a:pt x="11139" y="83379"/>
                                                    <a:pt x="7964" y="80788"/>
                                                  </a:cubicBezTo>
                                                  <a:cubicBezTo>
                                                    <a:pt x="6474" y="79492"/>
                                                    <a:pt x="4595" y="78391"/>
                                                    <a:pt x="2392" y="77419"/>
                                                  </a:cubicBezTo>
                                                  <a:cubicBezTo>
                                                    <a:pt x="319" y="67766"/>
                                                    <a:pt x="5178" y="57206"/>
                                                    <a:pt x="13859" y="5260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1" name="Freeform: Shape 199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108360D-FB9D-403D-8DCA-7D93A01151F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903511" y="3326046"/>
                                              <a:ext cx="168030" cy="14763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1244 w 168030"/>
                                                <a:gd name="connsiteY0" fmla="*/ 120827 h 147634"/>
                                                <a:gd name="connsiteX1" fmla="*/ 89471 w 168030"/>
                                                <a:gd name="connsiteY1" fmla="*/ 108518 h 147634"/>
                                                <a:gd name="connsiteX2" fmla="*/ 104242 w 168030"/>
                                                <a:gd name="connsiteY2" fmla="*/ 103399 h 147634"/>
                                                <a:gd name="connsiteX3" fmla="*/ 129314 w 168030"/>
                                                <a:gd name="connsiteY3" fmla="*/ 72562 h 147634"/>
                                                <a:gd name="connsiteX4" fmla="*/ 131841 w 168030"/>
                                                <a:gd name="connsiteY4" fmla="*/ 60771 h 147634"/>
                                                <a:gd name="connsiteX5" fmla="*/ 137931 w 168030"/>
                                                <a:gd name="connsiteY5" fmla="*/ 49563 h 147634"/>
                                                <a:gd name="connsiteX6" fmla="*/ 133850 w 168030"/>
                                                <a:gd name="connsiteY6" fmla="*/ 39197 h 147634"/>
                                                <a:gd name="connsiteX7" fmla="*/ 139162 w 168030"/>
                                                <a:gd name="connsiteY7" fmla="*/ 24491 h 147634"/>
                                                <a:gd name="connsiteX8" fmla="*/ 157561 w 168030"/>
                                                <a:gd name="connsiteY8" fmla="*/ 11533 h 147634"/>
                                                <a:gd name="connsiteX9" fmla="*/ 165206 w 168030"/>
                                                <a:gd name="connsiteY9" fmla="*/ 7646 h 147634"/>
                                                <a:gd name="connsiteX10" fmla="*/ 167603 w 168030"/>
                                                <a:gd name="connsiteY10" fmla="*/ 2 h 147634"/>
                                                <a:gd name="connsiteX11" fmla="*/ 140458 w 168030"/>
                                                <a:gd name="connsiteY11" fmla="*/ 9201 h 147634"/>
                                                <a:gd name="connsiteX12" fmla="*/ 127177 w 168030"/>
                                                <a:gd name="connsiteY12" fmla="*/ 9525 h 147634"/>
                                                <a:gd name="connsiteX13" fmla="*/ 106964 w 168030"/>
                                                <a:gd name="connsiteY13" fmla="*/ 19955 h 147634"/>
                                                <a:gd name="connsiteX14" fmla="*/ 90443 w 168030"/>
                                                <a:gd name="connsiteY14" fmla="*/ 19567 h 147634"/>
                                                <a:gd name="connsiteX15" fmla="*/ 34727 w 168030"/>
                                                <a:gd name="connsiteY15" fmla="*/ 17947 h 147634"/>
                                                <a:gd name="connsiteX16" fmla="*/ 30322 w 168030"/>
                                                <a:gd name="connsiteY16" fmla="*/ 19308 h 147634"/>
                                                <a:gd name="connsiteX17" fmla="*/ 28961 w 168030"/>
                                                <a:gd name="connsiteY17" fmla="*/ 22223 h 147634"/>
                                                <a:gd name="connsiteX18" fmla="*/ 13413 w 168030"/>
                                                <a:gd name="connsiteY18" fmla="*/ 33496 h 147634"/>
                                                <a:gd name="connsiteX19" fmla="*/ 12376 w 168030"/>
                                                <a:gd name="connsiteY19" fmla="*/ 39132 h 147634"/>
                                                <a:gd name="connsiteX20" fmla="*/ 6351 w 168030"/>
                                                <a:gd name="connsiteY20" fmla="*/ 46582 h 147634"/>
                                                <a:gd name="connsiteX21" fmla="*/ 6351 w 168030"/>
                                                <a:gd name="connsiteY21" fmla="*/ 50534 h 147634"/>
                                                <a:gd name="connsiteX22" fmla="*/ 6157 w 168030"/>
                                                <a:gd name="connsiteY22" fmla="*/ 80141 h 147634"/>
                                                <a:gd name="connsiteX23" fmla="*/ 11145 w 168030"/>
                                                <a:gd name="connsiteY23" fmla="*/ 82668 h 147634"/>
                                                <a:gd name="connsiteX24" fmla="*/ 18337 w 168030"/>
                                                <a:gd name="connsiteY24" fmla="*/ 92256 h 147634"/>
                                                <a:gd name="connsiteX25" fmla="*/ 7323 w 168030"/>
                                                <a:gd name="connsiteY25" fmla="*/ 109813 h 147634"/>
                                                <a:gd name="connsiteX26" fmla="*/ 6675 w 168030"/>
                                                <a:gd name="connsiteY26" fmla="*/ 114543 h 147634"/>
                                                <a:gd name="connsiteX27" fmla="*/ 4148 w 168030"/>
                                                <a:gd name="connsiteY27" fmla="*/ 116551 h 147634"/>
                                                <a:gd name="connsiteX28" fmla="*/ 2 w 168030"/>
                                                <a:gd name="connsiteY28" fmla="*/ 126269 h 147634"/>
                                                <a:gd name="connsiteX29" fmla="*/ 1946 w 168030"/>
                                                <a:gd name="connsiteY29" fmla="*/ 137023 h 147634"/>
                                                <a:gd name="connsiteX30" fmla="*/ 2723 w 168030"/>
                                                <a:gd name="connsiteY30" fmla="*/ 142077 h 147634"/>
                                                <a:gd name="connsiteX31" fmla="*/ 22029 w 168030"/>
                                                <a:gd name="connsiteY31" fmla="*/ 147389 h 147634"/>
                                                <a:gd name="connsiteX32" fmla="*/ 38614 w 168030"/>
                                                <a:gd name="connsiteY32" fmla="*/ 137801 h 147634"/>
                                                <a:gd name="connsiteX33" fmla="*/ 53191 w 168030"/>
                                                <a:gd name="connsiteY33" fmla="*/ 132812 h 147634"/>
                                                <a:gd name="connsiteX34" fmla="*/ 57338 w 168030"/>
                                                <a:gd name="connsiteY34" fmla="*/ 129573 h 147634"/>
                                                <a:gd name="connsiteX35" fmla="*/ 70295 w 168030"/>
                                                <a:gd name="connsiteY35" fmla="*/ 128472 h 147634"/>
                                                <a:gd name="connsiteX36" fmla="*/ 71007 w 168030"/>
                                                <a:gd name="connsiteY36" fmla="*/ 128925 h 147634"/>
                                                <a:gd name="connsiteX37" fmla="*/ 81179 w 168030"/>
                                                <a:gd name="connsiteY37" fmla="*/ 120632 h 14763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68030" h="147634">
                                                  <a:moveTo>
                                                    <a:pt x="81244" y="120827"/>
                                                  </a:moveTo>
                                                  <a:cubicBezTo>
                                                    <a:pt x="80790" y="115644"/>
                                                    <a:pt x="84807" y="110979"/>
                                                    <a:pt x="89471" y="108518"/>
                                                  </a:cubicBezTo>
                                                  <a:cubicBezTo>
                                                    <a:pt x="94136" y="106056"/>
                                                    <a:pt x="99383" y="105278"/>
                                                    <a:pt x="104242" y="103399"/>
                                                  </a:cubicBezTo>
                                                  <a:cubicBezTo>
                                                    <a:pt x="117264" y="98541"/>
                                                    <a:pt x="127241" y="86296"/>
                                                    <a:pt x="129314" y="72562"/>
                                                  </a:cubicBezTo>
                                                  <a:cubicBezTo>
                                                    <a:pt x="129898" y="68545"/>
                                                    <a:pt x="129963" y="64334"/>
                                                    <a:pt x="131841" y="60771"/>
                                                  </a:cubicBezTo>
                                                  <a:cubicBezTo>
                                                    <a:pt x="133850" y="56948"/>
                                                    <a:pt x="137931" y="53903"/>
                                                    <a:pt x="137931" y="49563"/>
                                                  </a:cubicBezTo>
                                                  <a:cubicBezTo>
                                                    <a:pt x="137931" y="45805"/>
                                                    <a:pt x="134886" y="42825"/>
                                                    <a:pt x="133850" y="39197"/>
                                                  </a:cubicBezTo>
                                                  <a:cubicBezTo>
                                                    <a:pt x="132360" y="33949"/>
                                                    <a:pt x="135534" y="28572"/>
                                                    <a:pt x="139162" y="24491"/>
                                                  </a:cubicBezTo>
                                                  <a:cubicBezTo>
                                                    <a:pt x="144215" y="18854"/>
                                                    <a:pt x="150564" y="14384"/>
                                                    <a:pt x="157561" y="11533"/>
                                                  </a:cubicBezTo>
                                                  <a:cubicBezTo>
                                                    <a:pt x="160217" y="10432"/>
                                                    <a:pt x="163003" y="9525"/>
                                                    <a:pt x="165206" y="7646"/>
                                                  </a:cubicBezTo>
                                                  <a:cubicBezTo>
                                                    <a:pt x="167408" y="5768"/>
                                                    <a:pt x="168769" y="2593"/>
                                                    <a:pt x="167603" y="2"/>
                                                  </a:cubicBezTo>
                                                  <a:cubicBezTo>
                                                    <a:pt x="157950" y="-128"/>
                                                    <a:pt x="150046" y="8100"/>
                                                    <a:pt x="140458" y="9201"/>
                                                  </a:cubicBezTo>
                                                  <a:cubicBezTo>
                                                    <a:pt x="136052" y="9719"/>
                                                    <a:pt x="131517" y="8618"/>
                                                    <a:pt x="127177" y="9525"/>
                                                  </a:cubicBezTo>
                                                  <a:cubicBezTo>
                                                    <a:pt x="119661" y="11015"/>
                                                    <a:pt x="114284" y="17882"/>
                                                    <a:pt x="106964" y="19955"/>
                                                  </a:cubicBezTo>
                                                  <a:cubicBezTo>
                                                    <a:pt x="101651" y="21510"/>
                                                    <a:pt x="95950" y="20344"/>
                                                    <a:pt x="90443" y="19567"/>
                                                  </a:cubicBezTo>
                                                  <a:cubicBezTo>
                                                    <a:pt x="72044" y="16781"/>
                                                    <a:pt x="53321" y="17364"/>
                                                    <a:pt x="34727" y="17947"/>
                                                  </a:cubicBezTo>
                                                  <a:cubicBezTo>
                                                    <a:pt x="33173" y="17947"/>
                                                    <a:pt x="31358" y="18141"/>
                                                    <a:pt x="30322" y="19308"/>
                                                  </a:cubicBezTo>
                                                  <a:cubicBezTo>
                                                    <a:pt x="29610" y="20085"/>
                                                    <a:pt x="29415" y="21251"/>
                                                    <a:pt x="28961" y="22223"/>
                                                  </a:cubicBezTo>
                                                  <a:cubicBezTo>
                                                    <a:pt x="26241" y="28248"/>
                                                    <a:pt x="15875" y="27406"/>
                                                    <a:pt x="13413" y="33496"/>
                                                  </a:cubicBezTo>
                                                  <a:cubicBezTo>
                                                    <a:pt x="12700" y="35310"/>
                                                    <a:pt x="12895" y="37318"/>
                                                    <a:pt x="12376" y="39132"/>
                                                  </a:cubicBezTo>
                                                  <a:cubicBezTo>
                                                    <a:pt x="11534" y="42307"/>
                                                    <a:pt x="9007" y="44574"/>
                                                    <a:pt x="6351" y="46582"/>
                                                  </a:cubicBezTo>
                                                  <a:lnTo>
                                                    <a:pt x="6351" y="50534"/>
                                                  </a:lnTo>
                                                  <a:cubicBezTo>
                                                    <a:pt x="6286" y="60382"/>
                                                    <a:pt x="6222" y="70294"/>
                                                    <a:pt x="6157" y="80141"/>
                                                  </a:cubicBezTo>
                                                  <a:cubicBezTo>
                                                    <a:pt x="7841" y="80919"/>
                                                    <a:pt x="9526" y="81761"/>
                                                    <a:pt x="11145" y="82668"/>
                                                  </a:cubicBezTo>
                                                  <a:cubicBezTo>
                                                    <a:pt x="14773" y="84806"/>
                                                    <a:pt x="18401" y="88045"/>
                                                    <a:pt x="18337" y="92256"/>
                                                  </a:cubicBezTo>
                                                  <a:cubicBezTo>
                                                    <a:pt x="18207" y="99318"/>
                                                    <a:pt x="7841" y="102752"/>
                                                    <a:pt x="7323" y="109813"/>
                                                  </a:cubicBezTo>
                                                  <a:cubicBezTo>
                                                    <a:pt x="7194" y="111433"/>
                                                    <a:pt x="7582" y="113247"/>
                                                    <a:pt x="6675" y="114543"/>
                                                  </a:cubicBezTo>
                                                  <a:cubicBezTo>
                                                    <a:pt x="6092" y="115450"/>
                                                    <a:pt x="5056" y="115903"/>
                                                    <a:pt x="4148" y="116551"/>
                                                  </a:cubicBezTo>
                                                  <a:cubicBezTo>
                                                    <a:pt x="1169" y="118689"/>
                                                    <a:pt x="-62" y="122576"/>
                                                    <a:pt x="2" y="126269"/>
                                                  </a:cubicBezTo>
                                                  <a:cubicBezTo>
                                                    <a:pt x="67" y="129897"/>
                                                    <a:pt x="1169" y="133460"/>
                                                    <a:pt x="1946" y="137023"/>
                                                  </a:cubicBezTo>
                                                  <a:cubicBezTo>
                                                    <a:pt x="2270" y="138708"/>
                                                    <a:pt x="2529" y="140392"/>
                                                    <a:pt x="2723" y="142077"/>
                                                  </a:cubicBezTo>
                                                  <a:cubicBezTo>
                                                    <a:pt x="9072" y="144538"/>
                                                    <a:pt x="15357" y="148685"/>
                                                    <a:pt x="22029" y="147389"/>
                                                  </a:cubicBezTo>
                                                  <a:cubicBezTo>
                                                    <a:pt x="28314" y="146158"/>
                                                    <a:pt x="32719" y="140457"/>
                                                    <a:pt x="38614" y="137801"/>
                                                  </a:cubicBezTo>
                                                  <a:cubicBezTo>
                                                    <a:pt x="43344" y="135728"/>
                                                    <a:pt x="48916" y="135728"/>
                                                    <a:pt x="53191" y="132812"/>
                                                  </a:cubicBezTo>
                                                  <a:cubicBezTo>
                                                    <a:pt x="54617" y="131840"/>
                                                    <a:pt x="55848" y="130545"/>
                                                    <a:pt x="57338" y="129573"/>
                                                  </a:cubicBezTo>
                                                  <a:cubicBezTo>
                                                    <a:pt x="61095" y="126982"/>
                                                    <a:pt x="66148" y="126593"/>
                                                    <a:pt x="70295" y="128472"/>
                                                  </a:cubicBezTo>
                                                  <a:cubicBezTo>
                                                    <a:pt x="70554" y="128601"/>
                                                    <a:pt x="70748" y="128796"/>
                                                    <a:pt x="71007" y="128925"/>
                                                  </a:cubicBezTo>
                                                  <a:cubicBezTo>
                                                    <a:pt x="73340" y="124714"/>
                                                    <a:pt x="76579" y="120892"/>
                                                    <a:pt x="81179" y="12063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2" name="Freeform: Shape 199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25D15E4-37F4-43C7-BE8E-7EA6079C5D4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533230" y="3326632"/>
                                              <a:ext cx="406130" cy="40879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2585 w 406130"/>
                                                <a:gd name="connsiteY0" fmla="*/ 394219 h 408796"/>
                                                <a:gd name="connsiteX1" fmla="*/ 255645 w 406130"/>
                                                <a:gd name="connsiteY1" fmla="*/ 387741 h 408796"/>
                                                <a:gd name="connsiteX2" fmla="*/ 242946 w 406130"/>
                                                <a:gd name="connsiteY2" fmla="*/ 354117 h 408796"/>
                                                <a:gd name="connsiteX3" fmla="*/ 238541 w 406130"/>
                                                <a:gd name="connsiteY3" fmla="*/ 345371 h 408796"/>
                                                <a:gd name="connsiteX4" fmla="*/ 234395 w 406130"/>
                                                <a:gd name="connsiteY4" fmla="*/ 340382 h 408796"/>
                                                <a:gd name="connsiteX5" fmla="*/ 232192 w 406130"/>
                                                <a:gd name="connsiteY5" fmla="*/ 333450 h 408796"/>
                                                <a:gd name="connsiteX6" fmla="*/ 213793 w 406130"/>
                                                <a:gd name="connsiteY6" fmla="*/ 312913 h 408796"/>
                                                <a:gd name="connsiteX7" fmla="*/ 239124 w 406130"/>
                                                <a:gd name="connsiteY7" fmla="*/ 291145 h 408796"/>
                                                <a:gd name="connsiteX8" fmla="*/ 281494 w 406130"/>
                                                <a:gd name="connsiteY8" fmla="*/ 284602 h 408796"/>
                                                <a:gd name="connsiteX9" fmla="*/ 292702 w 406130"/>
                                                <a:gd name="connsiteY9" fmla="*/ 264194 h 408796"/>
                                                <a:gd name="connsiteX10" fmla="*/ 300347 w 406130"/>
                                                <a:gd name="connsiteY10" fmla="*/ 258817 h 408796"/>
                                                <a:gd name="connsiteX11" fmla="*/ 305659 w 406130"/>
                                                <a:gd name="connsiteY11" fmla="*/ 249488 h 408796"/>
                                                <a:gd name="connsiteX12" fmla="*/ 339477 w 406130"/>
                                                <a:gd name="connsiteY12" fmla="*/ 206211 h 408796"/>
                                                <a:gd name="connsiteX13" fmla="*/ 345437 w 406130"/>
                                                <a:gd name="connsiteY13" fmla="*/ 182305 h 408796"/>
                                                <a:gd name="connsiteX14" fmla="*/ 360014 w 406130"/>
                                                <a:gd name="connsiteY14" fmla="*/ 161509 h 408796"/>
                                                <a:gd name="connsiteX15" fmla="*/ 355739 w 406130"/>
                                                <a:gd name="connsiteY15" fmla="*/ 155873 h 408796"/>
                                                <a:gd name="connsiteX16" fmla="*/ 337534 w 406130"/>
                                                <a:gd name="connsiteY16" fmla="*/ 132420 h 408796"/>
                                                <a:gd name="connsiteX17" fmla="*/ 332869 w 406130"/>
                                                <a:gd name="connsiteY17" fmla="*/ 120370 h 408796"/>
                                                <a:gd name="connsiteX18" fmla="*/ 332416 w 406130"/>
                                                <a:gd name="connsiteY18" fmla="*/ 110652 h 408796"/>
                                                <a:gd name="connsiteX19" fmla="*/ 324058 w 406130"/>
                                                <a:gd name="connsiteY19" fmla="*/ 97825 h 408796"/>
                                                <a:gd name="connsiteX20" fmla="*/ 343300 w 406130"/>
                                                <a:gd name="connsiteY20" fmla="*/ 79620 h 408796"/>
                                                <a:gd name="connsiteX21" fmla="*/ 373749 w 406130"/>
                                                <a:gd name="connsiteY21" fmla="*/ 87588 h 408796"/>
                                                <a:gd name="connsiteX22" fmla="*/ 395776 w 406130"/>
                                                <a:gd name="connsiteY22" fmla="*/ 82730 h 408796"/>
                                                <a:gd name="connsiteX23" fmla="*/ 405559 w 406130"/>
                                                <a:gd name="connsiteY23" fmla="*/ 63164 h 408796"/>
                                                <a:gd name="connsiteX24" fmla="*/ 399663 w 406130"/>
                                                <a:gd name="connsiteY24" fmla="*/ 54613 h 408796"/>
                                                <a:gd name="connsiteX25" fmla="*/ 371740 w 406130"/>
                                                <a:gd name="connsiteY25" fmla="*/ 24487 h 408796"/>
                                                <a:gd name="connsiteX26" fmla="*/ 355155 w 406130"/>
                                                <a:gd name="connsiteY26" fmla="*/ 12437 h 408796"/>
                                                <a:gd name="connsiteX27" fmla="*/ 337923 w 406130"/>
                                                <a:gd name="connsiteY27" fmla="*/ 11660 h 408796"/>
                                                <a:gd name="connsiteX28" fmla="*/ 327557 w 406130"/>
                                                <a:gd name="connsiteY28" fmla="*/ 387 h 408796"/>
                                                <a:gd name="connsiteX29" fmla="*/ 307927 w 406130"/>
                                                <a:gd name="connsiteY29" fmla="*/ 16778 h 408796"/>
                                                <a:gd name="connsiteX30" fmla="*/ 280717 w 406130"/>
                                                <a:gd name="connsiteY30" fmla="*/ 27856 h 408796"/>
                                                <a:gd name="connsiteX31" fmla="*/ 262577 w 406130"/>
                                                <a:gd name="connsiteY31" fmla="*/ 87135 h 408796"/>
                                                <a:gd name="connsiteX32" fmla="*/ 234978 w 406130"/>
                                                <a:gd name="connsiteY32" fmla="*/ 101712 h 408796"/>
                                                <a:gd name="connsiteX33" fmla="*/ 240874 w 406130"/>
                                                <a:gd name="connsiteY33" fmla="*/ 125035 h 408796"/>
                                                <a:gd name="connsiteX34" fmla="*/ 229925 w 406130"/>
                                                <a:gd name="connsiteY34" fmla="*/ 133003 h 408796"/>
                                                <a:gd name="connsiteX35" fmla="*/ 211655 w 406130"/>
                                                <a:gd name="connsiteY35" fmla="*/ 171810 h 408796"/>
                                                <a:gd name="connsiteX36" fmla="*/ 175829 w 406130"/>
                                                <a:gd name="connsiteY36" fmla="*/ 179519 h 408796"/>
                                                <a:gd name="connsiteX37" fmla="*/ 168896 w 406130"/>
                                                <a:gd name="connsiteY37" fmla="*/ 182176 h 408796"/>
                                                <a:gd name="connsiteX38" fmla="*/ 160604 w 406130"/>
                                                <a:gd name="connsiteY38" fmla="*/ 193124 h 408796"/>
                                                <a:gd name="connsiteX39" fmla="*/ 148100 w 406130"/>
                                                <a:gd name="connsiteY39" fmla="*/ 194485 h 408796"/>
                                                <a:gd name="connsiteX40" fmla="*/ 136892 w 406130"/>
                                                <a:gd name="connsiteY40" fmla="*/ 208414 h 408796"/>
                                                <a:gd name="connsiteX41" fmla="*/ 131839 w 406130"/>
                                                <a:gd name="connsiteY41" fmla="*/ 226489 h 408796"/>
                                                <a:gd name="connsiteX42" fmla="*/ 98928 w 406130"/>
                                                <a:gd name="connsiteY42" fmla="*/ 238539 h 408796"/>
                                                <a:gd name="connsiteX43" fmla="*/ 0 w 406130"/>
                                                <a:gd name="connsiteY43" fmla="*/ 231089 h 408796"/>
                                                <a:gd name="connsiteX44" fmla="*/ 10107 w 406130"/>
                                                <a:gd name="connsiteY44" fmla="*/ 253440 h 408796"/>
                                                <a:gd name="connsiteX45" fmla="*/ 46905 w 406130"/>
                                                <a:gd name="connsiteY45" fmla="*/ 282010 h 408796"/>
                                                <a:gd name="connsiteX46" fmla="*/ 51893 w 406130"/>
                                                <a:gd name="connsiteY46" fmla="*/ 304102 h 408796"/>
                                                <a:gd name="connsiteX47" fmla="*/ 49108 w 406130"/>
                                                <a:gd name="connsiteY47" fmla="*/ 325352 h 408796"/>
                                                <a:gd name="connsiteX48" fmla="*/ 41787 w 406130"/>
                                                <a:gd name="connsiteY48" fmla="*/ 328462 h 408796"/>
                                                <a:gd name="connsiteX49" fmla="*/ 19889 w 406130"/>
                                                <a:gd name="connsiteY49" fmla="*/ 355154 h 408796"/>
                                                <a:gd name="connsiteX50" fmla="*/ 33559 w 406130"/>
                                                <a:gd name="connsiteY50" fmla="*/ 357745 h 408796"/>
                                                <a:gd name="connsiteX51" fmla="*/ 106119 w 406130"/>
                                                <a:gd name="connsiteY51" fmla="*/ 347962 h 408796"/>
                                                <a:gd name="connsiteX52" fmla="*/ 161252 w 406130"/>
                                                <a:gd name="connsiteY52" fmla="*/ 383724 h 408796"/>
                                                <a:gd name="connsiteX53" fmla="*/ 162483 w 406130"/>
                                                <a:gd name="connsiteY53" fmla="*/ 396940 h 408796"/>
                                                <a:gd name="connsiteX54" fmla="*/ 186777 w 406130"/>
                                                <a:gd name="connsiteY54" fmla="*/ 408796 h 408796"/>
                                                <a:gd name="connsiteX55" fmla="*/ 191766 w 406130"/>
                                                <a:gd name="connsiteY55" fmla="*/ 397394 h 408796"/>
                                                <a:gd name="connsiteX56" fmla="*/ 202391 w 406130"/>
                                                <a:gd name="connsiteY56" fmla="*/ 394155 h 40879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06130" h="408796">
                                                  <a:moveTo>
                                                    <a:pt x="202585" y="394219"/>
                                                  </a:moveTo>
                                                  <a:cubicBezTo>
                                                    <a:pt x="220271" y="392081"/>
                                                    <a:pt x="237958" y="389944"/>
                                                    <a:pt x="255645" y="387741"/>
                                                  </a:cubicBezTo>
                                                  <a:cubicBezTo>
                                                    <a:pt x="251434" y="376533"/>
                                                    <a:pt x="247158" y="365325"/>
                                                    <a:pt x="242946" y="354117"/>
                                                  </a:cubicBezTo>
                                                  <a:cubicBezTo>
                                                    <a:pt x="241780" y="351072"/>
                                                    <a:pt x="240614" y="347898"/>
                                                    <a:pt x="238541" y="345371"/>
                                                  </a:cubicBezTo>
                                                  <a:cubicBezTo>
                                                    <a:pt x="237181" y="343687"/>
                                                    <a:pt x="235496" y="342261"/>
                                                    <a:pt x="234395" y="340382"/>
                                                  </a:cubicBezTo>
                                                  <a:cubicBezTo>
                                                    <a:pt x="233164" y="338309"/>
                                                    <a:pt x="232840" y="335783"/>
                                                    <a:pt x="232192" y="333450"/>
                                                  </a:cubicBezTo>
                                                  <a:cubicBezTo>
                                                    <a:pt x="229795" y="324251"/>
                                                    <a:pt x="222733" y="316347"/>
                                                    <a:pt x="213793" y="312913"/>
                                                  </a:cubicBezTo>
                                                  <a:cubicBezTo>
                                                    <a:pt x="217292" y="301705"/>
                                                    <a:pt x="227528" y="292894"/>
                                                    <a:pt x="239124" y="291145"/>
                                                  </a:cubicBezTo>
                                                  <a:cubicBezTo>
                                                    <a:pt x="253701" y="288878"/>
                                                    <a:pt x="271906" y="295875"/>
                                                    <a:pt x="281494" y="284602"/>
                                                  </a:cubicBezTo>
                                                  <a:cubicBezTo>
                                                    <a:pt x="286547" y="278642"/>
                                                    <a:pt x="286806" y="269377"/>
                                                    <a:pt x="292702" y="264194"/>
                                                  </a:cubicBezTo>
                                                  <a:cubicBezTo>
                                                    <a:pt x="295034" y="262121"/>
                                                    <a:pt x="298079" y="260955"/>
                                                    <a:pt x="300347" y="258817"/>
                                                  </a:cubicBezTo>
                                                  <a:cubicBezTo>
                                                    <a:pt x="302938" y="256291"/>
                                                    <a:pt x="304299" y="252792"/>
                                                    <a:pt x="305659" y="249488"/>
                                                  </a:cubicBezTo>
                                                  <a:cubicBezTo>
                                                    <a:pt x="312850" y="232449"/>
                                                    <a:pt x="324642" y="217354"/>
                                                    <a:pt x="339477" y="206211"/>
                                                  </a:cubicBezTo>
                                                  <a:cubicBezTo>
                                                    <a:pt x="336886" y="197983"/>
                                                    <a:pt x="339283" y="188395"/>
                                                    <a:pt x="345437" y="182305"/>
                                                  </a:cubicBezTo>
                                                  <a:cubicBezTo>
                                                    <a:pt x="351916" y="175956"/>
                                                    <a:pt x="363189" y="169996"/>
                                                    <a:pt x="360014" y="161509"/>
                                                  </a:cubicBezTo>
                                                  <a:cubicBezTo>
                                                    <a:pt x="359172" y="159306"/>
                                                    <a:pt x="357423" y="157557"/>
                                                    <a:pt x="355739" y="155873"/>
                                                  </a:cubicBezTo>
                                                  <a:cubicBezTo>
                                                    <a:pt x="348742" y="148811"/>
                                                    <a:pt x="342652" y="140907"/>
                                                    <a:pt x="337534" y="132420"/>
                                                  </a:cubicBezTo>
                                                  <a:cubicBezTo>
                                                    <a:pt x="335331" y="128663"/>
                                                    <a:pt x="333258" y="124711"/>
                                                    <a:pt x="332869" y="120370"/>
                                                  </a:cubicBezTo>
                                                  <a:cubicBezTo>
                                                    <a:pt x="332610" y="117131"/>
                                                    <a:pt x="333323" y="113762"/>
                                                    <a:pt x="332416" y="110652"/>
                                                  </a:cubicBezTo>
                                                  <a:cubicBezTo>
                                                    <a:pt x="330990" y="105729"/>
                                                    <a:pt x="325872" y="102619"/>
                                                    <a:pt x="324058" y="97825"/>
                                                  </a:cubicBezTo>
                                                  <a:cubicBezTo>
                                                    <a:pt x="320365" y="87977"/>
                                                    <a:pt x="332805" y="78907"/>
                                                    <a:pt x="343300" y="79620"/>
                                                  </a:cubicBezTo>
                                                  <a:cubicBezTo>
                                                    <a:pt x="353795" y="80333"/>
                                                    <a:pt x="363318" y="86293"/>
                                                    <a:pt x="373749" y="87588"/>
                                                  </a:cubicBezTo>
                                                  <a:cubicBezTo>
                                                    <a:pt x="381329" y="88496"/>
                                                    <a:pt x="389298" y="86746"/>
                                                    <a:pt x="395776" y="82730"/>
                                                  </a:cubicBezTo>
                                                  <a:cubicBezTo>
                                                    <a:pt x="402449" y="78583"/>
                                                    <a:pt x="407956" y="70680"/>
                                                    <a:pt x="405559" y="63164"/>
                                                  </a:cubicBezTo>
                                                  <a:cubicBezTo>
                                                    <a:pt x="404522" y="59860"/>
                                                    <a:pt x="402061" y="57139"/>
                                                    <a:pt x="399663" y="54613"/>
                                                  </a:cubicBezTo>
                                                  <a:cubicBezTo>
                                                    <a:pt x="390334" y="44571"/>
                                                    <a:pt x="381070" y="34529"/>
                                                    <a:pt x="371740" y="24487"/>
                                                  </a:cubicBezTo>
                                                  <a:cubicBezTo>
                                                    <a:pt x="367011" y="19434"/>
                                                    <a:pt x="361893" y="14057"/>
                                                    <a:pt x="355155" y="12437"/>
                                                  </a:cubicBezTo>
                                                  <a:cubicBezTo>
                                                    <a:pt x="349584" y="11077"/>
                                                    <a:pt x="343624" y="12437"/>
                                                    <a:pt x="337923" y="11660"/>
                                                  </a:cubicBezTo>
                                                  <a:cubicBezTo>
                                                    <a:pt x="332221" y="10818"/>
                                                    <a:pt x="326131" y="5959"/>
                                                    <a:pt x="327557" y="387"/>
                                                  </a:cubicBezTo>
                                                  <a:cubicBezTo>
                                                    <a:pt x="318876" y="-2399"/>
                                                    <a:pt x="314600" y="10558"/>
                                                    <a:pt x="307927" y="16778"/>
                                                  </a:cubicBezTo>
                                                  <a:cubicBezTo>
                                                    <a:pt x="300671" y="23516"/>
                                                    <a:pt x="288880" y="22285"/>
                                                    <a:pt x="280717" y="27856"/>
                                                  </a:cubicBezTo>
                                                  <a:cubicBezTo>
                                                    <a:pt x="263095" y="39841"/>
                                                    <a:pt x="275275" y="70032"/>
                                                    <a:pt x="262577" y="87135"/>
                                                  </a:cubicBezTo>
                                                  <a:cubicBezTo>
                                                    <a:pt x="256293" y="95687"/>
                                                    <a:pt x="245214" y="98991"/>
                                                    <a:pt x="234978" y="101712"/>
                                                  </a:cubicBezTo>
                                                  <a:cubicBezTo>
                                                    <a:pt x="229860" y="108449"/>
                                                    <a:pt x="243271" y="116872"/>
                                                    <a:pt x="240874" y="125035"/>
                                                  </a:cubicBezTo>
                                                  <a:cubicBezTo>
                                                    <a:pt x="239513" y="129505"/>
                                                    <a:pt x="234201" y="131125"/>
                                                    <a:pt x="229925" y="133003"/>
                                                  </a:cubicBezTo>
                                                  <a:cubicBezTo>
                                                    <a:pt x="215607" y="139288"/>
                                                    <a:pt x="207379" y="156780"/>
                                                    <a:pt x="211655" y="171810"/>
                                                  </a:cubicBezTo>
                                                  <a:cubicBezTo>
                                                    <a:pt x="199734" y="174402"/>
                                                    <a:pt x="187814" y="176928"/>
                                                    <a:pt x="175829" y="179519"/>
                                                  </a:cubicBezTo>
                                                  <a:cubicBezTo>
                                                    <a:pt x="173367" y="180038"/>
                                                    <a:pt x="170840" y="180621"/>
                                                    <a:pt x="168896" y="182176"/>
                                                  </a:cubicBezTo>
                                                  <a:cubicBezTo>
                                                    <a:pt x="165333" y="185091"/>
                                                    <a:pt x="164621" y="190792"/>
                                                    <a:pt x="160604" y="193124"/>
                                                  </a:cubicBezTo>
                                                  <a:cubicBezTo>
                                                    <a:pt x="156976" y="195263"/>
                                                    <a:pt x="152246" y="193643"/>
                                                    <a:pt x="148100" y="194485"/>
                                                  </a:cubicBezTo>
                                                  <a:cubicBezTo>
                                                    <a:pt x="141946" y="195781"/>
                                                    <a:pt x="138383" y="202259"/>
                                                    <a:pt x="136892" y="208414"/>
                                                  </a:cubicBezTo>
                                                  <a:cubicBezTo>
                                                    <a:pt x="135402" y="214504"/>
                                                    <a:pt x="135078" y="221112"/>
                                                    <a:pt x="131839" y="226489"/>
                                                  </a:cubicBezTo>
                                                  <a:cubicBezTo>
                                                    <a:pt x="125490" y="236920"/>
                                                    <a:pt x="111173" y="238474"/>
                                                    <a:pt x="98928" y="238539"/>
                                                  </a:cubicBezTo>
                                                  <a:cubicBezTo>
                                                    <a:pt x="65823" y="238669"/>
                                                    <a:pt x="32717" y="236142"/>
                                                    <a:pt x="0" y="231089"/>
                                                  </a:cubicBezTo>
                                                  <a:cubicBezTo>
                                                    <a:pt x="907" y="239122"/>
                                                    <a:pt x="4730" y="247350"/>
                                                    <a:pt x="10107" y="253440"/>
                                                  </a:cubicBezTo>
                                                  <a:cubicBezTo>
                                                    <a:pt x="20473" y="265037"/>
                                                    <a:pt x="34984" y="271969"/>
                                                    <a:pt x="46905" y="282010"/>
                                                  </a:cubicBezTo>
                                                  <a:cubicBezTo>
                                                    <a:pt x="45091" y="289461"/>
                                                    <a:pt x="49173" y="296911"/>
                                                    <a:pt x="51893" y="304102"/>
                                                  </a:cubicBezTo>
                                                  <a:cubicBezTo>
                                                    <a:pt x="54615" y="311294"/>
                                                    <a:pt x="55392" y="320817"/>
                                                    <a:pt x="49108" y="325352"/>
                                                  </a:cubicBezTo>
                                                  <a:cubicBezTo>
                                                    <a:pt x="46970" y="326907"/>
                                                    <a:pt x="44314" y="327555"/>
                                                    <a:pt x="41787" y="328462"/>
                                                  </a:cubicBezTo>
                                                  <a:cubicBezTo>
                                                    <a:pt x="30449" y="332608"/>
                                                    <a:pt x="22351" y="343363"/>
                                                    <a:pt x="19889" y="355154"/>
                                                  </a:cubicBezTo>
                                                  <a:cubicBezTo>
                                                    <a:pt x="24359" y="356385"/>
                                                    <a:pt x="28895" y="357291"/>
                                                    <a:pt x="33559" y="357745"/>
                                                  </a:cubicBezTo>
                                                  <a:cubicBezTo>
                                                    <a:pt x="57918" y="360142"/>
                                                    <a:pt x="81695" y="349712"/>
                                                    <a:pt x="106119" y="347962"/>
                                                  </a:cubicBezTo>
                                                  <a:cubicBezTo>
                                                    <a:pt x="130543" y="346213"/>
                                                    <a:pt x="160280" y="359235"/>
                                                    <a:pt x="161252" y="383724"/>
                                                  </a:cubicBezTo>
                                                  <a:cubicBezTo>
                                                    <a:pt x="161446" y="388194"/>
                                                    <a:pt x="160604" y="392859"/>
                                                    <a:pt x="162483" y="396940"/>
                                                  </a:cubicBezTo>
                                                  <a:cubicBezTo>
                                                    <a:pt x="166240" y="405363"/>
                                                    <a:pt x="177837" y="405686"/>
                                                    <a:pt x="186777" y="408796"/>
                                                  </a:cubicBezTo>
                                                  <a:cubicBezTo>
                                                    <a:pt x="186972" y="404261"/>
                                                    <a:pt x="188073" y="400180"/>
                                                    <a:pt x="191766" y="397394"/>
                                                  </a:cubicBezTo>
                                                  <a:cubicBezTo>
                                                    <a:pt x="194746" y="395126"/>
                                                    <a:pt x="198633" y="394608"/>
                                                    <a:pt x="202391" y="39415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3" name="Freeform: Shape 199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BF96C9D-5042-4F5F-BF04-4E05924FE44F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526492" y="3299368"/>
                                              <a:ext cx="284085" cy="26574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77542 w 284085"/>
                                                <a:gd name="connsiteY0" fmla="*/ 18581 h 265743"/>
                                                <a:gd name="connsiteX1" fmla="*/ 270286 w 284085"/>
                                                <a:gd name="connsiteY1" fmla="*/ 16703 h 265743"/>
                                                <a:gd name="connsiteX2" fmla="*/ 269833 w 284085"/>
                                                <a:gd name="connsiteY2" fmla="*/ 7698 h 265743"/>
                                                <a:gd name="connsiteX3" fmla="*/ 265945 w 284085"/>
                                                <a:gd name="connsiteY3" fmla="*/ 182 h 265743"/>
                                                <a:gd name="connsiteX4" fmla="*/ 259402 w 284085"/>
                                                <a:gd name="connsiteY4" fmla="*/ 3616 h 265743"/>
                                                <a:gd name="connsiteX5" fmla="*/ 258236 w 284085"/>
                                                <a:gd name="connsiteY5" fmla="*/ 11520 h 265743"/>
                                                <a:gd name="connsiteX6" fmla="*/ 249490 w 284085"/>
                                                <a:gd name="connsiteY6" fmla="*/ 13787 h 265743"/>
                                                <a:gd name="connsiteX7" fmla="*/ 242882 w 284085"/>
                                                <a:gd name="connsiteY7" fmla="*/ 21173 h 265743"/>
                                                <a:gd name="connsiteX8" fmla="*/ 232321 w 284085"/>
                                                <a:gd name="connsiteY8" fmla="*/ 26291 h 265743"/>
                                                <a:gd name="connsiteX9" fmla="*/ 230896 w 284085"/>
                                                <a:gd name="connsiteY9" fmla="*/ 30243 h 265743"/>
                                                <a:gd name="connsiteX10" fmla="*/ 224807 w 284085"/>
                                                <a:gd name="connsiteY10" fmla="*/ 35296 h 265743"/>
                                                <a:gd name="connsiteX11" fmla="*/ 192738 w 284085"/>
                                                <a:gd name="connsiteY11" fmla="*/ 48577 h 265743"/>
                                                <a:gd name="connsiteX12" fmla="*/ 184574 w 284085"/>
                                                <a:gd name="connsiteY12" fmla="*/ 35102 h 265743"/>
                                                <a:gd name="connsiteX13" fmla="*/ 175505 w 284085"/>
                                                <a:gd name="connsiteY13" fmla="*/ 36203 h 265743"/>
                                                <a:gd name="connsiteX14" fmla="*/ 170905 w 284085"/>
                                                <a:gd name="connsiteY14" fmla="*/ 30437 h 265743"/>
                                                <a:gd name="connsiteX15" fmla="*/ 156458 w 284085"/>
                                                <a:gd name="connsiteY15" fmla="*/ 22922 h 265743"/>
                                                <a:gd name="connsiteX16" fmla="*/ 139808 w 284085"/>
                                                <a:gd name="connsiteY16" fmla="*/ 25643 h 265743"/>
                                                <a:gd name="connsiteX17" fmla="*/ 121538 w 284085"/>
                                                <a:gd name="connsiteY17" fmla="*/ 30696 h 265743"/>
                                                <a:gd name="connsiteX18" fmla="*/ 115448 w 284085"/>
                                                <a:gd name="connsiteY18" fmla="*/ 33806 h 265743"/>
                                                <a:gd name="connsiteX19" fmla="*/ 112209 w 284085"/>
                                                <a:gd name="connsiteY19" fmla="*/ 40997 h 265743"/>
                                                <a:gd name="connsiteX20" fmla="*/ 98474 w 284085"/>
                                                <a:gd name="connsiteY20" fmla="*/ 50521 h 265743"/>
                                                <a:gd name="connsiteX21" fmla="*/ 98798 w 284085"/>
                                                <a:gd name="connsiteY21" fmla="*/ 56416 h 265743"/>
                                                <a:gd name="connsiteX22" fmla="*/ 84480 w 284085"/>
                                                <a:gd name="connsiteY22" fmla="*/ 65681 h 265743"/>
                                                <a:gd name="connsiteX23" fmla="*/ 72107 w 284085"/>
                                                <a:gd name="connsiteY23" fmla="*/ 76500 h 265743"/>
                                                <a:gd name="connsiteX24" fmla="*/ 57854 w 284085"/>
                                                <a:gd name="connsiteY24" fmla="*/ 85699 h 265743"/>
                                                <a:gd name="connsiteX25" fmla="*/ 57983 w 284085"/>
                                                <a:gd name="connsiteY25" fmla="*/ 94057 h 265743"/>
                                                <a:gd name="connsiteX26" fmla="*/ 54096 w 284085"/>
                                                <a:gd name="connsiteY26" fmla="*/ 100730 h 265743"/>
                                                <a:gd name="connsiteX27" fmla="*/ 42953 w 284085"/>
                                                <a:gd name="connsiteY27" fmla="*/ 94705 h 265743"/>
                                                <a:gd name="connsiteX28" fmla="*/ 35373 w 284085"/>
                                                <a:gd name="connsiteY28" fmla="*/ 94834 h 265743"/>
                                                <a:gd name="connsiteX29" fmla="*/ 23971 w 284085"/>
                                                <a:gd name="connsiteY29" fmla="*/ 84987 h 265743"/>
                                                <a:gd name="connsiteX30" fmla="*/ 13929 w 284085"/>
                                                <a:gd name="connsiteY30" fmla="*/ 85764 h 265743"/>
                                                <a:gd name="connsiteX31" fmla="*/ 12504 w 284085"/>
                                                <a:gd name="connsiteY31" fmla="*/ 100276 h 265743"/>
                                                <a:gd name="connsiteX32" fmla="*/ 0 w 284085"/>
                                                <a:gd name="connsiteY32" fmla="*/ 120101 h 265743"/>
                                                <a:gd name="connsiteX33" fmla="*/ 2980 w 284085"/>
                                                <a:gd name="connsiteY33" fmla="*/ 181971 h 265743"/>
                                                <a:gd name="connsiteX34" fmla="*/ 7710 w 284085"/>
                                                <a:gd name="connsiteY34" fmla="*/ 199269 h 265743"/>
                                                <a:gd name="connsiteX35" fmla="*/ 29283 w 284085"/>
                                                <a:gd name="connsiteY35" fmla="*/ 217150 h 265743"/>
                                                <a:gd name="connsiteX36" fmla="*/ 12698 w 284085"/>
                                                <a:gd name="connsiteY36" fmla="*/ 238335 h 265743"/>
                                                <a:gd name="connsiteX37" fmla="*/ 6997 w 284085"/>
                                                <a:gd name="connsiteY37" fmla="*/ 258289 h 265743"/>
                                                <a:gd name="connsiteX38" fmla="*/ 105925 w 284085"/>
                                                <a:gd name="connsiteY38" fmla="*/ 265739 h 265743"/>
                                                <a:gd name="connsiteX39" fmla="*/ 138836 w 284085"/>
                                                <a:gd name="connsiteY39" fmla="*/ 253689 h 265743"/>
                                                <a:gd name="connsiteX40" fmla="*/ 143889 w 284085"/>
                                                <a:gd name="connsiteY40" fmla="*/ 235614 h 265743"/>
                                                <a:gd name="connsiteX41" fmla="*/ 155097 w 284085"/>
                                                <a:gd name="connsiteY41" fmla="*/ 221685 h 265743"/>
                                                <a:gd name="connsiteX42" fmla="*/ 167601 w 284085"/>
                                                <a:gd name="connsiteY42" fmla="*/ 220324 h 265743"/>
                                                <a:gd name="connsiteX43" fmla="*/ 175893 w 284085"/>
                                                <a:gd name="connsiteY43" fmla="*/ 209375 h 265743"/>
                                                <a:gd name="connsiteX44" fmla="*/ 182825 w 284085"/>
                                                <a:gd name="connsiteY44" fmla="*/ 206719 h 265743"/>
                                                <a:gd name="connsiteX45" fmla="*/ 218652 w 284085"/>
                                                <a:gd name="connsiteY45" fmla="*/ 199010 h 265743"/>
                                                <a:gd name="connsiteX46" fmla="*/ 236921 w 284085"/>
                                                <a:gd name="connsiteY46" fmla="*/ 160203 h 265743"/>
                                                <a:gd name="connsiteX47" fmla="*/ 247870 w 284085"/>
                                                <a:gd name="connsiteY47" fmla="*/ 152234 h 265743"/>
                                                <a:gd name="connsiteX48" fmla="*/ 241975 w 284085"/>
                                                <a:gd name="connsiteY48" fmla="*/ 128912 h 265743"/>
                                                <a:gd name="connsiteX49" fmla="*/ 269573 w 284085"/>
                                                <a:gd name="connsiteY49" fmla="*/ 114335 h 265743"/>
                                                <a:gd name="connsiteX50" fmla="*/ 284086 w 284085"/>
                                                <a:gd name="connsiteY50" fmla="*/ 58230 h 265743"/>
                                                <a:gd name="connsiteX51" fmla="*/ 281494 w 284085"/>
                                                <a:gd name="connsiteY51" fmla="*/ 43394 h 265743"/>
                                                <a:gd name="connsiteX52" fmla="*/ 277607 w 284085"/>
                                                <a:gd name="connsiteY52" fmla="*/ 18517 h 26574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84085" h="265743">
                                                  <a:moveTo>
                                                    <a:pt x="277542" y="18581"/>
                                                  </a:moveTo>
                                                  <a:cubicBezTo>
                                                    <a:pt x="275793" y="21108"/>
                                                    <a:pt x="271517" y="19489"/>
                                                    <a:pt x="270286" y="16703"/>
                                                  </a:cubicBezTo>
                                                  <a:cubicBezTo>
                                                    <a:pt x="269055" y="13917"/>
                                                    <a:pt x="269768" y="10742"/>
                                                    <a:pt x="269833" y="7698"/>
                                                  </a:cubicBezTo>
                                                  <a:cubicBezTo>
                                                    <a:pt x="269833" y="4653"/>
                                                    <a:pt x="268796" y="1089"/>
                                                    <a:pt x="265945" y="182"/>
                                                  </a:cubicBezTo>
                                                  <a:cubicBezTo>
                                                    <a:pt x="263354" y="-595"/>
                                                    <a:pt x="260568" y="1219"/>
                                                    <a:pt x="259402" y="3616"/>
                                                  </a:cubicBezTo>
                                                  <a:cubicBezTo>
                                                    <a:pt x="258236" y="6013"/>
                                                    <a:pt x="258236" y="8864"/>
                                                    <a:pt x="258236" y="11520"/>
                                                  </a:cubicBezTo>
                                                  <a:cubicBezTo>
                                                    <a:pt x="255580" y="9512"/>
                                                    <a:pt x="251693" y="11326"/>
                                                    <a:pt x="249490" y="13787"/>
                                                  </a:cubicBezTo>
                                                  <a:cubicBezTo>
                                                    <a:pt x="247287" y="16314"/>
                                                    <a:pt x="245797" y="19489"/>
                                                    <a:pt x="242882" y="21173"/>
                                                  </a:cubicBezTo>
                                                  <a:cubicBezTo>
                                                    <a:pt x="239448" y="23181"/>
                                                    <a:pt x="234330" y="22857"/>
                                                    <a:pt x="232321" y="26291"/>
                                                  </a:cubicBezTo>
                                                  <a:cubicBezTo>
                                                    <a:pt x="231609" y="27522"/>
                                                    <a:pt x="231479" y="29012"/>
                                                    <a:pt x="230896" y="30243"/>
                                                  </a:cubicBezTo>
                                                  <a:cubicBezTo>
                                                    <a:pt x="229795" y="32705"/>
                                                    <a:pt x="227204" y="34065"/>
                                                    <a:pt x="224807" y="35296"/>
                                                  </a:cubicBezTo>
                                                  <a:cubicBezTo>
                                                    <a:pt x="214441" y="40544"/>
                                                    <a:pt x="204010" y="45856"/>
                                                    <a:pt x="192738" y="48577"/>
                                                  </a:cubicBezTo>
                                                  <a:cubicBezTo>
                                                    <a:pt x="192349" y="42811"/>
                                                    <a:pt x="190340" y="35296"/>
                                                    <a:pt x="184574" y="35102"/>
                                                  </a:cubicBezTo>
                                                  <a:cubicBezTo>
                                                    <a:pt x="181465" y="35037"/>
                                                    <a:pt x="178355" y="37305"/>
                                                    <a:pt x="175505" y="36203"/>
                                                  </a:cubicBezTo>
                                                  <a:cubicBezTo>
                                                    <a:pt x="173172" y="35296"/>
                                                    <a:pt x="172201" y="32575"/>
                                                    <a:pt x="170905" y="30437"/>
                                                  </a:cubicBezTo>
                                                  <a:cubicBezTo>
                                                    <a:pt x="167924" y="25643"/>
                                                    <a:pt x="162094" y="23246"/>
                                                    <a:pt x="156458" y="22922"/>
                                                  </a:cubicBezTo>
                                                  <a:cubicBezTo>
                                                    <a:pt x="150821" y="22598"/>
                                                    <a:pt x="145249" y="24153"/>
                                                    <a:pt x="139808" y="25643"/>
                                                  </a:cubicBezTo>
                                                  <a:cubicBezTo>
                                                    <a:pt x="133718" y="27328"/>
                                                    <a:pt x="127628" y="29012"/>
                                                    <a:pt x="121538" y="30696"/>
                                                  </a:cubicBezTo>
                                                  <a:cubicBezTo>
                                                    <a:pt x="119271" y="31344"/>
                                                    <a:pt x="116873" y="32057"/>
                                                    <a:pt x="115448" y="33806"/>
                                                  </a:cubicBezTo>
                                                  <a:cubicBezTo>
                                                    <a:pt x="113764" y="35879"/>
                                                    <a:pt x="113699" y="38859"/>
                                                    <a:pt x="112209" y="40997"/>
                                                  </a:cubicBezTo>
                                                  <a:cubicBezTo>
                                                    <a:pt x="108840" y="45662"/>
                                                    <a:pt x="99899" y="44949"/>
                                                    <a:pt x="98474" y="50521"/>
                                                  </a:cubicBezTo>
                                                  <a:cubicBezTo>
                                                    <a:pt x="97956" y="52464"/>
                                                    <a:pt x="98669" y="54473"/>
                                                    <a:pt x="98798" y="56416"/>
                                                  </a:cubicBezTo>
                                                  <a:cubicBezTo>
                                                    <a:pt x="99122" y="63284"/>
                                                    <a:pt x="90635" y="68790"/>
                                                    <a:pt x="84480" y="65681"/>
                                                  </a:cubicBezTo>
                                                  <a:cubicBezTo>
                                                    <a:pt x="84740" y="71641"/>
                                                    <a:pt x="77873" y="75075"/>
                                                    <a:pt x="72107" y="76500"/>
                                                  </a:cubicBezTo>
                                                  <a:cubicBezTo>
                                                    <a:pt x="66341" y="77925"/>
                                                    <a:pt x="59344" y="79934"/>
                                                    <a:pt x="57854" y="85699"/>
                                                  </a:cubicBezTo>
                                                  <a:cubicBezTo>
                                                    <a:pt x="57141" y="88420"/>
                                                    <a:pt x="57918" y="91271"/>
                                                    <a:pt x="57983" y="94057"/>
                                                  </a:cubicBezTo>
                                                  <a:cubicBezTo>
                                                    <a:pt x="57983" y="96843"/>
                                                    <a:pt x="56817" y="100147"/>
                                                    <a:pt x="54096" y="100730"/>
                                                  </a:cubicBezTo>
                                                  <a:cubicBezTo>
                                                    <a:pt x="49820" y="101701"/>
                                                    <a:pt x="47229" y="95741"/>
                                                    <a:pt x="42953" y="94705"/>
                                                  </a:cubicBezTo>
                                                  <a:cubicBezTo>
                                                    <a:pt x="40491" y="94122"/>
                                                    <a:pt x="37900" y="95288"/>
                                                    <a:pt x="35373" y="94834"/>
                                                  </a:cubicBezTo>
                                                  <a:cubicBezTo>
                                                    <a:pt x="30320" y="93927"/>
                                                    <a:pt x="28506" y="87384"/>
                                                    <a:pt x="23971" y="84987"/>
                                                  </a:cubicBezTo>
                                                  <a:cubicBezTo>
                                                    <a:pt x="20861" y="83302"/>
                                                    <a:pt x="17104" y="84015"/>
                                                    <a:pt x="13929" y="85764"/>
                                                  </a:cubicBezTo>
                                                  <a:cubicBezTo>
                                                    <a:pt x="13476" y="90623"/>
                                                    <a:pt x="12957" y="95482"/>
                                                    <a:pt x="12504" y="100276"/>
                                                  </a:cubicBezTo>
                                                  <a:cubicBezTo>
                                                    <a:pt x="11661" y="108763"/>
                                                    <a:pt x="8552" y="119647"/>
                                                    <a:pt x="0" y="120101"/>
                                                  </a:cubicBezTo>
                                                  <a:cubicBezTo>
                                                    <a:pt x="972" y="140703"/>
                                                    <a:pt x="2008" y="161369"/>
                                                    <a:pt x="2980" y="181971"/>
                                                  </a:cubicBezTo>
                                                  <a:cubicBezTo>
                                                    <a:pt x="3304" y="188061"/>
                                                    <a:pt x="3758" y="194604"/>
                                                    <a:pt x="7710" y="199269"/>
                                                  </a:cubicBezTo>
                                                  <a:cubicBezTo>
                                                    <a:pt x="13994" y="206590"/>
                                                    <a:pt x="27728" y="207626"/>
                                                    <a:pt x="29283" y="217150"/>
                                                  </a:cubicBezTo>
                                                  <a:cubicBezTo>
                                                    <a:pt x="30838" y="226414"/>
                                                    <a:pt x="19047" y="231467"/>
                                                    <a:pt x="12698" y="238335"/>
                                                  </a:cubicBezTo>
                                                  <a:cubicBezTo>
                                                    <a:pt x="7710" y="243777"/>
                                                    <a:pt x="6220" y="250968"/>
                                                    <a:pt x="6997" y="258289"/>
                                                  </a:cubicBezTo>
                                                  <a:cubicBezTo>
                                                    <a:pt x="39714" y="263342"/>
                                                    <a:pt x="72819" y="265869"/>
                                                    <a:pt x="105925" y="265739"/>
                                                  </a:cubicBezTo>
                                                  <a:cubicBezTo>
                                                    <a:pt x="118169" y="265739"/>
                                                    <a:pt x="132487" y="264119"/>
                                                    <a:pt x="138836" y="253689"/>
                                                  </a:cubicBezTo>
                                                  <a:cubicBezTo>
                                                    <a:pt x="142075" y="248312"/>
                                                    <a:pt x="142399" y="241704"/>
                                                    <a:pt x="143889" y="235614"/>
                                                  </a:cubicBezTo>
                                                  <a:cubicBezTo>
                                                    <a:pt x="145379" y="229524"/>
                                                    <a:pt x="148942" y="222980"/>
                                                    <a:pt x="155097" y="221685"/>
                                                  </a:cubicBezTo>
                                                  <a:cubicBezTo>
                                                    <a:pt x="159243" y="220778"/>
                                                    <a:pt x="163908" y="222462"/>
                                                    <a:pt x="167601" y="220324"/>
                                                  </a:cubicBezTo>
                                                  <a:cubicBezTo>
                                                    <a:pt x="171617" y="217992"/>
                                                    <a:pt x="172265" y="212291"/>
                                                    <a:pt x="175893" y="209375"/>
                                                  </a:cubicBezTo>
                                                  <a:cubicBezTo>
                                                    <a:pt x="177837" y="207821"/>
                                                    <a:pt x="180364" y="207237"/>
                                                    <a:pt x="182825" y="206719"/>
                                                  </a:cubicBezTo>
                                                  <a:cubicBezTo>
                                                    <a:pt x="194746" y="204128"/>
                                                    <a:pt x="206667" y="201601"/>
                                                    <a:pt x="218652" y="199010"/>
                                                  </a:cubicBezTo>
                                                  <a:cubicBezTo>
                                                    <a:pt x="214376" y="183979"/>
                                                    <a:pt x="222604" y="166423"/>
                                                    <a:pt x="236921" y="160203"/>
                                                  </a:cubicBezTo>
                                                  <a:cubicBezTo>
                                                    <a:pt x="241197" y="158324"/>
                                                    <a:pt x="246574" y="156769"/>
                                                    <a:pt x="247870" y="152234"/>
                                                  </a:cubicBezTo>
                                                  <a:cubicBezTo>
                                                    <a:pt x="250332" y="144136"/>
                                                    <a:pt x="236857" y="135714"/>
                                                    <a:pt x="241975" y="128912"/>
                                                  </a:cubicBezTo>
                                                  <a:cubicBezTo>
                                                    <a:pt x="252211" y="126126"/>
                                                    <a:pt x="263289" y="122887"/>
                                                    <a:pt x="269573" y="114335"/>
                                                  </a:cubicBezTo>
                                                  <a:cubicBezTo>
                                                    <a:pt x="281235" y="98527"/>
                                                    <a:pt x="271906" y="71770"/>
                                                    <a:pt x="284086" y="58230"/>
                                                  </a:cubicBezTo>
                                                  <a:cubicBezTo>
                                                    <a:pt x="282595" y="53436"/>
                                                    <a:pt x="281753" y="48383"/>
                                                    <a:pt x="281494" y="43394"/>
                                                  </a:cubicBezTo>
                                                  <a:cubicBezTo>
                                                    <a:pt x="281105" y="34907"/>
                                                    <a:pt x="282271" y="25643"/>
                                                    <a:pt x="277607" y="1851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8" name="Freeform: Shape 199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33B51D3-2FB1-4D72-BE0A-EEAF9FFDE48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199639" y="3662041"/>
                                              <a:ext cx="99294" cy="12387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7567 w 99294"/>
                                                <a:gd name="connsiteY0" fmla="*/ 54664 h 123870"/>
                                                <a:gd name="connsiteX1" fmla="*/ 93398 w 99294"/>
                                                <a:gd name="connsiteY1" fmla="*/ 52915 h 123870"/>
                                                <a:gd name="connsiteX2" fmla="*/ 99293 w 99294"/>
                                                <a:gd name="connsiteY2" fmla="*/ 42549 h 123870"/>
                                                <a:gd name="connsiteX3" fmla="*/ 95925 w 99294"/>
                                                <a:gd name="connsiteY3" fmla="*/ 30434 h 123870"/>
                                                <a:gd name="connsiteX4" fmla="*/ 46558 w 99294"/>
                                                <a:gd name="connsiteY4" fmla="*/ 35293 h 123870"/>
                                                <a:gd name="connsiteX5" fmla="*/ 45975 w 99294"/>
                                                <a:gd name="connsiteY5" fmla="*/ 21947 h 123870"/>
                                                <a:gd name="connsiteX6" fmla="*/ 44938 w 99294"/>
                                                <a:gd name="connsiteY6" fmla="*/ 18190 h 123870"/>
                                                <a:gd name="connsiteX7" fmla="*/ 35091 w 99294"/>
                                                <a:gd name="connsiteY7" fmla="*/ 18384 h 123870"/>
                                                <a:gd name="connsiteX8" fmla="*/ 23429 w 99294"/>
                                                <a:gd name="connsiteY8" fmla="*/ 4520 h 123870"/>
                                                <a:gd name="connsiteX9" fmla="*/ 6456 w 99294"/>
                                                <a:gd name="connsiteY9" fmla="*/ 698 h 123870"/>
                                                <a:gd name="connsiteX10" fmla="*/ 10148 w 99294"/>
                                                <a:gd name="connsiteY10" fmla="*/ 6140 h 123870"/>
                                                <a:gd name="connsiteX11" fmla="*/ 11185 w 99294"/>
                                                <a:gd name="connsiteY11" fmla="*/ 16700 h 123870"/>
                                                <a:gd name="connsiteX12" fmla="*/ 20125 w 99294"/>
                                                <a:gd name="connsiteY12" fmla="*/ 29009 h 123870"/>
                                                <a:gd name="connsiteX13" fmla="*/ 754 w 99294"/>
                                                <a:gd name="connsiteY13" fmla="*/ 35812 h 123870"/>
                                                <a:gd name="connsiteX14" fmla="*/ 5613 w 99294"/>
                                                <a:gd name="connsiteY14" fmla="*/ 51295 h 123870"/>
                                                <a:gd name="connsiteX15" fmla="*/ 4382 w 99294"/>
                                                <a:gd name="connsiteY15" fmla="*/ 61920 h 123870"/>
                                                <a:gd name="connsiteX16" fmla="*/ 21226 w 99294"/>
                                                <a:gd name="connsiteY16" fmla="*/ 91916 h 123870"/>
                                                <a:gd name="connsiteX17" fmla="*/ 21032 w 99294"/>
                                                <a:gd name="connsiteY17" fmla="*/ 118996 h 123870"/>
                                                <a:gd name="connsiteX18" fmla="*/ 20773 w 99294"/>
                                                <a:gd name="connsiteY18" fmla="*/ 123791 h 123870"/>
                                                <a:gd name="connsiteX19" fmla="*/ 26669 w 99294"/>
                                                <a:gd name="connsiteY19" fmla="*/ 123791 h 123870"/>
                                                <a:gd name="connsiteX20" fmla="*/ 50315 w 99294"/>
                                                <a:gd name="connsiteY20" fmla="*/ 119838 h 123870"/>
                                                <a:gd name="connsiteX21" fmla="*/ 82384 w 99294"/>
                                                <a:gd name="connsiteY21" fmla="*/ 72934 h 123870"/>
                                                <a:gd name="connsiteX22" fmla="*/ 82579 w 99294"/>
                                                <a:gd name="connsiteY22" fmla="*/ 71314 h 123870"/>
                                                <a:gd name="connsiteX23" fmla="*/ 87503 w 99294"/>
                                                <a:gd name="connsiteY23" fmla="*/ 54729 h 12387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9294" h="123870">
                                                  <a:moveTo>
                                                    <a:pt x="87567" y="54664"/>
                                                  </a:moveTo>
                                                  <a:cubicBezTo>
                                                    <a:pt x="89381" y="53757"/>
                                                    <a:pt x="91519" y="53692"/>
                                                    <a:pt x="93398" y="52915"/>
                                                  </a:cubicBezTo>
                                                  <a:cubicBezTo>
                                                    <a:pt x="97285" y="51295"/>
                                                    <a:pt x="99358" y="46760"/>
                                                    <a:pt x="99293" y="42549"/>
                                                  </a:cubicBezTo>
                                                  <a:cubicBezTo>
                                                    <a:pt x="99293" y="38338"/>
                                                    <a:pt x="97544" y="34321"/>
                                                    <a:pt x="95925" y="30434"/>
                                                  </a:cubicBezTo>
                                                  <a:cubicBezTo>
                                                    <a:pt x="79469" y="32054"/>
                                                    <a:pt x="63013" y="33674"/>
                                                    <a:pt x="46558" y="35293"/>
                                                  </a:cubicBezTo>
                                                  <a:cubicBezTo>
                                                    <a:pt x="46363" y="30823"/>
                                                    <a:pt x="46169" y="26418"/>
                                                    <a:pt x="45975" y="21947"/>
                                                  </a:cubicBezTo>
                                                  <a:cubicBezTo>
                                                    <a:pt x="45975" y="20652"/>
                                                    <a:pt x="45845" y="19162"/>
                                                    <a:pt x="44938" y="18190"/>
                                                  </a:cubicBezTo>
                                                  <a:cubicBezTo>
                                                    <a:pt x="42671" y="15598"/>
                                                    <a:pt x="38525" y="18449"/>
                                                    <a:pt x="35091" y="18384"/>
                                                  </a:cubicBezTo>
                                                  <a:cubicBezTo>
                                                    <a:pt x="28742" y="18319"/>
                                                    <a:pt x="27511" y="9379"/>
                                                    <a:pt x="23429" y="4520"/>
                                                  </a:cubicBezTo>
                                                  <a:cubicBezTo>
                                                    <a:pt x="19478" y="-209"/>
                                                    <a:pt x="12675" y="-728"/>
                                                    <a:pt x="6456" y="698"/>
                                                  </a:cubicBezTo>
                                                  <a:cubicBezTo>
                                                    <a:pt x="8269" y="2123"/>
                                                    <a:pt x="9630" y="3937"/>
                                                    <a:pt x="10148" y="6140"/>
                                                  </a:cubicBezTo>
                                                  <a:cubicBezTo>
                                                    <a:pt x="10926" y="9573"/>
                                                    <a:pt x="9695" y="13460"/>
                                                    <a:pt x="11185" y="16700"/>
                                                  </a:cubicBezTo>
                                                  <a:cubicBezTo>
                                                    <a:pt x="13452" y="21494"/>
                                                    <a:pt x="21421" y="23826"/>
                                                    <a:pt x="20125" y="29009"/>
                                                  </a:cubicBezTo>
                                                  <a:cubicBezTo>
                                                    <a:pt x="18376" y="36200"/>
                                                    <a:pt x="4576" y="29527"/>
                                                    <a:pt x="754" y="35812"/>
                                                  </a:cubicBezTo>
                                                  <a:cubicBezTo>
                                                    <a:pt x="-2226" y="40671"/>
                                                    <a:pt x="4512" y="45724"/>
                                                    <a:pt x="5613" y="51295"/>
                                                  </a:cubicBezTo>
                                                  <a:cubicBezTo>
                                                    <a:pt x="6326" y="54794"/>
                                                    <a:pt x="4641" y="58357"/>
                                                    <a:pt x="4382" y="61920"/>
                                                  </a:cubicBezTo>
                                                  <a:cubicBezTo>
                                                    <a:pt x="3540" y="73582"/>
                                                    <a:pt x="16951" y="81032"/>
                                                    <a:pt x="21226" y="91916"/>
                                                  </a:cubicBezTo>
                                                  <a:cubicBezTo>
                                                    <a:pt x="24531" y="100403"/>
                                                    <a:pt x="21939" y="109862"/>
                                                    <a:pt x="21032" y="118996"/>
                                                  </a:cubicBezTo>
                                                  <a:cubicBezTo>
                                                    <a:pt x="20903" y="120616"/>
                                                    <a:pt x="20838" y="122171"/>
                                                    <a:pt x="20773" y="123791"/>
                                                  </a:cubicBezTo>
                                                  <a:cubicBezTo>
                                                    <a:pt x="22781" y="123791"/>
                                                    <a:pt x="24790" y="123791"/>
                                                    <a:pt x="26669" y="123791"/>
                                                  </a:cubicBezTo>
                                                  <a:cubicBezTo>
                                                    <a:pt x="34767" y="123985"/>
                                                    <a:pt x="43448" y="124179"/>
                                                    <a:pt x="50315" y="119838"/>
                                                  </a:cubicBezTo>
                                                  <a:cubicBezTo>
                                                    <a:pt x="66771" y="109408"/>
                                                    <a:pt x="65022" y="78505"/>
                                                    <a:pt x="82384" y="72934"/>
                                                  </a:cubicBezTo>
                                                  <a:cubicBezTo>
                                                    <a:pt x="82449" y="72415"/>
                                                    <a:pt x="82579" y="71832"/>
                                                    <a:pt x="82579" y="71314"/>
                                                  </a:cubicBezTo>
                                                  <a:cubicBezTo>
                                                    <a:pt x="83032" y="65224"/>
                                                    <a:pt x="82060" y="57515"/>
                                                    <a:pt x="87503" y="5472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1999" name="Freeform: Shape 199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A469D22E-19C2-4DA7-BB4C-B2582EFA3BF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720331" y="3391121"/>
                                              <a:ext cx="502213" cy="77720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00470 w 502213"/>
                                                <a:gd name="connsiteY0" fmla="*/ 362901 h 777205"/>
                                                <a:gd name="connsiteX1" fmla="*/ 483626 w 502213"/>
                                                <a:gd name="connsiteY1" fmla="*/ 332905 h 777205"/>
                                                <a:gd name="connsiteX2" fmla="*/ 484856 w 502213"/>
                                                <a:gd name="connsiteY2" fmla="*/ 322280 h 777205"/>
                                                <a:gd name="connsiteX3" fmla="*/ 479998 w 502213"/>
                                                <a:gd name="connsiteY3" fmla="*/ 306796 h 777205"/>
                                                <a:gd name="connsiteX4" fmla="*/ 499368 w 502213"/>
                                                <a:gd name="connsiteY4" fmla="*/ 299994 h 777205"/>
                                                <a:gd name="connsiteX5" fmla="*/ 490428 w 502213"/>
                                                <a:gd name="connsiteY5" fmla="*/ 287685 h 777205"/>
                                                <a:gd name="connsiteX6" fmla="*/ 489392 w 502213"/>
                                                <a:gd name="connsiteY6" fmla="*/ 277125 h 777205"/>
                                                <a:gd name="connsiteX7" fmla="*/ 476693 w 502213"/>
                                                <a:gd name="connsiteY7" fmla="*/ 268378 h 777205"/>
                                                <a:gd name="connsiteX8" fmla="*/ 460238 w 502213"/>
                                                <a:gd name="connsiteY8" fmla="*/ 270063 h 777205"/>
                                                <a:gd name="connsiteX9" fmla="*/ 432769 w 502213"/>
                                                <a:gd name="connsiteY9" fmla="*/ 265593 h 777205"/>
                                                <a:gd name="connsiteX10" fmla="*/ 395841 w 502213"/>
                                                <a:gd name="connsiteY10" fmla="*/ 245833 h 777205"/>
                                                <a:gd name="connsiteX11" fmla="*/ 365133 w 502213"/>
                                                <a:gd name="connsiteY11" fmla="*/ 239743 h 777205"/>
                                                <a:gd name="connsiteX12" fmla="*/ 357552 w 502213"/>
                                                <a:gd name="connsiteY12" fmla="*/ 237087 h 777205"/>
                                                <a:gd name="connsiteX13" fmla="*/ 349325 w 502213"/>
                                                <a:gd name="connsiteY13" fmla="*/ 228406 h 777205"/>
                                                <a:gd name="connsiteX14" fmla="*/ 337080 w 502213"/>
                                                <a:gd name="connsiteY14" fmla="*/ 226656 h 777205"/>
                                                <a:gd name="connsiteX15" fmla="*/ 299505 w 502213"/>
                                                <a:gd name="connsiteY15" fmla="*/ 202232 h 777205"/>
                                                <a:gd name="connsiteX16" fmla="*/ 301318 w 502213"/>
                                                <a:gd name="connsiteY16" fmla="*/ 170293 h 777205"/>
                                                <a:gd name="connsiteX17" fmla="*/ 293933 w 502213"/>
                                                <a:gd name="connsiteY17" fmla="*/ 140232 h 777205"/>
                                                <a:gd name="connsiteX18" fmla="*/ 278643 w 502213"/>
                                                <a:gd name="connsiteY18" fmla="*/ 132134 h 777205"/>
                                                <a:gd name="connsiteX19" fmla="*/ 258236 w 502213"/>
                                                <a:gd name="connsiteY19" fmla="*/ 115355 h 777205"/>
                                                <a:gd name="connsiteX20" fmla="*/ 258042 w 502213"/>
                                                <a:gd name="connsiteY20" fmla="*/ 88857 h 777205"/>
                                                <a:gd name="connsiteX21" fmla="*/ 269444 w 502213"/>
                                                <a:gd name="connsiteY21" fmla="*/ 83804 h 777205"/>
                                                <a:gd name="connsiteX22" fmla="*/ 269898 w 502213"/>
                                                <a:gd name="connsiteY22" fmla="*/ 64498 h 777205"/>
                                                <a:gd name="connsiteX23" fmla="*/ 259014 w 502213"/>
                                                <a:gd name="connsiteY23" fmla="*/ 37158 h 777205"/>
                                                <a:gd name="connsiteX24" fmla="*/ 247093 w 502213"/>
                                                <a:gd name="connsiteY24" fmla="*/ 18176 h 777205"/>
                                                <a:gd name="connsiteX25" fmla="*/ 240485 w 502213"/>
                                                <a:gd name="connsiteY25" fmla="*/ 12475 h 777205"/>
                                                <a:gd name="connsiteX26" fmla="*/ 235431 w 502213"/>
                                                <a:gd name="connsiteY26" fmla="*/ 684 h 777205"/>
                                                <a:gd name="connsiteX27" fmla="*/ 230767 w 502213"/>
                                                <a:gd name="connsiteY27" fmla="*/ 36 h 777205"/>
                                                <a:gd name="connsiteX28" fmla="*/ 218976 w 502213"/>
                                                <a:gd name="connsiteY28" fmla="*/ 619 h 777205"/>
                                                <a:gd name="connsiteX29" fmla="*/ 208805 w 502213"/>
                                                <a:gd name="connsiteY29" fmla="*/ 18176 h 777205"/>
                                                <a:gd name="connsiteX30" fmla="*/ 186777 w 502213"/>
                                                <a:gd name="connsiteY30" fmla="*/ 23035 h 777205"/>
                                                <a:gd name="connsiteX31" fmla="*/ 156328 w 502213"/>
                                                <a:gd name="connsiteY31" fmla="*/ 15066 h 777205"/>
                                                <a:gd name="connsiteX32" fmla="*/ 137087 w 502213"/>
                                                <a:gd name="connsiteY32" fmla="*/ 33271 h 777205"/>
                                                <a:gd name="connsiteX33" fmla="*/ 145444 w 502213"/>
                                                <a:gd name="connsiteY33" fmla="*/ 46099 h 777205"/>
                                                <a:gd name="connsiteX34" fmla="*/ 145898 w 502213"/>
                                                <a:gd name="connsiteY34" fmla="*/ 55816 h 777205"/>
                                                <a:gd name="connsiteX35" fmla="*/ 150562 w 502213"/>
                                                <a:gd name="connsiteY35" fmla="*/ 67867 h 777205"/>
                                                <a:gd name="connsiteX36" fmla="*/ 168767 w 502213"/>
                                                <a:gd name="connsiteY36" fmla="*/ 91319 h 777205"/>
                                                <a:gd name="connsiteX37" fmla="*/ 173043 w 502213"/>
                                                <a:gd name="connsiteY37" fmla="*/ 96955 h 777205"/>
                                                <a:gd name="connsiteX38" fmla="*/ 158466 w 502213"/>
                                                <a:gd name="connsiteY38" fmla="*/ 117752 h 777205"/>
                                                <a:gd name="connsiteX39" fmla="*/ 152506 w 502213"/>
                                                <a:gd name="connsiteY39" fmla="*/ 141658 h 777205"/>
                                                <a:gd name="connsiteX40" fmla="*/ 118687 w 502213"/>
                                                <a:gd name="connsiteY40" fmla="*/ 184934 h 777205"/>
                                                <a:gd name="connsiteX41" fmla="*/ 113375 w 502213"/>
                                                <a:gd name="connsiteY41" fmla="*/ 194264 h 777205"/>
                                                <a:gd name="connsiteX42" fmla="*/ 105730 w 502213"/>
                                                <a:gd name="connsiteY42" fmla="*/ 199641 h 777205"/>
                                                <a:gd name="connsiteX43" fmla="*/ 94523 w 502213"/>
                                                <a:gd name="connsiteY43" fmla="*/ 220048 h 777205"/>
                                                <a:gd name="connsiteX44" fmla="*/ 52153 w 502213"/>
                                                <a:gd name="connsiteY44" fmla="*/ 226592 h 777205"/>
                                                <a:gd name="connsiteX45" fmla="*/ 26821 w 502213"/>
                                                <a:gd name="connsiteY45" fmla="*/ 248360 h 777205"/>
                                                <a:gd name="connsiteX46" fmla="*/ 45221 w 502213"/>
                                                <a:gd name="connsiteY46" fmla="*/ 268897 h 777205"/>
                                                <a:gd name="connsiteX47" fmla="*/ 47423 w 502213"/>
                                                <a:gd name="connsiteY47" fmla="*/ 275829 h 777205"/>
                                                <a:gd name="connsiteX48" fmla="*/ 51570 w 502213"/>
                                                <a:gd name="connsiteY48" fmla="*/ 280817 h 777205"/>
                                                <a:gd name="connsiteX49" fmla="*/ 55975 w 502213"/>
                                                <a:gd name="connsiteY49" fmla="*/ 289563 h 777205"/>
                                                <a:gd name="connsiteX50" fmla="*/ 68673 w 502213"/>
                                                <a:gd name="connsiteY50" fmla="*/ 323187 h 777205"/>
                                                <a:gd name="connsiteX51" fmla="*/ 15614 w 502213"/>
                                                <a:gd name="connsiteY51" fmla="*/ 329666 h 777205"/>
                                                <a:gd name="connsiteX52" fmla="*/ 4989 w 502213"/>
                                                <a:gd name="connsiteY52" fmla="*/ 332905 h 777205"/>
                                                <a:gd name="connsiteX53" fmla="*/ 0 w 502213"/>
                                                <a:gd name="connsiteY53" fmla="*/ 344307 h 777205"/>
                                                <a:gd name="connsiteX54" fmla="*/ 9783 w 502213"/>
                                                <a:gd name="connsiteY54" fmla="*/ 351887 h 777205"/>
                                                <a:gd name="connsiteX55" fmla="*/ 22416 w 502213"/>
                                                <a:gd name="connsiteY55" fmla="*/ 365622 h 777205"/>
                                                <a:gd name="connsiteX56" fmla="*/ 44767 w 502213"/>
                                                <a:gd name="connsiteY56" fmla="*/ 361799 h 777205"/>
                                                <a:gd name="connsiteX57" fmla="*/ 54226 w 502213"/>
                                                <a:gd name="connsiteY57" fmla="*/ 377089 h 777205"/>
                                                <a:gd name="connsiteX58" fmla="*/ 47942 w 502213"/>
                                                <a:gd name="connsiteY58" fmla="*/ 379875 h 777205"/>
                                                <a:gd name="connsiteX59" fmla="*/ 15614 w 502213"/>
                                                <a:gd name="connsiteY59" fmla="*/ 388038 h 777205"/>
                                                <a:gd name="connsiteX60" fmla="*/ 23582 w 502213"/>
                                                <a:gd name="connsiteY60" fmla="*/ 400088 h 777205"/>
                                                <a:gd name="connsiteX61" fmla="*/ 76965 w 502213"/>
                                                <a:gd name="connsiteY61" fmla="*/ 435072 h 777205"/>
                                                <a:gd name="connsiteX62" fmla="*/ 87849 w 502213"/>
                                                <a:gd name="connsiteY62" fmla="*/ 414211 h 777205"/>
                                                <a:gd name="connsiteX63" fmla="*/ 92903 w 502213"/>
                                                <a:gd name="connsiteY63" fmla="*/ 388038 h 777205"/>
                                                <a:gd name="connsiteX64" fmla="*/ 106443 w 502213"/>
                                                <a:gd name="connsiteY64" fmla="*/ 393415 h 777205"/>
                                                <a:gd name="connsiteX65" fmla="*/ 110136 w 502213"/>
                                                <a:gd name="connsiteY65" fmla="*/ 409935 h 777205"/>
                                                <a:gd name="connsiteX66" fmla="*/ 114736 w 502213"/>
                                                <a:gd name="connsiteY66" fmla="*/ 420430 h 777205"/>
                                                <a:gd name="connsiteX67" fmla="*/ 115578 w 502213"/>
                                                <a:gd name="connsiteY67" fmla="*/ 436044 h 777205"/>
                                                <a:gd name="connsiteX68" fmla="*/ 118493 w 502213"/>
                                                <a:gd name="connsiteY68" fmla="*/ 493250 h 777205"/>
                                                <a:gd name="connsiteX69" fmla="*/ 142853 w 502213"/>
                                                <a:gd name="connsiteY69" fmla="*/ 545272 h 777205"/>
                                                <a:gd name="connsiteX70" fmla="*/ 142853 w 502213"/>
                                                <a:gd name="connsiteY70" fmla="*/ 589456 h 777205"/>
                                                <a:gd name="connsiteX71" fmla="*/ 144537 w 502213"/>
                                                <a:gd name="connsiteY71" fmla="*/ 599563 h 777205"/>
                                                <a:gd name="connsiteX72" fmla="*/ 151858 w 502213"/>
                                                <a:gd name="connsiteY72" fmla="*/ 607467 h 777205"/>
                                                <a:gd name="connsiteX73" fmla="*/ 160669 w 502213"/>
                                                <a:gd name="connsiteY73" fmla="*/ 646403 h 777205"/>
                                                <a:gd name="connsiteX74" fmla="*/ 173885 w 502213"/>
                                                <a:gd name="connsiteY74" fmla="*/ 669985 h 777205"/>
                                                <a:gd name="connsiteX75" fmla="*/ 226037 w 502213"/>
                                                <a:gd name="connsiteY75" fmla="*/ 777205 h 777205"/>
                                                <a:gd name="connsiteX76" fmla="*/ 249361 w 502213"/>
                                                <a:gd name="connsiteY76" fmla="*/ 752069 h 777205"/>
                                                <a:gd name="connsiteX77" fmla="*/ 278125 w 502213"/>
                                                <a:gd name="connsiteY77" fmla="*/ 710476 h 777205"/>
                                                <a:gd name="connsiteX78" fmla="*/ 282336 w 502213"/>
                                                <a:gd name="connsiteY78" fmla="*/ 686635 h 777205"/>
                                                <a:gd name="connsiteX79" fmla="*/ 284409 w 502213"/>
                                                <a:gd name="connsiteY79" fmla="*/ 646727 h 777205"/>
                                                <a:gd name="connsiteX80" fmla="*/ 286806 w 502213"/>
                                                <a:gd name="connsiteY80" fmla="*/ 579933 h 777205"/>
                                                <a:gd name="connsiteX81" fmla="*/ 289592 w 502213"/>
                                                <a:gd name="connsiteY81" fmla="*/ 569178 h 777205"/>
                                                <a:gd name="connsiteX82" fmla="*/ 299958 w 502213"/>
                                                <a:gd name="connsiteY82" fmla="*/ 563866 h 777205"/>
                                                <a:gd name="connsiteX83" fmla="*/ 338894 w 502213"/>
                                                <a:gd name="connsiteY83" fmla="*/ 527327 h 777205"/>
                                                <a:gd name="connsiteX84" fmla="*/ 363837 w 502213"/>
                                                <a:gd name="connsiteY84" fmla="*/ 478802 h 777205"/>
                                                <a:gd name="connsiteX85" fmla="*/ 401153 w 502213"/>
                                                <a:gd name="connsiteY85" fmla="*/ 438570 h 777205"/>
                                                <a:gd name="connsiteX86" fmla="*/ 413851 w 502213"/>
                                                <a:gd name="connsiteY86" fmla="*/ 431897 h 777205"/>
                                                <a:gd name="connsiteX87" fmla="*/ 444754 w 502213"/>
                                                <a:gd name="connsiteY87" fmla="*/ 428464 h 777205"/>
                                                <a:gd name="connsiteX88" fmla="*/ 449743 w 502213"/>
                                                <a:gd name="connsiteY88" fmla="*/ 418033 h 777205"/>
                                                <a:gd name="connsiteX89" fmla="*/ 500146 w 502213"/>
                                                <a:gd name="connsiteY89" fmla="*/ 394581 h 777205"/>
                                                <a:gd name="connsiteX90" fmla="*/ 500405 w 502213"/>
                                                <a:gd name="connsiteY90" fmla="*/ 389787 h 777205"/>
                                                <a:gd name="connsiteX91" fmla="*/ 500599 w 502213"/>
                                                <a:gd name="connsiteY91" fmla="*/ 362706 h 77720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02213" h="777205">
                                                  <a:moveTo>
                                                    <a:pt x="500470" y="362901"/>
                                                  </a:moveTo>
                                                  <a:cubicBezTo>
                                                    <a:pt x="496194" y="352017"/>
                                                    <a:pt x="482783" y="344566"/>
                                                    <a:pt x="483626" y="332905"/>
                                                  </a:cubicBezTo>
                                                  <a:cubicBezTo>
                                                    <a:pt x="483885" y="329342"/>
                                                    <a:pt x="485569" y="325778"/>
                                                    <a:pt x="484856" y="322280"/>
                                                  </a:cubicBezTo>
                                                  <a:cubicBezTo>
                                                    <a:pt x="483755" y="316708"/>
                                                    <a:pt x="477017" y="311655"/>
                                                    <a:pt x="479998" y="306796"/>
                                                  </a:cubicBezTo>
                                                  <a:cubicBezTo>
                                                    <a:pt x="483820" y="300512"/>
                                                    <a:pt x="497619" y="307120"/>
                                                    <a:pt x="499368" y="299994"/>
                                                  </a:cubicBezTo>
                                                  <a:cubicBezTo>
                                                    <a:pt x="500599" y="294811"/>
                                                    <a:pt x="492696" y="292479"/>
                                                    <a:pt x="490428" y="287685"/>
                                                  </a:cubicBezTo>
                                                  <a:cubicBezTo>
                                                    <a:pt x="488873" y="284445"/>
                                                    <a:pt x="490169" y="280623"/>
                                                    <a:pt x="489392" y="277125"/>
                                                  </a:cubicBezTo>
                                                  <a:cubicBezTo>
                                                    <a:pt x="488161" y="271747"/>
                                                    <a:pt x="482200" y="268702"/>
                                                    <a:pt x="476693" y="268378"/>
                                                  </a:cubicBezTo>
                                                  <a:cubicBezTo>
                                                    <a:pt x="471187" y="268055"/>
                                                    <a:pt x="465745" y="269674"/>
                                                    <a:pt x="460238" y="270063"/>
                                                  </a:cubicBezTo>
                                                  <a:cubicBezTo>
                                                    <a:pt x="450974" y="270840"/>
                                                    <a:pt x="441774" y="268184"/>
                                                    <a:pt x="432769" y="265593"/>
                                                  </a:cubicBezTo>
                                                  <a:cubicBezTo>
                                                    <a:pt x="419099" y="261641"/>
                                                    <a:pt x="404522" y="257106"/>
                                                    <a:pt x="395841" y="245833"/>
                                                  </a:cubicBezTo>
                                                  <a:cubicBezTo>
                                                    <a:pt x="385605" y="243825"/>
                                                    <a:pt x="375368" y="241816"/>
                                                    <a:pt x="365133" y="239743"/>
                                                  </a:cubicBezTo>
                                                  <a:cubicBezTo>
                                                    <a:pt x="362476" y="239225"/>
                                                    <a:pt x="359755" y="238642"/>
                                                    <a:pt x="357552" y="237087"/>
                                                  </a:cubicBezTo>
                                                  <a:cubicBezTo>
                                                    <a:pt x="354313" y="234755"/>
                                                    <a:pt x="352758" y="230479"/>
                                                    <a:pt x="349325" y="228406"/>
                                                  </a:cubicBezTo>
                                                  <a:cubicBezTo>
                                                    <a:pt x="345761" y="226268"/>
                                                    <a:pt x="341227" y="227175"/>
                                                    <a:pt x="337080" y="226656"/>
                                                  </a:cubicBezTo>
                                                  <a:cubicBezTo>
                                                    <a:pt x="321985" y="224842"/>
                                                    <a:pt x="314405" y="205212"/>
                                                    <a:pt x="299505" y="202232"/>
                                                  </a:cubicBezTo>
                                                  <a:cubicBezTo>
                                                    <a:pt x="296978" y="191802"/>
                                                    <a:pt x="299958" y="180918"/>
                                                    <a:pt x="301318" y="170293"/>
                                                  </a:cubicBezTo>
                                                  <a:cubicBezTo>
                                                    <a:pt x="302679" y="159668"/>
                                                    <a:pt x="301902" y="147423"/>
                                                    <a:pt x="293933" y="140232"/>
                                                  </a:cubicBezTo>
                                                  <a:cubicBezTo>
                                                    <a:pt x="289592" y="136345"/>
                                                    <a:pt x="283826" y="134596"/>
                                                    <a:pt x="278643" y="132134"/>
                                                  </a:cubicBezTo>
                                                  <a:cubicBezTo>
                                                    <a:pt x="270610" y="128312"/>
                                                    <a:pt x="263549" y="122481"/>
                                                    <a:pt x="258236" y="115355"/>
                                                  </a:cubicBezTo>
                                                  <a:cubicBezTo>
                                                    <a:pt x="252276" y="107386"/>
                                                    <a:pt x="249620" y="94170"/>
                                                    <a:pt x="258042" y="88857"/>
                                                  </a:cubicBezTo>
                                                  <a:cubicBezTo>
                                                    <a:pt x="261605" y="86655"/>
                                                    <a:pt x="266270" y="86525"/>
                                                    <a:pt x="269444" y="83804"/>
                                                  </a:cubicBezTo>
                                                  <a:cubicBezTo>
                                                    <a:pt x="274627" y="79269"/>
                                                    <a:pt x="272489" y="70911"/>
                                                    <a:pt x="269898" y="64498"/>
                                                  </a:cubicBezTo>
                                                  <a:cubicBezTo>
                                                    <a:pt x="266270" y="55363"/>
                                                    <a:pt x="262642" y="46293"/>
                                                    <a:pt x="259014" y="37158"/>
                                                  </a:cubicBezTo>
                                                  <a:cubicBezTo>
                                                    <a:pt x="256228" y="30097"/>
                                                    <a:pt x="253118" y="22711"/>
                                                    <a:pt x="247093" y="18176"/>
                                                  </a:cubicBezTo>
                                                  <a:cubicBezTo>
                                                    <a:pt x="244761" y="16427"/>
                                                    <a:pt x="241910" y="15066"/>
                                                    <a:pt x="240485" y="12475"/>
                                                  </a:cubicBezTo>
                                                  <a:cubicBezTo>
                                                    <a:pt x="238282" y="8652"/>
                                                    <a:pt x="239383" y="2757"/>
                                                    <a:pt x="235431" y="684"/>
                                                  </a:cubicBezTo>
                                                  <a:cubicBezTo>
                                                    <a:pt x="234006" y="-94"/>
                                                    <a:pt x="232322" y="-29"/>
                                                    <a:pt x="230767" y="36"/>
                                                  </a:cubicBezTo>
                                                  <a:cubicBezTo>
                                                    <a:pt x="226815" y="230"/>
                                                    <a:pt x="222928" y="425"/>
                                                    <a:pt x="218976" y="619"/>
                                                  </a:cubicBezTo>
                                                  <a:cubicBezTo>
                                                    <a:pt x="219948" y="7486"/>
                                                    <a:pt x="214959" y="14418"/>
                                                    <a:pt x="208805" y="18176"/>
                                                  </a:cubicBezTo>
                                                  <a:cubicBezTo>
                                                    <a:pt x="202261" y="22193"/>
                                                    <a:pt x="194357" y="23942"/>
                                                    <a:pt x="186777" y="23035"/>
                                                  </a:cubicBezTo>
                                                  <a:cubicBezTo>
                                                    <a:pt x="176347" y="21804"/>
                                                    <a:pt x="166823" y="15779"/>
                                                    <a:pt x="156328" y="15066"/>
                                                  </a:cubicBezTo>
                                                  <a:cubicBezTo>
                                                    <a:pt x="145833" y="14354"/>
                                                    <a:pt x="133394" y="23424"/>
                                                    <a:pt x="137087" y="33271"/>
                                                  </a:cubicBezTo>
                                                  <a:cubicBezTo>
                                                    <a:pt x="138901" y="38065"/>
                                                    <a:pt x="144019" y="41175"/>
                                                    <a:pt x="145444" y="46099"/>
                                                  </a:cubicBezTo>
                                                  <a:cubicBezTo>
                                                    <a:pt x="146351" y="49208"/>
                                                    <a:pt x="145639" y="52577"/>
                                                    <a:pt x="145898" y="55816"/>
                                                  </a:cubicBezTo>
                                                  <a:cubicBezTo>
                                                    <a:pt x="146221" y="60157"/>
                                                    <a:pt x="148359" y="64109"/>
                                                    <a:pt x="150562" y="67867"/>
                                                  </a:cubicBezTo>
                                                  <a:cubicBezTo>
                                                    <a:pt x="155680" y="76353"/>
                                                    <a:pt x="161770" y="84257"/>
                                                    <a:pt x="168767" y="91319"/>
                                                  </a:cubicBezTo>
                                                  <a:cubicBezTo>
                                                    <a:pt x="170451" y="93003"/>
                                                    <a:pt x="172201" y="94688"/>
                                                    <a:pt x="173043" y="96955"/>
                                                  </a:cubicBezTo>
                                                  <a:cubicBezTo>
                                                    <a:pt x="176217" y="105442"/>
                                                    <a:pt x="164945" y="111403"/>
                                                    <a:pt x="158466" y="117752"/>
                                                  </a:cubicBezTo>
                                                  <a:cubicBezTo>
                                                    <a:pt x="152311" y="123841"/>
                                                    <a:pt x="149914" y="133430"/>
                                                    <a:pt x="152506" y="141658"/>
                                                  </a:cubicBezTo>
                                                  <a:cubicBezTo>
                                                    <a:pt x="137670" y="152736"/>
                                                    <a:pt x="125879" y="167831"/>
                                                    <a:pt x="118687" y="184934"/>
                                                  </a:cubicBezTo>
                                                  <a:cubicBezTo>
                                                    <a:pt x="117262" y="188238"/>
                                                    <a:pt x="115967" y="191802"/>
                                                    <a:pt x="113375" y="194264"/>
                                                  </a:cubicBezTo>
                                                  <a:cubicBezTo>
                                                    <a:pt x="111108" y="196401"/>
                                                    <a:pt x="108063" y="197632"/>
                                                    <a:pt x="105730" y="199641"/>
                                                  </a:cubicBezTo>
                                                  <a:cubicBezTo>
                                                    <a:pt x="99835" y="204824"/>
                                                    <a:pt x="99576" y="214088"/>
                                                    <a:pt x="94523" y="220048"/>
                                                  </a:cubicBezTo>
                                                  <a:cubicBezTo>
                                                    <a:pt x="84934" y="231321"/>
                                                    <a:pt x="66730" y="224324"/>
                                                    <a:pt x="52153" y="226592"/>
                                                  </a:cubicBezTo>
                                                  <a:cubicBezTo>
                                                    <a:pt x="40556" y="228406"/>
                                                    <a:pt x="30320" y="237152"/>
                                                    <a:pt x="26821" y="248360"/>
                                                  </a:cubicBezTo>
                                                  <a:cubicBezTo>
                                                    <a:pt x="35762" y="251728"/>
                                                    <a:pt x="42824" y="259632"/>
                                                    <a:pt x="45221" y="268897"/>
                                                  </a:cubicBezTo>
                                                  <a:cubicBezTo>
                                                    <a:pt x="45804" y="271229"/>
                                                    <a:pt x="46192" y="273756"/>
                                                    <a:pt x="47423" y="275829"/>
                                                  </a:cubicBezTo>
                                                  <a:cubicBezTo>
                                                    <a:pt x="48525" y="277708"/>
                                                    <a:pt x="50209" y="279133"/>
                                                    <a:pt x="51570" y="280817"/>
                                                  </a:cubicBezTo>
                                                  <a:cubicBezTo>
                                                    <a:pt x="53643" y="283409"/>
                                                    <a:pt x="54809" y="286518"/>
                                                    <a:pt x="55975" y="289563"/>
                                                  </a:cubicBezTo>
                                                  <a:cubicBezTo>
                                                    <a:pt x="60186" y="300771"/>
                                                    <a:pt x="64462" y="311979"/>
                                                    <a:pt x="68673" y="323187"/>
                                                  </a:cubicBezTo>
                                                  <a:cubicBezTo>
                                                    <a:pt x="50986" y="325325"/>
                                                    <a:pt x="33300" y="327463"/>
                                                    <a:pt x="15614" y="329666"/>
                                                  </a:cubicBezTo>
                                                  <a:cubicBezTo>
                                                    <a:pt x="11921" y="330119"/>
                                                    <a:pt x="8034" y="330637"/>
                                                    <a:pt x="4989" y="332905"/>
                                                  </a:cubicBezTo>
                                                  <a:cubicBezTo>
                                                    <a:pt x="1296" y="335691"/>
                                                    <a:pt x="195" y="339708"/>
                                                    <a:pt x="0" y="344307"/>
                                                  </a:cubicBezTo>
                                                  <a:cubicBezTo>
                                                    <a:pt x="4211" y="345797"/>
                                                    <a:pt x="7904" y="347935"/>
                                                    <a:pt x="9783" y="351887"/>
                                                  </a:cubicBezTo>
                                                  <a:cubicBezTo>
                                                    <a:pt x="6025" y="358495"/>
                                                    <a:pt x="14836" y="365881"/>
                                                    <a:pt x="22416" y="365622"/>
                                                  </a:cubicBezTo>
                                                  <a:cubicBezTo>
                                                    <a:pt x="29996" y="365363"/>
                                                    <a:pt x="37187" y="361346"/>
                                                    <a:pt x="44767" y="361799"/>
                                                  </a:cubicBezTo>
                                                  <a:cubicBezTo>
                                                    <a:pt x="52347" y="362253"/>
                                                    <a:pt x="59668" y="371776"/>
                                                    <a:pt x="54226" y="377089"/>
                                                  </a:cubicBezTo>
                                                  <a:cubicBezTo>
                                                    <a:pt x="52542" y="378708"/>
                                                    <a:pt x="50209" y="379356"/>
                                                    <a:pt x="47942" y="379875"/>
                                                  </a:cubicBezTo>
                                                  <a:cubicBezTo>
                                                    <a:pt x="37122" y="382596"/>
                                                    <a:pt x="26368" y="385317"/>
                                                    <a:pt x="15614" y="388038"/>
                                                  </a:cubicBezTo>
                                                  <a:cubicBezTo>
                                                    <a:pt x="15937" y="392961"/>
                                                    <a:pt x="19889" y="396784"/>
                                                    <a:pt x="23582" y="400088"/>
                                                  </a:cubicBezTo>
                                                  <a:cubicBezTo>
                                                    <a:pt x="39520" y="414470"/>
                                                    <a:pt x="56299" y="429306"/>
                                                    <a:pt x="76965" y="435072"/>
                                                  </a:cubicBezTo>
                                                  <a:cubicBezTo>
                                                    <a:pt x="77354" y="426974"/>
                                                    <a:pt x="81242" y="418746"/>
                                                    <a:pt x="87849" y="414211"/>
                                                  </a:cubicBezTo>
                                                  <a:cubicBezTo>
                                                    <a:pt x="87849" y="405271"/>
                                                    <a:pt x="89534" y="396330"/>
                                                    <a:pt x="92903" y="388038"/>
                                                  </a:cubicBezTo>
                                                  <a:cubicBezTo>
                                                    <a:pt x="97179" y="384280"/>
                                                    <a:pt x="104176" y="388232"/>
                                                    <a:pt x="106443" y="393415"/>
                                                  </a:cubicBezTo>
                                                  <a:cubicBezTo>
                                                    <a:pt x="108711" y="398598"/>
                                                    <a:pt x="108322" y="404623"/>
                                                    <a:pt x="110136" y="409935"/>
                                                  </a:cubicBezTo>
                                                  <a:cubicBezTo>
                                                    <a:pt x="111367" y="413563"/>
                                                    <a:pt x="113570" y="416802"/>
                                                    <a:pt x="114736" y="420430"/>
                                                  </a:cubicBezTo>
                                                  <a:cubicBezTo>
                                                    <a:pt x="116355" y="425419"/>
                                                    <a:pt x="115902" y="430796"/>
                                                    <a:pt x="115578" y="436044"/>
                                                  </a:cubicBezTo>
                                                  <a:cubicBezTo>
                                                    <a:pt x="114477" y="455156"/>
                                                    <a:pt x="115448" y="474397"/>
                                                    <a:pt x="118493" y="493250"/>
                                                  </a:cubicBezTo>
                                                  <a:cubicBezTo>
                                                    <a:pt x="121603" y="512556"/>
                                                    <a:pt x="127758" y="532834"/>
                                                    <a:pt x="142853" y="545272"/>
                                                  </a:cubicBezTo>
                                                  <a:cubicBezTo>
                                                    <a:pt x="142853" y="559979"/>
                                                    <a:pt x="142853" y="574685"/>
                                                    <a:pt x="142853" y="589456"/>
                                                  </a:cubicBezTo>
                                                  <a:cubicBezTo>
                                                    <a:pt x="142853" y="592890"/>
                                                    <a:pt x="142853" y="596518"/>
                                                    <a:pt x="144537" y="599563"/>
                                                  </a:cubicBezTo>
                                                  <a:cubicBezTo>
                                                    <a:pt x="146286" y="602737"/>
                                                    <a:pt x="149461" y="604811"/>
                                                    <a:pt x="151858" y="607467"/>
                                                  </a:cubicBezTo>
                                                  <a:cubicBezTo>
                                                    <a:pt x="160928" y="617509"/>
                                                    <a:pt x="157170" y="633316"/>
                                                    <a:pt x="160669" y="646403"/>
                                                  </a:cubicBezTo>
                                                  <a:cubicBezTo>
                                                    <a:pt x="163001" y="655149"/>
                                                    <a:pt x="168637" y="662600"/>
                                                    <a:pt x="173885" y="669985"/>
                                                  </a:cubicBezTo>
                                                  <a:cubicBezTo>
                                                    <a:pt x="196949" y="702572"/>
                                                    <a:pt x="214635" y="738917"/>
                                                    <a:pt x="226037" y="777205"/>
                                                  </a:cubicBezTo>
                                                  <a:cubicBezTo>
                                                    <a:pt x="233812" y="768848"/>
                                                    <a:pt x="241586" y="760426"/>
                                                    <a:pt x="249361" y="752069"/>
                                                  </a:cubicBezTo>
                                                  <a:cubicBezTo>
                                                    <a:pt x="260892" y="739630"/>
                                                    <a:pt x="272813" y="726608"/>
                                                    <a:pt x="278125" y="710476"/>
                                                  </a:cubicBezTo>
                                                  <a:cubicBezTo>
                                                    <a:pt x="280652" y="702767"/>
                                                    <a:pt x="281624" y="694668"/>
                                                    <a:pt x="282336" y="686635"/>
                                                  </a:cubicBezTo>
                                                  <a:cubicBezTo>
                                                    <a:pt x="283502" y="673354"/>
                                                    <a:pt x="283956" y="660073"/>
                                                    <a:pt x="284409" y="646727"/>
                                                  </a:cubicBezTo>
                                                  <a:cubicBezTo>
                                                    <a:pt x="285187" y="624441"/>
                                                    <a:pt x="286029" y="602219"/>
                                                    <a:pt x="286806" y="579933"/>
                                                  </a:cubicBezTo>
                                                  <a:cubicBezTo>
                                                    <a:pt x="286936" y="576175"/>
                                                    <a:pt x="287195" y="572094"/>
                                                    <a:pt x="289592" y="569178"/>
                                                  </a:cubicBezTo>
                                                  <a:cubicBezTo>
                                                    <a:pt x="292054" y="566133"/>
                                                    <a:pt x="296201" y="565097"/>
                                                    <a:pt x="299958" y="563866"/>
                                                  </a:cubicBezTo>
                                                  <a:cubicBezTo>
                                                    <a:pt x="317191" y="557971"/>
                                                    <a:pt x="329824" y="543135"/>
                                                    <a:pt x="338894" y="527327"/>
                                                  </a:cubicBezTo>
                                                  <a:cubicBezTo>
                                                    <a:pt x="347964" y="511519"/>
                                                    <a:pt x="354249" y="494286"/>
                                                    <a:pt x="363837" y="478802"/>
                                                  </a:cubicBezTo>
                                                  <a:cubicBezTo>
                                                    <a:pt x="373555" y="463189"/>
                                                    <a:pt x="386447" y="449649"/>
                                                    <a:pt x="401153" y="438570"/>
                                                  </a:cubicBezTo>
                                                  <a:cubicBezTo>
                                                    <a:pt x="404976" y="435655"/>
                                                    <a:pt x="409122" y="432869"/>
                                                    <a:pt x="413851" y="431897"/>
                                                  </a:cubicBezTo>
                                                  <a:cubicBezTo>
                                                    <a:pt x="424346" y="429760"/>
                                                    <a:pt x="437498" y="436368"/>
                                                    <a:pt x="444754" y="428464"/>
                                                  </a:cubicBezTo>
                                                  <a:cubicBezTo>
                                                    <a:pt x="447346" y="425613"/>
                                                    <a:pt x="448252" y="421597"/>
                                                    <a:pt x="449743" y="418033"/>
                                                  </a:cubicBezTo>
                                                  <a:cubicBezTo>
                                                    <a:pt x="457323" y="399829"/>
                                                    <a:pt x="479868" y="394970"/>
                                                    <a:pt x="500146" y="394581"/>
                                                  </a:cubicBezTo>
                                                  <a:cubicBezTo>
                                                    <a:pt x="500146" y="392961"/>
                                                    <a:pt x="500211" y="391406"/>
                                                    <a:pt x="500405" y="389787"/>
                                                  </a:cubicBezTo>
                                                  <a:cubicBezTo>
                                                    <a:pt x="501247" y="380717"/>
                                                    <a:pt x="503903" y="371258"/>
                                                    <a:pt x="500599" y="36270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0" name="Freeform: Shape 199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03CD393-ACA4-4F9E-BBB5-332FCBB2440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187890" y="3575190"/>
                                              <a:ext cx="213714" cy="17222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13274 w 213714"/>
                                                <a:gd name="connsiteY0" fmla="*/ 18293 h 172223"/>
                                                <a:gd name="connsiteX1" fmla="*/ 194551 w 213714"/>
                                                <a:gd name="connsiteY1" fmla="*/ 23 h 172223"/>
                                                <a:gd name="connsiteX2" fmla="*/ 180234 w 213714"/>
                                                <a:gd name="connsiteY2" fmla="*/ 3392 h 172223"/>
                                                <a:gd name="connsiteX3" fmla="*/ 161316 w 213714"/>
                                                <a:gd name="connsiteY3" fmla="*/ 10843 h 172223"/>
                                                <a:gd name="connsiteX4" fmla="*/ 154320 w 213714"/>
                                                <a:gd name="connsiteY4" fmla="*/ 14989 h 172223"/>
                                                <a:gd name="connsiteX5" fmla="*/ 151339 w 213714"/>
                                                <a:gd name="connsiteY5" fmla="*/ 28076 h 172223"/>
                                                <a:gd name="connsiteX6" fmla="*/ 147711 w 213714"/>
                                                <a:gd name="connsiteY6" fmla="*/ 39931 h 172223"/>
                                                <a:gd name="connsiteX7" fmla="*/ 140974 w 213714"/>
                                                <a:gd name="connsiteY7" fmla="*/ 41292 h 172223"/>
                                                <a:gd name="connsiteX8" fmla="*/ 139807 w 213714"/>
                                                <a:gd name="connsiteY8" fmla="*/ 41292 h 172223"/>
                                                <a:gd name="connsiteX9" fmla="*/ 120760 w 213714"/>
                                                <a:gd name="connsiteY9" fmla="*/ 48289 h 172223"/>
                                                <a:gd name="connsiteX10" fmla="*/ 113569 w 213714"/>
                                                <a:gd name="connsiteY10" fmla="*/ 67012 h 172223"/>
                                                <a:gd name="connsiteX11" fmla="*/ 115318 w 213714"/>
                                                <a:gd name="connsiteY11" fmla="*/ 72778 h 172223"/>
                                                <a:gd name="connsiteX12" fmla="*/ 117197 w 213714"/>
                                                <a:gd name="connsiteY12" fmla="*/ 79256 h 172223"/>
                                                <a:gd name="connsiteX13" fmla="*/ 106183 w 213714"/>
                                                <a:gd name="connsiteY13" fmla="*/ 93120 h 172223"/>
                                                <a:gd name="connsiteX14" fmla="*/ 92125 w 213714"/>
                                                <a:gd name="connsiteY14" fmla="*/ 82301 h 172223"/>
                                                <a:gd name="connsiteX15" fmla="*/ 92125 w 213714"/>
                                                <a:gd name="connsiteY15" fmla="*/ 76794 h 172223"/>
                                                <a:gd name="connsiteX16" fmla="*/ 91154 w 213714"/>
                                                <a:gd name="connsiteY16" fmla="*/ 67854 h 172223"/>
                                                <a:gd name="connsiteX17" fmla="*/ 90765 w 213714"/>
                                                <a:gd name="connsiteY17" fmla="*/ 67271 h 172223"/>
                                                <a:gd name="connsiteX18" fmla="*/ 90765 w 213714"/>
                                                <a:gd name="connsiteY18" fmla="*/ 67271 h 172223"/>
                                                <a:gd name="connsiteX19" fmla="*/ 90246 w 213714"/>
                                                <a:gd name="connsiteY19" fmla="*/ 66364 h 172223"/>
                                                <a:gd name="connsiteX20" fmla="*/ 89339 w 213714"/>
                                                <a:gd name="connsiteY20" fmla="*/ 67854 h 172223"/>
                                                <a:gd name="connsiteX21" fmla="*/ 89145 w 213714"/>
                                                <a:gd name="connsiteY21" fmla="*/ 68178 h 172223"/>
                                                <a:gd name="connsiteX22" fmla="*/ 87007 w 213714"/>
                                                <a:gd name="connsiteY22" fmla="*/ 68891 h 172223"/>
                                                <a:gd name="connsiteX23" fmla="*/ 80529 w 213714"/>
                                                <a:gd name="connsiteY23" fmla="*/ 69344 h 172223"/>
                                                <a:gd name="connsiteX24" fmla="*/ 53060 w 213714"/>
                                                <a:gd name="connsiteY24" fmla="*/ 64485 h 172223"/>
                                                <a:gd name="connsiteX25" fmla="*/ 24100 w 213714"/>
                                                <a:gd name="connsiteY25" fmla="*/ 56711 h 172223"/>
                                                <a:gd name="connsiteX26" fmla="*/ 23970 w 213714"/>
                                                <a:gd name="connsiteY26" fmla="*/ 56711 h 172223"/>
                                                <a:gd name="connsiteX27" fmla="*/ 23064 w 213714"/>
                                                <a:gd name="connsiteY27" fmla="*/ 56452 h 172223"/>
                                                <a:gd name="connsiteX28" fmla="*/ 23064 w 213714"/>
                                                <a:gd name="connsiteY28" fmla="*/ 57683 h 172223"/>
                                                <a:gd name="connsiteX29" fmla="*/ 22221 w 213714"/>
                                                <a:gd name="connsiteY29" fmla="*/ 61440 h 172223"/>
                                                <a:gd name="connsiteX30" fmla="*/ 14447 w 213714"/>
                                                <a:gd name="connsiteY30" fmla="*/ 67725 h 172223"/>
                                                <a:gd name="connsiteX31" fmla="*/ 7969 w 213714"/>
                                                <a:gd name="connsiteY31" fmla="*/ 72065 h 172223"/>
                                                <a:gd name="connsiteX32" fmla="*/ 2267 w 213714"/>
                                                <a:gd name="connsiteY32" fmla="*/ 81265 h 172223"/>
                                                <a:gd name="connsiteX33" fmla="*/ 842 w 213714"/>
                                                <a:gd name="connsiteY33" fmla="*/ 84374 h 172223"/>
                                                <a:gd name="connsiteX34" fmla="*/ 518 w 213714"/>
                                                <a:gd name="connsiteY34" fmla="*/ 84958 h 172223"/>
                                                <a:gd name="connsiteX35" fmla="*/ 0 w 213714"/>
                                                <a:gd name="connsiteY35" fmla="*/ 85994 h 172223"/>
                                                <a:gd name="connsiteX36" fmla="*/ 1879 w 213714"/>
                                                <a:gd name="connsiteY36" fmla="*/ 85735 h 172223"/>
                                                <a:gd name="connsiteX37" fmla="*/ 9135 w 213714"/>
                                                <a:gd name="connsiteY37" fmla="*/ 85281 h 172223"/>
                                                <a:gd name="connsiteX38" fmla="*/ 17622 w 213714"/>
                                                <a:gd name="connsiteY38" fmla="*/ 88391 h 172223"/>
                                                <a:gd name="connsiteX39" fmla="*/ 17945 w 213714"/>
                                                <a:gd name="connsiteY39" fmla="*/ 88650 h 172223"/>
                                                <a:gd name="connsiteX40" fmla="*/ 18399 w 213714"/>
                                                <a:gd name="connsiteY40" fmla="*/ 88650 h 172223"/>
                                                <a:gd name="connsiteX41" fmla="*/ 19111 w 213714"/>
                                                <a:gd name="connsiteY41" fmla="*/ 88456 h 172223"/>
                                                <a:gd name="connsiteX42" fmla="*/ 24100 w 213714"/>
                                                <a:gd name="connsiteY42" fmla="*/ 87938 h 172223"/>
                                                <a:gd name="connsiteX43" fmla="*/ 34466 w 213714"/>
                                                <a:gd name="connsiteY43" fmla="*/ 92084 h 172223"/>
                                                <a:gd name="connsiteX44" fmla="*/ 37770 w 213714"/>
                                                <a:gd name="connsiteY44" fmla="*/ 97720 h 172223"/>
                                                <a:gd name="connsiteX45" fmla="*/ 46970 w 213714"/>
                                                <a:gd name="connsiteY45" fmla="*/ 106272 h 172223"/>
                                                <a:gd name="connsiteX46" fmla="*/ 50921 w 213714"/>
                                                <a:gd name="connsiteY46" fmla="*/ 105624 h 172223"/>
                                                <a:gd name="connsiteX47" fmla="*/ 55975 w 213714"/>
                                                <a:gd name="connsiteY47" fmla="*/ 105754 h 172223"/>
                                                <a:gd name="connsiteX48" fmla="*/ 56817 w 213714"/>
                                                <a:gd name="connsiteY48" fmla="*/ 108928 h 172223"/>
                                                <a:gd name="connsiteX49" fmla="*/ 57465 w 213714"/>
                                                <a:gd name="connsiteY49" fmla="*/ 123246 h 172223"/>
                                                <a:gd name="connsiteX50" fmla="*/ 107091 w 213714"/>
                                                <a:gd name="connsiteY50" fmla="*/ 118322 h 172223"/>
                                                <a:gd name="connsiteX51" fmla="*/ 110136 w 213714"/>
                                                <a:gd name="connsiteY51" fmla="*/ 129465 h 172223"/>
                                                <a:gd name="connsiteX52" fmla="*/ 104823 w 213714"/>
                                                <a:gd name="connsiteY52" fmla="*/ 138924 h 172223"/>
                                                <a:gd name="connsiteX53" fmla="*/ 102361 w 213714"/>
                                                <a:gd name="connsiteY53" fmla="*/ 139637 h 172223"/>
                                                <a:gd name="connsiteX54" fmla="*/ 98928 w 213714"/>
                                                <a:gd name="connsiteY54" fmla="*/ 140673 h 172223"/>
                                                <a:gd name="connsiteX55" fmla="*/ 93615 w 213714"/>
                                                <a:gd name="connsiteY55" fmla="*/ 154667 h 172223"/>
                                                <a:gd name="connsiteX56" fmla="*/ 93486 w 213714"/>
                                                <a:gd name="connsiteY56" fmla="*/ 158100 h 172223"/>
                                                <a:gd name="connsiteX57" fmla="*/ 93356 w 213714"/>
                                                <a:gd name="connsiteY57" fmla="*/ 159072 h 172223"/>
                                                <a:gd name="connsiteX58" fmla="*/ 93356 w 213714"/>
                                                <a:gd name="connsiteY58" fmla="*/ 160109 h 172223"/>
                                                <a:gd name="connsiteX59" fmla="*/ 93226 w 213714"/>
                                                <a:gd name="connsiteY59" fmla="*/ 161145 h 172223"/>
                                                <a:gd name="connsiteX60" fmla="*/ 94652 w 213714"/>
                                                <a:gd name="connsiteY60" fmla="*/ 160692 h 172223"/>
                                                <a:gd name="connsiteX61" fmla="*/ 95105 w 213714"/>
                                                <a:gd name="connsiteY61" fmla="*/ 160562 h 172223"/>
                                                <a:gd name="connsiteX62" fmla="*/ 92514 w 213714"/>
                                                <a:gd name="connsiteY62" fmla="*/ 169114 h 172223"/>
                                                <a:gd name="connsiteX63" fmla="*/ 91801 w 213714"/>
                                                <a:gd name="connsiteY63" fmla="*/ 172224 h 172223"/>
                                                <a:gd name="connsiteX64" fmla="*/ 93162 w 213714"/>
                                                <a:gd name="connsiteY64" fmla="*/ 170928 h 172223"/>
                                                <a:gd name="connsiteX65" fmla="*/ 94133 w 213714"/>
                                                <a:gd name="connsiteY65" fmla="*/ 170021 h 172223"/>
                                                <a:gd name="connsiteX66" fmla="*/ 98150 w 213714"/>
                                                <a:gd name="connsiteY66" fmla="*/ 166328 h 172223"/>
                                                <a:gd name="connsiteX67" fmla="*/ 105017 w 213714"/>
                                                <a:gd name="connsiteY67" fmla="*/ 161858 h 172223"/>
                                                <a:gd name="connsiteX68" fmla="*/ 110201 w 213714"/>
                                                <a:gd name="connsiteY68" fmla="*/ 161340 h 172223"/>
                                                <a:gd name="connsiteX69" fmla="*/ 112598 w 213714"/>
                                                <a:gd name="connsiteY69" fmla="*/ 161275 h 172223"/>
                                                <a:gd name="connsiteX70" fmla="*/ 143435 w 213714"/>
                                                <a:gd name="connsiteY70" fmla="*/ 130308 h 172223"/>
                                                <a:gd name="connsiteX71" fmla="*/ 144148 w 213714"/>
                                                <a:gd name="connsiteY71" fmla="*/ 127846 h 172223"/>
                                                <a:gd name="connsiteX72" fmla="*/ 148813 w 213714"/>
                                                <a:gd name="connsiteY72" fmla="*/ 116508 h 172223"/>
                                                <a:gd name="connsiteX73" fmla="*/ 152052 w 213714"/>
                                                <a:gd name="connsiteY73" fmla="*/ 112945 h 172223"/>
                                                <a:gd name="connsiteX74" fmla="*/ 156069 w 213714"/>
                                                <a:gd name="connsiteY74" fmla="*/ 108216 h 172223"/>
                                                <a:gd name="connsiteX75" fmla="*/ 159697 w 213714"/>
                                                <a:gd name="connsiteY75" fmla="*/ 95388 h 172223"/>
                                                <a:gd name="connsiteX76" fmla="*/ 164037 w 213714"/>
                                                <a:gd name="connsiteY76" fmla="*/ 82172 h 172223"/>
                                                <a:gd name="connsiteX77" fmla="*/ 169933 w 213714"/>
                                                <a:gd name="connsiteY77" fmla="*/ 77572 h 172223"/>
                                                <a:gd name="connsiteX78" fmla="*/ 178161 w 213714"/>
                                                <a:gd name="connsiteY78" fmla="*/ 67660 h 172223"/>
                                                <a:gd name="connsiteX79" fmla="*/ 178161 w 213714"/>
                                                <a:gd name="connsiteY79" fmla="*/ 64939 h 172223"/>
                                                <a:gd name="connsiteX80" fmla="*/ 178420 w 213714"/>
                                                <a:gd name="connsiteY80" fmla="*/ 61052 h 172223"/>
                                                <a:gd name="connsiteX81" fmla="*/ 183473 w 213714"/>
                                                <a:gd name="connsiteY81" fmla="*/ 58266 h 172223"/>
                                                <a:gd name="connsiteX82" fmla="*/ 205176 w 213714"/>
                                                <a:gd name="connsiteY82" fmla="*/ 44013 h 172223"/>
                                                <a:gd name="connsiteX83" fmla="*/ 213533 w 213714"/>
                                                <a:gd name="connsiteY83" fmla="*/ 25614 h 172223"/>
                                                <a:gd name="connsiteX84" fmla="*/ 213404 w 213714"/>
                                                <a:gd name="connsiteY84" fmla="*/ 18293 h 172223"/>
                                                <a:gd name="connsiteX85" fmla="*/ 176606 w 213714"/>
                                                <a:gd name="connsiteY85" fmla="*/ 60145 h 172223"/>
                                                <a:gd name="connsiteX86" fmla="*/ 176088 w 213714"/>
                                                <a:gd name="connsiteY86" fmla="*/ 65133 h 172223"/>
                                                <a:gd name="connsiteX87" fmla="*/ 176152 w 213714"/>
                                                <a:gd name="connsiteY87" fmla="*/ 67465 h 172223"/>
                                                <a:gd name="connsiteX88" fmla="*/ 168767 w 213714"/>
                                                <a:gd name="connsiteY88" fmla="*/ 75952 h 172223"/>
                                                <a:gd name="connsiteX89" fmla="*/ 162482 w 213714"/>
                                                <a:gd name="connsiteY89" fmla="*/ 80941 h 172223"/>
                                                <a:gd name="connsiteX90" fmla="*/ 157688 w 213714"/>
                                                <a:gd name="connsiteY90" fmla="*/ 95129 h 172223"/>
                                                <a:gd name="connsiteX91" fmla="*/ 154320 w 213714"/>
                                                <a:gd name="connsiteY91" fmla="*/ 107179 h 172223"/>
                                                <a:gd name="connsiteX92" fmla="*/ 150562 w 213714"/>
                                                <a:gd name="connsiteY92" fmla="*/ 111520 h 172223"/>
                                                <a:gd name="connsiteX93" fmla="*/ 147193 w 213714"/>
                                                <a:gd name="connsiteY93" fmla="*/ 115342 h 172223"/>
                                                <a:gd name="connsiteX94" fmla="*/ 142204 w 213714"/>
                                                <a:gd name="connsiteY94" fmla="*/ 127327 h 172223"/>
                                                <a:gd name="connsiteX95" fmla="*/ 141492 w 213714"/>
                                                <a:gd name="connsiteY95" fmla="*/ 129724 h 172223"/>
                                                <a:gd name="connsiteX96" fmla="*/ 112468 w 213714"/>
                                                <a:gd name="connsiteY96" fmla="*/ 159331 h 172223"/>
                                                <a:gd name="connsiteX97" fmla="*/ 110136 w 213714"/>
                                                <a:gd name="connsiteY97" fmla="*/ 159396 h 172223"/>
                                                <a:gd name="connsiteX98" fmla="*/ 104435 w 213714"/>
                                                <a:gd name="connsiteY98" fmla="*/ 159979 h 172223"/>
                                                <a:gd name="connsiteX99" fmla="*/ 96790 w 213714"/>
                                                <a:gd name="connsiteY99" fmla="*/ 164903 h 172223"/>
                                                <a:gd name="connsiteX100" fmla="*/ 95170 w 213714"/>
                                                <a:gd name="connsiteY100" fmla="*/ 166393 h 172223"/>
                                                <a:gd name="connsiteX101" fmla="*/ 97567 w 213714"/>
                                                <a:gd name="connsiteY101" fmla="*/ 159526 h 172223"/>
                                                <a:gd name="connsiteX102" fmla="*/ 98280 w 213714"/>
                                                <a:gd name="connsiteY102" fmla="*/ 157906 h 172223"/>
                                                <a:gd name="connsiteX103" fmla="*/ 96466 w 213714"/>
                                                <a:gd name="connsiteY103" fmla="*/ 158165 h 172223"/>
                                                <a:gd name="connsiteX104" fmla="*/ 95364 w 213714"/>
                                                <a:gd name="connsiteY104" fmla="*/ 158425 h 172223"/>
                                                <a:gd name="connsiteX105" fmla="*/ 95364 w 213714"/>
                                                <a:gd name="connsiteY105" fmla="*/ 158230 h 172223"/>
                                                <a:gd name="connsiteX106" fmla="*/ 95494 w 213714"/>
                                                <a:gd name="connsiteY106" fmla="*/ 154732 h 172223"/>
                                                <a:gd name="connsiteX107" fmla="*/ 99705 w 213714"/>
                                                <a:gd name="connsiteY107" fmla="*/ 142422 h 172223"/>
                                                <a:gd name="connsiteX108" fmla="*/ 102685 w 213714"/>
                                                <a:gd name="connsiteY108" fmla="*/ 141515 h 172223"/>
                                                <a:gd name="connsiteX109" fmla="*/ 105536 w 213714"/>
                                                <a:gd name="connsiteY109" fmla="*/ 140673 h 172223"/>
                                                <a:gd name="connsiteX110" fmla="*/ 112014 w 213714"/>
                                                <a:gd name="connsiteY110" fmla="*/ 129400 h 172223"/>
                                                <a:gd name="connsiteX111" fmla="*/ 108516 w 213714"/>
                                                <a:gd name="connsiteY111" fmla="*/ 116897 h 172223"/>
                                                <a:gd name="connsiteX112" fmla="*/ 108257 w 213714"/>
                                                <a:gd name="connsiteY112" fmla="*/ 116249 h 172223"/>
                                                <a:gd name="connsiteX113" fmla="*/ 59214 w 213714"/>
                                                <a:gd name="connsiteY113" fmla="*/ 121108 h 172223"/>
                                                <a:gd name="connsiteX114" fmla="*/ 58696 w 213714"/>
                                                <a:gd name="connsiteY114" fmla="*/ 108863 h 172223"/>
                                                <a:gd name="connsiteX115" fmla="*/ 57400 w 213714"/>
                                                <a:gd name="connsiteY115" fmla="*/ 104458 h 172223"/>
                                                <a:gd name="connsiteX116" fmla="*/ 54031 w 213714"/>
                                                <a:gd name="connsiteY116" fmla="*/ 103033 h 172223"/>
                                                <a:gd name="connsiteX117" fmla="*/ 50338 w 213714"/>
                                                <a:gd name="connsiteY117" fmla="*/ 103745 h 172223"/>
                                                <a:gd name="connsiteX118" fmla="*/ 46840 w 213714"/>
                                                <a:gd name="connsiteY118" fmla="*/ 104328 h 172223"/>
                                                <a:gd name="connsiteX119" fmla="*/ 39454 w 213714"/>
                                                <a:gd name="connsiteY119" fmla="*/ 96813 h 172223"/>
                                                <a:gd name="connsiteX120" fmla="*/ 35891 w 213714"/>
                                                <a:gd name="connsiteY120" fmla="*/ 90853 h 172223"/>
                                                <a:gd name="connsiteX121" fmla="*/ 18399 w 213714"/>
                                                <a:gd name="connsiteY121" fmla="*/ 86577 h 172223"/>
                                                <a:gd name="connsiteX122" fmla="*/ 9199 w 213714"/>
                                                <a:gd name="connsiteY122" fmla="*/ 83338 h 172223"/>
                                                <a:gd name="connsiteX123" fmla="*/ 3304 w 213714"/>
                                                <a:gd name="connsiteY123" fmla="*/ 83597 h 172223"/>
                                                <a:gd name="connsiteX124" fmla="*/ 4017 w 213714"/>
                                                <a:gd name="connsiteY124" fmla="*/ 82042 h 172223"/>
                                                <a:gd name="connsiteX125" fmla="*/ 9264 w 213714"/>
                                                <a:gd name="connsiteY125" fmla="*/ 73490 h 172223"/>
                                                <a:gd name="connsiteX126" fmla="*/ 15354 w 213714"/>
                                                <a:gd name="connsiteY126" fmla="*/ 69474 h 172223"/>
                                                <a:gd name="connsiteX127" fmla="*/ 23841 w 213714"/>
                                                <a:gd name="connsiteY127" fmla="*/ 62412 h 172223"/>
                                                <a:gd name="connsiteX128" fmla="*/ 24877 w 213714"/>
                                                <a:gd name="connsiteY128" fmla="*/ 58978 h 172223"/>
                                                <a:gd name="connsiteX129" fmla="*/ 52476 w 213714"/>
                                                <a:gd name="connsiteY129" fmla="*/ 66364 h 172223"/>
                                                <a:gd name="connsiteX130" fmla="*/ 80464 w 213714"/>
                                                <a:gd name="connsiteY130" fmla="*/ 71288 h 172223"/>
                                                <a:gd name="connsiteX131" fmla="*/ 87201 w 213714"/>
                                                <a:gd name="connsiteY131" fmla="*/ 70834 h 172223"/>
                                                <a:gd name="connsiteX132" fmla="*/ 89793 w 213714"/>
                                                <a:gd name="connsiteY132" fmla="*/ 70057 h 172223"/>
                                                <a:gd name="connsiteX133" fmla="*/ 90117 w 213714"/>
                                                <a:gd name="connsiteY133" fmla="*/ 76730 h 172223"/>
                                                <a:gd name="connsiteX134" fmla="*/ 90182 w 213714"/>
                                                <a:gd name="connsiteY134" fmla="*/ 82625 h 172223"/>
                                                <a:gd name="connsiteX135" fmla="*/ 106378 w 213714"/>
                                                <a:gd name="connsiteY135" fmla="*/ 95064 h 172223"/>
                                                <a:gd name="connsiteX136" fmla="*/ 119141 w 213714"/>
                                                <a:gd name="connsiteY136" fmla="*/ 79062 h 172223"/>
                                                <a:gd name="connsiteX137" fmla="*/ 117132 w 213714"/>
                                                <a:gd name="connsiteY137" fmla="*/ 72130 h 172223"/>
                                                <a:gd name="connsiteX138" fmla="*/ 115448 w 213714"/>
                                                <a:gd name="connsiteY138" fmla="*/ 66688 h 172223"/>
                                                <a:gd name="connsiteX139" fmla="*/ 121991 w 213714"/>
                                                <a:gd name="connsiteY139" fmla="*/ 49779 h 172223"/>
                                                <a:gd name="connsiteX140" fmla="*/ 139872 w 213714"/>
                                                <a:gd name="connsiteY140" fmla="*/ 43300 h 172223"/>
                                                <a:gd name="connsiteX141" fmla="*/ 141038 w 213714"/>
                                                <a:gd name="connsiteY141" fmla="*/ 43300 h 172223"/>
                                                <a:gd name="connsiteX142" fmla="*/ 148748 w 213714"/>
                                                <a:gd name="connsiteY142" fmla="*/ 41616 h 172223"/>
                                                <a:gd name="connsiteX143" fmla="*/ 153283 w 213714"/>
                                                <a:gd name="connsiteY143" fmla="*/ 28076 h 172223"/>
                                                <a:gd name="connsiteX144" fmla="*/ 155810 w 213714"/>
                                                <a:gd name="connsiteY144" fmla="*/ 16285 h 172223"/>
                                                <a:gd name="connsiteX145" fmla="*/ 162029 w 213714"/>
                                                <a:gd name="connsiteY145" fmla="*/ 12657 h 172223"/>
                                                <a:gd name="connsiteX146" fmla="*/ 180946 w 213714"/>
                                                <a:gd name="connsiteY146" fmla="*/ 5206 h 172223"/>
                                                <a:gd name="connsiteX147" fmla="*/ 194422 w 213714"/>
                                                <a:gd name="connsiteY147" fmla="*/ 1967 h 172223"/>
                                                <a:gd name="connsiteX148" fmla="*/ 211331 w 213714"/>
                                                <a:gd name="connsiteY148" fmla="*/ 18617 h 172223"/>
                                                <a:gd name="connsiteX149" fmla="*/ 203557 w 213714"/>
                                                <a:gd name="connsiteY149" fmla="*/ 42717 h 172223"/>
                                                <a:gd name="connsiteX150" fmla="*/ 182566 w 213714"/>
                                                <a:gd name="connsiteY150" fmla="*/ 56452 h 172223"/>
                                                <a:gd name="connsiteX151" fmla="*/ 176606 w 213714"/>
                                                <a:gd name="connsiteY151" fmla="*/ 60145 h 17222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  <a:cxn ang="0">
                                                  <a:pos x="connsiteX104" y="connsiteY104"/>
                                                </a:cxn>
                                                <a:cxn ang="0">
                                                  <a:pos x="connsiteX105" y="connsiteY105"/>
                                                </a:cxn>
                                                <a:cxn ang="0">
                                                  <a:pos x="connsiteX106" y="connsiteY106"/>
                                                </a:cxn>
                                                <a:cxn ang="0">
                                                  <a:pos x="connsiteX107" y="connsiteY107"/>
                                                </a:cxn>
                                                <a:cxn ang="0">
                                                  <a:pos x="connsiteX108" y="connsiteY108"/>
                                                </a:cxn>
                                                <a:cxn ang="0">
                                                  <a:pos x="connsiteX109" y="connsiteY109"/>
                                                </a:cxn>
                                                <a:cxn ang="0">
                                                  <a:pos x="connsiteX110" y="connsiteY110"/>
                                                </a:cxn>
                                                <a:cxn ang="0">
                                                  <a:pos x="connsiteX111" y="connsiteY111"/>
                                                </a:cxn>
                                                <a:cxn ang="0">
                                                  <a:pos x="connsiteX112" y="connsiteY112"/>
                                                </a:cxn>
                                                <a:cxn ang="0">
                                                  <a:pos x="connsiteX113" y="connsiteY113"/>
                                                </a:cxn>
                                                <a:cxn ang="0">
                                                  <a:pos x="connsiteX114" y="connsiteY114"/>
                                                </a:cxn>
                                                <a:cxn ang="0">
                                                  <a:pos x="connsiteX115" y="connsiteY115"/>
                                                </a:cxn>
                                                <a:cxn ang="0">
                                                  <a:pos x="connsiteX116" y="connsiteY116"/>
                                                </a:cxn>
                                                <a:cxn ang="0">
                                                  <a:pos x="connsiteX117" y="connsiteY117"/>
                                                </a:cxn>
                                                <a:cxn ang="0">
                                                  <a:pos x="connsiteX118" y="connsiteY118"/>
                                                </a:cxn>
                                                <a:cxn ang="0">
                                                  <a:pos x="connsiteX119" y="connsiteY119"/>
                                                </a:cxn>
                                                <a:cxn ang="0">
                                                  <a:pos x="connsiteX120" y="connsiteY120"/>
                                                </a:cxn>
                                                <a:cxn ang="0">
                                                  <a:pos x="connsiteX121" y="connsiteY121"/>
                                                </a:cxn>
                                                <a:cxn ang="0">
                                                  <a:pos x="connsiteX122" y="connsiteY122"/>
                                                </a:cxn>
                                                <a:cxn ang="0">
                                                  <a:pos x="connsiteX123" y="connsiteY123"/>
                                                </a:cxn>
                                                <a:cxn ang="0">
                                                  <a:pos x="connsiteX124" y="connsiteY124"/>
                                                </a:cxn>
                                                <a:cxn ang="0">
                                                  <a:pos x="connsiteX125" y="connsiteY125"/>
                                                </a:cxn>
                                                <a:cxn ang="0">
                                                  <a:pos x="connsiteX126" y="connsiteY126"/>
                                                </a:cxn>
                                                <a:cxn ang="0">
                                                  <a:pos x="connsiteX127" y="connsiteY127"/>
                                                </a:cxn>
                                                <a:cxn ang="0">
                                                  <a:pos x="connsiteX128" y="connsiteY128"/>
                                                </a:cxn>
                                                <a:cxn ang="0">
                                                  <a:pos x="connsiteX129" y="connsiteY129"/>
                                                </a:cxn>
                                                <a:cxn ang="0">
                                                  <a:pos x="connsiteX130" y="connsiteY130"/>
                                                </a:cxn>
                                                <a:cxn ang="0">
                                                  <a:pos x="connsiteX131" y="connsiteY131"/>
                                                </a:cxn>
                                                <a:cxn ang="0">
                                                  <a:pos x="connsiteX132" y="connsiteY132"/>
                                                </a:cxn>
                                                <a:cxn ang="0">
                                                  <a:pos x="connsiteX133" y="connsiteY133"/>
                                                </a:cxn>
                                                <a:cxn ang="0">
                                                  <a:pos x="connsiteX134" y="connsiteY134"/>
                                                </a:cxn>
                                                <a:cxn ang="0">
                                                  <a:pos x="connsiteX135" y="connsiteY135"/>
                                                </a:cxn>
                                                <a:cxn ang="0">
                                                  <a:pos x="connsiteX136" y="connsiteY136"/>
                                                </a:cxn>
                                                <a:cxn ang="0">
                                                  <a:pos x="connsiteX137" y="connsiteY137"/>
                                                </a:cxn>
                                                <a:cxn ang="0">
                                                  <a:pos x="connsiteX138" y="connsiteY138"/>
                                                </a:cxn>
                                                <a:cxn ang="0">
                                                  <a:pos x="connsiteX139" y="connsiteY139"/>
                                                </a:cxn>
                                                <a:cxn ang="0">
                                                  <a:pos x="connsiteX140" y="connsiteY140"/>
                                                </a:cxn>
                                                <a:cxn ang="0">
                                                  <a:pos x="connsiteX141" y="connsiteY141"/>
                                                </a:cxn>
                                                <a:cxn ang="0">
                                                  <a:pos x="connsiteX142" y="connsiteY142"/>
                                                </a:cxn>
                                                <a:cxn ang="0">
                                                  <a:pos x="connsiteX143" y="connsiteY143"/>
                                                </a:cxn>
                                                <a:cxn ang="0">
                                                  <a:pos x="connsiteX144" y="connsiteY144"/>
                                                </a:cxn>
                                                <a:cxn ang="0">
                                                  <a:pos x="connsiteX145" y="connsiteY145"/>
                                                </a:cxn>
                                                <a:cxn ang="0">
                                                  <a:pos x="connsiteX146" y="connsiteY146"/>
                                                </a:cxn>
                                                <a:cxn ang="0">
                                                  <a:pos x="connsiteX147" y="connsiteY147"/>
                                                </a:cxn>
                                                <a:cxn ang="0">
                                                  <a:pos x="connsiteX148" y="connsiteY148"/>
                                                </a:cxn>
                                                <a:cxn ang="0">
                                                  <a:pos x="connsiteX149" y="connsiteY149"/>
                                                </a:cxn>
                                                <a:cxn ang="0">
                                                  <a:pos x="connsiteX150" y="connsiteY150"/>
                                                </a:cxn>
                                                <a:cxn ang="0">
                                                  <a:pos x="connsiteX151" y="connsiteY15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13714" h="172223">
                                                  <a:moveTo>
                                                    <a:pt x="213274" y="18293"/>
                                                  </a:moveTo>
                                                  <a:cubicBezTo>
                                                    <a:pt x="211655" y="8510"/>
                                                    <a:pt x="203427" y="477"/>
                                                    <a:pt x="194551" y="23"/>
                                                  </a:cubicBezTo>
                                                  <a:cubicBezTo>
                                                    <a:pt x="189498" y="-236"/>
                                                    <a:pt x="184574" y="1708"/>
                                                    <a:pt x="180234" y="3392"/>
                                                  </a:cubicBezTo>
                                                  <a:lnTo>
                                                    <a:pt x="161316" y="10843"/>
                                                  </a:lnTo>
                                                  <a:cubicBezTo>
                                                    <a:pt x="159049" y="11750"/>
                                                    <a:pt x="156263" y="12851"/>
                                                    <a:pt x="154320" y="14989"/>
                                                  </a:cubicBezTo>
                                                  <a:cubicBezTo>
                                                    <a:pt x="151274" y="18487"/>
                                                    <a:pt x="151274" y="23346"/>
                                                    <a:pt x="151339" y="28076"/>
                                                  </a:cubicBezTo>
                                                  <a:cubicBezTo>
                                                    <a:pt x="151339" y="32999"/>
                                                    <a:pt x="151339" y="37664"/>
                                                    <a:pt x="147711" y="39931"/>
                                                  </a:cubicBezTo>
                                                  <a:cubicBezTo>
                                                    <a:pt x="145833" y="41162"/>
                                                    <a:pt x="143371" y="41227"/>
                                                    <a:pt x="140974" y="41292"/>
                                                  </a:cubicBezTo>
                                                  <a:lnTo>
                                                    <a:pt x="139807" y="41292"/>
                                                  </a:lnTo>
                                                  <a:cubicBezTo>
                                                    <a:pt x="132292" y="41681"/>
                                                    <a:pt x="125490" y="44207"/>
                                                    <a:pt x="120760" y="48289"/>
                                                  </a:cubicBezTo>
                                                  <a:cubicBezTo>
                                                    <a:pt x="115189" y="53148"/>
                                                    <a:pt x="112338" y="60469"/>
                                                    <a:pt x="113569" y="67012"/>
                                                  </a:cubicBezTo>
                                                  <a:cubicBezTo>
                                                    <a:pt x="113893" y="69020"/>
                                                    <a:pt x="114670" y="70964"/>
                                                    <a:pt x="115318" y="72778"/>
                                                  </a:cubicBezTo>
                                                  <a:cubicBezTo>
                                                    <a:pt x="116161" y="74980"/>
                                                    <a:pt x="116938" y="77054"/>
                                                    <a:pt x="117197" y="79256"/>
                                                  </a:cubicBezTo>
                                                  <a:cubicBezTo>
                                                    <a:pt x="117845" y="85735"/>
                                                    <a:pt x="112598" y="92343"/>
                                                    <a:pt x="106183" y="93120"/>
                                                  </a:cubicBezTo>
                                                  <a:cubicBezTo>
                                                    <a:pt x="99640" y="93898"/>
                                                    <a:pt x="93032" y="88650"/>
                                                    <a:pt x="92125" y="82301"/>
                                                  </a:cubicBezTo>
                                                  <a:cubicBezTo>
                                                    <a:pt x="91866" y="80552"/>
                                                    <a:pt x="91995" y="78673"/>
                                                    <a:pt x="92125" y="76794"/>
                                                  </a:cubicBezTo>
                                                  <a:cubicBezTo>
                                                    <a:pt x="92320" y="73750"/>
                                                    <a:pt x="92449" y="70575"/>
                                                    <a:pt x="91154" y="67854"/>
                                                  </a:cubicBezTo>
                                                  <a:lnTo>
                                                    <a:pt x="90765" y="67271"/>
                                                  </a:lnTo>
                                                  <a:lnTo>
                                                    <a:pt x="90765" y="67271"/>
                                                  </a:lnTo>
                                                  <a:cubicBezTo>
                                                    <a:pt x="90765" y="67271"/>
                                                    <a:pt x="90246" y="66364"/>
                                                    <a:pt x="90246" y="66364"/>
                                                  </a:cubicBezTo>
                                                  <a:lnTo>
                                                    <a:pt x="89339" y="67854"/>
                                                  </a:lnTo>
                                                  <a:cubicBezTo>
                                                    <a:pt x="89339" y="67854"/>
                                                    <a:pt x="89210" y="68113"/>
                                                    <a:pt x="89145" y="68178"/>
                                                  </a:cubicBezTo>
                                                  <a:cubicBezTo>
                                                    <a:pt x="88627" y="68631"/>
                                                    <a:pt x="87785" y="68761"/>
                                                    <a:pt x="87007" y="68891"/>
                                                  </a:cubicBezTo>
                                                  <a:cubicBezTo>
                                                    <a:pt x="84934" y="69150"/>
                                                    <a:pt x="82796" y="69344"/>
                                                    <a:pt x="80529" y="69344"/>
                                                  </a:cubicBezTo>
                                                  <a:cubicBezTo>
                                                    <a:pt x="71135" y="69344"/>
                                                    <a:pt x="61546" y="66753"/>
                                                    <a:pt x="53060" y="64485"/>
                                                  </a:cubicBezTo>
                                                  <a:lnTo>
                                                    <a:pt x="24100" y="56711"/>
                                                  </a:lnTo>
                                                  <a:lnTo>
                                                    <a:pt x="23970" y="56711"/>
                                                  </a:lnTo>
                                                  <a:lnTo>
                                                    <a:pt x="23064" y="56452"/>
                                                  </a:lnTo>
                                                  <a:lnTo>
                                                    <a:pt x="23064" y="57683"/>
                                                  </a:lnTo>
                                                  <a:cubicBezTo>
                                                    <a:pt x="23064" y="59173"/>
                                                    <a:pt x="22804" y="60404"/>
                                                    <a:pt x="22221" y="61440"/>
                                                  </a:cubicBezTo>
                                                  <a:cubicBezTo>
                                                    <a:pt x="20602" y="64356"/>
                                                    <a:pt x="17622" y="66040"/>
                                                    <a:pt x="14447" y="67725"/>
                                                  </a:cubicBezTo>
                                                  <a:cubicBezTo>
                                                    <a:pt x="12180" y="68955"/>
                                                    <a:pt x="9847" y="70251"/>
                                                    <a:pt x="7969" y="72065"/>
                                                  </a:cubicBezTo>
                                                  <a:cubicBezTo>
                                                    <a:pt x="5312" y="74657"/>
                                                    <a:pt x="3757" y="78025"/>
                                                    <a:pt x="2267" y="81265"/>
                                                  </a:cubicBezTo>
                                                  <a:cubicBezTo>
                                                    <a:pt x="1814" y="82301"/>
                                                    <a:pt x="1360" y="83338"/>
                                                    <a:pt x="842" y="84374"/>
                                                  </a:cubicBezTo>
                                                  <a:lnTo>
                                                    <a:pt x="518" y="84958"/>
                                                  </a:lnTo>
                                                  <a:lnTo>
                                                    <a:pt x="0" y="85994"/>
                                                  </a:lnTo>
                                                  <a:lnTo>
                                                    <a:pt x="1879" y="85735"/>
                                                  </a:lnTo>
                                                  <a:cubicBezTo>
                                                    <a:pt x="4017" y="85476"/>
                                                    <a:pt x="6608" y="85152"/>
                                                    <a:pt x="9135" y="85281"/>
                                                  </a:cubicBezTo>
                                                  <a:cubicBezTo>
                                                    <a:pt x="12244" y="85476"/>
                                                    <a:pt x="15354" y="86642"/>
                                                    <a:pt x="17622" y="88391"/>
                                                  </a:cubicBezTo>
                                                  <a:lnTo>
                                                    <a:pt x="17945" y="88650"/>
                                                  </a:lnTo>
                                                  <a:lnTo>
                                                    <a:pt x="18399" y="88650"/>
                                                  </a:lnTo>
                                                  <a:cubicBezTo>
                                                    <a:pt x="18399" y="88650"/>
                                                    <a:pt x="18852" y="88456"/>
                                                    <a:pt x="19111" y="88456"/>
                                                  </a:cubicBezTo>
                                                  <a:cubicBezTo>
                                                    <a:pt x="20796" y="88067"/>
                                                    <a:pt x="22480" y="87938"/>
                                                    <a:pt x="24100" y="87938"/>
                                                  </a:cubicBezTo>
                                                  <a:cubicBezTo>
                                                    <a:pt x="27210" y="87938"/>
                                                    <a:pt x="31551" y="88650"/>
                                                    <a:pt x="34466" y="92084"/>
                                                  </a:cubicBezTo>
                                                  <a:cubicBezTo>
                                                    <a:pt x="35761" y="93639"/>
                                                    <a:pt x="36798" y="95712"/>
                                                    <a:pt x="37770" y="97720"/>
                                                  </a:cubicBezTo>
                                                  <a:cubicBezTo>
                                                    <a:pt x="39908" y="101867"/>
                                                    <a:pt x="42046" y="106207"/>
                                                    <a:pt x="46970" y="106272"/>
                                                  </a:cubicBezTo>
                                                  <a:cubicBezTo>
                                                    <a:pt x="48265" y="106272"/>
                                                    <a:pt x="49626" y="105948"/>
                                                    <a:pt x="50921" y="105624"/>
                                                  </a:cubicBezTo>
                                                  <a:cubicBezTo>
                                                    <a:pt x="53124" y="105041"/>
                                                    <a:pt x="55003" y="104652"/>
                                                    <a:pt x="55975" y="105754"/>
                                                  </a:cubicBezTo>
                                                  <a:cubicBezTo>
                                                    <a:pt x="56623" y="106466"/>
                                                    <a:pt x="56752" y="107633"/>
                                                    <a:pt x="56817" y="108928"/>
                                                  </a:cubicBezTo>
                                                  <a:lnTo>
                                                    <a:pt x="57465" y="123246"/>
                                                  </a:lnTo>
                                                  <a:lnTo>
                                                    <a:pt x="107091" y="118322"/>
                                                  </a:lnTo>
                                                  <a:cubicBezTo>
                                                    <a:pt x="108581" y="121756"/>
                                                    <a:pt x="110071" y="125578"/>
                                                    <a:pt x="110136" y="129465"/>
                                                  </a:cubicBezTo>
                                                  <a:cubicBezTo>
                                                    <a:pt x="110136" y="133028"/>
                                                    <a:pt x="108516" y="137369"/>
                                                    <a:pt x="104823" y="138924"/>
                                                  </a:cubicBezTo>
                                                  <a:cubicBezTo>
                                                    <a:pt x="104046" y="139248"/>
                                                    <a:pt x="103204" y="139442"/>
                                                    <a:pt x="102361" y="139637"/>
                                                  </a:cubicBezTo>
                                                  <a:cubicBezTo>
                                                    <a:pt x="101195" y="139896"/>
                                                    <a:pt x="100029" y="140155"/>
                                                    <a:pt x="98928" y="140673"/>
                                                  </a:cubicBezTo>
                                                  <a:cubicBezTo>
                                                    <a:pt x="94004" y="143265"/>
                                                    <a:pt x="93810" y="149355"/>
                                                    <a:pt x="93615" y="154667"/>
                                                  </a:cubicBezTo>
                                                  <a:cubicBezTo>
                                                    <a:pt x="93615" y="155833"/>
                                                    <a:pt x="93551" y="156999"/>
                                                    <a:pt x="93486" y="158100"/>
                                                  </a:cubicBezTo>
                                                  <a:cubicBezTo>
                                                    <a:pt x="93486" y="158425"/>
                                                    <a:pt x="93421" y="158748"/>
                                                    <a:pt x="93356" y="159072"/>
                                                  </a:cubicBezTo>
                                                  <a:lnTo>
                                                    <a:pt x="93356" y="160109"/>
                                                  </a:lnTo>
                                                  <a:cubicBezTo>
                                                    <a:pt x="93356" y="160109"/>
                                                    <a:pt x="93226" y="161145"/>
                                                    <a:pt x="93226" y="161145"/>
                                                  </a:cubicBezTo>
                                                  <a:lnTo>
                                                    <a:pt x="94652" y="160692"/>
                                                  </a:lnTo>
                                                  <a:cubicBezTo>
                                                    <a:pt x="94652" y="160692"/>
                                                    <a:pt x="94976" y="160627"/>
                                                    <a:pt x="95105" y="160562"/>
                                                  </a:cubicBezTo>
                                                  <a:cubicBezTo>
                                                    <a:pt x="94133" y="163089"/>
                                                    <a:pt x="93291" y="165810"/>
                                                    <a:pt x="92514" y="169114"/>
                                                  </a:cubicBezTo>
                                                  <a:lnTo>
                                                    <a:pt x="91801" y="172224"/>
                                                  </a:lnTo>
                                                  <a:lnTo>
                                                    <a:pt x="93162" y="170928"/>
                                                  </a:lnTo>
                                                  <a:lnTo>
                                                    <a:pt x="94133" y="170021"/>
                                                  </a:lnTo>
                                                  <a:cubicBezTo>
                                                    <a:pt x="95429" y="168790"/>
                                                    <a:pt x="96790" y="167559"/>
                                                    <a:pt x="98150" y="166328"/>
                                                  </a:cubicBezTo>
                                                  <a:cubicBezTo>
                                                    <a:pt x="100158" y="164579"/>
                                                    <a:pt x="102426" y="162636"/>
                                                    <a:pt x="105017" y="161858"/>
                                                  </a:cubicBezTo>
                                                  <a:cubicBezTo>
                                                    <a:pt x="106637" y="161340"/>
                                                    <a:pt x="108386" y="161340"/>
                                                    <a:pt x="110201" y="161340"/>
                                                  </a:cubicBezTo>
                                                  <a:cubicBezTo>
                                                    <a:pt x="111042" y="161340"/>
                                                    <a:pt x="111820" y="161340"/>
                                                    <a:pt x="112598" y="161275"/>
                                                  </a:cubicBezTo>
                                                  <a:cubicBezTo>
                                                    <a:pt x="128988" y="160368"/>
                                                    <a:pt x="139419" y="143977"/>
                                                    <a:pt x="143435" y="130308"/>
                                                  </a:cubicBezTo>
                                                  <a:cubicBezTo>
                                                    <a:pt x="143695" y="129465"/>
                                                    <a:pt x="143889" y="128688"/>
                                                    <a:pt x="144148" y="127846"/>
                                                  </a:cubicBezTo>
                                                  <a:cubicBezTo>
                                                    <a:pt x="145249" y="123894"/>
                                                    <a:pt x="146351" y="119747"/>
                                                    <a:pt x="148813" y="116508"/>
                                                  </a:cubicBezTo>
                                                  <a:cubicBezTo>
                                                    <a:pt x="149720" y="115212"/>
                                                    <a:pt x="150821" y="114111"/>
                                                    <a:pt x="152052" y="112945"/>
                                                  </a:cubicBezTo>
                                                  <a:cubicBezTo>
                                                    <a:pt x="153413" y="111455"/>
                                                    <a:pt x="154902" y="110030"/>
                                                    <a:pt x="156069" y="108216"/>
                                                  </a:cubicBezTo>
                                                  <a:cubicBezTo>
                                                    <a:pt x="158530" y="104458"/>
                                                    <a:pt x="159114" y="99793"/>
                                                    <a:pt x="159697" y="95388"/>
                                                  </a:cubicBezTo>
                                                  <a:cubicBezTo>
                                                    <a:pt x="160345" y="90400"/>
                                                    <a:pt x="160992" y="85670"/>
                                                    <a:pt x="164037" y="82172"/>
                                                  </a:cubicBezTo>
                                                  <a:cubicBezTo>
                                                    <a:pt x="165592" y="80422"/>
                                                    <a:pt x="167795" y="78997"/>
                                                    <a:pt x="169933" y="77572"/>
                                                  </a:cubicBezTo>
                                                  <a:cubicBezTo>
                                                    <a:pt x="173755" y="75045"/>
                                                    <a:pt x="177772" y="72389"/>
                                                    <a:pt x="178161" y="67660"/>
                                                  </a:cubicBezTo>
                                                  <a:cubicBezTo>
                                                    <a:pt x="178161" y="66753"/>
                                                    <a:pt x="178161" y="65781"/>
                                                    <a:pt x="178161" y="64939"/>
                                                  </a:cubicBezTo>
                                                  <a:cubicBezTo>
                                                    <a:pt x="178031" y="63513"/>
                                                    <a:pt x="177901" y="62153"/>
                                                    <a:pt x="178420" y="61052"/>
                                                  </a:cubicBezTo>
                                                  <a:cubicBezTo>
                                                    <a:pt x="179262" y="59497"/>
                                                    <a:pt x="181335" y="58914"/>
                                                    <a:pt x="183473" y="58266"/>
                                                  </a:cubicBezTo>
                                                  <a:cubicBezTo>
                                                    <a:pt x="191830" y="55739"/>
                                                    <a:pt x="199540" y="50686"/>
                                                    <a:pt x="205176" y="44013"/>
                                                  </a:cubicBezTo>
                                                  <a:cubicBezTo>
                                                    <a:pt x="209905" y="38312"/>
                                                    <a:pt x="212756" y="31898"/>
                                                    <a:pt x="213533" y="25614"/>
                                                  </a:cubicBezTo>
                                                  <a:cubicBezTo>
                                                    <a:pt x="213793" y="23087"/>
                                                    <a:pt x="213793" y="20690"/>
                                                    <a:pt x="213404" y="18293"/>
                                                  </a:cubicBezTo>
                                                  <a:close/>
                                                  <a:moveTo>
                                                    <a:pt x="176606" y="60145"/>
                                                  </a:moveTo>
                                                  <a:cubicBezTo>
                                                    <a:pt x="175764" y="61764"/>
                                                    <a:pt x="175893" y="63449"/>
                                                    <a:pt x="176088" y="65133"/>
                                                  </a:cubicBezTo>
                                                  <a:cubicBezTo>
                                                    <a:pt x="176152" y="65975"/>
                                                    <a:pt x="176217" y="66753"/>
                                                    <a:pt x="176152" y="67465"/>
                                                  </a:cubicBezTo>
                                                  <a:cubicBezTo>
                                                    <a:pt x="175828" y="71288"/>
                                                    <a:pt x="172395" y="73555"/>
                                                    <a:pt x="168767" y="75952"/>
                                                  </a:cubicBezTo>
                                                  <a:cubicBezTo>
                                                    <a:pt x="166564" y="77442"/>
                                                    <a:pt x="164232" y="78933"/>
                                                    <a:pt x="162482" y="80941"/>
                                                  </a:cubicBezTo>
                                                  <a:cubicBezTo>
                                                    <a:pt x="159049" y="84828"/>
                                                    <a:pt x="158401" y="90075"/>
                                                    <a:pt x="157688" y="95129"/>
                                                  </a:cubicBezTo>
                                                  <a:cubicBezTo>
                                                    <a:pt x="157170" y="99340"/>
                                                    <a:pt x="156587" y="103745"/>
                                                    <a:pt x="154320" y="107179"/>
                                                  </a:cubicBezTo>
                                                  <a:cubicBezTo>
                                                    <a:pt x="153348" y="108799"/>
                                                    <a:pt x="151987" y="110094"/>
                                                    <a:pt x="150562" y="111520"/>
                                                  </a:cubicBezTo>
                                                  <a:cubicBezTo>
                                                    <a:pt x="149396" y="112750"/>
                                                    <a:pt x="148165" y="113981"/>
                                                    <a:pt x="147193" y="115342"/>
                                                  </a:cubicBezTo>
                                                  <a:cubicBezTo>
                                                    <a:pt x="144537" y="118905"/>
                                                    <a:pt x="143371" y="123181"/>
                                                    <a:pt x="142204" y="127327"/>
                                                  </a:cubicBezTo>
                                                  <a:cubicBezTo>
                                                    <a:pt x="141945" y="128105"/>
                                                    <a:pt x="141751" y="128947"/>
                                                    <a:pt x="141492" y="129724"/>
                                                  </a:cubicBezTo>
                                                  <a:cubicBezTo>
                                                    <a:pt x="137670" y="142876"/>
                                                    <a:pt x="127757" y="158489"/>
                                                    <a:pt x="112468" y="159331"/>
                                                  </a:cubicBezTo>
                                                  <a:cubicBezTo>
                                                    <a:pt x="111691" y="159396"/>
                                                    <a:pt x="110913" y="159396"/>
                                                    <a:pt x="110136" y="159396"/>
                                                  </a:cubicBezTo>
                                                  <a:cubicBezTo>
                                                    <a:pt x="108257" y="159396"/>
                                                    <a:pt x="106313" y="159461"/>
                                                    <a:pt x="104435" y="159979"/>
                                                  </a:cubicBezTo>
                                                  <a:cubicBezTo>
                                                    <a:pt x="101389" y="160886"/>
                                                    <a:pt x="98928" y="163024"/>
                                                    <a:pt x="96790" y="164903"/>
                                                  </a:cubicBezTo>
                                                  <a:cubicBezTo>
                                                    <a:pt x="96271" y="165357"/>
                                                    <a:pt x="95688" y="165875"/>
                                                    <a:pt x="95170" y="166393"/>
                                                  </a:cubicBezTo>
                                                  <a:cubicBezTo>
                                                    <a:pt x="95883" y="163802"/>
                                                    <a:pt x="96660" y="161599"/>
                                                    <a:pt x="97567" y="159526"/>
                                                  </a:cubicBezTo>
                                                  <a:lnTo>
                                                    <a:pt x="98280" y="157906"/>
                                                  </a:lnTo>
                                                  <a:lnTo>
                                                    <a:pt x="96466" y="158165"/>
                                                  </a:lnTo>
                                                  <a:cubicBezTo>
                                                    <a:pt x="96077" y="158230"/>
                                                    <a:pt x="95688" y="158360"/>
                                                    <a:pt x="95364" y="158425"/>
                                                  </a:cubicBezTo>
                                                  <a:lnTo>
                                                    <a:pt x="95364" y="158230"/>
                                                  </a:lnTo>
                                                  <a:cubicBezTo>
                                                    <a:pt x="95429" y="157129"/>
                                                    <a:pt x="95494" y="155963"/>
                                                    <a:pt x="95494" y="154732"/>
                                                  </a:cubicBezTo>
                                                  <a:cubicBezTo>
                                                    <a:pt x="95688" y="149678"/>
                                                    <a:pt x="95818" y="144431"/>
                                                    <a:pt x="99705" y="142422"/>
                                                  </a:cubicBezTo>
                                                  <a:cubicBezTo>
                                                    <a:pt x="100612" y="141969"/>
                                                    <a:pt x="101649" y="141775"/>
                                                    <a:pt x="102685" y="141515"/>
                                                  </a:cubicBezTo>
                                                  <a:cubicBezTo>
                                                    <a:pt x="103592" y="141321"/>
                                                    <a:pt x="104564" y="141062"/>
                                                    <a:pt x="105536" y="140673"/>
                                                  </a:cubicBezTo>
                                                  <a:cubicBezTo>
                                                    <a:pt x="110071" y="138794"/>
                                                    <a:pt x="112014" y="133676"/>
                                                    <a:pt x="112014" y="129400"/>
                                                  </a:cubicBezTo>
                                                  <a:cubicBezTo>
                                                    <a:pt x="112014" y="124930"/>
                                                    <a:pt x="110136" y="120654"/>
                                                    <a:pt x="108516" y="116897"/>
                                                  </a:cubicBezTo>
                                                  <a:lnTo>
                                                    <a:pt x="108257" y="116249"/>
                                                  </a:lnTo>
                                                  <a:lnTo>
                                                    <a:pt x="59214" y="121108"/>
                                                  </a:lnTo>
                                                  <a:lnTo>
                                                    <a:pt x="58696" y="108863"/>
                                                  </a:lnTo>
                                                  <a:cubicBezTo>
                                                    <a:pt x="58696" y="107633"/>
                                                    <a:pt x="58566" y="105754"/>
                                                    <a:pt x="57400" y="104458"/>
                                                  </a:cubicBezTo>
                                                  <a:cubicBezTo>
                                                    <a:pt x="56558" y="103551"/>
                                                    <a:pt x="55457" y="103033"/>
                                                    <a:pt x="54031" y="103033"/>
                                                  </a:cubicBezTo>
                                                  <a:cubicBezTo>
                                                    <a:pt x="52865" y="103033"/>
                                                    <a:pt x="51569" y="103422"/>
                                                    <a:pt x="50338" y="103745"/>
                                                  </a:cubicBezTo>
                                                  <a:cubicBezTo>
                                                    <a:pt x="49172" y="104005"/>
                                                    <a:pt x="47941" y="104328"/>
                                                    <a:pt x="46840" y="104328"/>
                                                  </a:cubicBezTo>
                                                  <a:cubicBezTo>
                                                    <a:pt x="43212" y="104264"/>
                                                    <a:pt x="41463" y="100830"/>
                                                    <a:pt x="39454" y="96813"/>
                                                  </a:cubicBezTo>
                                                  <a:cubicBezTo>
                                                    <a:pt x="38418" y="94740"/>
                                                    <a:pt x="37317" y="92537"/>
                                                    <a:pt x="35891" y="90853"/>
                                                  </a:cubicBezTo>
                                                  <a:cubicBezTo>
                                                    <a:pt x="32263" y="86512"/>
                                                    <a:pt x="25785" y="85022"/>
                                                    <a:pt x="18399" y="86577"/>
                                                  </a:cubicBezTo>
                                                  <a:cubicBezTo>
                                                    <a:pt x="15872" y="84698"/>
                                                    <a:pt x="12504" y="83532"/>
                                                    <a:pt x="9199" y="83338"/>
                                                  </a:cubicBezTo>
                                                  <a:cubicBezTo>
                                                    <a:pt x="7191" y="83208"/>
                                                    <a:pt x="5118" y="83338"/>
                                                    <a:pt x="3304" y="83597"/>
                                                  </a:cubicBezTo>
                                                  <a:cubicBezTo>
                                                    <a:pt x="3563" y="83079"/>
                                                    <a:pt x="3757" y="82561"/>
                                                    <a:pt x="4017" y="82042"/>
                                                  </a:cubicBezTo>
                                                  <a:cubicBezTo>
                                                    <a:pt x="5442" y="78803"/>
                                                    <a:pt x="6867" y="75758"/>
                                                    <a:pt x="9264" y="73490"/>
                                                  </a:cubicBezTo>
                                                  <a:cubicBezTo>
                                                    <a:pt x="10949" y="71871"/>
                                                    <a:pt x="13151" y="70640"/>
                                                    <a:pt x="15354" y="69474"/>
                                                  </a:cubicBezTo>
                                                  <a:cubicBezTo>
                                                    <a:pt x="18593" y="67660"/>
                                                    <a:pt x="22027" y="65781"/>
                                                    <a:pt x="23841" y="62412"/>
                                                  </a:cubicBezTo>
                                                  <a:cubicBezTo>
                                                    <a:pt x="24424" y="61311"/>
                                                    <a:pt x="24748" y="60209"/>
                                                    <a:pt x="24877" y="58978"/>
                                                  </a:cubicBezTo>
                                                  <a:lnTo>
                                                    <a:pt x="52476" y="66364"/>
                                                  </a:lnTo>
                                                  <a:cubicBezTo>
                                                    <a:pt x="61093" y="68631"/>
                                                    <a:pt x="70811" y="71288"/>
                                                    <a:pt x="80464" y="71288"/>
                                                  </a:cubicBezTo>
                                                  <a:cubicBezTo>
                                                    <a:pt x="82796" y="71288"/>
                                                    <a:pt x="85064" y="71093"/>
                                                    <a:pt x="87201" y="70834"/>
                                                  </a:cubicBezTo>
                                                  <a:cubicBezTo>
                                                    <a:pt x="88044" y="70705"/>
                                                    <a:pt x="89016" y="70510"/>
                                                    <a:pt x="89793" y="70057"/>
                                                  </a:cubicBezTo>
                                                  <a:cubicBezTo>
                                                    <a:pt x="90376" y="72065"/>
                                                    <a:pt x="90246" y="74333"/>
                                                    <a:pt x="90117" y="76730"/>
                                                  </a:cubicBezTo>
                                                  <a:cubicBezTo>
                                                    <a:pt x="90117" y="78673"/>
                                                    <a:pt x="89923" y="80682"/>
                                                    <a:pt x="90182" y="82625"/>
                                                  </a:cubicBezTo>
                                                  <a:cubicBezTo>
                                                    <a:pt x="91218" y="90011"/>
                                                    <a:pt x="98669" y="95971"/>
                                                    <a:pt x="106378" y="95064"/>
                                                  </a:cubicBezTo>
                                                  <a:cubicBezTo>
                                                    <a:pt x="113958" y="94092"/>
                                                    <a:pt x="119918" y="86642"/>
                                                    <a:pt x="119141" y="79062"/>
                                                  </a:cubicBezTo>
                                                  <a:cubicBezTo>
                                                    <a:pt x="118882" y="76600"/>
                                                    <a:pt x="117975" y="74333"/>
                                                    <a:pt x="117132" y="72130"/>
                                                  </a:cubicBezTo>
                                                  <a:cubicBezTo>
                                                    <a:pt x="116485" y="70251"/>
                                                    <a:pt x="115772" y="68502"/>
                                                    <a:pt x="115448" y="66688"/>
                                                  </a:cubicBezTo>
                                                  <a:cubicBezTo>
                                                    <a:pt x="114347" y="60792"/>
                                                    <a:pt x="116938" y="54184"/>
                                                    <a:pt x="121991" y="49779"/>
                                                  </a:cubicBezTo>
                                                  <a:cubicBezTo>
                                                    <a:pt x="126461" y="45956"/>
                                                    <a:pt x="132811" y="43624"/>
                                                    <a:pt x="139872" y="43300"/>
                                                  </a:cubicBezTo>
                                                  <a:lnTo>
                                                    <a:pt x="141038" y="43300"/>
                                                  </a:lnTo>
                                                  <a:cubicBezTo>
                                                    <a:pt x="143695" y="43171"/>
                                                    <a:pt x="146416" y="43106"/>
                                                    <a:pt x="148748" y="41616"/>
                                                  </a:cubicBezTo>
                                                  <a:cubicBezTo>
                                                    <a:pt x="153283" y="38765"/>
                                                    <a:pt x="153283" y="33323"/>
                                                    <a:pt x="153283" y="28076"/>
                                                  </a:cubicBezTo>
                                                  <a:cubicBezTo>
                                                    <a:pt x="153283" y="23670"/>
                                                    <a:pt x="153283" y="19200"/>
                                                    <a:pt x="155810" y="16285"/>
                                                  </a:cubicBezTo>
                                                  <a:cubicBezTo>
                                                    <a:pt x="157364" y="14471"/>
                                                    <a:pt x="159891" y="13499"/>
                                                    <a:pt x="162029" y="12657"/>
                                                  </a:cubicBezTo>
                                                  <a:lnTo>
                                                    <a:pt x="180946" y="5206"/>
                                                  </a:lnTo>
                                                  <a:cubicBezTo>
                                                    <a:pt x="185093" y="3587"/>
                                                    <a:pt x="189822" y="1708"/>
                                                    <a:pt x="194422" y="1967"/>
                                                  </a:cubicBezTo>
                                                  <a:cubicBezTo>
                                                    <a:pt x="202455" y="2356"/>
                                                    <a:pt x="209905" y="9677"/>
                                                    <a:pt x="211331" y="18617"/>
                                                  </a:cubicBezTo>
                                                  <a:cubicBezTo>
                                                    <a:pt x="212627" y="26521"/>
                                                    <a:pt x="209776" y="35332"/>
                                                    <a:pt x="203557" y="42717"/>
                                                  </a:cubicBezTo>
                                                  <a:cubicBezTo>
                                                    <a:pt x="198179" y="49131"/>
                                                    <a:pt x="190794" y="53990"/>
                                                    <a:pt x="182566" y="56452"/>
                                                  </a:cubicBezTo>
                                                  <a:cubicBezTo>
                                                    <a:pt x="180363" y="57164"/>
                                                    <a:pt x="177836" y="57877"/>
                                                    <a:pt x="176606" y="6014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1" name="Freeform: Shape 200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A73BFB1-36AF-4AAD-8499-8C15D1B43F3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690679" y="3840206"/>
                                              <a:ext cx="56400" cy="5080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3423 w 56400"/>
                                                <a:gd name="connsiteY0" fmla="*/ 3480 h 50805"/>
                                                <a:gd name="connsiteX1" fmla="*/ 6621 w 56400"/>
                                                <a:gd name="connsiteY1" fmla="*/ 6136 h 50805"/>
                                                <a:gd name="connsiteX2" fmla="*/ 5908 w 56400"/>
                                                <a:gd name="connsiteY2" fmla="*/ 9699 h 50805"/>
                                                <a:gd name="connsiteX3" fmla="*/ 4612 w 56400"/>
                                                <a:gd name="connsiteY3" fmla="*/ 22462 h 50805"/>
                                                <a:gd name="connsiteX4" fmla="*/ 1502 w 56400"/>
                                                <a:gd name="connsiteY4" fmla="*/ 25701 h 50805"/>
                                                <a:gd name="connsiteX5" fmla="*/ 1956 w 56400"/>
                                                <a:gd name="connsiteY5" fmla="*/ 37881 h 50805"/>
                                                <a:gd name="connsiteX6" fmla="*/ 9471 w 56400"/>
                                                <a:gd name="connsiteY6" fmla="*/ 49996 h 50805"/>
                                                <a:gd name="connsiteX7" fmla="*/ 17699 w 56400"/>
                                                <a:gd name="connsiteY7" fmla="*/ 49218 h 50805"/>
                                                <a:gd name="connsiteX8" fmla="*/ 20226 w 56400"/>
                                                <a:gd name="connsiteY8" fmla="*/ 41379 h 50805"/>
                                                <a:gd name="connsiteX9" fmla="*/ 38236 w 56400"/>
                                                <a:gd name="connsiteY9" fmla="*/ 39824 h 50805"/>
                                                <a:gd name="connsiteX10" fmla="*/ 43290 w 56400"/>
                                                <a:gd name="connsiteY10" fmla="*/ 36650 h 50805"/>
                                                <a:gd name="connsiteX11" fmla="*/ 44520 w 56400"/>
                                                <a:gd name="connsiteY11" fmla="*/ 25831 h 50805"/>
                                                <a:gd name="connsiteX12" fmla="*/ 47824 w 56400"/>
                                                <a:gd name="connsiteY12" fmla="*/ 23563 h 50805"/>
                                                <a:gd name="connsiteX13" fmla="*/ 56311 w 56400"/>
                                                <a:gd name="connsiteY13" fmla="*/ 10671 h 50805"/>
                                                <a:gd name="connsiteX14" fmla="*/ 53201 w 56400"/>
                                                <a:gd name="connsiteY14" fmla="*/ 1601 h 50805"/>
                                                <a:gd name="connsiteX15" fmla="*/ 44909 w 56400"/>
                                                <a:gd name="connsiteY15" fmla="*/ 435 h 50805"/>
                                                <a:gd name="connsiteX16" fmla="*/ 28648 w 56400"/>
                                                <a:gd name="connsiteY16" fmla="*/ 7107 h 50805"/>
                                                <a:gd name="connsiteX17" fmla="*/ 13423 w 56400"/>
                                                <a:gd name="connsiteY17" fmla="*/ 3544 h 5080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6400" h="50805">
                                                  <a:moveTo>
                                                    <a:pt x="13423" y="3480"/>
                                                  </a:moveTo>
                                                  <a:cubicBezTo>
                                                    <a:pt x="10897" y="3220"/>
                                                    <a:pt x="7916" y="3868"/>
                                                    <a:pt x="6621" y="6136"/>
                                                  </a:cubicBezTo>
                                                  <a:cubicBezTo>
                                                    <a:pt x="6038" y="7172"/>
                                                    <a:pt x="5908" y="8468"/>
                                                    <a:pt x="5908" y="9699"/>
                                                  </a:cubicBezTo>
                                                  <a:cubicBezTo>
                                                    <a:pt x="5908" y="14104"/>
                                                    <a:pt x="7269" y="18963"/>
                                                    <a:pt x="4612" y="22462"/>
                                                  </a:cubicBezTo>
                                                  <a:cubicBezTo>
                                                    <a:pt x="3705" y="23628"/>
                                                    <a:pt x="2410" y="24470"/>
                                                    <a:pt x="1502" y="25701"/>
                                                  </a:cubicBezTo>
                                                  <a:cubicBezTo>
                                                    <a:pt x="-1089" y="29070"/>
                                                    <a:pt x="77" y="33994"/>
                                                    <a:pt x="1956" y="37881"/>
                                                  </a:cubicBezTo>
                                                  <a:cubicBezTo>
                                                    <a:pt x="4029" y="42157"/>
                                                    <a:pt x="6751" y="46109"/>
                                                    <a:pt x="9471" y="49996"/>
                                                  </a:cubicBezTo>
                                                  <a:cubicBezTo>
                                                    <a:pt x="12063" y="51291"/>
                                                    <a:pt x="15432" y="51032"/>
                                                    <a:pt x="17699" y="49218"/>
                                                  </a:cubicBezTo>
                                                  <a:cubicBezTo>
                                                    <a:pt x="19966" y="47404"/>
                                                    <a:pt x="21068" y="44165"/>
                                                    <a:pt x="20226" y="41379"/>
                                                  </a:cubicBezTo>
                                                  <a:cubicBezTo>
                                                    <a:pt x="26251" y="42027"/>
                                                    <a:pt x="32405" y="41509"/>
                                                    <a:pt x="38236" y="39824"/>
                                                  </a:cubicBezTo>
                                                  <a:cubicBezTo>
                                                    <a:pt x="40244" y="39241"/>
                                                    <a:pt x="42318" y="38399"/>
                                                    <a:pt x="43290" y="36650"/>
                                                  </a:cubicBezTo>
                                                  <a:cubicBezTo>
                                                    <a:pt x="45103" y="33410"/>
                                                    <a:pt x="42253" y="28811"/>
                                                    <a:pt x="44520" y="25831"/>
                                                  </a:cubicBezTo>
                                                  <a:cubicBezTo>
                                                    <a:pt x="45298" y="24729"/>
                                                    <a:pt x="46593" y="24211"/>
                                                    <a:pt x="47824" y="23563"/>
                                                  </a:cubicBezTo>
                                                  <a:cubicBezTo>
                                                    <a:pt x="52489" y="20907"/>
                                                    <a:pt x="55728" y="15983"/>
                                                    <a:pt x="56311" y="10671"/>
                                                  </a:cubicBezTo>
                                                  <a:cubicBezTo>
                                                    <a:pt x="56700" y="7367"/>
                                                    <a:pt x="55858" y="3674"/>
                                                    <a:pt x="53201" y="1601"/>
                                                  </a:cubicBezTo>
                                                  <a:cubicBezTo>
                                                    <a:pt x="50934" y="-148"/>
                                                    <a:pt x="47695" y="-343"/>
                                                    <a:pt x="44909" y="435"/>
                                                  </a:cubicBezTo>
                                                  <a:cubicBezTo>
                                                    <a:pt x="39208" y="1990"/>
                                                    <a:pt x="34543" y="6784"/>
                                                    <a:pt x="28648" y="7107"/>
                                                  </a:cubicBezTo>
                                                  <a:cubicBezTo>
                                                    <a:pt x="23400" y="7432"/>
                                                    <a:pt x="18606" y="4063"/>
                                                    <a:pt x="13423" y="354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2" name="Freeform: Shape 200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7E4079B-90E1-4337-808E-D20A3BC16C5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859232" y="2789325"/>
                                              <a:ext cx="1483708" cy="103602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472644 w 1483708"/>
                                                <a:gd name="connsiteY0" fmla="*/ 186232 h 1036025"/>
                                                <a:gd name="connsiteX1" fmla="*/ 1464287 w 1483708"/>
                                                <a:gd name="connsiteY1" fmla="*/ 189082 h 1036025"/>
                                                <a:gd name="connsiteX2" fmla="*/ 1426387 w 1483708"/>
                                                <a:gd name="connsiteY2" fmla="*/ 202558 h 1036025"/>
                                                <a:gd name="connsiteX3" fmla="*/ 1400927 w 1483708"/>
                                                <a:gd name="connsiteY3" fmla="*/ 201586 h 1036025"/>
                                                <a:gd name="connsiteX4" fmla="*/ 1375142 w 1483708"/>
                                                <a:gd name="connsiteY4" fmla="*/ 172238 h 1036025"/>
                                                <a:gd name="connsiteX5" fmla="*/ 1344434 w 1483708"/>
                                                <a:gd name="connsiteY5" fmla="*/ 153450 h 1036025"/>
                                                <a:gd name="connsiteX6" fmla="*/ 1320139 w 1483708"/>
                                                <a:gd name="connsiteY6" fmla="*/ 142890 h 1036025"/>
                                                <a:gd name="connsiteX7" fmla="*/ 1314308 w 1483708"/>
                                                <a:gd name="connsiteY7" fmla="*/ 139132 h 1036025"/>
                                                <a:gd name="connsiteX8" fmla="*/ 1311069 w 1483708"/>
                                                <a:gd name="connsiteY8" fmla="*/ 129220 h 1036025"/>
                                                <a:gd name="connsiteX9" fmla="*/ 1306663 w 1483708"/>
                                                <a:gd name="connsiteY9" fmla="*/ 120798 h 1036025"/>
                                                <a:gd name="connsiteX10" fmla="*/ 1291957 w 1483708"/>
                                                <a:gd name="connsiteY10" fmla="*/ 81927 h 1036025"/>
                                                <a:gd name="connsiteX11" fmla="*/ 1290014 w 1483708"/>
                                                <a:gd name="connsiteY11" fmla="*/ 73440 h 1036025"/>
                                                <a:gd name="connsiteX12" fmla="*/ 1283211 w 1483708"/>
                                                <a:gd name="connsiteY12" fmla="*/ 62556 h 1036025"/>
                                                <a:gd name="connsiteX13" fmla="*/ 1268569 w 1483708"/>
                                                <a:gd name="connsiteY13" fmla="*/ 35410 h 1036025"/>
                                                <a:gd name="connsiteX14" fmla="*/ 1214668 w 1483708"/>
                                                <a:gd name="connsiteY14" fmla="*/ 2370 h 1036025"/>
                                                <a:gd name="connsiteX15" fmla="*/ 1149882 w 1483708"/>
                                                <a:gd name="connsiteY15" fmla="*/ 2499 h 1036025"/>
                                                <a:gd name="connsiteX16" fmla="*/ 1129799 w 1483708"/>
                                                <a:gd name="connsiteY16" fmla="*/ 8136 h 1036025"/>
                                                <a:gd name="connsiteX17" fmla="*/ 1125198 w 1483708"/>
                                                <a:gd name="connsiteY17" fmla="*/ 27247 h 1036025"/>
                                                <a:gd name="connsiteX18" fmla="*/ 1131224 w 1483708"/>
                                                <a:gd name="connsiteY18" fmla="*/ 55624 h 1036025"/>
                                                <a:gd name="connsiteX19" fmla="*/ 1121376 w 1483708"/>
                                                <a:gd name="connsiteY19" fmla="*/ 65860 h 1036025"/>
                                                <a:gd name="connsiteX20" fmla="*/ 1117748 w 1483708"/>
                                                <a:gd name="connsiteY20" fmla="*/ 77262 h 1036025"/>
                                                <a:gd name="connsiteX21" fmla="*/ 1090927 w 1483708"/>
                                                <a:gd name="connsiteY21" fmla="*/ 128184 h 1036025"/>
                                                <a:gd name="connsiteX22" fmla="*/ 1055230 w 1483708"/>
                                                <a:gd name="connsiteY22" fmla="*/ 139068 h 1036025"/>
                                                <a:gd name="connsiteX23" fmla="*/ 1037802 w 1483708"/>
                                                <a:gd name="connsiteY23" fmla="*/ 138808 h 1036025"/>
                                                <a:gd name="connsiteX24" fmla="*/ 1016942 w 1483708"/>
                                                <a:gd name="connsiteY24" fmla="*/ 165047 h 1036025"/>
                                                <a:gd name="connsiteX25" fmla="*/ 1009556 w 1483708"/>
                                                <a:gd name="connsiteY25" fmla="*/ 185325 h 1036025"/>
                                                <a:gd name="connsiteX26" fmla="*/ 1008519 w 1483708"/>
                                                <a:gd name="connsiteY26" fmla="*/ 189276 h 1036025"/>
                                                <a:gd name="connsiteX27" fmla="*/ 1023031 w 1483708"/>
                                                <a:gd name="connsiteY27" fmla="*/ 200355 h 1036025"/>
                                                <a:gd name="connsiteX28" fmla="*/ 1049788 w 1483708"/>
                                                <a:gd name="connsiteY28" fmla="*/ 200355 h 1036025"/>
                                                <a:gd name="connsiteX29" fmla="*/ 1069936 w 1483708"/>
                                                <a:gd name="connsiteY29" fmla="*/ 193229 h 1036025"/>
                                                <a:gd name="connsiteX30" fmla="*/ 1089696 w 1483708"/>
                                                <a:gd name="connsiteY30" fmla="*/ 211951 h 1036025"/>
                                                <a:gd name="connsiteX31" fmla="*/ 1107642 w 1483708"/>
                                                <a:gd name="connsiteY31" fmla="*/ 224973 h 1036025"/>
                                                <a:gd name="connsiteX32" fmla="*/ 1116582 w 1483708"/>
                                                <a:gd name="connsiteY32" fmla="*/ 243956 h 1036025"/>
                                                <a:gd name="connsiteX33" fmla="*/ 1087299 w 1483708"/>
                                                <a:gd name="connsiteY33" fmla="*/ 239939 h 1036025"/>
                                                <a:gd name="connsiteX34" fmla="*/ 1069807 w 1483708"/>
                                                <a:gd name="connsiteY34" fmla="*/ 245575 h 1036025"/>
                                                <a:gd name="connsiteX35" fmla="*/ 1058923 w 1483708"/>
                                                <a:gd name="connsiteY35" fmla="*/ 244668 h 1036025"/>
                                                <a:gd name="connsiteX36" fmla="*/ 1029056 w 1483708"/>
                                                <a:gd name="connsiteY36" fmla="*/ 259115 h 1036025"/>
                                                <a:gd name="connsiteX37" fmla="*/ 1023550 w 1483708"/>
                                                <a:gd name="connsiteY37" fmla="*/ 264752 h 1036025"/>
                                                <a:gd name="connsiteX38" fmla="*/ 1018302 w 1483708"/>
                                                <a:gd name="connsiteY38" fmla="*/ 277579 h 1036025"/>
                                                <a:gd name="connsiteX39" fmla="*/ 991610 w 1483708"/>
                                                <a:gd name="connsiteY39" fmla="*/ 286909 h 1036025"/>
                                                <a:gd name="connsiteX40" fmla="*/ 960837 w 1483708"/>
                                                <a:gd name="connsiteY40" fmla="*/ 296173 h 1036025"/>
                                                <a:gd name="connsiteX41" fmla="*/ 951961 w 1483708"/>
                                                <a:gd name="connsiteY41" fmla="*/ 302587 h 1036025"/>
                                                <a:gd name="connsiteX42" fmla="*/ 940624 w 1483708"/>
                                                <a:gd name="connsiteY42" fmla="*/ 299671 h 1036025"/>
                                                <a:gd name="connsiteX43" fmla="*/ 920087 w 1483708"/>
                                                <a:gd name="connsiteY43" fmla="*/ 294359 h 1036025"/>
                                                <a:gd name="connsiteX44" fmla="*/ 903761 w 1483708"/>
                                                <a:gd name="connsiteY44" fmla="*/ 305761 h 1036025"/>
                                                <a:gd name="connsiteX45" fmla="*/ 911795 w 1483708"/>
                                                <a:gd name="connsiteY45" fmla="*/ 336664 h 1036025"/>
                                                <a:gd name="connsiteX46" fmla="*/ 893719 w 1483708"/>
                                                <a:gd name="connsiteY46" fmla="*/ 356165 h 1036025"/>
                                                <a:gd name="connsiteX47" fmla="*/ 871757 w 1483708"/>
                                                <a:gd name="connsiteY47" fmla="*/ 372490 h 1036025"/>
                                                <a:gd name="connsiteX48" fmla="*/ 867287 w 1483708"/>
                                                <a:gd name="connsiteY48" fmla="*/ 380718 h 1036025"/>
                                                <a:gd name="connsiteX49" fmla="*/ 857504 w 1483708"/>
                                                <a:gd name="connsiteY49" fmla="*/ 382403 h 1036025"/>
                                                <a:gd name="connsiteX50" fmla="*/ 832691 w 1483708"/>
                                                <a:gd name="connsiteY50" fmla="*/ 381431 h 1036025"/>
                                                <a:gd name="connsiteX51" fmla="*/ 766739 w 1483708"/>
                                                <a:gd name="connsiteY51" fmla="*/ 392833 h 1036025"/>
                                                <a:gd name="connsiteX52" fmla="*/ 751061 w 1483708"/>
                                                <a:gd name="connsiteY52" fmla="*/ 411686 h 1036025"/>
                                                <a:gd name="connsiteX53" fmla="*/ 736289 w 1483708"/>
                                                <a:gd name="connsiteY53" fmla="*/ 405920 h 1036025"/>
                                                <a:gd name="connsiteX54" fmla="*/ 712578 w 1483708"/>
                                                <a:gd name="connsiteY54" fmla="*/ 403976 h 1036025"/>
                                                <a:gd name="connsiteX55" fmla="*/ 700204 w 1483708"/>
                                                <a:gd name="connsiteY55" fmla="*/ 397433 h 1036025"/>
                                                <a:gd name="connsiteX56" fmla="*/ 689968 w 1483708"/>
                                                <a:gd name="connsiteY56" fmla="*/ 396396 h 1036025"/>
                                                <a:gd name="connsiteX57" fmla="*/ 675909 w 1483708"/>
                                                <a:gd name="connsiteY57" fmla="*/ 388493 h 1036025"/>
                                                <a:gd name="connsiteX58" fmla="*/ 667099 w 1483708"/>
                                                <a:gd name="connsiteY58" fmla="*/ 386549 h 1036025"/>
                                                <a:gd name="connsiteX59" fmla="*/ 648700 w 1483708"/>
                                                <a:gd name="connsiteY59" fmla="*/ 375147 h 1036025"/>
                                                <a:gd name="connsiteX60" fmla="*/ 546662 w 1483708"/>
                                                <a:gd name="connsiteY60" fmla="*/ 374369 h 1036025"/>
                                                <a:gd name="connsiteX61" fmla="*/ 532927 w 1483708"/>
                                                <a:gd name="connsiteY61" fmla="*/ 369057 h 1036025"/>
                                                <a:gd name="connsiteX62" fmla="*/ 521849 w 1483708"/>
                                                <a:gd name="connsiteY62" fmla="*/ 347224 h 1036025"/>
                                                <a:gd name="connsiteX63" fmla="*/ 520165 w 1483708"/>
                                                <a:gd name="connsiteY63" fmla="*/ 341653 h 1036025"/>
                                                <a:gd name="connsiteX64" fmla="*/ 510836 w 1483708"/>
                                                <a:gd name="connsiteY64" fmla="*/ 336599 h 1036025"/>
                                                <a:gd name="connsiteX65" fmla="*/ 507337 w 1483708"/>
                                                <a:gd name="connsiteY65" fmla="*/ 329343 h 1036025"/>
                                                <a:gd name="connsiteX66" fmla="*/ 478054 w 1483708"/>
                                                <a:gd name="connsiteY66" fmla="*/ 311786 h 1036025"/>
                                                <a:gd name="connsiteX67" fmla="*/ 477406 w 1483708"/>
                                                <a:gd name="connsiteY67" fmla="*/ 298181 h 1036025"/>
                                                <a:gd name="connsiteX68" fmla="*/ 422856 w 1483708"/>
                                                <a:gd name="connsiteY68" fmla="*/ 293711 h 1036025"/>
                                                <a:gd name="connsiteX69" fmla="*/ 419164 w 1483708"/>
                                                <a:gd name="connsiteY69" fmla="*/ 292480 h 1036025"/>
                                                <a:gd name="connsiteX70" fmla="*/ 417285 w 1483708"/>
                                                <a:gd name="connsiteY70" fmla="*/ 288140 h 1036025"/>
                                                <a:gd name="connsiteX71" fmla="*/ 404133 w 1483708"/>
                                                <a:gd name="connsiteY71" fmla="*/ 281596 h 1036025"/>
                                                <a:gd name="connsiteX72" fmla="*/ 404457 w 1483708"/>
                                                <a:gd name="connsiteY72" fmla="*/ 270712 h 1036025"/>
                                                <a:gd name="connsiteX73" fmla="*/ 419617 w 1483708"/>
                                                <a:gd name="connsiteY73" fmla="*/ 233655 h 1036025"/>
                                                <a:gd name="connsiteX74" fmla="*/ 401996 w 1483708"/>
                                                <a:gd name="connsiteY74" fmla="*/ 206769 h 1036025"/>
                                                <a:gd name="connsiteX75" fmla="*/ 382106 w 1483708"/>
                                                <a:gd name="connsiteY75" fmla="*/ 189276 h 1036025"/>
                                                <a:gd name="connsiteX76" fmla="*/ 360403 w 1483708"/>
                                                <a:gd name="connsiteY76" fmla="*/ 186944 h 1036025"/>
                                                <a:gd name="connsiteX77" fmla="*/ 349973 w 1483708"/>
                                                <a:gd name="connsiteY77" fmla="*/ 174829 h 1036025"/>
                                                <a:gd name="connsiteX78" fmla="*/ 339996 w 1483708"/>
                                                <a:gd name="connsiteY78" fmla="*/ 166990 h 1036025"/>
                                                <a:gd name="connsiteX79" fmla="*/ 328399 w 1483708"/>
                                                <a:gd name="connsiteY79" fmla="*/ 151053 h 1036025"/>
                                                <a:gd name="connsiteX80" fmla="*/ 320301 w 1483708"/>
                                                <a:gd name="connsiteY80" fmla="*/ 158439 h 1036025"/>
                                                <a:gd name="connsiteX81" fmla="*/ 315183 w 1483708"/>
                                                <a:gd name="connsiteY81" fmla="*/ 168869 h 1036025"/>
                                                <a:gd name="connsiteX82" fmla="*/ 308639 w 1483708"/>
                                                <a:gd name="connsiteY82" fmla="*/ 172367 h 1036025"/>
                                                <a:gd name="connsiteX83" fmla="*/ 291536 w 1483708"/>
                                                <a:gd name="connsiteY83" fmla="*/ 200484 h 1036025"/>
                                                <a:gd name="connsiteX84" fmla="*/ 290434 w 1483708"/>
                                                <a:gd name="connsiteY84" fmla="*/ 211109 h 1036025"/>
                                                <a:gd name="connsiteX85" fmla="*/ 286418 w 1483708"/>
                                                <a:gd name="connsiteY85" fmla="*/ 215774 h 1036025"/>
                                                <a:gd name="connsiteX86" fmla="*/ 284733 w 1483708"/>
                                                <a:gd name="connsiteY86" fmla="*/ 225297 h 1036025"/>
                                                <a:gd name="connsiteX87" fmla="*/ 272230 w 1483708"/>
                                                <a:gd name="connsiteY87" fmla="*/ 230804 h 1036025"/>
                                                <a:gd name="connsiteX88" fmla="*/ 246251 w 1483708"/>
                                                <a:gd name="connsiteY88" fmla="*/ 228213 h 1036025"/>
                                                <a:gd name="connsiteX89" fmla="*/ 233942 w 1483708"/>
                                                <a:gd name="connsiteY89" fmla="*/ 226593 h 1036025"/>
                                                <a:gd name="connsiteX90" fmla="*/ 231091 w 1483708"/>
                                                <a:gd name="connsiteY90" fmla="*/ 236894 h 1036025"/>
                                                <a:gd name="connsiteX91" fmla="*/ 220531 w 1483708"/>
                                                <a:gd name="connsiteY91" fmla="*/ 243502 h 1036025"/>
                                                <a:gd name="connsiteX92" fmla="*/ 218911 w 1483708"/>
                                                <a:gd name="connsiteY92" fmla="*/ 270971 h 1036025"/>
                                                <a:gd name="connsiteX93" fmla="*/ 217292 w 1483708"/>
                                                <a:gd name="connsiteY93" fmla="*/ 290472 h 1036025"/>
                                                <a:gd name="connsiteX94" fmla="*/ 198957 w 1483708"/>
                                                <a:gd name="connsiteY94" fmla="*/ 284835 h 1036025"/>
                                                <a:gd name="connsiteX95" fmla="*/ 166759 w 1483708"/>
                                                <a:gd name="connsiteY95" fmla="*/ 293970 h 1036025"/>
                                                <a:gd name="connsiteX96" fmla="*/ 160993 w 1483708"/>
                                                <a:gd name="connsiteY96" fmla="*/ 300449 h 1036025"/>
                                                <a:gd name="connsiteX97" fmla="*/ 162418 w 1483708"/>
                                                <a:gd name="connsiteY97" fmla="*/ 307381 h 1036025"/>
                                                <a:gd name="connsiteX98" fmla="*/ 166046 w 1483708"/>
                                                <a:gd name="connsiteY98" fmla="*/ 338089 h 1036025"/>
                                                <a:gd name="connsiteX99" fmla="*/ 174857 w 1483708"/>
                                                <a:gd name="connsiteY99" fmla="*/ 346965 h 1036025"/>
                                                <a:gd name="connsiteX100" fmla="*/ 169156 w 1483708"/>
                                                <a:gd name="connsiteY100" fmla="*/ 360116 h 1036025"/>
                                                <a:gd name="connsiteX101" fmla="*/ 156263 w 1483708"/>
                                                <a:gd name="connsiteY101" fmla="*/ 386614 h 1036025"/>
                                                <a:gd name="connsiteX102" fmla="*/ 152117 w 1483708"/>
                                                <a:gd name="connsiteY102" fmla="*/ 391797 h 1036025"/>
                                                <a:gd name="connsiteX103" fmla="*/ 146481 w 1483708"/>
                                                <a:gd name="connsiteY103" fmla="*/ 392898 h 1036025"/>
                                                <a:gd name="connsiteX104" fmla="*/ 135596 w 1483708"/>
                                                <a:gd name="connsiteY104" fmla="*/ 403004 h 1036025"/>
                                                <a:gd name="connsiteX105" fmla="*/ 124907 w 1483708"/>
                                                <a:gd name="connsiteY105" fmla="*/ 407151 h 1036025"/>
                                                <a:gd name="connsiteX106" fmla="*/ 101195 w 1483708"/>
                                                <a:gd name="connsiteY106" fmla="*/ 428465 h 1036025"/>
                                                <a:gd name="connsiteX107" fmla="*/ 78650 w 1483708"/>
                                                <a:gd name="connsiteY107" fmla="*/ 430020 h 1036025"/>
                                                <a:gd name="connsiteX108" fmla="*/ 75799 w 1483708"/>
                                                <a:gd name="connsiteY108" fmla="*/ 434750 h 1036025"/>
                                                <a:gd name="connsiteX109" fmla="*/ 62389 w 1483708"/>
                                                <a:gd name="connsiteY109" fmla="*/ 438896 h 1036025"/>
                                                <a:gd name="connsiteX110" fmla="*/ 62777 w 1483708"/>
                                                <a:gd name="connsiteY110" fmla="*/ 451788 h 1036025"/>
                                                <a:gd name="connsiteX111" fmla="*/ 50662 w 1483708"/>
                                                <a:gd name="connsiteY111" fmla="*/ 452890 h 1036025"/>
                                                <a:gd name="connsiteX112" fmla="*/ 47553 w 1483708"/>
                                                <a:gd name="connsiteY112" fmla="*/ 443625 h 1036025"/>
                                                <a:gd name="connsiteX113" fmla="*/ 29218 w 1483708"/>
                                                <a:gd name="connsiteY113" fmla="*/ 442783 h 1036025"/>
                                                <a:gd name="connsiteX114" fmla="*/ 12568 w 1483708"/>
                                                <a:gd name="connsiteY114" fmla="*/ 456064 h 1036025"/>
                                                <a:gd name="connsiteX115" fmla="*/ 3239 w 1483708"/>
                                                <a:gd name="connsiteY115" fmla="*/ 458526 h 1036025"/>
                                                <a:gd name="connsiteX116" fmla="*/ 0 w 1483708"/>
                                                <a:gd name="connsiteY116" fmla="*/ 469021 h 1036025"/>
                                                <a:gd name="connsiteX117" fmla="*/ 130 w 1483708"/>
                                                <a:gd name="connsiteY117" fmla="*/ 485347 h 1036025"/>
                                                <a:gd name="connsiteX118" fmla="*/ 3758 w 1483708"/>
                                                <a:gd name="connsiteY118" fmla="*/ 498499 h 1036025"/>
                                                <a:gd name="connsiteX119" fmla="*/ 13476 w 1483708"/>
                                                <a:gd name="connsiteY119" fmla="*/ 503163 h 1036025"/>
                                                <a:gd name="connsiteX120" fmla="*/ 30514 w 1483708"/>
                                                <a:gd name="connsiteY120" fmla="*/ 521562 h 1036025"/>
                                                <a:gd name="connsiteX121" fmla="*/ 33883 w 1483708"/>
                                                <a:gd name="connsiteY121" fmla="*/ 529466 h 1036025"/>
                                                <a:gd name="connsiteX122" fmla="*/ 32458 w 1483708"/>
                                                <a:gd name="connsiteY122" fmla="*/ 538277 h 1036025"/>
                                                <a:gd name="connsiteX123" fmla="*/ 29996 w 1483708"/>
                                                <a:gd name="connsiteY123" fmla="*/ 550068 h 1036025"/>
                                                <a:gd name="connsiteX124" fmla="*/ 46063 w 1483708"/>
                                                <a:gd name="connsiteY124" fmla="*/ 561924 h 1036025"/>
                                                <a:gd name="connsiteX125" fmla="*/ 73986 w 1483708"/>
                                                <a:gd name="connsiteY125" fmla="*/ 592049 h 1036025"/>
                                                <a:gd name="connsiteX126" fmla="*/ 79881 w 1483708"/>
                                                <a:gd name="connsiteY126" fmla="*/ 600601 h 1036025"/>
                                                <a:gd name="connsiteX127" fmla="*/ 80270 w 1483708"/>
                                                <a:gd name="connsiteY127" fmla="*/ 602545 h 1036025"/>
                                                <a:gd name="connsiteX128" fmla="*/ 92061 w 1483708"/>
                                                <a:gd name="connsiteY128" fmla="*/ 601962 h 1036025"/>
                                                <a:gd name="connsiteX129" fmla="*/ 96725 w 1483708"/>
                                                <a:gd name="connsiteY129" fmla="*/ 602609 h 1036025"/>
                                                <a:gd name="connsiteX130" fmla="*/ 100094 w 1483708"/>
                                                <a:gd name="connsiteY130" fmla="*/ 608894 h 1036025"/>
                                                <a:gd name="connsiteX131" fmla="*/ 102491 w 1483708"/>
                                                <a:gd name="connsiteY131" fmla="*/ 606561 h 1036025"/>
                                                <a:gd name="connsiteX132" fmla="*/ 105665 w 1483708"/>
                                                <a:gd name="connsiteY132" fmla="*/ 600536 h 1036025"/>
                                                <a:gd name="connsiteX133" fmla="*/ 115448 w 1483708"/>
                                                <a:gd name="connsiteY133" fmla="*/ 587709 h 1036025"/>
                                                <a:gd name="connsiteX134" fmla="*/ 130932 w 1483708"/>
                                                <a:gd name="connsiteY134" fmla="*/ 585247 h 1036025"/>
                                                <a:gd name="connsiteX135" fmla="*/ 136115 w 1483708"/>
                                                <a:gd name="connsiteY135" fmla="*/ 588227 h 1036025"/>
                                                <a:gd name="connsiteX136" fmla="*/ 147971 w 1483708"/>
                                                <a:gd name="connsiteY136" fmla="*/ 596325 h 1036025"/>
                                                <a:gd name="connsiteX137" fmla="*/ 154384 w 1483708"/>
                                                <a:gd name="connsiteY137" fmla="*/ 601573 h 1036025"/>
                                                <a:gd name="connsiteX138" fmla="*/ 149720 w 1483708"/>
                                                <a:gd name="connsiteY138" fmla="*/ 626580 h 1036025"/>
                                                <a:gd name="connsiteX139" fmla="*/ 142140 w 1483708"/>
                                                <a:gd name="connsiteY139" fmla="*/ 629819 h 1036025"/>
                                                <a:gd name="connsiteX140" fmla="*/ 137605 w 1483708"/>
                                                <a:gd name="connsiteY140" fmla="*/ 636233 h 1036025"/>
                                                <a:gd name="connsiteX141" fmla="*/ 137864 w 1483708"/>
                                                <a:gd name="connsiteY141" fmla="*/ 639472 h 1036025"/>
                                                <a:gd name="connsiteX142" fmla="*/ 127952 w 1483708"/>
                                                <a:gd name="connsiteY142" fmla="*/ 645303 h 1036025"/>
                                                <a:gd name="connsiteX143" fmla="*/ 123352 w 1483708"/>
                                                <a:gd name="connsiteY143" fmla="*/ 646793 h 1036025"/>
                                                <a:gd name="connsiteX144" fmla="*/ 131191 w 1483708"/>
                                                <a:gd name="connsiteY144" fmla="*/ 666488 h 1036025"/>
                                                <a:gd name="connsiteX145" fmla="*/ 130738 w 1483708"/>
                                                <a:gd name="connsiteY145" fmla="*/ 685794 h 1036025"/>
                                                <a:gd name="connsiteX146" fmla="*/ 119336 w 1483708"/>
                                                <a:gd name="connsiteY146" fmla="*/ 690848 h 1036025"/>
                                                <a:gd name="connsiteX147" fmla="*/ 119530 w 1483708"/>
                                                <a:gd name="connsiteY147" fmla="*/ 717345 h 1036025"/>
                                                <a:gd name="connsiteX148" fmla="*/ 139937 w 1483708"/>
                                                <a:gd name="connsiteY148" fmla="*/ 734124 h 1036025"/>
                                                <a:gd name="connsiteX149" fmla="*/ 155227 w 1483708"/>
                                                <a:gd name="connsiteY149" fmla="*/ 742223 h 1036025"/>
                                                <a:gd name="connsiteX150" fmla="*/ 163130 w 1483708"/>
                                                <a:gd name="connsiteY150" fmla="*/ 761982 h 1036025"/>
                                                <a:gd name="connsiteX151" fmla="*/ 166759 w 1483708"/>
                                                <a:gd name="connsiteY151" fmla="*/ 760104 h 1036025"/>
                                                <a:gd name="connsiteX152" fmla="*/ 190017 w 1483708"/>
                                                <a:gd name="connsiteY152" fmla="*/ 753431 h 1036025"/>
                                                <a:gd name="connsiteX153" fmla="*/ 209647 w 1483708"/>
                                                <a:gd name="connsiteY153" fmla="*/ 764509 h 1036025"/>
                                                <a:gd name="connsiteX154" fmla="*/ 233293 w 1483708"/>
                                                <a:gd name="connsiteY154" fmla="*/ 784528 h 1036025"/>
                                                <a:gd name="connsiteX155" fmla="*/ 291082 w 1483708"/>
                                                <a:gd name="connsiteY155" fmla="*/ 816143 h 1036025"/>
                                                <a:gd name="connsiteX156" fmla="*/ 305854 w 1483708"/>
                                                <a:gd name="connsiteY156" fmla="*/ 818475 h 1036025"/>
                                                <a:gd name="connsiteX157" fmla="*/ 314276 w 1483708"/>
                                                <a:gd name="connsiteY157" fmla="*/ 823529 h 1036025"/>
                                                <a:gd name="connsiteX158" fmla="*/ 339542 w 1483708"/>
                                                <a:gd name="connsiteY158" fmla="*/ 828971 h 1036025"/>
                                                <a:gd name="connsiteX159" fmla="*/ 348612 w 1483708"/>
                                                <a:gd name="connsiteY159" fmla="*/ 834413 h 1036025"/>
                                                <a:gd name="connsiteX160" fmla="*/ 377377 w 1483708"/>
                                                <a:gd name="connsiteY160" fmla="*/ 821196 h 1036025"/>
                                                <a:gd name="connsiteX161" fmla="*/ 400246 w 1483708"/>
                                                <a:gd name="connsiteY161" fmla="*/ 817309 h 1036025"/>
                                                <a:gd name="connsiteX162" fmla="*/ 405818 w 1483708"/>
                                                <a:gd name="connsiteY162" fmla="*/ 818281 h 1036025"/>
                                                <a:gd name="connsiteX163" fmla="*/ 412037 w 1483708"/>
                                                <a:gd name="connsiteY163" fmla="*/ 822298 h 1036025"/>
                                                <a:gd name="connsiteX164" fmla="*/ 419812 w 1483708"/>
                                                <a:gd name="connsiteY164" fmla="*/ 852618 h 1036025"/>
                                                <a:gd name="connsiteX165" fmla="*/ 419099 w 1483708"/>
                                                <a:gd name="connsiteY165" fmla="*/ 854107 h 1036025"/>
                                                <a:gd name="connsiteX166" fmla="*/ 420071 w 1483708"/>
                                                <a:gd name="connsiteY166" fmla="*/ 868296 h 1036025"/>
                                                <a:gd name="connsiteX167" fmla="*/ 435166 w 1483708"/>
                                                <a:gd name="connsiteY167" fmla="*/ 879892 h 1036025"/>
                                                <a:gd name="connsiteX168" fmla="*/ 447021 w 1483708"/>
                                                <a:gd name="connsiteY168" fmla="*/ 864992 h 1036025"/>
                                                <a:gd name="connsiteX169" fmla="*/ 443393 w 1483708"/>
                                                <a:gd name="connsiteY169" fmla="*/ 852682 h 1036025"/>
                                                <a:gd name="connsiteX170" fmla="*/ 450261 w 1483708"/>
                                                <a:gd name="connsiteY170" fmla="*/ 834866 h 1036025"/>
                                                <a:gd name="connsiteX171" fmla="*/ 468725 w 1483708"/>
                                                <a:gd name="connsiteY171" fmla="*/ 828193 h 1036025"/>
                                                <a:gd name="connsiteX172" fmla="*/ 477147 w 1483708"/>
                                                <a:gd name="connsiteY172" fmla="*/ 826638 h 1036025"/>
                                                <a:gd name="connsiteX173" fmla="*/ 483949 w 1483708"/>
                                                <a:gd name="connsiteY173" fmla="*/ 801502 h 1036025"/>
                                                <a:gd name="connsiteX174" fmla="*/ 490558 w 1483708"/>
                                                <a:gd name="connsiteY174" fmla="*/ 797614 h 1036025"/>
                                                <a:gd name="connsiteX175" fmla="*/ 509475 w 1483708"/>
                                                <a:gd name="connsiteY175" fmla="*/ 790164 h 1036025"/>
                                                <a:gd name="connsiteX176" fmla="*/ 523339 w 1483708"/>
                                                <a:gd name="connsiteY176" fmla="*/ 786860 h 1036025"/>
                                                <a:gd name="connsiteX177" fmla="*/ 541155 w 1483708"/>
                                                <a:gd name="connsiteY177" fmla="*/ 804352 h 1036025"/>
                                                <a:gd name="connsiteX178" fmla="*/ 541220 w 1483708"/>
                                                <a:gd name="connsiteY178" fmla="*/ 811479 h 1036025"/>
                                                <a:gd name="connsiteX179" fmla="*/ 577759 w 1483708"/>
                                                <a:gd name="connsiteY179" fmla="*/ 830590 h 1036025"/>
                                                <a:gd name="connsiteX180" fmla="*/ 579379 w 1483708"/>
                                                <a:gd name="connsiteY180" fmla="*/ 878143 h 1036025"/>
                                                <a:gd name="connsiteX181" fmla="*/ 568236 w 1483708"/>
                                                <a:gd name="connsiteY181" fmla="*/ 898874 h 1036025"/>
                                                <a:gd name="connsiteX182" fmla="*/ 567134 w 1483708"/>
                                                <a:gd name="connsiteY182" fmla="*/ 910665 h 1036025"/>
                                                <a:gd name="connsiteX183" fmla="*/ 558518 w 1483708"/>
                                                <a:gd name="connsiteY183" fmla="*/ 922327 h 1036025"/>
                                                <a:gd name="connsiteX184" fmla="*/ 558323 w 1483708"/>
                                                <a:gd name="connsiteY184" fmla="*/ 935478 h 1036025"/>
                                                <a:gd name="connsiteX185" fmla="*/ 568948 w 1483708"/>
                                                <a:gd name="connsiteY185" fmla="*/ 937228 h 1036025"/>
                                                <a:gd name="connsiteX186" fmla="*/ 592012 w 1483708"/>
                                                <a:gd name="connsiteY186" fmla="*/ 969556 h 1036025"/>
                                                <a:gd name="connsiteX187" fmla="*/ 597065 w 1483708"/>
                                                <a:gd name="connsiteY187" fmla="*/ 973508 h 1036025"/>
                                                <a:gd name="connsiteX188" fmla="*/ 601600 w 1483708"/>
                                                <a:gd name="connsiteY188" fmla="*/ 980699 h 1036025"/>
                                                <a:gd name="connsiteX189" fmla="*/ 606654 w 1483708"/>
                                                <a:gd name="connsiteY189" fmla="*/ 991259 h 1036025"/>
                                                <a:gd name="connsiteX190" fmla="*/ 623822 w 1483708"/>
                                                <a:gd name="connsiteY190" fmla="*/ 1012573 h 1036025"/>
                                                <a:gd name="connsiteX191" fmla="*/ 652004 w 1483708"/>
                                                <a:gd name="connsiteY191" fmla="*/ 997090 h 1036025"/>
                                                <a:gd name="connsiteX192" fmla="*/ 654466 w 1483708"/>
                                                <a:gd name="connsiteY192" fmla="*/ 985428 h 1036025"/>
                                                <a:gd name="connsiteX193" fmla="*/ 676881 w 1483708"/>
                                                <a:gd name="connsiteY193" fmla="*/ 980634 h 1036025"/>
                                                <a:gd name="connsiteX194" fmla="*/ 685045 w 1483708"/>
                                                <a:gd name="connsiteY194" fmla="*/ 974674 h 1036025"/>
                                                <a:gd name="connsiteX195" fmla="*/ 708691 w 1483708"/>
                                                <a:gd name="connsiteY195" fmla="*/ 970592 h 1036025"/>
                                                <a:gd name="connsiteX196" fmla="*/ 733115 w 1483708"/>
                                                <a:gd name="connsiteY196" fmla="*/ 970916 h 1036025"/>
                                                <a:gd name="connsiteX197" fmla="*/ 747821 w 1483708"/>
                                                <a:gd name="connsiteY197" fmla="*/ 953813 h 1036025"/>
                                                <a:gd name="connsiteX198" fmla="*/ 767646 w 1483708"/>
                                                <a:gd name="connsiteY198" fmla="*/ 965474 h 1036025"/>
                                                <a:gd name="connsiteX199" fmla="*/ 781704 w 1483708"/>
                                                <a:gd name="connsiteY199" fmla="*/ 973572 h 1036025"/>
                                                <a:gd name="connsiteX200" fmla="*/ 782029 w 1483708"/>
                                                <a:gd name="connsiteY200" fmla="*/ 983679 h 1036025"/>
                                                <a:gd name="connsiteX201" fmla="*/ 805546 w 1483708"/>
                                                <a:gd name="connsiteY201" fmla="*/ 1005577 h 1036025"/>
                                                <a:gd name="connsiteX202" fmla="*/ 820382 w 1483708"/>
                                                <a:gd name="connsiteY202" fmla="*/ 1013157 h 1036025"/>
                                                <a:gd name="connsiteX203" fmla="*/ 821483 w 1483708"/>
                                                <a:gd name="connsiteY203" fmla="*/ 1013027 h 1036025"/>
                                                <a:gd name="connsiteX204" fmla="*/ 826989 w 1483708"/>
                                                <a:gd name="connsiteY204" fmla="*/ 1001689 h 1036025"/>
                                                <a:gd name="connsiteX205" fmla="*/ 840854 w 1483708"/>
                                                <a:gd name="connsiteY205" fmla="*/ 1000977 h 1036025"/>
                                                <a:gd name="connsiteX206" fmla="*/ 845648 w 1483708"/>
                                                <a:gd name="connsiteY206" fmla="*/ 1011018 h 1036025"/>
                                                <a:gd name="connsiteX207" fmla="*/ 851543 w 1483708"/>
                                                <a:gd name="connsiteY207" fmla="*/ 1005447 h 1036025"/>
                                                <a:gd name="connsiteX208" fmla="*/ 861715 w 1483708"/>
                                                <a:gd name="connsiteY208" fmla="*/ 1006807 h 1036025"/>
                                                <a:gd name="connsiteX209" fmla="*/ 859901 w 1483708"/>
                                                <a:gd name="connsiteY209" fmla="*/ 1022680 h 1036025"/>
                                                <a:gd name="connsiteX210" fmla="*/ 864760 w 1483708"/>
                                                <a:gd name="connsiteY210" fmla="*/ 1036026 h 1036025"/>
                                                <a:gd name="connsiteX211" fmla="*/ 873765 w 1483708"/>
                                                <a:gd name="connsiteY211" fmla="*/ 1023846 h 1036025"/>
                                                <a:gd name="connsiteX212" fmla="*/ 894626 w 1483708"/>
                                                <a:gd name="connsiteY212" fmla="*/ 1010112 h 1036025"/>
                                                <a:gd name="connsiteX213" fmla="*/ 919698 w 1483708"/>
                                                <a:gd name="connsiteY213" fmla="*/ 1003957 h 1036025"/>
                                                <a:gd name="connsiteX214" fmla="*/ 930711 w 1483708"/>
                                                <a:gd name="connsiteY214" fmla="*/ 982966 h 1036025"/>
                                                <a:gd name="connsiteX215" fmla="*/ 949370 w 1483708"/>
                                                <a:gd name="connsiteY215" fmla="*/ 969556 h 1036025"/>
                                                <a:gd name="connsiteX216" fmla="*/ 975349 w 1483708"/>
                                                <a:gd name="connsiteY216" fmla="*/ 980310 h 1036025"/>
                                                <a:gd name="connsiteX217" fmla="*/ 997441 w 1483708"/>
                                                <a:gd name="connsiteY217" fmla="*/ 966381 h 1036025"/>
                                                <a:gd name="connsiteX218" fmla="*/ 1025817 w 1483708"/>
                                                <a:gd name="connsiteY218" fmla="*/ 944354 h 1036025"/>
                                                <a:gd name="connsiteX219" fmla="*/ 1070584 w 1483708"/>
                                                <a:gd name="connsiteY219" fmla="*/ 923752 h 1036025"/>
                                                <a:gd name="connsiteX220" fmla="*/ 1075702 w 1483708"/>
                                                <a:gd name="connsiteY220" fmla="*/ 920318 h 1036025"/>
                                                <a:gd name="connsiteX221" fmla="*/ 1077711 w 1483708"/>
                                                <a:gd name="connsiteY221" fmla="*/ 913192 h 1036025"/>
                                                <a:gd name="connsiteX222" fmla="*/ 1082180 w 1483708"/>
                                                <a:gd name="connsiteY222" fmla="*/ 863696 h 1036025"/>
                                                <a:gd name="connsiteX223" fmla="*/ 1082634 w 1483708"/>
                                                <a:gd name="connsiteY223" fmla="*/ 853524 h 1036025"/>
                                                <a:gd name="connsiteX224" fmla="*/ 1120599 w 1483708"/>
                                                <a:gd name="connsiteY224" fmla="*/ 834801 h 1036025"/>
                                                <a:gd name="connsiteX225" fmla="*/ 1129410 w 1483708"/>
                                                <a:gd name="connsiteY225" fmla="*/ 833311 h 1036025"/>
                                                <a:gd name="connsiteX226" fmla="*/ 1134074 w 1483708"/>
                                                <a:gd name="connsiteY226" fmla="*/ 829100 h 1036025"/>
                                                <a:gd name="connsiteX227" fmla="*/ 1160312 w 1483708"/>
                                                <a:gd name="connsiteY227" fmla="*/ 778049 h 1036025"/>
                                                <a:gd name="connsiteX228" fmla="*/ 1157138 w 1483708"/>
                                                <a:gd name="connsiteY228" fmla="*/ 762371 h 1036025"/>
                                                <a:gd name="connsiteX229" fmla="*/ 1133491 w 1483708"/>
                                                <a:gd name="connsiteY229" fmla="*/ 760104 h 1036025"/>
                                                <a:gd name="connsiteX230" fmla="*/ 1144504 w 1483708"/>
                                                <a:gd name="connsiteY230" fmla="*/ 744944 h 1036025"/>
                                                <a:gd name="connsiteX231" fmla="*/ 1156101 w 1483708"/>
                                                <a:gd name="connsiteY231" fmla="*/ 743518 h 1036025"/>
                                                <a:gd name="connsiteX232" fmla="*/ 1159405 w 1483708"/>
                                                <a:gd name="connsiteY232" fmla="*/ 734384 h 1036025"/>
                                                <a:gd name="connsiteX233" fmla="*/ 1147615 w 1483708"/>
                                                <a:gd name="connsiteY233" fmla="*/ 728099 h 1036025"/>
                                                <a:gd name="connsiteX234" fmla="*/ 1131224 w 1483708"/>
                                                <a:gd name="connsiteY234" fmla="*/ 713782 h 1036025"/>
                                                <a:gd name="connsiteX235" fmla="*/ 1127077 w 1483708"/>
                                                <a:gd name="connsiteY235" fmla="*/ 700954 h 1036025"/>
                                                <a:gd name="connsiteX236" fmla="*/ 1153899 w 1483708"/>
                                                <a:gd name="connsiteY236" fmla="*/ 714494 h 1036025"/>
                                                <a:gd name="connsiteX237" fmla="*/ 1160248 w 1483708"/>
                                                <a:gd name="connsiteY237" fmla="*/ 710218 h 1036025"/>
                                                <a:gd name="connsiteX238" fmla="*/ 1148651 w 1483708"/>
                                                <a:gd name="connsiteY238" fmla="*/ 695059 h 1036025"/>
                                                <a:gd name="connsiteX239" fmla="*/ 1134139 w 1483708"/>
                                                <a:gd name="connsiteY239" fmla="*/ 681389 h 1036025"/>
                                                <a:gd name="connsiteX240" fmla="*/ 1135370 w 1483708"/>
                                                <a:gd name="connsiteY240" fmla="*/ 675817 h 1036025"/>
                                                <a:gd name="connsiteX241" fmla="*/ 1126300 w 1483708"/>
                                                <a:gd name="connsiteY241" fmla="*/ 664933 h 1036025"/>
                                                <a:gd name="connsiteX242" fmla="*/ 1124940 w 1483708"/>
                                                <a:gd name="connsiteY242" fmla="*/ 657483 h 1036025"/>
                                                <a:gd name="connsiteX243" fmla="*/ 1092935 w 1483708"/>
                                                <a:gd name="connsiteY243" fmla="*/ 612651 h 1036025"/>
                                                <a:gd name="connsiteX244" fmla="*/ 1094814 w 1483708"/>
                                                <a:gd name="connsiteY244" fmla="*/ 605330 h 1036025"/>
                                                <a:gd name="connsiteX245" fmla="*/ 1119432 w 1483708"/>
                                                <a:gd name="connsiteY245" fmla="*/ 586607 h 1036025"/>
                                                <a:gd name="connsiteX246" fmla="*/ 1125717 w 1483708"/>
                                                <a:gd name="connsiteY246" fmla="*/ 583238 h 1036025"/>
                                                <a:gd name="connsiteX247" fmla="*/ 1125393 w 1483708"/>
                                                <a:gd name="connsiteY247" fmla="*/ 579481 h 1036025"/>
                                                <a:gd name="connsiteX248" fmla="*/ 1138026 w 1483708"/>
                                                <a:gd name="connsiteY248" fmla="*/ 568856 h 1036025"/>
                                                <a:gd name="connsiteX249" fmla="*/ 1147161 w 1483708"/>
                                                <a:gd name="connsiteY249" fmla="*/ 556482 h 1036025"/>
                                                <a:gd name="connsiteX250" fmla="*/ 1168086 w 1483708"/>
                                                <a:gd name="connsiteY250" fmla="*/ 555769 h 1036025"/>
                                                <a:gd name="connsiteX251" fmla="*/ 1181368 w 1483708"/>
                                                <a:gd name="connsiteY251" fmla="*/ 542812 h 1036025"/>
                                                <a:gd name="connsiteX252" fmla="*/ 1130057 w 1483708"/>
                                                <a:gd name="connsiteY252" fmla="*/ 525190 h 1036025"/>
                                                <a:gd name="connsiteX253" fmla="*/ 1127595 w 1483708"/>
                                                <a:gd name="connsiteY253" fmla="*/ 534066 h 1036025"/>
                                                <a:gd name="connsiteX254" fmla="*/ 1111075 w 1483708"/>
                                                <a:gd name="connsiteY254" fmla="*/ 548449 h 1036025"/>
                                                <a:gd name="connsiteX255" fmla="*/ 1093324 w 1483708"/>
                                                <a:gd name="connsiteY255" fmla="*/ 546764 h 1036025"/>
                                                <a:gd name="connsiteX256" fmla="*/ 1084642 w 1483708"/>
                                                <a:gd name="connsiteY256" fmla="*/ 524607 h 1036025"/>
                                                <a:gd name="connsiteX257" fmla="*/ 1078034 w 1483708"/>
                                                <a:gd name="connsiteY257" fmla="*/ 516056 h 1036025"/>
                                                <a:gd name="connsiteX258" fmla="*/ 1066761 w 1483708"/>
                                                <a:gd name="connsiteY258" fmla="*/ 516574 h 1036025"/>
                                                <a:gd name="connsiteX259" fmla="*/ 1055813 w 1483708"/>
                                                <a:gd name="connsiteY259" fmla="*/ 504459 h 1036025"/>
                                                <a:gd name="connsiteX260" fmla="*/ 1059052 w 1483708"/>
                                                <a:gd name="connsiteY260" fmla="*/ 487226 h 1036025"/>
                                                <a:gd name="connsiteX261" fmla="*/ 1084837 w 1483708"/>
                                                <a:gd name="connsiteY261" fmla="*/ 487096 h 1036025"/>
                                                <a:gd name="connsiteX262" fmla="*/ 1097470 w 1483708"/>
                                                <a:gd name="connsiteY262" fmla="*/ 473686 h 1036025"/>
                                                <a:gd name="connsiteX263" fmla="*/ 1098118 w 1483708"/>
                                                <a:gd name="connsiteY263" fmla="*/ 467207 h 1036025"/>
                                                <a:gd name="connsiteX264" fmla="*/ 1109326 w 1483708"/>
                                                <a:gd name="connsiteY264" fmla="*/ 454250 h 1036025"/>
                                                <a:gd name="connsiteX265" fmla="*/ 1127142 w 1483708"/>
                                                <a:gd name="connsiteY265" fmla="*/ 452047 h 1036025"/>
                                                <a:gd name="connsiteX266" fmla="*/ 1149558 w 1483708"/>
                                                <a:gd name="connsiteY266" fmla="*/ 428271 h 1036025"/>
                                                <a:gd name="connsiteX267" fmla="*/ 1175602 w 1483708"/>
                                                <a:gd name="connsiteY267" fmla="*/ 440062 h 1036025"/>
                                                <a:gd name="connsiteX268" fmla="*/ 1172816 w 1483708"/>
                                                <a:gd name="connsiteY268" fmla="*/ 449715 h 1036025"/>
                                                <a:gd name="connsiteX269" fmla="*/ 1169576 w 1483708"/>
                                                <a:gd name="connsiteY269" fmla="*/ 453019 h 1036025"/>
                                                <a:gd name="connsiteX270" fmla="*/ 1156749 w 1483708"/>
                                                <a:gd name="connsiteY270" fmla="*/ 464486 h 1036025"/>
                                                <a:gd name="connsiteX271" fmla="*/ 1149623 w 1483708"/>
                                                <a:gd name="connsiteY271" fmla="*/ 476277 h 1036025"/>
                                                <a:gd name="connsiteX272" fmla="*/ 1159016 w 1483708"/>
                                                <a:gd name="connsiteY272" fmla="*/ 496749 h 1036025"/>
                                                <a:gd name="connsiteX273" fmla="*/ 1172687 w 1483708"/>
                                                <a:gd name="connsiteY273" fmla="*/ 484505 h 1036025"/>
                                                <a:gd name="connsiteX274" fmla="*/ 1193612 w 1483708"/>
                                                <a:gd name="connsiteY274" fmla="*/ 471224 h 1036025"/>
                                                <a:gd name="connsiteX275" fmla="*/ 1215121 w 1483708"/>
                                                <a:gd name="connsiteY275" fmla="*/ 457554 h 1036025"/>
                                                <a:gd name="connsiteX276" fmla="*/ 1227365 w 1483708"/>
                                                <a:gd name="connsiteY276" fmla="*/ 455546 h 1036025"/>
                                                <a:gd name="connsiteX277" fmla="*/ 1232224 w 1483708"/>
                                                <a:gd name="connsiteY277" fmla="*/ 469280 h 1036025"/>
                                                <a:gd name="connsiteX278" fmla="*/ 1249716 w 1483708"/>
                                                <a:gd name="connsiteY278" fmla="*/ 477184 h 1036025"/>
                                                <a:gd name="connsiteX279" fmla="*/ 1251855 w 1483708"/>
                                                <a:gd name="connsiteY279" fmla="*/ 489753 h 1036025"/>
                                                <a:gd name="connsiteX280" fmla="*/ 1239480 w 1483708"/>
                                                <a:gd name="connsiteY280" fmla="*/ 492927 h 1036025"/>
                                                <a:gd name="connsiteX281" fmla="*/ 1236241 w 1483708"/>
                                                <a:gd name="connsiteY281" fmla="*/ 508281 h 1036025"/>
                                                <a:gd name="connsiteX282" fmla="*/ 1224256 w 1483708"/>
                                                <a:gd name="connsiteY282" fmla="*/ 511326 h 1036025"/>
                                                <a:gd name="connsiteX283" fmla="*/ 1244793 w 1483708"/>
                                                <a:gd name="connsiteY283" fmla="*/ 531993 h 1036025"/>
                                                <a:gd name="connsiteX284" fmla="*/ 1247190 w 1483708"/>
                                                <a:gd name="connsiteY284" fmla="*/ 533354 h 1036025"/>
                                                <a:gd name="connsiteX285" fmla="*/ 1249976 w 1483708"/>
                                                <a:gd name="connsiteY285" fmla="*/ 531475 h 1036025"/>
                                                <a:gd name="connsiteX286" fmla="*/ 1275113 w 1483708"/>
                                                <a:gd name="connsiteY286" fmla="*/ 527134 h 1036025"/>
                                                <a:gd name="connsiteX287" fmla="*/ 1275955 w 1483708"/>
                                                <a:gd name="connsiteY287" fmla="*/ 543201 h 1036025"/>
                                                <a:gd name="connsiteX288" fmla="*/ 1290791 w 1483708"/>
                                                <a:gd name="connsiteY288" fmla="*/ 552919 h 1036025"/>
                                                <a:gd name="connsiteX289" fmla="*/ 1286709 w 1483708"/>
                                                <a:gd name="connsiteY289" fmla="*/ 567819 h 1036025"/>
                                                <a:gd name="connsiteX290" fmla="*/ 1275437 w 1483708"/>
                                                <a:gd name="connsiteY290" fmla="*/ 569050 h 1036025"/>
                                                <a:gd name="connsiteX291" fmla="*/ 1280554 w 1483708"/>
                                                <a:gd name="connsiteY291" fmla="*/ 583109 h 1036025"/>
                                                <a:gd name="connsiteX292" fmla="*/ 1287098 w 1483708"/>
                                                <a:gd name="connsiteY292" fmla="*/ 597038 h 1036025"/>
                                                <a:gd name="connsiteX293" fmla="*/ 1274141 w 1483708"/>
                                                <a:gd name="connsiteY293" fmla="*/ 605136 h 1036025"/>
                                                <a:gd name="connsiteX294" fmla="*/ 1281980 w 1483708"/>
                                                <a:gd name="connsiteY294" fmla="*/ 618223 h 1036025"/>
                                                <a:gd name="connsiteX295" fmla="*/ 1277964 w 1483708"/>
                                                <a:gd name="connsiteY295" fmla="*/ 635780 h 1036025"/>
                                                <a:gd name="connsiteX296" fmla="*/ 1311587 w 1483708"/>
                                                <a:gd name="connsiteY296" fmla="*/ 617769 h 1036025"/>
                                                <a:gd name="connsiteX297" fmla="*/ 1325257 w 1483708"/>
                                                <a:gd name="connsiteY297" fmla="*/ 613882 h 1036025"/>
                                                <a:gd name="connsiteX298" fmla="*/ 1334910 w 1483708"/>
                                                <a:gd name="connsiteY298" fmla="*/ 600860 h 1036025"/>
                                                <a:gd name="connsiteX299" fmla="*/ 1358946 w 1483708"/>
                                                <a:gd name="connsiteY299" fmla="*/ 599500 h 1036025"/>
                                                <a:gd name="connsiteX300" fmla="*/ 1351819 w 1483708"/>
                                                <a:gd name="connsiteY300" fmla="*/ 586802 h 1036025"/>
                                                <a:gd name="connsiteX301" fmla="*/ 1350199 w 1483708"/>
                                                <a:gd name="connsiteY301" fmla="*/ 560240 h 1036025"/>
                                                <a:gd name="connsiteX302" fmla="*/ 1332059 w 1483708"/>
                                                <a:gd name="connsiteY302" fmla="*/ 531993 h 1036025"/>
                                                <a:gd name="connsiteX303" fmla="*/ 1324544 w 1483708"/>
                                                <a:gd name="connsiteY303" fmla="*/ 527393 h 1036025"/>
                                                <a:gd name="connsiteX304" fmla="*/ 1320981 w 1483708"/>
                                                <a:gd name="connsiteY304" fmla="*/ 512881 h 1036025"/>
                                                <a:gd name="connsiteX305" fmla="*/ 1310421 w 1483708"/>
                                                <a:gd name="connsiteY305" fmla="*/ 511326 h 1036025"/>
                                                <a:gd name="connsiteX306" fmla="*/ 1309579 w 1483708"/>
                                                <a:gd name="connsiteY306" fmla="*/ 488651 h 1036025"/>
                                                <a:gd name="connsiteX307" fmla="*/ 1295650 w 1483708"/>
                                                <a:gd name="connsiteY307" fmla="*/ 474269 h 1036025"/>
                                                <a:gd name="connsiteX308" fmla="*/ 1312882 w 1483708"/>
                                                <a:gd name="connsiteY308" fmla="*/ 455935 h 1036025"/>
                                                <a:gd name="connsiteX309" fmla="*/ 1377668 w 1483708"/>
                                                <a:gd name="connsiteY309" fmla="*/ 386808 h 1036025"/>
                                                <a:gd name="connsiteX310" fmla="*/ 1395679 w 1483708"/>
                                                <a:gd name="connsiteY310" fmla="*/ 359080 h 1036025"/>
                                                <a:gd name="connsiteX311" fmla="*/ 1389784 w 1483708"/>
                                                <a:gd name="connsiteY311" fmla="*/ 331740 h 1036025"/>
                                                <a:gd name="connsiteX312" fmla="*/ 1401574 w 1483708"/>
                                                <a:gd name="connsiteY312" fmla="*/ 296043 h 1036025"/>
                                                <a:gd name="connsiteX313" fmla="*/ 1409867 w 1483708"/>
                                                <a:gd name="connsiteY313" fmla="*/ 290537 h 1036025"/>
                                                <a:gd name="connsiteX314" fmla="*/ 1431894 w 1483708"/>
                                                <a:gd name="connsiteY314" fmla="*/ 289435 h 1036025"/>
                                                <a:gd name="connsiteX315" fmla="*/ 1464158 w 1483708"/>
                                                <a:gd name="connsiteY315" fmla="*/ 253350 h 1036025"/>
                                                <a:gd name="connsiteX316" fmla="*/ 1479900 w 1483708"/>
                                                <a:gd name="connsiteY316" fmla="*/ 214154 h 1036025"/>
                                                <a:gd name="connsiteX317" fmla="*/ 1483593 w 1483708"/>
                                                <a:gd name="connsiteY317" fmla="*/ 197440 h 1036025"/>
                                                <a:gd name="connsiteX318" fmla="*/ 1472774 w 1483708"/>
                                                <a:gd name="connsiteY318" fmla="*/ 185972 h 103602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  <a:cxn ang="0">
                                                  <a:pos x="connsiteX104" y="connsiteY104"/>
                                                </a:cxn>
                                                <a:cxn ang="0">
                                                  <a:pos x="connsiteX105" y="connsiteY105"/>
                                                </a:cxn>
                                                <a:cxn ang="0">
                                                  <a:pos x="connsiteX106" y="connsiteY106"/>
                                                </a:cxn>
                                                <a:cxn ang="0">
                                                  <a:pos x="connsiteX107" y="connsiteY107"/>
                                                </a:cxn>
                                                <a:cxn ang="0">
                                                  <a:pos x="connsiteX108" y="connsiteY108"/>
                                                </a:cxn>
                                                <a:cxn ang="0">
                                                  <a:pos x="connsiteX109" y="connsiteY109"/>
                                                </a:cxn>
                                                <a:cxn ang="0">
                                                  <a:pos x="connsiteX110" y="connsiteY110"/>
                                                </a:cxn>
                                                <a:cxn ang="0">
                                                  <a:pos x="connsiteX111" y="connsiteY111"/>
                                                </a:cxn>
                                                <a:cxn ang="0">
                                                  <a:pos x="connsiteX112" y="connsiteY112"/>
                                                </a:cxn>
                                                <a:cxn ang="0">
                                                  <a:pos x="connsiteX113" y="connsiteY113"/>
                                                </a:cxn>
                                                <a:cxn ang="0">
                                                  <a:pos x="connsiteX114" y="connsiteY114"/>
                                                </a:cxn>
                                                <a:cxn ang="0">
                                                  <a:pos x="connsiteX115" y="connsiteY115"/>
                                                </a:cxn>
                                                <a:cxn ang="0">
                                                  <a:pos x="connsiteX116" y="connsiteY116"/>
                                                </a:cxn>
                                                <a:cxn ang="0">
                                                  <a:pos x="connsiteX117" y="connsiteY117"/>
                                                </a:cxn>
                                                <a:cxn ang="0">
                                                  <a:pos x="connsiteX118" y="connsiteY118"/>
                                                </a:cxn>
                                                <a:cxn ang="0">
                                                  <a:pos x="connsiteX119" y="connsiteY119"/>
                                                </a:cxn>
                                                <a:cxn ang="0">
                                                  <a:pos x="connsiteX120" y="connsiteY120"/>
                                                </a:cxn>
                                                <a:cxn ang="0">
                                                  <a:pos x="connsiteX121" y="connsiteY121"/>
                                                </a:cxn>
                                                <a:cxn ang="0">
                                                  <a:pos x="connsiteX122" y="connsiteY122"/>
                                                </a:cxn>
                                                <a:cxn ang="0">
                                                  <a:pos x="connsiteX123" y="connsiteY123"/>
                                                </a:cxn>
                                                <a:cxn ang="0">
                                                  <a:pos x="connsiteX124" y="connsiteY124"/>
                                                </a:cxn>
                                                <a:cxn ang="0">
                                                  <a:pos x="connsiteX125" y="connsiteY125"/>
                                                </a:cxn>
                                                <a:cxn ang="0">
                                                  <a:pos x="connsiteX126" y="connsiteY126"/>
                                                </a:cxn>
                                                <a:cxn ang="0">
                                                  <a:pos x="connsiteX127" y="connsiteY127"/>
                                                </a:cxn>
                                                <a:cxn ang="0">
                                                  <a:pos x="connsiteX128" y="connsiteY128"/>
                                                </a:cxn>
                                                <a:cxn ang="0">
                                                  <a:pos x="connsiteX129" y="connsiteY129"/>
                                                </a:cxn>
                                                <a:cxn ang="0">
                                                  <a:pos x="connsiteX130" y="connsiteY130"/>
                                                </a:cxn>
                                                <a:cxn ang="0">
                                                  <a:pos x="connsiteX131" y="connsiteY131"/>
                                                </a:cxn>
                                                <a:cxn ang="0">
                                                  <a:pos x="connsiteX132" y="connsiteY132"/>
                                                </a:cxn>
                                                <a:cxn ang="0">
                                                  <a:pos x="connsiteX133" y="connsiteY133"/>
                                                </a:cxn>
                                                <a:cxn ang="0">
                                                  <a:pos x="connsiteX134" y="connsiteY134"/>
                                                </a:cxn>
                                                <a:cxn ang="0">
                                                  <a:pos x="connsiteX135" y="connsiteY135"/>
                                                </a:cxn>
                                                <a:cxn ang="0">
                                                  <a:pos x="connsiteX136" y="connsiteY136"/>
                                                </a:cxn>
                                                <a:cxn ang="0">
                                                  <a:pos x="connsiteX137" y="connsiteY137"/>
                                                </a:cxn>
                                                <a:cxn ang="0">
                                                  <a:pos x="connsiteX138" y="connsiteY138"/>
                                                </a:cxn>
                                                <a:cxn ang="0">
                                                  <a:pos x="connsiteX139" y="connsiteY139"/>
                                                </a:cxn>
                                                <a:cxn ang="0">
                                                  <a:pos x="connsiteX140" y="connsiteY140"/>
                                                </a:cxn>
                                                <a:cxn ang="0">
                                                  <a:pos x="connsiteX141" y="connsiteY141"/>
                                                </a:cxn>
                                                <a:cxn ang="0">
                                                  <a:pos x="connsiteX142" y="connsiteY142"/>
                                                </a:cxn>
                                                <a:cxn ang="0">
                                                  <a:pos x="connsiteX143" y="connsiteY143"/>
                                                </a:cxn>
                                                <a:cxn ang="0">
                                                  <a:pos x="connsiteX144" y="connsiteY144"/>
                                                </a:cxn>
                                                <a:cxn ang="0">
                                                  <a:pos x="connsiteX145" y="connsiteY145"/>
                                                </a:cxn>
                                                <a:cxn ang="0">
                                                  <a:pos x="connsiteX146" y="connsiteY146"/>
                                                </a:cxn>
                                                <a:cxn ang="0">
                                                  <a:pos x="connsiteX147" y="connsiteY147"/>
                                                </a:cxn>
                                                <a:cxn ang="0">
                                                  <a:pos x="connsiteX148" y="connsiteY148"/>
                                                </a:cxn>
                                                <a:cxn ang="0">
                                                  <a:pos x="connsiteX149" y="connsiteY149"/>
                                                </a:cxn>
                                                <a:cxn ang="0">
                                                  <a:pos x="connsiteX150" y="connsiteY150"/>
                                                </a:cxn>
                                                <a:cxn ang="0">
                                                  <a:pos x="connsiteX151" y="connsiteY151"/>
                                                </a:cxn>
                                                <a:cxn ang="0">
                                                  <a:pos x="connsiteX152" y="connsiteY152"/>
                                                </a:cxn>
                                                <a:cxn ang="0">
                                                  <a:pos x="connsiteX153" y="connsiteY153"/>
                                                </a:cxn>
                                                <a:cxn ang="0">
                                                  <a:pos x="connsiteX154" y="connsiteY154"/>
                                                </a:cxn>
                                                <a:cxn ang="0">
                                                  <a:pos x="connsiteX155" y="connsiteY155"/>
                                                </a:cxn>
                                                <a:cxn ang="0">
                                                  <a:pos x="connsiteX156" y="connsiteY156"/>
                                                </a:cxn>
                                                <a:cxn ang="0">
                                                  <a:pos x="connsiteX157" y="connsiteY157"/>
                                                </a:cxn>
                                                <a:cxn ang="0">
                                                  <a:pos x="connsiteX158" y="connsiteY158"/>
                                                </a:cxn>
                                                <a:cxn ang="0">
                                                  <a:pos x="connsiteX159" y="connsiteY159"/>
                                                </a:cxn>
                                                <a:cxn ang="0">
                                                  <a:pos x="connsiteX160" y="connsiteY160"/>
                                                </a:cxn>
                                                <a:cxn ang="0">
                                                  <a:pos x="connsiteX161" y="connsiteY161"/>
                                                </a:cxn>
                                                <a:cxn ang="0">
                                                  <a:pos x="connsiteX162" y="connsiteY162"/>
                                                </a:cxn>
                                                <a:cxn ang="0">
                                                  <a:pos x="connsiteX163" y="connsiteY163"/>
                                                </a:cxn>
                                                <a:cxn ang="0">
                                                  <a:pos x="connsiteX164" y="connsiteY164"/>
                                                </a:cxn>
                                                <a:cxn ang="0">
                                                  <a:pos x="connsiteX165" y="connsiteY165"/>
                                                </a:cxn>
                                                <a:cxn ang="0">
                                                  <a:pos x="connsiteX166" y="connsiteY166"/>
                                                </a:cxn>
                                                <a:cxn ang="0">
                                                  <a:pos x="connsiteX167" y="connsiteY167"/>
                                                </a:cxn>
                                                <a:cxn ang="0">
                                                  <a:pos x="connsiteX168" y="connsiteY168"/>
                                                </a:cxn>
                                                <a:cxn ang="0">
                                                  <a:pos x="connsiteX169" y="connsiteY169"/>
                                                </a:cxn>
                                                <a:cxn ang="0">
                                                  <a:pos x="connsiteX170" y="connsiteY170"/>
                                                </a:cxn>
                                                <a:cxn ang="0">
                                                  <a:pos x="connsiteX171" y="connsiteY171"/>
                                                </a:cxn>
                                                <a:cxn ang="0">
                                                  <a:pos x="connsiteX172" y="connsiteY172"/>
                                                </a:cxn>
                                                <a:cxn ang="0">
                                                  <a:pos x="connsiteX173" y="connsiteY173"/>
                                                </a:cxn>
                                                <a:cxn ang="0">
                                                  <a:pos x="connsiteX174" y="connsiteY174"/>
                                                </a:cxn>
                                                <a:cxn ang="0">
                                                  <a:pos x="connsiteX175" y="connsiteY175"/>
                                                </a:cxn>
                                                <a:cxn ang="0">
                                                  <a:pos x="connsiteX176" y="connsiteY176"/>
                                                </a:cxn>
                                                <a:cxn ang="0">
                                                  <a:pos x="connsiteX177" y="connsiteY177"/>
                                                </a:cxn>
                                                <a:cxn ang="0">
                                                  <a:pos x="connsiteX178" y="connsiteY178"/>
                                                </a:cxn>
                                                <a:cxn ang="0">
                                                  <a:pos x="connsiteX179" y="connsiteY179"/>
                                                </a:cxn>
                                                <a:cxn ang="0">
                                                  <a:pos x="connsiteX180" y="connsiteY180"/>
                                                </a:cxn>
                                                <a:cxn ang="0">
                                                  <a:pos x="connsiteX181" y="connsiteY181"/>
                                                </a:cxn>
                                                <a:cxn ang="0">
                                                  <a:pos x="connsiteX182" y="connsiteY182"/>
                                                </a:cxn>
                                                <a:cxn ang="0">
                                                  <a:pos x="connsiteX183" y="connsiteY183"/>
                                                </a:cxn>
                                                <a:cxn ang="0">
                                                  <a:pos x="connsiteX184" y="connsiteY184"/>
                                                </a:cxn>
                                                <a:cxn ang="0">
                                                  <a:pos x="connsiteX185" y="connsiteY185"/>
                                                </a:cxn>
                                                <a:cxn ang="0">
                                                  <a:pos x="connsiteX186" y="connsiteY186"/>
                                                </a:cxn>
                                                <a:cxn ang="0">
                                                  <a:pos x="connsiteX187" y="connsiteY187"/>
                                                </a:cxn>
                                                <a:cxn ang="0">
                                                  <a:pos x="connsiteX188" y="connsiteY188"/>
                                                </a:cxn>
                                                <a:cxn ang="0">
                                                  <a:pos x="connsiteX189" y="connsiteY189"/>
                                                </a:cxn>
                                                <a:cxn ang="0">
                                                  <a:pos x="connsiteX190" y="connsiteY190"/>
                                                </a:cxn>
                                                <a:cxn ang="0">
                                                  <a:pos x="connsiteX191" y="connsiteY191"/>
                                                </a:cxn>
                                                <a:cxn ang="0">
                                                  <a:pos x="connsiteX192" y="connsiteY192"/>
                                                </a:cxn>
                                                <a:cxn ang="0">
                                                  <a:pos x="connsiteX193" y="connsiteY193"/>
                                                </a:cxn>
                                                <a:cxn ang="0">
                                                  <a:pos x="connsiteX194" y="connsiteY194"/>
                                                </a:cxn>
                                                <a:cxn ang="0">
                                                  <a:pos x="connsiteX195" y="connsiteY195"/>
                                                </a:cxn>
                                                <a:cxn ang="0">
                                                  <a:pos x="connsiteX196" y="connsiteY196"/>
                                                </a:cxn>
                                                <a:cxn ang="0">
                                                  <a:pos x="connsiteX197" y="connsiteY197"/>
                                                </a:cxn>
                                                <a:cxn ang="0">
                                                  <a:pos x="connsiteX198" y="connsiteY198"/>
                                                </a:cxn>
                                                <a:cxn ang="0">
                                                  <a:pos x="connsiteX199" y="connsiteY199"/>
                                                </a:cxn>
                                                <a:cxn ang="0">
                                                  <a:pos x="connsiteX200" y="connsiteY200"/>
                                                </a:cxn>
                                                <a:cxn ang="0">
                                                  <a:pos x="connsiteX201" y="connsiteY201"/>
                                                </a:cxn>
                                                <a:cxn ang="0">
                                                  <a:pos x="connsiteX202" y="connsiteY202"/>
                                                </a:cxn>
                                                <a:cxn ang="0">
                                                  <a:pos x="connsiteX203" y="connsiteY203"/>
                                                </a:cxn>
                                                <a:cxn ang="0">
                                                  <a:pos x="connsiteX204" y="connsiteY204"/>
                                                </a:cxn>
                                                <a:cxn ang="0">
                                                  <a:pos x="connsiteX205" y="connsiteY205"/>
                                                </a:cxn>
                                                <a:cxn ang="0">
                                                  <a:pos x="connsiteX206" y="connsiteY206"/>
                                                </a:cxn>
                                                <a:cxn ang="0">
                                                  <a:pos x="connsiteX207" y="connsiteY207"/>
                                                </a:cxn>
                                                <a:cxn ang="0">
                                                  <a:pos x="connsiteX208" y="connsiteY208"/>
                                                </a:cxn>
                                                <a:cxn ang="0">
                                                  <a:pos x="connsiteX209" y="connsiteY209"/>
                                                </a:cxn>
                                                <a:cxn ang="0">
                                                  <a:pos x="connsiteX210" y="connsiteY210"/>
                                                </a:cxn>
                                                <a:cxn ang="0">
                                                  <a:pos x="connsiteX211" y="connsiteY211"/>
                                                </a:cxn>
                                                <a:cxn ang="0">
                                                  <a:pos x="connsiteX212" y="connsiteY212"/>
                                                </a:cxn>
                                                <a:cxn ang="0">
                                                  <a:pos x="connsiteX213" y="connsiteY213"/>
                                                </a:cxn>
                                                <a:cxn ang="0">
                                                  <a:pos x="connsiteX214" y="connsiteY214"/>
                                                </a:cxn>
                                                <a:cxn ang="0">
                                                  <a:pos x="connsiteX215" y="connsiteY215"/>
                                                </a:cxn>
                                                <a:cxn ang="0">
                                                  <a:pos x="connsiteX216" y="connsiteY216"/>
                                                </a:cxn>
                                                <a:cxn ang="0">
                                                  <a:pos x="connsiteX217" y="connsiteY217"/>
                                                </a:cxn>
                                                <a:cxn ang="0">
                                                  <a:pos x="connsiteX218" y="connsiteY218"/>
                                                </a:cxn>
                                                <a:cxn ang="0">
                                                  <a:pos x="connsiteX219" y="connsiteY219"/>
                                                </a:cxn>
                                                <a:cxn ang="0">
                                                  <a:pos x="connsiteX220" y="connsiteY220"/>
                                                </a:cxn>
                                                <a:cxn ang="0">
                                                  <a:pos x="connsiteX221" y="connsiteY221"/>
                                                </a:cxn>
                                                <a:cxn ang="0">
                                                  <a:pos x="connsiteX222" y="connsiteY222"/>
                                                </a:cxn>
                                                <a:cxn ang="0">
                                                  <a:pos x="connsiteX223" y="connsiteY223"/>
                                                </a:cxn>
                                                <a:cxn ang="0">
                                                  <a:pos x="connsiteX224" y="connsiteY224"/>
                                                </a:cxn>
                                                <a:cxn ang="0">
                                                  <a:pos x="connsiteX225" y="connsiteY225"/>
                                                </a:cxn>
                                                <a:cxn ang="0">
                                                  <a:pos x="connsiteX226" y="connsiteY226"/>
                                                </a:cxn>
                                                <a:cxn ang="0">
                                                  <a:pos x="connsiteX227" y="connsiteY227"/>
                                                </a:cxn>
                                                <a:cxn ang="0">
                                                  <a:pos x="connsiteX228" y="connsiteY228"/>
                                                </a:cxn>
                                                <a:cxn ang="0">
                                                  <a:pos x="connsiteX229" y="connsiteY229"/>
                                                </a:cxn>
                                                <a:cxn ang="0">
                                                  <a:pos x="connsiteX230" y="connsiteY230"/>
                                                </a:cxn>
                                                <a:cxn ang="0">
                                                  <a:pos x="connsiteX231" y="connsiteY231"/>
                                                </a:cxn>
                                                <a:cxn ang="0">
                                                  <a:pos x="connsiteX232" y="connsiteY232"/>
                                                </a:cxn>
                                                <a:cxn ang="0">
                                                  <a:pos x="connsiteX233" y="connsiteY233"/>
                                                </a:cxn>
                                                <a:cxn ang="0">
                                                  <a:pos x="connsiteX234" y="connsiteY234"/>
                                                </a:cxn>
                                                <a:cxn ang="0">
                                                  <a:pos x="connsiteX235" y="connsiteY235"/>
                                                </a:cxn>
                                                <a:cxn ang="0">
                                                  <a:pos x="connsiteX236" y="connsiteY236"/>
                                                </a:cxn>
                                                <a:cxn ang="0">
                                                  <a:pos x="connsiteX237" y="connsiteY237"/>
                                                </a:cxn>
                                                <a:cxn ang="0">
                                                  <a:pos x="connsiteX238" y="connsiteY238"/>
                                                </a:cxn>
                                                <a:cxn ang="0">
                                                  <a:pos x="connsiteX239" y="connsiteY239"/>
                                                </a:cxn>
                                                <a:cxn ang="0">
                                                  <a:pos x="connsiteX240" y="connsiteY240"/>
                                                </a:cxn>
                                                <a:cxn ang="0">
                                                  <a:pos x="connsiteX241" y="connsiteY241"/>
                                                </a:cxn>
                                                <a:cxn ang="0">
                                                  <a:pos x="connsiteX242" y="connsiteY242"/>
                                                </a:cxn>
                                                <a:cxn ang="0">
                                                  <a:pos x="connsiteX243" y="connsiteY243"/>
                                                </a:cxn>
                                                <a:cxn ang="0">
                                                  <a:pos x="connsiteX244" y="connsiteY244"/>
                                                </a:cxn>
                                                <a:cxn ang="0">
                                                  <a:pos x="connsiteX245" y="connsiteY245"/>
                                                </a:cxn>
                                                <a:cxn ang="0">
                                                  <a:pos x="connsiteX246" y="connsiteY246"/>
                                                </a:cxn>
                                                <a:cxn ang="0">
                                                  <a:pos x="connsiteX247" y="connsiteY247"/>
                                                </a:cxn>
                                                <a:cxn ang="0">
                                                  <a:pos x="connsiteX248" y="connsiteY248"/>
                                                </a:cxn>
                                                <a:cxn ang="0">
                                                  <a:pos x="connsiteX249" y="connsiteY249"/>
                                                </a:cxn>
                                                <a:cxn ang="0">
                                                  <a:pos x="connsiteX250" y="connsiteY250"/>
                                                </a:cxn>
                                                <a:cxn ang="0">
                                                  <a:pos x="connsiteX251" y="connsiteY251"/>
                                                </a:cxn>
                                                <a:cxn ang="0">
                                                  <a:pos x="connsiteX252" y="connsiteY252"/>
                                                </a:cxn>
                                                <a:cxn ang="0">
                                                  <a:pos x="connsiteX253" y="connsiteY253"/>
                                                </a:cxn>
                                                <a:cxn ang="0">
                                                  <a:pos x="connsiteX254" y="connsiteY254"/>
                                                </a:cxn>
                                                <a:cxn ang="0">
                                                  <a:pos x="connsiteX255" y="connsiteY255"/>
                                                </a:cxn>
                                                <a:cxn ang="0">
                                                  <a:pos x="connsiteX256" y="connsiteY256"/>
                                                </a:cxn>
                                                <a:cxn ang="0">
                                                  <a:pos x="connsiteX257" y="connsiteY257"/>
                                                </a:cxn>
                                                <a:cxn ang="0">
                                                  <a:pos x="connsiteX258" y="connsiteY258"/>
                                                </a:cxn>
                                                <a:cxn ang="0">
                                                  <a:pos x="connsiteX259" y="connsiteY259"/>
                                                </a:cxn>
                                                <a:cxn ang="0">
                                                  <a:pos x="connsiteX260" y="connsiteY260"/>
                                                </a:cxn>
                                                <a:cxn ang="0">
                                                  <a:pos x="connsiteX261" y="connsiteY261"/>
                                                </a:cxn>
                                                <a:cxn ang="0">
                                                  <a:pos x="connsiteX262" y="connsiteY262"/>
                                                </a:cxn>
                                                <a:cxn ang="0">
                                                  <a:pos x="connsiteX263" y="connsiteY263"/>
                                                </a:cxn>
                                                <a:cxn ang="0">
                                                  <a:pos x="connsiteX264" y="connsiteY264"/>
                                                </a:cxn>
                                                <a:cxn ang="0">
                                                  <a:pos x="connsiteX265" y="connsiteY265"/>
                                                </a:cxn>
                                                <a:cxn ang="0">
                                                  <a:pos x="connsiteX266" y="connsiteY266"/>
                                                </a:cxn>
                                                <a:cxn ang="0">
                                                  <a:pos x="connsiteX267" y="connsiteY267"/>
                                                </a:cxn>
                                                <a:cxn ang="0">
                                                  <a:pos x="connsiteX268" y="connsiteY268"/>
                                                </a:cxn>
                                                <a:cxn ang="0">
                                                  <a:pos x="connsiteX269" y="connsiteY269"/>
                                                </a:cxn>
                                                <a:cxn ang="0">
                                                  <a:pos x="connsiteX270" y="connsiteY270"/>
                                                </a:cxn>
                                                <a:cxn ang="0">
                                                  <a:pos x="connsiteX271" y="connsiteY271"/>
                                                </a:cxn>
                                                <a:cxn ang="0">
                                                  <a:pos x="connsiteX272" y="connsiteY272"/>
                                                </a:cxn>
                                                <a:cxn ang="0">
                                                  <a:pos x="connsiteX273" y="connsiteY273"/>
                                                </a:cxn>
                                                <a:cxn ang="0">
                                                  <a:pos x="connsiteX274" y="connsiteY274"/>
                                                </a:cxn>
                                                <a:cxn ang="0">
                                                  <a:pos x="connsiteX275" y="connsiteY275"/>
                                                </a:cxn>
                                                <a:cxn ang="0">
                                                  <a:pos x="connsiteX276" y="connsiteY276"/>
                                                </a:cxn>
                                                <a:cxn ang="0">
                                                  <a:pos x="connsiteX277" y="connsiteY277"/>
                                                </a:cxn>
                                                <a:cxn ang="0">
                                                  <a:pos x="connsiteX278" y="connsiteY278"/>
                                                </a:cxn>
                                                <a:cxn ang="0">
                                                  <a:pos x="connsiteX279" y="connsiteY279"/>
                                                </a:cxn>
                                                <a:cxn ang="0">
                                                  <a:pos x="connsiteX280" y="connsiteY280"/>
                                                </a:cxn>
                                                <a:cxn ang="0">
                                                  <a:pos x="connsiteX281" y="connsiteY281"/>
                                                </a:cxn>
                                                <a:cxn ang="0">
                                                  <a:pos x="connsiteX282" y="connsiteY282"/>
                                                </a:cxn>
                                                <a:cxn ang="0">
                                                  <a:pos x="connsiteX283" y="connsiteY283"/>
                                                </a:cxn>
                                                <a:cxn ang="0">
                                                  <a:pos x="connsiteX284" y="connsiteY284"/>
                                                </a:cxn>
                                                <a:cxn ang="0">
                                                  <a:pos x="connsiteX285" y="connsiteY285"/>
                                                </a:cxn>
                                                <a:cxn ang="0">
                                                  <a:pos x="connsiteX286" y="connsiteY286"/>
                                                </a:cxn>
                                                <a:cxn ang="0">
                                                  <a:pos x="connsiteX287" y="connsiteY287"/>
                                                </a:cxn>
                                                <a:cxn ang="0">
                                                  <a:pos x="connsiteX288" y="connsiteY288"/>
                                                </a:cxn>
                                                <a:cxn ang="0">
                                                  <a:pos x="connsiteX289" y="connsiteY289"/>
                                                </a:cxn>
                                                <a:cxn ang="0">
                                                  <a:pos x="connsiteX290" y="connsiteY290"/>
                                                </a:cxn>
                                                <a:cxn ang="0">
                                                  <a:pos x="connsiteX291" y="connsiteY291"/>
                                                </a:cxn>
                                                <a:cxn ang="0">
                                                  <a:pos x="connsiteX292" y="connsiteY292"/>
                                                </a:cxn>
                                                <a:cxn ang="0">
                                                  <a:pos x="connsiteX293" y="connsiteY293"/>
                                                </a:cxn>
                                                <a:cxn ang="0">
                                                  <a:pos x="connsiteX294" y="connsiteY294"/>
                                                </a:cxn>
                                                <a:cxn ang="0">
                                                  <a:pos x="connsiteX295" y="connsiteY295"/>
                                                </a:cxn>
                                                <a:cxn ang="0">
                                                  <a:pos x="connsiteX296" y="connsiteY296"/>
                                                </a:cxn>
                                                <a:cxn ang="0">
                                                  <a:pos x="connsiteX297" y="connsiteY297"/>
                                                </a:cxn>
                                                <a:cxn ang="0">
                                                  <a:pos x="connsiteX298" y="connsiteY298"/>
                                                </a:cxn>
                                                <a:cxn ang="0">
                                                  <a:pos x="connsiteX299" y="connsiteY299"/>
                                                </a:cxn>
                                                <a:cxn ang="0">
                                                  <a:pos x="connsiteX300" y="connsiteY300"/>
                                                </a:cxn>
                                                <a:cxn ang="0">
                                                  <a:pos x="connsiteX301" y="connsiteY301"/>
                                                </a:cxn>
                                                <a:cxn ang="0">
                                                  <a:pos x="connsiteX302" y="connsiteY302"/>
                                                </a:cxn>
                                                <a:cxn ang="0">
                                                  <a:pos x="connsiteX303" y="connsiteY303"/>
                                                </a:cxn>
                                                <a:cxn ang="0">
                                                  <a:pos x="connsiteX304" y="connsiteY304"/>
                                                </a:cxn>
                                                <a:cxn ang="0">
                                                  <a:pos x="connsiteX305" y="connsiteY305"/>
                                                </a:cxn>
                                                <a:cxn ang="0">
                                                  <a:pos x="connsiteX306" y="connsiteY306"/>
                                                </a:cxn>
                                                <a:cxn ang="0">
                                                  <a:pos x="connsiteX307" y="connsiteY307"/>
                                                </a:cxn>
                                                <a:cxn ang="0">
                                                  <a:pos x="connsiteX308" y="connsiteY308"/>
                                                </a:cxn>
                                                <a:cxn ang="0">
                                                  <a:pos x="connsiteX309" y="connsiteY309"/>
                                                </a:cxn>
                                                <a:cxn ang="0">
                                                  <a:pos x="connsiteX310" y="connsiteY310"/>
                                                </a:cxn>
                                                <a:cxn ang="0">
                                                  <a:pos x="connsiteX311" y="connsiteY311"/>
                                                </a:cxn>
                                                <a:cxn ang="0">
                                                  <a:pos x="connsiteX312" y="connsiteY312"/>
                                                </a:cxn>
                                                <a:cxn ang="0">
                                                  <a:pos x="connsiteX313" y="connsiteY313"/>
                                                </a:cxn>
                                                <a:cxn ang="0">
                                                  <a:pos x="connsiteX314" y="connsiteY314"/>
                                                </a:cxn>
                                                <a:cxn ang="0">
                                                  <a:pos x="connsiteX315" y="connsiteY315"/>
                                                </a:cxn>
                                                <a:cxn ang="0">
                                                  <a:pos x="connsiteX316" y="connsiteY316"/>
                                                </a:cxn>
                                                <a:cxn ang="0">
                                                  <a:pos x="connsiteX317" y="connsiteY317"/>
                                                </a:cxn>
                                                <a:cxn ang="0">
                                                  <a:pos x="connsiteX318" y="connsiteY31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483708" h="1036025">
                                                  <a:moveTo>
                                                    <a:pt x="1472644" y="186232"/>
                                                  </a:moveTo>
                                                  <a:cubicBezTo>
                                                    <a:pt x="1469664" y="186232"/>
                                                    <a:pt x="1466943" y="187722"/>
                                                    <a:pt x="1464287" y="189082"/>
                                                  </a:cubicBezTo>
                                                  <a:cubicBezTo>
                                                    <a:pt x="1452366" y="195237"/>
                                                    <a:pt x="1439539" y="199837"/>
                                                    <a:pt x="1426387" y="202558"/>
                                                  </a:cubicBezTo>
                                                  <a:cubicBezTo>
                                                    <a:pt x="1417901" y="204307"/>
                                                    <a:pt x="1408765" y="205279"/>
                                                    <a:pt x="1400927" y="201586"/>
                                                  </a:cubicBezTo>
                                                  <a:cubicBezTo>
                                                    <a:pt x="1389006" y="196014"/>
                                                    <a:pt x="1384083" y="181956"/>
                                                    <a:pt x="1375142" y="172238"/>
                                                  </a:cubicBezTo>
                                                  <a:cubicBezTo>
                                                    <a:pt x="1366979" y="163297"/>
                                                    <a:pt x="1355512" y="158244"/>
                                                    <a:pt x="1344434" y="153450"/>
                                                  </a:cubicBezTo>
                                                  <a:cubicBezTo>
                                                    <a:pt x="1336336" y="149952"/>
                                                    <a:pt x="1328237" y="146388"/>
                                                    <a:pt x="1320139" y="142890"/>
                                                  </a:cubicBezTo>
                                                  <a:cubicBezTo>
                                                    <a:pt x="1318001" y="141983"/>
                                                    <a:pt x="1315798" y="140946"/>
                                                    <a:pt x="1314308" y="139132"/>
                                                  </a:cubicBezTo>
                                                  <a:cubicBezTo>
                                                    <a:pt x="1312105" y="136411"/>
                                                    <a:pt x="1312105" y="132589"/>
                                                    <a:pt x="1311069" y="129220"/>
                                                  </a:cubicBezTo>
                                                  <a:cubicBezTo>
                                                    <a:pt x="1310162" y="126175"/>
                                                    <a:pt x="1308348" y="123519"/>
                                                    <a:pt x="1306663" y="120798"/>
                                                  </a:cubicBezTo>
                                                  <a:cubicBezTo>
                                                    <a:pt x="1299407" y="108942"/>
                                                    <a:pt x="1294354" y="95661"/>
                                                    <a:pt x="1291957" y="81927"/>
                                                  </a:cubicBezTo>
                                                  <a:cubicBezTo>
                                                    <a:pt x="1291439" y="79076"/>
                                                    <a:pt x="1291050" y="76161"/>
                                                    <a:pt x="1290014" y="73440"/>
                                                  </a:cubicBezTo>
                                                  <a:cubicBezTo>
                                                    <a:pt x="1288459" y="69423"/>
                                                    <a:pt x="1285608" y="66119"/>
                                                    <a:pt x="1283211" y="62556"/>
                                                  </a:cubicBezTo>
                                                  <a:cubicBezTo>
                                                    <a:pt x="1277445" y="54069"/>
                                                    <a:pt x="1274076" y="44092"/>
                                                    <a:pt x="1268569" y="35410"/>
                                                  </a:cubicBezTo>
                                                  <a:cubicBezTo>
                                                    <a:pt x="1256843" y="17206"/>
                                                    <a:pt x="1235918" y="6386"/>
                                                    <a:pt x="1214668" y="2370"/>
                                                  </a:cubicBezTo>
                                                  <a:cubicBezTo>
                                                    <a:pt x="1193418" y="-1647"/>
                                                    <a:pt x="1171455" y="167"/>
                                                    <a:pt x="1149882" y="2499"/>
                                                  </a:cubicBezTo>
                                                  <a:cubicBezTo>
                                                    <a:pt x="1142885" y="3212"/>
                                                    <a:pt x="1135564" y="4119"/>
                                                    <a:pt x="1129799" y="8136"/>
                                                  </a:cubicBezTo>
                                                  <a:cubicBezTo>
                                                    <a:pt x="1124033" y="12152"/>
                                                    <a:pt x="1121829" y="21093"/>
                                                    <a:pt x="1125198" y="27247"/>
                                                  </a:cubicBezTo>
                                                  <a:cubicBezTo>
                                                    <a:pt x="1135046" y="32301"/>
                                                    <a:pt x="1138155" y="47007"/>
                                                    <a:pt x="1131224" y="55624"/>
                                                  </a:cubicBezTo>
                                                  <a:cubicBezTo>
                                                    <a:pt x="1128243" y="59316"/>
                                                    <a:pt x="1123903" y="61843"/>
                                                    <a:pt x="1121376" y="65860"/>
                                                  </a:cubicBezTo>
                                                  <a:cubicBezTo>
                                                    <a:pt x="1119239" y="69229"/>
                                                    <a:pt x="1118525" y="73310"/>
                                                    <a:pt x="1117748" y="77262"/>
                                                  </a:cubicBezTo>
                                                  <a:cubicBezTo>
                                                    <a:pt x="1113990" y="96503"/>
                                                    <a:pt x="1106410" y="116198"/>
                                                    <a:pt x="1090927" y="128184"/>
                                                  </a:cubicBezTo>
                                                  <a:cubicBezTo>
                                                    <a:pt x="1080885" y="135958"/>
                                                    <a:pt x="1067928" y="139910"/>
                                                    <a:pt x="1055230" y="139068"/>
                                                  </a:cubicBezTo>
                                                  <a:cubicBezTo>
                                                    <a:pt x="1049399" y="138679"/>
                                                    <a:pt x="1043439" y="137318"/>
                                                    <a:pt x="1037802" y="138808"/>
                                                  </a:cubicBezTo>
                                                  <a:cubicBezTo>
                                                    <a:pt x="1026530" y="141724"/>
                                                    <a:pt x="1020958" y="154098"/>
                                                    <a:pt x="1016942" y="165047"/>
                                                  </a:cubicBezTo>
                                                  <a:cubicBezTo>
                                                    <a:pt x="1014480" y="171784"/>
                                                    <a:pt x="1012018" y="178522"/>
                                                    <a:pt x="1009556" y="185325"/>
                                                  </a:cubicBezTo>
                                                  <a:cubicBezTo>
                                                    <a:pt x="1009103" y="186620"/>
                                                    <a:pt x="1008584" y="187916"/>
                                                    <a:pt x="1008519" y="189276"/>
                                                  </a:cubicBezTo>
                                                  <a:cubicBezTo>
                                                    <a:pt x="1008131" y="195949"/>
                                                    <a:pt x="1016488" y="199189"/>
                                                    <a:pt x="1023031" y="200355"/>
                                                  </a:cubicBezTo>
                                                  <a:cubicBezTo>
                                                    <a:pt x="1031907" y="201974"/>
                                                    <a:pt x="1041366" y="203529"/>
                                                    <a:pt x="1049788" y="200355"/>
                                                  </a:cubicBezTo>
                                                  <a:cubicBezTo>
                                                    <a:pt x="1056590" y="197828"/>
                                                    <a:pt x="1062745" y="192321"/>
                                                    <a:pt x="1069936" y="193229"/>
                                                  </a:cubicBezTo>
                                                  <a:cubicBezTo>
                                                    <a:pt x="1079201" y="194459"/>
                                                    <a:pt x="1083282" y="205149"/>
                                                    <a:pt x="1089696" y="211951"/>
                                                  </a:cubicBezTo>
                                                  <a:cubicBezTo>
                                                    <a:pt x="1094814" y="217329"/>
                                                    <a:pt x="1101811" y="220438"/>
                                                    <a:pt x="1107642" y="224973"/>
                                                  </a:cubicBezTo>
                                                  <a:cubicBezTo>
                                                    <a:pt x="1113472" y="229508"/>
                                                    <a:pt x="1118396" y="236765"/>
                                                    <a:pt x="1116582" y="243956"/>
                                                  </a:cubicBezTo>
                                                  <a:cubicBezTo>
                                                    <a:pt x="1108160" y="249657"/>
                                                    <a:pt x="1097470" y="239226"/>
                                                    <a:pt x="1087299" y="239939"/>
                                                  </a:cubicBezTo>
                                                  <a:cubicBezTo>
                                                    <a:pt x="1081144" y="240393"/>
                                                    <a:pt x="1075896" y="244992"/>
                                                    <a:pt x="1069807" y="245575"/>
                                                  </a:cubicBezTo>
                                                  <a:cubicBezTo>
                                                    <a:pt x="1066179" y="245899"/>
                                                    <a:pt x="1062551" y="244863"/>
                                                    <a:pt x="1058923" y="244668"/>
                                                  </a:cubicBezTo>
                                                  <a:cubicBezTo>
                                                    <a:pt x="1047585" y="244020"/>
                                                    <a:pt x="1037738" y="251795"/>
                                                    <a:pt x="1029056" y="259115"/>
                                                  </a:cubicBezTo>
                                                  <a:cubicBezTo>
                                                    <a:pt x="1027048" y="260800"/>
                                                    <a:pt x="1024975" y="262549"/>
                                                    <a:pt x="1023550" y="264752"/>
                                                  </a:cubicBezTo>
                                                  <a:cubicBezTo>
                                                    <a:pt x="1021023" y="268639"/>
                                                    <a:pt x="1020699" y="273628"/>
                                                    <a:pt x="1018302" y="277579"/>
                                                  </a:cubicBezTo>
                                                  <a:cubicBezTo>
                                                    <a:pt x="1013248" y="286131"/>
                                                    <a:pt x="1001523" y="287103"/>
                                                    <a:pt x="991610" y="286909"/>
                                                  </a:cubicBezTo>
                                                  <a:cubicBezTo>
                                                    <a:pt x="981698" y="286714"/>
                                                    <a:pt x="962846" y="286520"/>
                                                    <a:pt x="960837" y="296173"/>
                                                  </a:cubicBezTo>
                                                  <a:cubicBezTo>
                                                    <a:pt x="960060" y="300060"/>
                                                    <a:pt x="955913" y="302457"/>
                                                    <a:pt x="951961" y="302587"/>
                                                  </a:cubicBezTo>
                                                  <a:cubicBezTo>
                                                    <a:pt x="948009" y="302781"/>
                                                    <a:pt x="944252" y="301162"/>
                                                    <a:pt x="940624" y="299671"/>
                                                  </a:cubicBezTo>
                                                  <a:cubicBezTo>
                                                    <a:pt x="934080" y="296886"/>
                                                    <a:pt x="927214" y="294100"/>
                                                    <a:pt x="920087" y="294359"/>
                                                  </a:cubicBezTo>
                                                  <a:cubicBezTo>
                                                    <a:pt x="912960" y="294618"/>
                                                    <a:pt x="905446" y="298829"/>
                                                    <a:pt x="903761" y="305761"/>
                                                  </a:cubicBezTo>
                                                  <a:cubicBezTo>
                                                    <a:pt x="901170" y="316257"/>
                                                    <a:pt x="912507" y="325845"/>
                                                    <a:pt x="911795" y="336664"/>
                                                  </a:cubicBezTo>
                                                  <a:cubicBezTo>
                                                    <a:pt x="911211" y="345993"/>
                                                    <a:pt x="902141" y="352213"/>
                                                    <a:pt x="893719" y="356165"/>
                                                  </a:cubicBezTo>
                                                  <a:cubicBezTo>
                                                    <a:pt x="885297" y="360116"/>
                                                    <a:pt x="875708" y="364004"/>
                                                    <a:pt x="871757" y="372490"/>
                                                  </a:cubicBezTo>
                                                  <a:cubicBezTo>
                                                    <a:pt x="870396" y="375341"/>
                                                    <a:pt x="869749" y="378710"/>
                                                    <a:pt x="867287" y="380718"/>
                                                  </a:cubicBezTo>
                                                  <a:cubicBezTo>
                                                    <a:pt x="864630" y="382856"/>
                                                    <a:pt x="860873" y="382662"/>
                                                    <a:pt x="857504" y="382403"/>
                                                  </a:cubicBezTo>
                                                  <a:cubicBezTo>
                                                    <a:pt x="849276" y="381755"/>
                                                    <a:pt x="840983" y="381431"/>
                                                    <a:pt x="832691" y="381431"/>
                                                  </a:cubicBezTo>
                                                  <a:cubicBezTo>
                                                    <a:pt x="810210" y="381431"/>
                                                    <a:pt x="787341" y="383828"/>
                                                    <a:pt x="766739" y="392833"/>
                                                  </a:cubicBezTo>
                                                  <a:cubicBezTo>
                                                    <a:pt x="758706" y="396332"/>
                                                    <a:pt x="749960" y="402940"/>
                                                    <a:pt x="751061" y="411686"/>
                                                  </a:cubicBezTo>
                                                  <a:cubicBezTo>
                                                    <a:pt x="746396" y="414925"/>
                                                    <a:pt x="741278" y="408511"/>
                                                    <a:pt x="736289" y="405920"/>
                                                  </a:cubicBezTo>
                                                  <a:cubicBezTo>
                                                    <a:pt x="729163" y="402227"/>
                                                    <a:pt x="720158" y="406568"/>
                                                    <a:pt x="712578" y="403976"/>
                                                  </a:cubicBezTo>
                                                  <a:cubicBezTo>
                                                    <a:pt x="708173" y="402421"/>
                                                    <a:pt x="704739" y="398599"/>
                                                    <a:pt x="700204" y="397433"/>
                                                  </a:cubicBezTo>
                                                  <a:cubicBezTo>
                                                    <a:pt x="696900" y="396591"/>
                                                    <a:pt x="693272" y="397239"/>
                                                    <a:pt x="689968" y="396396"/>
                                                  </a:cubicBezTo>
                                                  <a:cubicBezTo>
                                                    <a:pt x="684720" y="395101"/>
                                                    <a:pt x="680963" y="390501"/>
                                                    <a:pt x="675909" y="388493"/>
                                                  </a:cubicBezTo>
                                                  <a:cubicBezTo>
                                                    <a:pt x="673123" y="387391"/>
                                                    <a:pt x="670014" y="387132"/>
                                                    <a:pt x="667099" y="386549"/>
                                                  </a:cubicBezTo>
                                                  <a:cubicBezTo>
                                                    <a:pt x="659908" y="384994"/>
                                                    <a:pt x="653299" y="380913"/>
                                                    <a:pt x="648700" y="375147"/>
                                                  </a:cubicBezTo>
                                                  <a:lnTo>
                                                    <a:pt x="546662" y="374369"/>
                                                  </a:lnTo>
                                                  <a:cubicBezTo>
                                                    <a:pt x="541674" y="375665"/>
                                                    <a:pt x="536555" y="372685"/>
                                                    <a:pt x="532927" y="369057"/>
                                                  </a:cubicBezTo>
                                                  <a:cubicBezTo>
                                                    <a:pt x="527032" y="363226"/>
                                                    <a:pt x="523080" y="355452"/>
                                                    <a:pt x="521849" y="347224"/>
                                                  </a:cubicBezTo>
                                                  <a:cubicBezTo>
                                                    <a:pt x="521590" y="345281"/>
                                                    <a:pt x="521396" y="343207"/>
                                                    <a:pt x="520165" y="341653"/>
                                                  </a:cubicBezTo>
                                                  <a:cubicBezTo>
                                                    <a:pt x="517962" y="338802"/>
                                                    <a:pt x="513492" y="338996"/>
                                                    <a:pt x="510836" y="336599"/>
                                                  </a:cubicBezTo>
                                                  <a:cubicBezTo>
                                                    <a:pt x="508827" y="334785"/>
                                                    <a:pt x="508309" y="331870"/>
                                                    <a:pt x="507337" y="329343"/>
                                                  </a:cubicBezTo>
                                                  <a:cubicBezTo>
                                                    <a:pt x="502996" y="318330"/>
                                                    <a:pt x="489651" y="314313"/>
                                                    <a:pt x="478054" y="311786"/>
                                                  </a:cubicBezTo>
                                                  <a:cubicBezTo>
                                                    <a:pt x="477860" y="307251"/>
                                                    <a:pt x="477601" y="302716"/>
                                                    <a:pt x="477406" y="298181"/>
                                                  </a:cubicBezTo>
                                                  <a:cubicBezTo>
                                                    <a:pt x="459201" y="296691"/>
                                                    <a:pt x="441061" y="295201"/>
                                                    <a:pt x="422856" y="293711"/>
                                                  </a:cubicBezTo>
                                                  <a:cubicBezTo>
                                                    <a:pt x="421561" y="293582"/>
                                                    <a:pt x="420071" y="293452"/>
                                                    <a:pt x="419164" y="292480"/>
                                                  </a:cubicBezTo>
                                                  <a:cubicBezTo>
                                                    <a:pt x="418062" y="291379"/>
                                                    <a:pt x="417998" y="289565"/>
                                                    <a:pt x="417285" y="288140"/>
                                                  </a:cubicBezTo>
                                                  <a:cubicBezTo>
                                                    <a:pt x="414953" y="283669"/>
                                                    <a:pt x="407373" y="285483"/>
                                                    <a:pt x="404133" y="281596"/>
                                                  </a:cubicBezTo>
                                                  <a:cubicBezTo>
                                                    <a:pt x="401671" y="278681"/>
                                                    <a:pt x="402967" y="274275"/>
                                                    <a:pt x="404457" y="270712"/>
                                                  </a:cubicBezTo>
                                                  <a:cubicBezTo>
                                                    <a:pt x="409511" y="258338"/>
                                                    <a:pt x="414564" y="246029"/>
                                                    <a:pt x="419617" y="233655"/>
                                                  </a:cubicBezTo>
                                                  <a:cubicBezTo>
                                                    <a:pt x="407956" y="231193"/>
                                                    <a:pt x="399598" y="218430"/>
                                                    <a:pt x="401996" y="206769"/>
                                                  </a:cubicBezTo>
                                                  <a:cubicBezTo>
                                                    <a:pt x="392861" y="206898"/>
                                                    <a:pt x="390399" y="193164"/>
                                                    <a:pt x="382106" y="189276"/>
                                                  </a:cubicBezTo>
                                                  <a:cubicBezTo>
                                                    <a:pt x="375433" y="186167"/>
                                                    <a:pt x="366817" y="190507"/>
                                                    <a:pt x="360403" y="186944"/>
                                                  </a:cubicBezTo>
                                                  <a:cubicBezTo>
                                                    <a:pt x="355739" y="184353"/>
                                                    <a:pt x="353860" y="178522"/>
                                                    <a:pt x="349973" y="174829"/>
                                                  </a:cubicBezTo>
                                                  <a:cubicBezTo>
                                                    <a:pt x="346928" y="171914"/>
                                                    <a:pt x="342587" y="170359"/>
                                                    <a:pt x="339996" y="166990"/>
                                                  </a:cubicBezTo>
                                                  <a:cubicBezTo>
                                                    <a:pt x="335720" y="161483"/>
                                                    <a:pt x="335331" y="151183"/>
                                                    <a:pt x="328399" y="151053"/>
                                                  </a:cubicBezTo>
                                                  <a:cubicBezTo>
                                                    <a:pt x="324512" y="150988"/>
                                                    <a:pt x="321661" y="154811"/>
                                                    <a:pt x="320301" y="158439"/>
                                                  </a:cubicBezTo>
                                                  <a:cubicBezTo>
                                                    <a:pt x="318940" y="162131"/>
                                                    <a:pt x="318098" y="166213"/>
                                                    <a:pt x="315183" y="168869"/>
                                                  </a:cubicBezTo>
                                                  <a:cubicBezTo>
                                                    <a:pt x="313304" y="170553"/>
                                                    <a:pt x="310907" y="171331"/>
                                                    <a:pt x="308639" y="172367"/>
                                                  </a:cubicBezTo>
                                                  <a:cubicBezTo>
                                                    <a:pt x="298079" y="177291"/>
                                                    <a:pt x="291018" y="188888"/>
                                                    <a:pt x="291536" y="200484"/>
                                                  </a:cubicBezTo>
                                                  <a:cubicBezTo>
                                                    <a:pt x="291665" y="204112"/>
                                                    <a:pt x="292443" y="208064"/>
                                                    <a:pt x="290434" y="211109"/>
                                                  </a:cubicBezTo>
                                                  <a:cubicBezTo>
                                                    <a:pt x="289268" y="212794"/>
                                                    <a:pt x="287390" y="213960"/>
                                                    <a:pt x="286418" y="215774"/>
                                                  </a:cubicBezTo>
                                                  <a:cubicBezTo>
                                                    <a:pt x="284863" y="218624"/>
                                                    <a:pt x="285964" y="222317"/>
                                                    <a:pt x="284733" y="225297"/>
                                                  </a:cubicBezTo>
                                                  <a:cubicBezTo>
                                                    <a:pt x="282855" y="229768"/>
                                                    <a:pt x="277024" y="230610"/>
                                                    <a:pt x="272230" y="230804"/>
                                                  </a:cubicBezTo>
                                                  <a:cubicBezTo>
                                                    <a:pt x="263484" y="231128"/>
                                                    <a:pt x="254414" y="231452"/>
                                                    <a:pt x="246251" y="228213"/>
                                                  </a:cubicBezTo>
                                                  <a:cubicBezTo>
                                                    <a:pt x="242234" y="226658"/>
                                                    <a:pt x="237570" y="224261"/>
                                                    <a:pt x="233942" y="226593"/>
                                                  </a:cubicBezTo>
                                                  <a:cubicBezTo>
                                                    <a:pt x="230767" y="228666"/>
                                                    <a:pt x="230443" y="233201"/>
                                                    <a:pt x="231091" y="236894"/>
                                                  </a:cubicBezTo>
                                                  <a:cubicBezTo>
                                                    <a:pt x="227592" y="239097"/>
                                                    <a:pt x="224029" y="241299"/>
                                                    <a:pt x="220531" y="243502"/>
                                                  </a:cubicBezTo>
                                                  <a:cubicBezTo>
                                                    <a:pt x="220531" y="251600"/>
                                                    <a:pt x="218393" y="262938"/>
                                                    <a:pt x="218911" y="270971"/>
                                                  </a:cubicBezTo>
                                                  <a:cubicBezTo>
                                                    <a:pt x="219300" y="277515"/>
                                                    <a:pt x="218781" y="284058"/>
                                                    <a:pt x="217292" y="290472"/>
                                                  </a:cubicBezTo>
                                                  <a:cubicBezTo>
                                                    <a:pt x="210942" y="292091"/>
                                                    <a:pt x="205112" y="286909"/>
                                                    <a:pt x="198957" y="284835"/>
                                                  </a:cubicBezTo>
                                                  <a:cubicBezTo>
                                                    <a:pt x="188008" y="281207"/>
                                                    <a:pt x="176477" y="287686"/>
                                                    <a:pt x="166759" y="293970"/>
                                                  </a:cubicBezTo>
                                                  <a:cubicBezTo>
                                                    <a:pt x="164232" y="295590"/>
                                                    <a:pt x="161511" y="297533"/>
                                                    <a:pt x="160993" y="300449"/>
                                                  </a:cubicBezTo>
                                                  <a:cubicBezTo>
                                                    <a:pt x="160604" y="302781"/>
                                                    <a:pt x="161770" y="305113"/>
                                                    <a:pt x="162418" y="307381"/>
                                                  </a:cubicBezTo>
                                                  <a:cubicBezTo>
                                                    <a:pt x="165398" y="317487"/>
                                                    <a:pt x="159502" y="329862"/>
                                                    <a:pt x="166046" y="338089"/>
                                                  </a:cubicBezTo>
                                                  <a:cubicBezTo>
                                                    <a:pt x="168637" y="341393"/>
                                                    <a:pt x="172848" y="343272"/>
                                                    <a:pt x="174857" y="346965"/>
                                                  </a:cubicBezTo>
                                                  <a:cubicBezTo>
                                                    <a:pt x="177448" y="351824"/>
                                                    <a:pt x="174468" y="358756"/>
                                                    <a:pt x="169156" y="360116"/>
                                                  </a:cubicBezTo>
                                                  <a:cubicBezTo>
                                                    <a:pt x="164880" y="368927"/>
                                                    <a:pt x="160539" y="377738"/>
                                                    <a:pt x="156263" y="386614"/>
                                                  </a:cubicBezTo>
                                                  <a:cubicBezTo>
                                                    <a:pt x="155292" y="388622"/>
                                                    <a:pt x="154125" y="390825"/>
                                                    <a:pt x="152117" y="391797"/>
                                                  </a:cubicBezTo>
                                                  <a:cubicBezTo>
                                                    <a:pt x="150368" y="392639"/>
                                                    <a:pt x="148359" y="392380"/>
                                                    <a:pt x="146481" y="392898"/>
                                                  </a:cubicBezTo>
                                                  <a:cubicBezTo>
                                                    <a:pt x="141622" y="394259"/>
                                                    <a:pt x="139678" y="400089"/>
                                                    <a:pt x="135596" y="403004"/>
                                                  </a:cubicBezTo>
                                                  <a:cubicBezTo>
                                                    <a:pt x="132422" y="405207"/>
                                                    <a:pt x="128340" y="405466"/>
                                                    <a:pt x="124907" y="407151"/>
                                                  </a:cubicBezTo>
                                                  <a:cubicBezTo>
                                                    <a:pt x="115124" y="411815"/>
                                                    <a:pt x="111950" y="426716"/>
                                                    <a:pt x="101195" y="428465"/>
                                                  </a:cubicBezTo>
                                                  <a:cubicBezTo>
                                                    <a:pt x="93421" y="429761"/>
                                                    <a:pt x="83379" y="423671"/>
                                                    <a:pt x="78650" y="430020"/>
                                                  </a:cubicBezTo>
                                                  <a:cubicBezTo>
                                                    <a:pt x="77549" y="431510"/>
                                                    <a:pt x="77095" y="433454"/>
                                                    <a:pt x="75799" y="434750"/>
                                                  </a:cubicBezTo>
                                                  <a:cubicBezTo>
                                                    <a:pt x="72366" y="438118"/>
                                                    <a:pt x="65563" y="435333"/>
                                                    <a:pt x="62389" y="438896"/>
                                                  </a:cubicBezTo>
                                                  <a:cubicBezTo>
                                                    <a:pt x="64721" y="442718"/>
                                                    <a:pt x="64851" y="447836"/>
                                                    <a:pt x="62777" y="451788"/>
                                                  </a:cubicBezTo>
                                                  <a:cubicBezTo>
                                                    <a:pt x="58826" y="450428"/>
                                                    <a:pt x="54226" y="455157"/>
                                                    <a:pt x="50662" y="452890"/>
                                                  </a:cubicBezTo>
                                                  <a:cubicBezTo>
                                                    <a:pt x="47812" y="451076"/>
                                                    <a:pt x="48719" y="446800"/>
                                                    <a:pt x="47553" y="443625"/>
                                                  </a:cubicBezTo>
                                                  <a:cubicBezTo>
                                                    <a:pt x="45091" y="436887"/>
                                                    <a:pt x="34725" y="438118"/>
                                                    <a:pt x="29218" y="442783"/>
                                                  </a:cubicBezTo>
                                                  <a:cubicBezTo>
                                                    <a:pt x="23712" y="447448"/>
                                                    <a:pt x="19565" y="454315"/>
                                                    <a:pt x="12568" y="456064"/>
                                                  </a:cubicBezTo>
                                                  <a:cubicBezTo>
                                                    <a:pt x="9394" y="456842"/>
                                                    <a:pt x="5766" y="456518"/>
                                                    <a:pt x="3239" y="458526"/>
                                                  </a:cubicBezTo>
                                                  <a:cubicBezTo>
                                                    <a:pt x="195" y="460858"/>
                                                    <a:pt x="0" y="465264"/>
                                                    <a:pt x="0" y="469021"/>
                                                  </a:cubicBezTo>
                                                  <a:cubicBezTo>
                                                    <a:pt x="0" y="474463"/>
                                                    <a:pt x="65" y="479905"/>
                                                    <a:pt x="130" y="485347"/>
                                                  </a:cubicBezTo>
                                                  <a:cubicBezTo>
                                                    <a:pt x="130" y="490012"/>
                                                    <a:pt x="389" y="495259"/>
                                                    <a:pt x="3758" y="498499"/>
                                                  </a:cubicBezTo>
                                                  <a:cubicBezTo>
                                                    <a:pt x="6349" y="501025"/>
                                                    <a:pt x="10171" y="501673"/>
                                                    <a:pt x="13476" y="503163"/>
                                                  </a:cubicBezTo>
                                                  <a:cubicBezTo>
                                                    <a:pt x="21250" y="506597"/>
                                                    <a:pt x="26109" y="514307"/>
                                                    <a:pt x="30514" y="521562"/>
                                                  </a:cubicBezTo>
                                                  <a:cubicBezTo>
                                                    <a:pt x="32004" y="524024"/>
                                                    <a:pt x="33559" y="526616"/>
                                                    <a:pt x="33883" y="529466"/>
                                                  </a:cubicBezTo>
                                                  <a:cubicBezTo>
                                                    <a:pt x="34272" y="532446"/>
                                                    <a:pt x="33300" y="535362"/>
                                                    <a:pt x="32458" y="538277"/>
                                                  </a:cubicBezTo>
                                                  <a:cubicBezTo>
                                                    <a:pt x="31356" y="542164"/>
                                                    <a:pt x="30579" y="546116"/>
                                                    <a:pt x="29996" y="550068"/>
                                                  </a:cubicBezTo>
                                                  <a:cubicBezTo>
                                                    <a:pt x="36474" y="551882"/>
                                                    <a:pt x="41463" y="556935"/>
                                                    <a:pt x="46063" y="561924"/>
                                                  </a:cubicBezTo>
                                                  <a:cubicBezTo>
                                                    <a:pt x="55392" y="571966"/>
                                                    <a:pt x="64656" y="582007"/>
                                                    <a:pt x="73986" y="592049"/>
                                                  </a:cubicBezTo>
                                                  <a:cubicBezTo>
                                                    <a:pt x="76383" y="594641"/>
                                                    <a:pt x="78780" y="597297"/>
                                                    <a:pt x="79881" y="600601"/>
                                                  </a:cubicBezTo>
                                                  <a:cubicBezTo>
                                                    <a:pt x="80075" y="601249"/>
                                                    <a:pt x="80140" y="601897"/>
                                                    <a:pt x="80270" y="602545"/>
                                                  </a:cubicBezTo>
                                                  <a:cubicBezTo>
                                                    <a:pt x="84221" y="602350"/>
                                                    <a:pt x="88109" y="602156"/>
                                                    <a:pt x="92061" y="601962"/>
                                                  </a:cubicBezTo>
                                                  <a:cubicBezTo>
                                                    <a:pt x="93680" y="601897"/>
                                                    <a:pt x="95365" y="601832"/>
                                                    <a:pt x="96725" y="602609"/>
                                                  </a:cubicBezTo>
                                                  <a:cubicBezTo>
                                                    <a:pt x="98928" y="603776"/>
                                                    <a:pt x="99576" y="606237"/>
                                                    <a:pt x="100094" y="608894"/>
                                                  </a:cubicBezTo>
                                                  <a:cubicBezTo>
                                                    <a:pt x="100936" y="608181"/>
                                                    <a:pt x="101843" y="607468"/>
                                                    <a:pt x="102491" y="606561"/>
                                                  </a:cubicBezTo>
                                                  <a:cubicBezTo>
                                                    <a:pt x="103852" y="604747"/>
                                                    <a:pt x="104694" y="602609"/>
                                                    <a:pt x="105665" y="600536"/>
                                                  </a:cubicBezTo>
                                                  <a:cubicBezTo>
                                                    <a:pt x="107933" y="595548"/>
                                                    <a:pt x="111043" y="590818"/>
                                                    <a:pt x="115448" y="587709"/>
                                                  </a:cubicBezTo>
                                                  <a:cubicBezTo>
                                                    <a:pt x="119854" y="584599"/>
                                                    <a:pt x="125879" y="583238"/>
                                                    <a:pt x="130932" y="585247"/>
                                                  </a:cubicBezTo>
                                                  <a:cubicBezTo>
                                                    <a:pt x="132811" y="585960"/>
                                                    <a:pt x="134430" y="587126"/>
                                                    <a:pt x="136115" y="588227"/>
                                                  </a:cubicBezTo>
                                                  <a:cubicBezTo>
                                                    <a:pt x="140067" y="590948"/>
                                                    <a:pt x="144019" y="593604"/>
                                                    <a:pt x="147971" y="596325"/>
                                                  </a:cubicBezTo>
                                                  <a:cubicBezTo>
                                                    <a:pt x="150238" y="597880"/>
                                                    <a:pt x="152571" y="599435"/>
                                                    <a:pt x="154384" y="601573"/>
                                                  </a:cubicBezTo>
                                                  <a:cubicBezTo>
                                                    <a:pt x="160798" y="608894"/>
                                                    <a:pt x="158336" y="622045"/>
                                                    <a:pt x="149720" y="626580"/>
                                                  </a:cubicBezTo>
                                                  <a:cubicBezTo>
                                                    <a:pt x="147323" y="627876"/>
                                                    <a:pt x="144537" y="628524"/>
                                                    <a:pt x="142140" y="629819"/>
                                                  </a:cubicBezTo>
                                                  <a:cubicBezTo>
                                                    <a:pt x="139743" y="631115"/>
                                                    <a:pt x="137605" y="633447"/>
                                                    <a:pt x="137605" y="636233"/>
                                                  </a:cubicBezTo>
                                                  <a:cubicBezTo>
                                                    <a:pt x="137605" y="637335"/>
                                                    <a:pt x="137994" y="638436"/>
                                                    <a:pt x="137864" y="639472"/>
                                                  </a:cubicBezTo>
                                                  <a:cubicBezTo>
                                                    <a:pt x="137540" y="643619"/>
                                                    <a:pt x="131968" y="644396"/>
                                                    <a:pt x="127952" y="645303"/>
                                                  </a:cubicBezTo>
                                                  <a:cubicBezTo>
                                                    <a:pt x="126397" y="645627"/>
                                                    <a:pt x="124907" y="646210"/>
                                                    <a:pt x="123352" y="646793"/>
                                                  </a:cubicBezTo>
                                                  <a:cubicBezTo>
                                                    <a:pt x="125943" y="653337"/>
                                                    <a:pt x="128600" y="659945"/>
                                                    <a:pt x="131191" y="666488"/>
                                                  </a:cubicBezTo>
                                                  <a:cubicBezTo>
                                                    <a:pt x="133718" y="672902"/>
                                                    <a:pt x="135856" y="681259"/>
                                                    <a:pt x="130738" y="685794"/>
                                                  </a:cubicBezTo>
                                                  <a:cubicBezTo>
                                                    <a:pt x="127628" y="688580"/>
                                                    <a:pt x="122899" y="688645"/>
                                                    <a:pt x="119336" y="690848"/>
                                                  </a:cubicBezTo>
                                                  <a:cubicBezTo>
                                                    <a:pt x="110913" y="696095"/>
                                                    <a:pt x="113570" y="709312"/>
                                                    <a:pt x="119530" y="717345"/>
                                                  </a:cubicBezTo>
                                                  <a:cubicBezTo>
                                                    <a:pt x="124842" y="724471"/>
                                                    <a:pt x="131904" y="730302"/>
                                                    <a:pt x="139937" y="734124"/>
                                                  </a:cubicBezTo>
                                                  <a:cubicBezTo>
                                                    <a:pt x="145185" y="736651"/>
                                                    <a:pt x="150951" y="738400"/>
                                                    <a:pt x="155227" y="742223"/>
                                                  </a:cubicBezTo>
                                                  <a:cubicBezTo>
                                                    <a:pt x="160733" y="747146"/>
                                                    <a:pt x="162807" y="754467"/>
                                                    <a:pt x="163130" y="761982"/>
                                                  </a:cubicBezTo>
                                                  <a:cubicBezTo>
                                                    <a:pt x="164361" y="761334"/>
                                                    <a:pt x="165528" y="760751"/>
                                                    <a:pt x="166759" y="760104"/>
                                                  </a:cubicBezTo>
                                                  <a:cubicBezTo>
                                                    <a:pt x="174015" y="756281"/>
                                                    <a:pt x="181854" y="752394"/>
                                                    <a:pt x="190017" y="753431"/>
                                                  </a:cubicBezTo>
                                                  <a:cubicBezTo>
                                                    <a:pt x="197596" y="754402"/>
                                                    <a:pt x="203816" y="759585"/>
                                                    <a:pt x="209647" y="764509"/>
                                                  </a:cubicBezTo>
                                                  <a:cubicBezTo>
                                                    <a:pt x="217551" y="771182"/>
                                                    <a:pt x="225390" y="777855"/>
                                                    <a:pt x="233293" y="784528"/>
                                                  </a:cubicBezTo>
                                                  <a:cubicBezTo>
                                                    <a:pt x="250332" y="798975"/>
                                                    <a:pt x="268861" y="814005"/>
                                                    <a:pt x="291082" y="816143"/>
                                                  </a:cubicBezTo>
                                                  <a:cubicBezTo>
                                                    <a:pt x="296071" y="816597"/>
                                                    <a:pt x="301254" y="816467"/>
                                                    <a:pt x="305854" y="818475"/>
                                                  </a:cubicBezTo>
                                                  <a:cubicBezTo>
                                                    <a:pt x="308834" y="819836"/>
                                                    <a:pt x="311360" y="821974"/>
                                                    <a:pt x="314276" y="823529"/>
                                                  </a:cubicBezTo>
                                                  <a:cubicBezTo>
                                                    <a:pt x="321920" y="827545"/>
                                                    <a:pt x="331185" y="826638"/>
                                                    <a:pt x="339542" y="828971"/>
                                                  </a:cubicBezTo>
                                                  <a:cubicBezTo>
                                                    <a:pt x="342846" y="829878"/>
                                                    <a:pt x="346150" y="831886"/>
                                                    <a:pt x="348612" y="834413"/>
                                                  </a:cubicBezTo>
                                                  <a:cubicBezTo>
                                                    <a:pt x="356451" y="827286"/>
                                                    <a:pt x="367076" y="824112"/>
                                                    <a:pt x="377377" y="821196"/>
                                                  </a:cubicBezTo>
                                                  <a:cubicBezTo>
                                                    <a:pt x="384827" y="819058"/>
                                                    <a:pt x="392472" y="816985"/>
                                                    <a:pt x="400246" y="817309"/>
                                                  </a:cubicBezTo>
                                                  <a:cubicBezTo>
                                                    <a:pt x="402125" y="817374"/>
                                                    <a:pt x="404068" y="817633"/>
                                                    <a:pt x="405818" y="818281"/>
                                                  </a:cubicBezTo>
                                                  <a:cubicBezTo>
                                                    <a:pt x="408150" y="819123"/>
                                                    <a:pt x="410223" y="820613"/>
                                                    <a:pt x="412037" y="822298"/>
                                                  </a:cubicBezTo>
                                                  <a:cubicBezTo>
                                                    <a:pt x="420006" y="829878"/>
                                                    <a:pt x="423180" y="842122"/>
                                                    <a:pt x="419812" y="852618"/>
                                                  </a:cubicBezTo>
                                                  <a:cubicBezTo>
                                                    <a:pt x="419617" y="853136"/>
                                                    <a:pt x="419423" y="853654"/>
                                                    <a:pt x="419099" y="854107"/>
                                                  </a:cubicBezTo>
                                                  <a:cubicBezTo>
                                                    <a:pt x="421107" y="858254"/>
                                                    <a:pt x="419423" y="863566"/>
                                                    <a:pt x="420071" y="868296"/>
                                                  </a:cubicBezTo>
                                                  <a:cubicBezTo>
                                                    <a:pt x="421043" y="875293"/>
                                                    <a:pt x="428169" y="880799"/>
                                                    <a:pt x="435166" y="879892"/>
                                                  </a:cubicBezTo>
                                                  <a:cubicBezTo>
                                                    <a:pt x="442163" y="879050"/>
                                                    <a:pt x="447799" y="871988"/>
                                                    <a:pt x="447021" y="864992"/>
                                                  </a:cubicBezTo>
                                                  <a:cubicBezTo>
                                                    <a:pt x="446568" y="860716"/>
                                                    <a:pt x="444171" y="856893"/>
                                                    <a:pt x="443393" y="852682"/>
                                                  </a:cubicBezTo>
                                                  <a:cubicBezTo>
                                                    <a:pt x="442163" y="846139"/>
                                                    <a:pt x="445208" y="839207"/>
                                                    <a:pt x="450261" y="834866"/>
                                                  </a:cubicBezTo>
                                                  <a:cubicBezTo>
                                                    <a:pt x="455314" y="830526"/>
                                                    <a:pt x="462052" y="828452"/>
                                                    <a:pt x="468725" y="828193"/>
                                                  </a:cubicBezTo>
                                                  <a:cubicBezTo>
                                                    <a:pt x="471640" y="828064"/>
                                                    <a:pt x="474685" y="828193"/>
                                                    <a:pt x="477147" y="826638"/>
                                                  </a:cubicBezTo>
                                                  <a:cubicBezTo>
                                                    <a:pt x="484792" y="821844"/>
                                                    <a:pt x="477989" y="808304"/>
                                                    <a:pt x="483949" y="801502"/>
                                                  </a:cubicBezTo>
                                                  <a:cubicBezTo>
                                                    <a:pt x="485634" y="799558"/>
                                                    <a:pt x="488161" y="798521"/>
                                                    <a:pt x="490558" y="797614"/>
                                                  </a:cubicBezTo>
                                                  <a:cubicBezTo>
                                                    <a:pt x="496842" y="795153"/>
                                                    <a:pt x="503191" y="792626"/>
                                                    <a:pt x="509475" y="790164"/>
                                                  </a:cubicBezTo>
                                                  <a:cubicBezTo>
                                                    <a:pt x="513945" y="788415"/>
                                                    <a:pt x="518545" y="786601"/>
                                                    <a:pt x="523339" y="786860"/>
                                                  </a:cubicBezTo>
                                                  <a:cubicBezTo>
                                                    <a:pt x="532345" y="787313"/>
                                                    <a:pt x="539730" y="795476"/>
                                                    <a:pt x="541155" y="804352"/>
                                                  </a:cubicBezTo>
                                                  <a:cubicBezTo>
                                                    <a:pt x="541544" y="806749"/>
                                                    <a:pt x="541544" y="809146"/>
                                                    <a:pt x="541220" y="811479"/>
                                                  </a:cubicBezTo>
                                                  <a:cubicBezTo>
                                                    <a:pt x="555473" y="811608"/>
                                                    <a:pt x="569661" y="818799"/>
                                                    <a:pt x="577759" y="830590"/>
                                                  </a:cubicBezTo>
                                                  <a:cubicBezTo>
                                                    <a:pt x="587218" y="844390"/>
                                                    <a:pt x="587866" y="863696"/>
                                                    <a:pt x="579379" y="878143"/>
                                                  </a:cubicBezTo>
                                                  <a:cubicBezTo>
                                                    <a:pt x="575362" y="884946"/>
                                                    <a:pt x="569337" y="891035"/>
                                                    <a:pt x="568236" y="898874"/>
                                                  </a:cubicBezTo>
                                                  <a:cubicBezTo>
                                                    <a:pt x="567652" y="902826"/>
                                                    <a:pt x="568430" y="906908"/>
                                                    <a:pt x="567134" y="910665"/>
                                                  </a:cubicBezTo>
                                                  <a:cubicBezTo>
                                                    <a:pt x="565580" y="915265"/>
                                                    <a:pt x="561368" y="918440"/>
                                                    <a:pt x="558518" y="922327"/>
                                                  </a:cubicBezTo>
                                                  <a:cubicBezTo>
                                                    <a:pt x="555602" y="926279"/>
                                                    <a:pt x="554436" y="932563"/>
                                                    <a:pt x="558323" y="935478"/>
                                                  </a:cubicBezTo>
                                                  <a:cubicBezTo>
                                                    <a:pt x="561239" y="937616"/>
                                                    <a:pt x="565385" y="936645"/>
                                                    <a:pt x="568948" y="937228"/>
                                                  </a:cubicBezTo>
                                                  <a:cubicBezTo>
                                                    <a:pt x="582489" y="939560"/>
                                                    <a:pt x="581582" y="960615"/>
                                                    <a:pt x="592012" y="969556"/>
                                                  </a:cubicBezTo>
                                                  <a:cubicBezTo>
                                                    <a:pt x="593632" y="970981"/>
                                                    <a:pt x="595575" y="972018"/>
                                                    <a:pt x="597065" y="973508"/>
                                                  </a:cubicBezTo>
                                                  <a:cubicBezTo>
                                                    <a:pt x="599139" y="975516"/>
                                                    <a:pt x="600370" y="978172"/>
                                                    <a:pt x="601600" y="980699"/>
                                                  </a:cubicBezTo>
                                                  <a:cubicBezTo>
                                                    <a:pt x="603285" y="984197"/>
                                                    <a:pt x="604969" y="987696"/>
                                                    <a:pt x="606654" y="991259"/>
                                                  </a:cubicBezTo>
                                                  <a:cubicBezTo>
                                                    <a:pt x="610670" y="999681"/>
                                                    <a:pt x="615335" y="1008751"/>
                                                    <a:pt x="623822" y="1012573"/>
                                                  </a:cubicBezTo>
                                                  <a:cubicBezTo>
                                                    <a:pt x="635159" y="1017756"/>
                                                    <a:pt x="650255" y="1009399"/>
                                                    <a:pt x="652004" y="997090"/>
                                                  </a:cubicBezTo>
                                                  <a:cubicBezTo>
                                                    <a:pt x="652587" y="993073"/>
                                                    <a:pt x="652004" y="988603"/>
                                                    <a:pt x="654466" y="985428"/>
                                                  </a:cubicBezTo>
                                                  <a:cubicBezTo>
                                                    <a:pt x="659260" y="979144"/>
                                                    <a:pt x="669690" y="983744"/>
                                                    <a:pt x="676881" y="980634"/>
                                                  </a:cubicBezTo>
                                                  <a:cubicBezTo>
                                                    <a:pt x="679991" y="979274"/>
                                                    <a:pt x="682258" y="976617"/>
                                                    <a:pt x="685045" y="974674"/>
                                                  </a:cubicBezTo>
                                                  <a:cubicBezTo>
                                                    <a:pt x="691718" y="969944"/>
                                                    <a:pt x="700593" y="969815"/>
                                                    <a:pt x="708691" y="970592"/>
                                                  </a:cubicBezTo>
                                                  <a:cubicBezTo>
                                                    <a:pt x="716854" y="971370"/>
                                                    <a:pt x="725146" y="972924"/>
                                                    <a:pt x="733115" y="970916"/>
                                                  </a:cubicBezTo>
                                                  <a:cubicBezTo>
                                                    <a:pt x="741019" y="968908"/>
                                                    <a:pt x="748534" y="961976"/>
                                                    <a:pt x="747821" y="953813"/>
                                                  </a:cubicBezTo>
                                                  <a:cubicBezTo>
                                                    <a:pt x="753328" y="959320"/>
                                                    <a:pt x="760196" y="963401"/>
                                                    <a:pt x="767646" y="965474"/>
                                                  </a:cubicBezTo>
                                                  <a:cubicBezTo>
                                                    <a:pt x="773088" y="967029"/>
                                                    <a:pt x="779761" y="968325"/>
                                                    <a:pt x="781704" y="973572"/>
                                                  </a:cubicBezTo>
                                                  <a:cubicBezTo>
                                                    <a:pt x="782936" y="976747"/>
                                                    <a:pt x="781899" y="980245"/>
                                                    <a:pt x="782029" y="983679"/>
                                                  </a:cubicBezTo>
                                                  <a:cubicBezTo>
                                                    <a:pt x="782482" y="995081"/>
                                                    <a:pt x="794921" y="1001560"/>
                                                    <a:pt x="805546" y="1005577"/>
                                                  </a:cubicBezTo>
                                                  <a:cubicBezTo>
                                                    <a:pt x="810599" y="1007520"/>
                                                    <a:pt x="815976" y="1009982"/>
                                                    <a:pt x="820382" y="1013157"/>
                                                  </a:cubicBezTo>
                                                  <a:cubicBezTo>
                                                    <a:pt x="820770" y="1013157"/>
                                                    <a:pt x="821095" y="1013027"/>
                                                    <a:pt x="821483" y="1013027"/>
                                                  </a:cubicBezTo>
                                                  <a:cubicBezTo>
                                                    <a:pt x="819475" y="1008816"/>
                                                    <a:pt x="822714" y="1003568"/>
                                                    <a:pt x="826989" y="1001689"/>
                                                  </a:cubicBezTo>
                                                  <a:cubicBezTo>
                                                    <a:pt x="831266" y="999811"/>
                                                    <a:pt x="836189" y="1000394"/>
                                                    <a:pt x="840854" y="1000977"/>
                                                  </a:cubicBezTo>
                                                  <a:cubicBezTo>
                                                    <a:pt x="841243" y="1004799"/>
                                                    <a:pt x="842150" y="1009269"/>
                                                    <a:pt x="845648" y="1011018"/>
                                                  </a:cubicBezTo>
                                                  <a:cubicBezTo>
                                                    <a:pt x="849082" y="1012768"/>
                                                    <a:pt x="854265" y="1008233"/>
                                                    <a:pt x="851543" y="1005447"/>
                                                  </a:cubicBezTo>
                                                  <a:cubicBezTo>
                                                    <a:pt x="854912" y="1005901"/>
                                                    <a:pt x="858346" y="1006354"/>
                                                    <a:pt x="861715" y="1006807"/>
                                                  </a:cubicBezTo>
                                                  <a:cubicBezTo>
                                                    <a:pt x="864955" y="1011343"/>
                                                    <a:pt x="861844" y="1017497"/>
                                                    <a:pt x="859901" y="1022680"/>
                                                  </a:cubicBezTo>
                                                  <a:cubicBezTo>
                                                    <a:pt x="857957" y="1027928"/>
                                                    <a:pt x="859189" y="1036026"/>
                                                    <a:pt x="864760" y="1036026"/>
                                                  </a:cubicBezTo>
                                                  <a:cubicBezTo>
                                                    <a:pt x="870137" y="1036026"/>
                                                    <a:pt x="871562" y="1028770"/>
                                                    <a:pt x="873765" y="1023846"/>
                                                  </a:cubicBezTo>
                                                  <a:cubicBezTo>
                                                    <a:pt x="877263" y="1015942"/>
                                                    <a:pt x="886204" y="1011990"/>
                                                    <a:pt x="894626" y="1010112"/>
                                                  </a:cubicBezTo>
                                                  <a:cubicBezTo>
                                                    <a:pt x="903049" y="1008233"/>
                                                    <a:pt x="911989" y="1007844"/>
                                                    <a:pt x="919698" y="1003957"/>
                                                  </a:cubicBezTo>
                                                  <a:cubicBezTo>
                                                    <a:pt x="927407" y="1000070"/>
                                                    <a:pt x="933627" y="991065"/>
                                                    <a:pt x="930711" y="982966"/>
                                                  </a:cubicBezTo>
                                                  <a:cubicBezTo>
                                                    <a:pt x="939199" y="986076"/>
                                                    <a:pt x="949564" y="978561"/>
                                                    <a:pt x="949370" y="969556"/>
                                                  </a:cubicBezTo>
                                                  <a:cubicBezTo>
                                                    <a:pt x="958959" y="965409"/>
                                                    <a:pt x="971527" y="970592"/>
                                                    <a:pt x="975349" y="980310"/>
                                                  </a:cubicBezTo>
                                                  <a:cubicBezTo>
                                                    <a:pt x="982735" y="975646"/>
                                                    <a:pt x="990055" y="971046"/>
                                                    <a:pt x="997441" y="966381"/>
                                                  </a:cubicBezTo>
                                                  <a:cubicBezTo>
                                                    <a:pt x="1002753" y="955368"/>
                                                    <a:pt x="1014674" y="949472"/>
                                                    <a:pt x="1025817" y="944354"/>
                                                  </a:cubicBezTo>
                                                  <a:cubicBezTo>
                                                    <a:pt x="1040718" y="937487"/>
                                                    <a:pt x="1055683" y="930619"/>
                                                    <a:pt x="1070584" y="923752"/>
                                                  </a:cubicBezTo>
                                                  <a:cubicBezTo>
                                                    <a:pt x="1072463" y="922910"/>
                                                    <a:pt x="1074471" y="921938"/>
                                                    <a:pt x="1075702" y="920318"/>
                                                  </a:cubicBezTo>
                                                  <a:cubicBezTo>
                                                    <a:pt x="1077257" y="918310"/>
                                                    <a:pt x="1077516" y="915654"/>
                                                    <a:pt x="1077711" y="913192"/>
                                                  </a:cubicBezTo>
                                                  <a:cubicBezTo>
                                                    <a:pt x="1079136" y="895894"/>
                                                    <a:pt x="1081338" y="880994"/>
                                                    <a:pt x="1082180" y="863696"/>
                                                  </a:cubicBezTo>
                                                  <a:cubicBezTo>
                                                    <a:pt x="1082310" y="860327"/>
                                                    <a:pt x="1082505" y="856958"/>
                                                    <a:pt x="1082634" y="853524"/>
                                                  </a:cubicBezTo>
                                                  <a:cubicBezTo>
                                                    <a:pt x="1092093" y="842511"/>
                                                    <a:pt x="1106087" y="835579"/>
                                                    <a:pt x="1120599" y="834801"/>
                                                  </a:cubicBezTo>
                                                  <a:cubicBezTo>
                                                    <a:pt x="1123579" y="834672"/>
                                                    <a:pt x="1126753" y="834672"/>
                                                    <a:pt x="1129410" y="833311"/>
                                                  </a:cubicBezTo>
                                                  <a:cubicBezTo>
                                                    <a:pt x="1131289" y="832340"/>
                                                    <a:pt x="1132714" y="830720"/>
                                                    <a:pt x="1134074" y="829100"/>
                                                  </a:cubicBezTo>
                                                  <a:cubicBezTo>
                                                    <a:pt x="1146448" y="814329"/>
                                                    <a:pt x="1155518" y="796772"/>
                                                    <a:pt x="1160312" y="778049"/>
                                                  </a:cubicBezTo>
                                                  <a:cubicBezTo>
                                                    <a:pt x="1161738" y="772478"/>
                                                    <a:pt x="1162127" y="765157"/>
                                                    <a:pt x="1157138" y="762371"/>
                                                  </a:cubicBezTo>
                                                  <a:cubicBezTo>
                                                    <a:pt x="1149817" y="758225"/>
                                                    <a:pt x="1137313" y="767619"/>
                                                    <a:pt x="1133491" y="760104"/>
                                                  </a:cubicBezTo>
                                                  <a:cubicBezTo>
                                                    <a:pt x="1132779" y="753301"/>
                                                    <a:pt x="1137832" y="746369"/>
                                                    <a:pt x="1144504" y="744944"/>
                                                  </a:cubicBezTo>
                                                  <a:cubicBezTo>
                                                    <a:pt x="1148327" y="744101"/>
                                                    <a:pt x="1152409" y="744944"/>
                                                    <a:pt x="1156101" y="743518"/>
                                                  </a:cubicBezTo>
                                                  <a:cubicBezTo>
                                                    <a:pt x="1159794" y="742093"/>
                                                    <a:pt x="1162385" y="736910"/>
                                                    <a:pt x="1159405" y="734384"/>
                                                  </a:cubicBezTo>
                                                  <a:cubicBezTo>
                                                    <a:pt x="1154871" y="734254"/>
                                                    <a:pt x="1151048" y="731079"/>
                                                    <a:pt x="1147615" y="728099"/>
                                                  </a:cubicBezTo>
                                                  <a:cubicBezTo>
                                                    <a:pt x="1142172" y="723305"/>
                                                    <a:pt x="1136665" y="718576"/>
                                                    <a:pt x="1131224" y="713782"/>
                                                  </a:cubicBezTo>
                                                  <a:cubicBezTo>
                                                    <a:pt x="1127402" y="710413"/>
                                                    <a:pt x="1123384" y="704453"/>
                                                    <a:pt x="1127077" y="700954"/>
                                                  </a:cubicBezTo>
                                                  <a:cubicBezTo>
                                                    <a:pt x="1137637" y="699270"/>
                                                    <a:pt x="1148975" y="704971"/>
                                                    <a:pt x="1153899" y="714494"/>
                                                  </a:cubicBezTo>
                                                  <a:cubicBezTo>
                                                    <a:pt x="1156036" y="713069"/>
                                                    <a:pt x="1158110" y="711644"/>
                                                    <a:pt x="1160248" y="710218"/>
                                                  </a:cubicBezTo>
                                                  <a:cubicBezTo>
                                                    <a:pt x="1163681" y="703805"/>
                                                    <a:pt x="1155583" y="697391"/>
                                                    <a:pt x="1148651" y="695059"/>
                                                  </a:cubicBezTo>
                                                  <a:cubicBezTo>
                                                    <a:pt x="1141784" y="692726"/>
                                                    <a:pt x="1132973" y="688580"/>
                                                    <a:pt x="1134139" y="681389"/>
                                                  </a:cubicBezTo>
                                                  <a:cubicBezTo>
                                                    <a:pt x="1134463" y="679510"/>
                                                    <a:pt x="1135500" y="677696"/>
                                                    <a:pt x="1135370" y="675817"/>
                                                  </a:cubicBezTo>
                                                  <a:cubicBezTo>
                                                    <a:pt x="1135176" y="670958"/>
                                                    <a:pt x="1128567" y="669209"/>
                                                    <a:pt x="1126300" y="664933"/>
                                                  </a:cubicBezTo>
                                                  <a:cubicBezTo>
                                                    <a:pt x="1125133" y="662666"/>
                                                    <a:pt x="1125263" y="660010"/>
                                                    <a:pt x="1124940" y="657483"/>
                                                  </a:cubicBezTo>
                                                  <a:cubicBezTo>
                                                    <a:pt x="1122218" y="638630"/>
                                                    <a:pt x="1091898" y="631633"/>
                                                    <a:pt x="1092935" y="612651"/>
                                                  </a:cubicBezTo>
                                                  <a:cubicBezTo>
                                                    <a:pt x="1093065" y="610124"/>
                                                    <a:pt x="1093842" y="607663"/>
                                                    <a:pt x="1094814" y="605330"/>
                                                  </a:cubicBezTo>
                                                  <a:cubicBezTo>
                                                    <a:pt x="1099154" y="595483"/>
                                                    <a:pt x="1108807" y="588097"/>
                                                    <a:pt x="1119432" y="586607"/>
                                                  </a:cubicBezTo>
                                                  <a:cubicBezTo>
                                                    <a:pt x="1121959" y="586219"/>
                                                    <a:pt x="1125133" y="585700"/>
                                                    <a:pt x="1125717" y="583238"/>
                                                  </a:cubicBezTo>
                                                  <a:cubicBezTo>
                                                    <a:pt x="1126041" y="582007"/>
                                                    <a:pt x="1125523" y="580777"/>
                                                    <a:pt x="1125393" y="579481"/>
                                                  </a:cubicBezTo>
                                                  <a:cubicBezTo>
                                                    <a:pt x="1124810" y="573521"/>
                                                    <a:pt x="1132261" y="570605"/>
                                                    <a:pt x="1138026" y="568856"/>
                                                  </a:cubicBezTo>
                                                  <a:cubicBezTo>
                                                    <a:pt x="1143792" y="567107"/>
                                                    <a:pt x="1150465" y="561471"/>
                                                    <a:pt x="1147161" y="556482"/>
                                                  </a:cubicBezTo>
                                                  <a:cubicBezTo>
                                                    <a:pt x="1153899" y="554409"/>
                                                    <a:pt x="1161090" y="556417"/>
                                                    <a:pt x="1168086" y="555769"/>
                                                  </a:cubicBezTo>
                                                  <a:cubicBezTo>
                                                    <a:pt x="1175084" y="555121"/>
                                                    <a:pt x="1182923" y="549679"/>
                                                    <a:pt x="1181368" y="542812"/>
                                                  </a:cubicBezTo>
                                                  <a:cubicBezTo>
                                                    <a:pt x="1163487" y="539702"/>
                                                    <a:pt x="1146059" y="533742"/>
                                                    <a:pt x="1130057" y="525190"/>
                                                  </a:cubicBezTo>
                                                  <a:cubicBezTo>
                                                    <a:pt x="1129215" y="528171"/>
                                                    <a:pt x="1128373" y="531151"/>
                                                    <a:pt x="1127595" y="534066"/>
                                                  </a:cubicBezTo>
                                                  <a:cubicBezTo>
                                                    <a:pt x="1119239" y="531345"/>
                                                    <a:pt x="1109521" y="539767"/>
                                                    <a:pt x="1111075" y="548449"/>
                                                  </a:cubicBezTo>
                                                  <a:cubicBezTo>
                                                    <a:pt x="1105180" y="547865"/>
                                                    <a:pt x="1099219" y="547282"/>
                                                    <a:pt x="1093324" y="546764"/>
                                                  </a:cubicBezTo>
                                                  <a:cubicBezTo>
                                                    <a:pt x="1090408" y="539379"/>
                                                    <a:pt x="1087493" y="531993"/>
                                                    <a:pt x="1084642" y="524607"/>
                                                  </a:cubicBezTo>
                                                  <a:cubicBezTo>
                                                    <a:pt x="1083282" y="521109"/>
                                                    <a:pt x="1081533" y="517287"/>
                                                    <a:pt x="1078034" y="516056"/>
                                                  </a:cubicBezTo>
                                                  <a:cubicBezTo>
                                                    <a:pt x="1074471" y="514760"/>
                                                    <a:pt x="1070520" y="516768"/>
                                                    <a:pt x="1066761" y="516574"/>
                                                  </a:cubicBezTo>
                                                  <a:cubicBezTo>
                                                    <a:pt x="1060867" y="516185"/>
                                                    <a:pt x="1056526" y="510354"/>
                                                    <a:pt x="1055813" y="504459"/>
                                                  </a:cubicBezTo>
                                                  <a:cubicBezTo>
                                                    <a:pt x="1055101" y="498563"/>
                                                    <a:pt x="1057108" y="492798"/>
                                                    <a:pt x="1059052" y="487226"/>
                                                  </a:cubicBezTo>
                                                  <a:cubicBezTo>
                                                    <a:pt x="1067669" y="487226"/>
                                                    <a:pt x="1076221" y="487161"/>
                                                    <a:pt x="1084837" y="487096"/>
                                                  </a:cubicBezTo>
                                                  <a:cubicBezTo>
                                                    <a:pt x="1084124" y="480683"/>
                                                    <a:pt x="1095073" y="479711"/>
                                                    <a:pt x="1097470" y="473686"/>
                                                  </a:cubicBezTo>
                                                  <a:cubicBezTo>
                                                    <a:pt x="1098312" y="471677"/>
                                                    <a:pt x="1097924" y="469345"/>
                                                    <a:pt x="1098118" y="467207"/>
                                                  </a:cubicBezTo>
                                                  <a:cubicBezTo>
                                                    <a:pt x="1098701" y="461247"/>
                                                    <a:pt x="1103755" y="456388"/>
                                                    <a:pt x="1109326" y="454250"/>
                                                  </a:cubicBezTo>
                                                  <a:cubicBezTo>
                                                    <a:pt x="1114962" y="452112"/>
                                                    <a:pt x="1121117" y="452047"/>
                                                    <a:pt x="1127142" y="452047"/>
                                                  </a:cubicBezTo>
                                                  <a:cubicBezTo>
                                                    <a:pt x="1132908" y="442589"/>
                                                    <a:pt x="1139387" y="432612"/>
                                                    <a:pt x="1149558" y="428271"/>
                                                  </a:cubicBezTo>
                                                  <a:cubicBezTo>
                                                    <a:pt x="1159794" y="423995"/>
                                                    <a:pt x="1174500" y="429048"/>
                                                    <a:pt x="1175602" y="440062"/>
                                                  </a:cubicBezTo>
                                                  <a:cubicBezTo>
                                                    <a:pt x="1175926" y="443496"/>
                                                    <a:pt x="1174954" y="447059"/>
                                                    <a:pt x="1172816" y="449715"/>
                                                  </a:cubicBezTo>
                                                  <a:cubicBezTo>
                                                    <a:pt x="1171844" y="450946"/>
                                                    <a:pt x="1170678" y="451983"/>
                                                    <a:pt x="1169576" y="453019"/>
                                                  </a:cubicBezTo>
                                                  <a:cubicBezTo>
                                                    <a:pt x="1165301" y="456842"/>
                                                    <a:pt x="1161025" y="460664"/>
                                                    <a:pt x="1156749" y="464486"/>
                                                  </a:cubicBezTo>
                                                  <a:cubicBezTo>
                                                    <a:pt x="1157397" y="469216"/>
                                                    <a:pt x="1152344" y="472390"/>
                                                    <a:pt x="1149623" y="476277"/>
                                                  </a:cubicBezTo>
                                                  <a:cubicBezTo>
                                                    <a:pt x="1144504" y="483728"/>
                                                    <a:pt x="1150077" y="495778"/>
                                                    <a:pt x="1159016" y="496749"/>
                                                  </a:cubicBezTo>
                                                  <a:cubicBezTo>
                                                    <a:pt x="1162062" y="491372"/>
                                                    <a:pt x="1167504" y="487874"/>
                                                    <a:pt x="1172687" y="484505"/>
                                                  </a:cubicBezTo>
                                                  <a:cubicBezTo>
                                                    <a:pt x="1179683" y="480100"/>
                                                    <a:pt x="1186680" y="475629"/>
                                                    <a:pt x="1193612" y="471224"/>
                                                  </a:cubicBezTo>
                                                  <a:cubicBezTo>
                                                    <a:pt x="1200804" y="466689"/>
                                                    <a:pt x="1207930" y="462089"/>
                                                    <a:pt x="1215121" y="457554"/>
                                                  </a:cubicBezTo>
                                                  <a:cubicBezTo>
                                                    <a:pt x="1218879" y="455157"/>
                                                    <a:pt x="1223867" y="452825"/>
                                                    <a:pt x="1227365" y="455546"/>
                                                  </a:cubicBezTo>
                                                  <a:cubicBezTo>
                                                    <a:pt x="1231317" y="458591"/>
                                                    <a:pt x="1229503" y="465134"/>
                                                    <a:pt x="1232224" y="469280"/>
                                                  </a:cubicBezTo>
                                                  <a:cubicBezTo>
                                                    <a:pt x="1235788" y="474722"/>
                                                    <a:pt x="1244599" y="473168"/>
                                                    <a:pt x="1249716" y="477184"/>
                                                  </a:cubicBezTo>
                                                  <a:cubicBezTo>
                                                    <a:pt x="1253409" y="480035"/>
                                                    <a:pt x="1254381" y="485865"/>
                                                    <a:pt x="1251855" y="489753"/>
                                                  </a:cubicBezTo>
                                                  <a:cubicBezTo>
                                                    <a:pt x="1249328" y="493640"/>
                                                    <a:pt x="1243627" y="495130"/>
                                                    <a:pt x="1239480" y="492927"/>
                                                  </a:cubicBezTo>
                                                  <a:cubicBezTo>
                                                    <a:pt x="1237083" y="497657"/>
                                                    <a:pt x="1235982" y="502969"/>
                                                    <a:pt x="1236241" y="508281"/>
                                                  </a:cubicBezTo>
                                                  <a:cubicBezTo>
                                                    <a:pt x="1232224" y="509318"/>
                                                    <a:pt x="1228273" y="510290"/>
                                                    <a:pt x="1224256" y="511326"/>
                                                  </a:cubicBezTo>
                                                  <a:cubicBezTo>
                                                    <a:pt x="1231123" y="518194"/>
                                                    <a:pt x="1237926" y="525061"/>
                                                    <a:pt x="1244793" y="531993"/>
                                                  </a:cubicBezTo>
                                                  <a:cubicBezTo>
                                                    <a:pt x="1245441" y="532641"/>
                                                    <a:pt x="1246218" y="533354"/>
                                                    <a:pt x="1247190" y="533354"/>
                                                  </a:cubicBezTo>
                                                  <a:cubicBezTo>
                                                    <a:pt x="1248356" y="533354"/>
                                                    <a:pt x="1249198" y="532317"/>
                                                    <a:pt x="1249976" y="531475"/>
                                                  </a:cubicBezTo>
                                                  <a:cubicBezTo>
                                                    <a:pt x="1256001" y="524931"/>
                                                    <a:pt x="1266367" y="525774"/>
                                                    <a:pt x="1275113" y="527134"/>
                                                  </a:cubicBezTo>
                                                  <a:cubicBezTo>
                                                    <a:pt x="1275372" y="532511"/>
                                                    <a:pt x="1275695" y="537824"/>
                                                    <a:pt x="1275955" y="543201"/>
                                                  </a:cubicBezTo>
                                                  <a:cubicBezTo>
                                                    <a:pt x="1281526" y="545404"/>
                                                    <a:pt x="1287552" y="547865"/>
                                                    <a:pt x="1290791" y="552919"/>
                                                  </a:cubicBezTo>
                                                  <a:cubicBezTo>
                                                    <a:pt x="1294030" y="557972"/>
                                                    <a:pt x="1292540" y="566329"/>
                                                    <a:pt x="1286709" y="567819"/>
                                                  </a:cubicBezTo>
                                                  <a:cubicBezTo>
                                                    <a:pt x="1282951" y="568791"/>
                                                    <a:pt x="1278482" y="566718"/>
                                                    <a:pt x="1275437" y="569050"/>
                                                  </a:cubicBezTo>
                                                  <a:cubicBezTo>
                                                    <a:pt x="1270772" y="572614"/>
                                                    <a:pt x="1275695" y="579805"/>
                                                    <a:pt x="1280554" y="583109"/>
                                                  </a:cubicBezTo>
                                                  <a:cubicBezTo>
                                                    <a:pt x="1285413" y="586413"/>
                                                    <a:pt x="1290986" y="592697"/>
                                                    <a:pt x="1287098" y="597038"/>
                                                  </a:cubicBezTo>
                                                  <a:cubicBezTo>
                                                    <a:pt x="1281591" y="595807"/>
                                                    <a:pt x="1275502" y="599629"/>
                                                    <a:pt x="1274141" y="605136"/>
                                                  </a:cubicBezTo>
                                                  <a:cubicBezTo>
                                                    <a:pt x="1272845" y="610643"/>
                                                    <a:pt x="1276538" y="616797"/>
                                                    <a:pt x="1281980" y="618223"/>
                                                  </a:cubicBezTo>
                                                  <a:cubicBezTo>
                                                    <a:pt x="1278092" y="623082"/>
                                                    <a:pt x="1276538" y="629755"/>
                                                    <a:pt x="1277964" y="635780"/>
                                                  </a:cubicBezTo>
                                                  <a:cubicBezTo>
                                                    <a:pt x="1291374" y="637270"/>
                                                    <a:pt x="1305368" y="629819"/>
                                                    <a:pt x="1311587" y="617769"/>
                                                  </a:cubicBezTo>
                                                  <a:cubicBezTo>
                                                    <a:pt x="1315280" y="621851"/>
                                                    <a:pt x="1322212" y="618417"/>
                                                    <a:pt x="1325257" y="613882"/>
                                                  </a:cubicBezTo>
                                                  <a:cubicBezTo>
                                                    <a:pt x="1328301" y="609347"/>
                                                    <a:pt x="1330116" y="603452"/>
                                                    <a:pt x="1334910" y="600860"/>
                                                  </a:cubicBezTo>
                                                  <a:cubicBezTo>
                                                    <a:pt x="1342101" y="596973"/>
                                                    <a:pt x="1351430" y="602739"/>
                                                    <a:pt x="1358946" y="599500"/>
                                                  </a:cubicBezTo>
                                                  <a:cubicBezTo>
                                                    <a:pt x="1362379" y="595353"/>
                                                    <a:pt x="1355447" y="590883"/>
                                                    <a:pt x="1351819" y="586802"/>
                                                  </a:cubicBezTo>
                                                  <a:cubicBezTo>
                                                    <a:pt x="1345729" y="579934"/>
                                                    <a:pt x="1349876" y="569374"/>
                                                    <a:pt x="1350199" y="560240"/>
                                                  </a:cubicBezTo>
                                                  <a:cubicBezTo>
                                                    <a:pt x="1350588" y="548319"/>
                                                    <a:pt x="1343073" y="536593"/>
                                                    <a:pt x="1332059" y="531993"/>
                                                  </a:cubicBezTo>
                                                  <a:cubicBezTo>
                                                    <a:pt x="1329273" y="530827"/>
                                                    <a:pt x="1326164" y="529920"/>
                                                    <a:pt x="1324544" y="527393"/>
                                                  </a:cubicBezTo>
                                                  <a:cubicBezTo>
                                                    <a:pt x="1321823" y="523053"/>
                                                    <a:pt x="1324998" y="516120"/>
                                                    <a:pt x="1320981" y="512881"/>
                                                  </a:cubicBezTo>
                                                  <a:cubicBezTo>
                                                    <a:pt x="1317418" y="513464"/>
                                                    <a:pt x="1313661" y="512946"/>
                                                    <a:pt x="1310421" y="511326"/>
                                                  </a:cubicBezTo>
                                                  <a:cubicBezTo>
                                                    <a:pt x="1310939" y="503746"/>
                                                    <a:pt x="1310680" y="496166"/>
                                                    <a:pt x="1309579" y="488651"/>
                                                  </a:cubicBezTo>
                                                  <a:cubicBezTo>
                                                    <a:pt x="1302258" y="493057"/>
                                                    <a:pt x="1293383" y="482497"/>
                                                    <a:pt x="1295650" y="474269"/>
                                                  </a:cubicBezTo>
                                                  <a:cubicBezTo>
                                                    <a:pt x="1297917" y="465976"/>
                                                    <a:pt x="1305886" y="460858"/>
                                                    <a:pt x="1312882" y="455935"/>
                                                  </a:cubicBezTo>
                                                  <a:cubicBezTo>
                                                    <a:pt x="1338861" y="437924"/>
                                                    <a:pt x="1373198" y="418165"/>
                                                    <a:pt x="1377668" y="386808"/>
                                                  </a:cubicBezTo>
                                                  <a:cubicBezTo>
                                                    <a:pt x="1379288" y="375535"/>
                                                    <a:pt x="1386155" y="365299"/>
                                                    <a:pt x="1395679" y="359080"/>
                                                  </a:cubicBezTo>
                                                  <a:cubicBezTo>
                                                    <a:pt x="1392764" y="350140"/>
                                                    <a:pt x="1390302" y="341069"/>
                                                    <a:pt x="1389784" y="331740"/>
                                                  </a:cubicBezTo>
                                                  <a:cubicBezTo>
                                                    <a:pt x="1389070" y="318848"/>
                                                    <a:pt x="1392439" y="305113"/>
                                                    <a:pt x="1401574" y="296043"/>
                                                  </a:cubicBezTo>
                                                  <a:cubicBezTo>
                                                    <a:pt x="1403971" y="293711"/>
                                                    <a:pt x="1406758" y="291638"/>
                                                    <a:pt x="1409867" y="290537"/>
                                                  </a:cubicBezTo>
                                                  <a:cubicBezTo>
                                                    <a:pt x="1416864" y="288075"/>
                                                    <a:pt x="1424574" y="290472"/>
                                                    <a:pt x="1431894" y="289435"/>
                                                  </a:cubicBezTo>
                                                  <a:cubicBezTo>
                                                    <a:pt x="1448674" y="287168"/>
                                                    <a:pt x="1457809" y="269093"/>
                                                    <a:pt x="1464158" y="253350"/>
                                                  </a:cubicBezTo>
                                                  <a:cubicBezTo>
                                                    <a:pt x="1469405" y="240263"/>
                                                    <a:pt x="1474653" y="227241"/>
                                                    <a:pt x="1479900" y="214154"/>
                                                  </a:cubicBezTo>
                                                  <a:cubicBezTo>
                                                    <a:pt x="1482039" y="208777"/>
                                                    <a:pt x="1484241" y="203141"/>
                                                    <a:pt x="1483593" y="197440"/>
                                                  </a:cubicBezTo>
                                                  <a:cubicBezTo>
                                                    <a:pt x="1482945" y="191674"/>
                                                    <a:pt x="1478540" y="185908"/>
                                                    <a:pt x="1472774" y="18597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3" name="Freeform: Shape 200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15D9816-8BBC-4BF5-924F-0F504FB3505F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279324" y="3600803"/>
                                              <a:ext cx="209495" cy="48349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72568 w 209495"/>
                                                <a:gd name="connsiteY0" fmla="*/ 433481 h 483495"/>
                                                <a:gd name="connsiteX1" fmla="*/ 170883 w 209495"/>
                                                <a:gd name="connsiteY1" fmla="*/ 423115 h 483495"/>
                                                <a:gd name="connsiteX2" fmla="*/ 165765 w 209495"/>
                                                <a:gd name="connsiteY2" fmla="*/ 413527 h 483495"/>
                                                <a:gd name="connsiteX3" fmla="*/ 158962 w 209495"/>
                                                <a:gd name="connsiteY3" fmla="*/ 349713 h 483495"/>
                                                <a:gd name="connsiteX4" fmla="*/ 160388 w 209495"/>
                                                <a:gd name="connsiteY4" fmla="*/ 342198 h 483495"/>
                                                <a:gd name="connsiteX5" fmla="*/ 156306 w 209495"/>
                                                <a:gd name="connsiteY5" fmla="*/ 334553 h 483495"/>
                                                <a:gd name="connsiteX6" fmla="*/ 141146 w 209495"/>
                                                <a:gd name="connsiteY6" fmla="*/ 315506 h 483495"/>
                                                <a:gd name="connsiteX7" fmla="*/ 135834 w 209495"/>
                                                <a:gd name="connsiteY7" fmla="*/ 307149 h 483495"/>
                                                <a:gd name="connsiteX8" fmla="*/ 134538 w 209495"/>
                                                <a:gd name="connsiteY8" fmla="*/ 295876 h 483495"/>
                                                <a:gd name="connsiteX9" fmla="*/ 134797 w 209495"/>
                                                <a:gd name="connsiteY9" fmla="*/ 265492 h 483495"/>
                                                <a:gd name="connsiteX10" fmla="*/ 137000 w 209495"/>
                                                <a:gd name="connsiteY10" fmla="*/ 254284 h 483495"/>
                                                <a:gd name="connsiteX11" fmla="*/ 146653 w 209495"/>
                                                <a:gd name="connsiteY11" fmla="*/ 247676 h 483495"/>
                                                <a:gd name="connsiteX12" fmla="*/ 180082 w 209495"/>
                                                <a:gd name="connsiteY12" fmla="*/ 236403 h 483495"/>
                                                <a:gd name="connsiteX13" fmla="*/ 190707 w 209495"/>
                                                <a:gd name="connsiteY13" fmla="*/ 232710 h 483495"/>
                                                <a:gd name="connsiteX14" fmla="*/ 200879 w 209495"/>
                                                <a:gd name="connsiteY14" fmla="*/ 222539 h 483495"/>
                                                <a:gd name="connsiteX15" fmla="*/ 209495 w 209495"/>
                                                <a:gd name="connsiteY15" fmla="*/ 202455 h 483495"/>
                                                <a:gd name="connsiteX16" fmla="*/ 203470 w 209495"/>
                                                <a:gd name="connsiteY16" fmla="*/ 201095 h 483495"/>
                                                <a:gd name="connsiteX17" fmla="*/ 186302 w 209495"/>
                                                <a:gd name="connsiteY17" fmla="*/ 179780 h 483495"/>
                                                <a:gd name="connsiteX18" fmla="*/ 181249 w 209495"/>
                                                <a:gd name="connsiteY18" fmla="*/ 169220 h 483495"/>
                                                <a:gd name="connsiteX19" fmla="*/ 176714 w 209495"/>
                                                <a:gd name="connsiteY19" fmla="*/ 162029 h 483495"/>
                                                <a:gd name="connsiteX20" fmla="*/ 171660 w 209495"/>
                                                <a:gd name="connsiteY20" fmla="*/ 158077 h 483495"/>
                                                <a:gd name="connsiteX21" fmla="*/ 148597 w 209495"/>
                                                <a:gd name="connsiteY21" fmla="*/ 125749 h 483495"/>
                                                <a:gd name="connsiteX22" fmla="*/ 137972 w 209495"/>
                                                <a:gd name="connsiteY22" fmla="*/ 124000 h 483495"/>
                                                <a:gd name="connsiteX23" fmla="*/ 138166 w 209495"/>
                                                <a:gd name="connsiteY23" fmla="*/ 110848 h 483495"/>
                                                <a:gd name="connsiteX24" fmla="*/ 146783 w 209495"/>
                                                <a:gd name="connsiteY24" fmla="*/ 99187 h 483495"/>
                                                <a:gd name="connsiteX25" fmla="*/ 147884 w 209495"/>
                                                <a:gd name="connsiteY25" fmla="*/ 87396 h 483495"/>
                                                <a:gd name="connsiteX26" fmla="*/ 159027 w 209495"/>
                                                <a:gd name="connsiteY26" fmla="*/ 66665 h 483495"/>
                                                <a:gd name="connsiteX27" fmla="*/ 157407 w 209495"/>
                                                <a:gd name="connsiteY27" fmla="*/ 19112 h 483495"/>
                                                <a:gd name="connsiteX28" fmla="*/ 120868 w 209495"/>
                                                <a:gd name="connsiteY28" fmla="*/ 0 h 483495"/>
                                                <a:gd name="connsiteX29" fmla="*/ 112770 w 209495"/>
                                                <a:gd name="connsiteY29" fmla="*/ 17751 h 483495"/>
                                                <a:gd name="connsiteX30" fmla="*/ 91585 w 209495"/>
                                                <a:gd name="connsiteY30" fmla="*/ 31745 h 483495"/>
                                                <a:gd name="connsiteX31" fmla="*/ 85949 w 209495"/>
                                                <a:gd name="connsiteY31" fmla="*/ 35049 h 483495"/>
                                                <a:gd name="connsiteX32" fmla="*/ 85625 w 209495"/>
                                                <a:gd name="connsiteY32" fmla="*/ 41981 h 483495"/>
                                                <a:gd name="connsiteX33" fmla="*/ 71761 w 209495"/>
                                                <a:gd name="connsiteY33" fmla="*/ 55975 h 483495"/>
                                                <a:gd name="connsiteX34" fmla="*/ 63727 w 209495"/>
                                                <a:gd name="connsiteY34" fmla="*/ 82148 h 483495"/>
                                                <a:gd name="connsiteX35" fmla="*/ 56471 w 209495"/>
                                                <a:gd name="connsiteY35" fmla="*/ 90376 h 483495"/>
                                                <a:gd name="connsiteX36" fmla="*/ 50965 w 209495"/>
                                                <a:gd name="connsiteY36" fmla="*/ 104435 h 483495"/>
                                                <a:gd name="connsiteX37" fmla="*/ 21034 w 209495"/>
                                                <a:gd name="connsiteY37" fmla="*/ 134754 h 483495"/>
                                                <a:gd name="connsiteX38" fmla="*/ 13194 w 209495"/>
                                                <a:gd name="connsiteY38" fmla="*/ 135337 h 483495"/>
                                                <a:gd name="connsiteX39" fmla="*/ 5938 w 209495"/>
                                                <a:gd name="connsiteY39" fmla="*/ 140067 h 483495"/>
                                                <a:gd name="connsiteX40" fmla="*/ 1922 w 209495"/>
                                                <a:gd name="connsiteY40" fmla="*/ 143760 h 483495"/>
                                                <a:gd name="connsiteX41" fmla="*/ 2505 w 209495"/>
                                                <a:gd name="connsiteY41" fmla="*/ 190988 h 483495"/>
                                                <a:gd name="connsiteX42" fmla="*/ 5679 w 209495"/>
                                                <a:gd name="connsiteY42" fmla="*/ 200771 h 483495"/>
                                                <a:gd name="connsiteX43" fmla="*/ 13843 w 209495"/>
                                                <a:gd name="connsiteY43" fmla="*/ 208221 h 483495"/>
                                                <a:gd name="connsiteX44" fmla="*/ 17211 w 209495"/>
                                                <a:gd name="connsiteY44" fmla="*/ 220336 h 483495"/>
                                                <a:gd name="connsiteX45" fmla="*/ 53232 w 209495"/>
                                                <a:gd name="connsiteY45" fmla="*/ 255385 h 483495"/>
                                                <a:gd name="connsiteX46" fmla="*/ 53880 w 209495"/>
                                                <a:gd name="connsiteY46" fmla="*/ 266204 h 483495"/>
                                                <a:gd name="connsiteX47" fmla="*/ 69817 w 209495"/>
                                                <a:gd name="connsiteY47" fmla="*/ 312980 h 483495"/>
                                                <a:gd name="connsiteX48" fmla="*/ 65995 w 209495"/>
                                                <a:gd name="connsiteY48" fmla="*/ 337857 h 483495"/>
                                                <a:gd name="connsiteX49" fmla="*/ 80766 w 209495"/>
                                                <a:gd name="connsiteY49" fmla="*/ 353924 h 483495"/>
                                                <a:gd name="connsiteX50" fmla="*/ 87115 w 209495"/>
                                                <a:gd name="connsiteY50" fmla="*/ 350296 h 483495"/>
                                                <a:gd name="connsiteX51" fmla="*/ 116981 w 209495"/>
                                                <a:gd name="connsiteY51" fmla="*/ 316867 h 483495"/>
                                                <a:gd name="connsiteX52" fmla="*/ 129744 w 209495"/>
                                                <a:gd name="connsiteY52" fmla="*/ 330213 h 483495"/>
                                                <a:gd name="connsiteX53" fmla="*/ 132076 w 209495"/>
                                                <a:gd name="connsiteY53" fmla="*/ 343170 h 483495"/>
                                                <a:gd name="connsiteX54" fmla="*/ 140110 w 209495"/>
                                                <a:gd name="connsiteY54" fmla="*/ 406206 h 483495"/>
                                                <a:gd name="connsiteX55" fmla="*/ 143543 w 209495"/>
                                                <a:gd name="connsiteY55" fmla="*/ 415600 h 483495"/>
                                                <a:gd name="connsiteX56" fmla="*/ 156177 w 209495"/>
                                                <a:gd name="connsiteY56" fmla="*/ 425577 h 483495"/>
                                                <a:gd name="connsiteX57" fmla="*/ 153067 w 209495"/>
                                                <a:gd name="connsiteY57" fmla="*/ 433157 h 483495"/>
                                                <a:gd name="connsiteX58" fmla="*/ 165765 w 209495"/>
                                                <a:gd name="connsiteY58" fmla="*/ 450844 h 483495"/>
                                                <a:gd name="connsiteX59" fmla="*/ 151771 w 209495"/>
                                                <a:gd name="connsiteY59" fmla="*/ 472093 h 483495"/>
                                                <a:gd name="connsiteX60" fmla="*/ 163044 w 209495"/>
                                                <a:gd name="connsiteY60" fmla="*/ 483496 h 483495"/>
                                                <a:gd name="connsiteX61" fmla="*/ 171337 w 209495"/>
                                                <a:gd name="connsiteY61" fmla="*/ 462505 h 483495"/>
                                                <a:gd name="connsiteX62" fmla="*/ 172373 w 209495"/>
                                                <a:gd name="connsiteY62" fmla="*/ 433416 h 48349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09495" h="483495">
                                                  <a:moveTo>
                                                    <a:pt x="172568" y="433481"/>
                                                  </a:moveTo>
                                                  <a:cubicBezTo>
                                                    <a:pt x="172373" y="429983"/>
                                                    <a:pt x="172049" y="426420"/>
                                                    <a:pt x="170883" y="423115"/>
                                                  </a:cubicBezTo>
                                                  <a:cubicBezTo>
                                                    <a:pt x="169652" y="419682"/>
                                                    <a:pt x="167644" y="416637"/>
                                                    <a:pt x="165765" y="413527"/>
                                                  </a:cubicBezTo>
                                                  <a:cubicBezTo>
                                                    <a:pt x="154622" y="394480"/>
                                                    <a:pt x="152095" y="370639"/>
                                                    <a:pt x="158962" y="349713"/>
                                                  </a:cubicBezTo>
                                                  <a:cubicBezTo>
                                                    <a:pt x="159740" y="347251"/>
                                                    <a:pt x="160712" y="344725"/>
                                                    <a:pt x="160388" y="342198"/>
                                                  </a:cubicBezTo>
                                                  <a:cubicBezTo>
                                                    <a:pt x="160064" y="339283"/>
                                                    <a:pt x="158120" y="336821"/>
                                                    <a:pt x="156306" y="334553"/>
                                                  </a:cubicBezTo>
                                                  <a:cubicBezTo>
                                                    <a:pt x="151253" y="328204"/>
                                                    <a:pt x="146200" y="321855"/>
                                                    <a:pt x="141146" y="315506"/>
                                                  </a:cubicBezTo>
                                                  <a:cubicBezTo>
                                                    <a:pt x="139073" y="312915"/>
                                                    <a:pt x="137000" y="310259"/>
                                                    <a:pt x="135834" y="307149"/>
                                                  </a:cubicBezTo>
                                                  <a:cubicBezTo>
                                                    <a:pt x="134538" y="303586"/>
                                                    <a:pt x="134538" y="299699"/>
                                                    <a:pt x="134538" y="295876"/>
                                                  </a:cubicBezTo>
                                                  <a:cubicBezTo>
                                                    <a:pt x="134603" y="285770"/>
                                                    <a:pt x="134732" y="275598"/>
                                                    <a:pt x="134797" y="265492"/>
                                                  </a:cubicBezTo>
                                                  <a:cubicBezTo>
                                                    <a:pt x="134797" y="261605"/>
                                                    <a:pt x="134927" y="257523"/>
                                                    <a:pt x="137000" y="254284"/>
                                                  </a:cubicBezTo>
                                                  <a:cubicBezTo>
                                                    <a:pt x="139138" y="250980"/>
                                                    <a:pt x="142960" y="249166"/>
                                                    <a:pt x="146653" y="247676"/>
                                                  </a:cubicBezTo>
                                                  <a:cubicBezTo>
                                                    <a:pt x="157537" y="243141"/>
                                                    <a:pt x="168680" y="239383"/>
                                                    <a:pt x="180082" y="236403"/>
                                                  </a:cubicBezTo>
                                                  <a:cubicBezTo>
                                                    <a:pt x="183710" y="235431"/>
                                                    <a:pt x="187403" y="234589"/>
                                                    <a:pt x="190707" y="232710"/>
                                                  </a:cubicBezTo>
                                                  <a:cubicBezTo>
                                                    <a:pt x="194918" y="230378"/>
                                                    <a:pt x="198222" y="226556"/>
                                                    <a:pt x="200879" y="222539"/>
                                                  </a:cubicBezTo>
                                                  <a:cubicBezTo>
                                                    <a:pt x="204960" y="216449"/>
                                                    <a:pt x="207811" y="209582"/>
                                                    <a:pt x="209495" y="202455"/>
                                                  </a:cubicBezTo>
                                                  <a:cubicBezTo>
                                                    <a:pt x="207422" y="202326"/>
                                                    <a:pt x="205414" y="201937"/>
                                                    <a:pt x="203470" y="201095"/>
                                                  </a:cubicBezTo>
                                                  <a:cubicBezTo>
                                                    <a:pt x="194983" y="197208"/>
                                                    <a:pt x="190319" y="188202"/>
                                                    <a:pt x="186302" y="179780"/>
                                                  </a:cubicBezTo>
                                                  <a:cubicBezTo>
                                                    <a:pt x="184618" y="176282"/>
                                                    <a:pt x="182933" y="172783"/>
                                                    <a:pt x="181249" y="169220"/>
                                                  </a:cubicBezTo>
                                                  <a:cubicBezTo>
                                                    <a:pt x="180018" y="166629"/>
                                                    <a:pt x="178722" y="163973"/>
                                                    <a:pt x="176714" y="162029"/>
                                                  </a:cubicBezTo>
                                                  <a:cubicBezTo>
                                                    <a:pt x="175159" y="160539"/>
                                                    <a:pt x="173280" y="159438"/>
                                                    <a:pt x="171660" y="158077"/>
                                                  </a:cubicBezTo>
                                                  <a:cubicBezTo>
                                                    <a:pt x="161230" y="149137"/>
                                                    <a:pt x="162137" y="128081"/>
                                                    <a:pt x="148597" y="125749"/>
                                                  </a:cubicBezTo>
                                                  <a:cubicBezTo>
                                                    <a:pt x="144969" y="125101"/>
                                                    <a:pt x="140887" y="126138"/>
                                                    <a:pt x="137972" y="124000"/>
                                                  </a:cubicBezTo>
                                                  <a:cubicBezTo>
                                                    <a:pt x="134020" y="121085"/>
                                                    <a:pt x="135251" y="114800"/>
                                                    <a:pt x="138166" y="110848"/>
                                                  </a:cubicBezTo>
                                                  <a:cubicBezTo>
                                                    <a:pt x="141081" y="106896"/>
                                                    <a:pt x="145228" y="103787"/>
                                                    <a:pt x="146783" y="99187"/>
                                                  </a:cubicBezTo>
                                                  <a:cubicBezTo>
                                                    <a:pt x="148013" y="95429"/>
                                                    <a:pt x="147301" y="91283"/>
                                                    <a:pt x="147884" y="87396"/>
                                                  </a:cubicBezTo>
                                                  <a:cubicBezTo>
                                                    <a:pt x="148985" y="79557"/>
                                                    <a:pt x="155010" y="73467"/>
                                                    <a:pt x="159027" y="66665"/>
                                                  </a:cubicBezTo>
                                                  <a:cubicBezTo>
                                                    <a:pt x="167514" y="52282"/>
                                                    <a:pt x="166866" y="32911"/>
                                                    <a:pt x="157407" y="19112"/>
                                                  </a:cubicBezTo>
                                                  <a:cubicBezTo>
                                                    <a:pt x="149309" y="7321"/>
                                                    <a:pt x="135121" y="130"/>
                                                    <a:pt x="120868" y="0"/>
                                                  </a:cubicBezTo>
                                                  <a:cubicBezTo>
                                                    <a:pt x="120091" y="6479"/>
                                                    <a:pt x="116981" y="12698"/>
                                                    <a:pt x="112770" y="17751"/>
                                                  </a:cubicBezTo>
                                                  <a:cubicBezTo>
                                                    <a:pt x="107263" y="24295"/>
                                                    <a:pt x="99813" y="29218"/>
                                                    <a:pt x="91585" y="31745"/>
                                                  </a:cubicBezTo>
                                                  <a:cubicBezTo>
                                                    <a:pt x="89447" y="32393"/>
                                                    <a:pt x="86985" y="33041"/>
                                                    <a:pt x="85949" y="35049"/>
                                                  </a:cubicBezTo>
                                                  <a:cubicBezTo>
                                                    <a:pt x="84847" y="37122"/>
                                                    <a:pt x="85819" y="39649"/>
                                                    <a:pt x="85625" y="41981"/>
                                                  </a:cubicBezTo>
                                                  <a:cubicBezTo>
                                                    <a:pt x="85042" y="48719"/>
                                                    <a:pt x="76231" y="50857"/>
                                                    <a:pt x="71761" y="55975"/>
                                                  </a:cubicBezTo>
                                                  <a:cubicBezTo>
                                                    <a:pt x="65671" y="62907"/>
                                                    <a:pt x="68716" y="74374"/>
                                                    <a:pt x="63727" y="82148"/>
                                                  </a:cubicBezTo>
                                                  <a:cubicBezTo>
                                                    <a:pt x="61719" y="85193"/>
                                                    <a:pt x="58674" y="87396"/>
                                                    <a:pt x="56471" y="90376"/>
                                                  </a:cubicBezTo>
                                                  <a:cubicBezTo>
                                                    <a:pt x="53426" y="94457"/>
                                                    <a:pt x="52390" y="99576"/>
                                                    <a:pt x="50965" y="104435"/>
                                                  </a:cubicBezTo>
                                                  <a:cubicBezTo>
                                                    <a:pt x="46689" y="119011"/>
                                                    <a:pt x="36129" y="133912"/>
                                                    <a:pt x="21034" y="134754"/>
                                                  </a:cubicBezTo>
                                                  <a:cubicBezTo>
                                                    <a:pt x="18442" y="134884"/>
                                                    <a:pt x="15721" y="134625"/>
                                                    <a:pt x="13194" y="135337"/>
                                                  </a:cubicBezTo>
                                                  <a:cubicBezTo>
                                                    <a:pt x="10409" y="136180"/>
                                                    <a:pt x="8141" y="138123"/>
                                                    <a:pt x="5938" y="140067"/>
                                                  </a:cubicBezTo>
                                                  <a:cubicBezTo>
                                                    <a:pt x="4578" y="141298"/>
                                                    <a:pt x="3218" y="142529"/>
                                                    <a:pt x="1922" y="143760"/>
                                                  </a:cubicBezTo>
                                                  <a:cubicBezTo>
                                                    <a:pt x="-1577" y="158919"/>
                                                    <a:pt x="367" y="175310"/>
                                                    <a:pt x="2505" y="190988"/>
                                                  </a:cubicBezTo>
                                                  <a:cubicBezTo>
                                                    <a:pt x="2959" y="194422"/>
                                                    <a:pt x="3541" y="198050"/>
                                                    <a:pt x="5679" y="200771"/>
                                                  </a:cubicBezTo>
                                                  <a:cubicBezTo>
                                                    <a:pt x="7947" y="203686"/>
                                                    <a:pt x="11769" y="205176"/>
                                                    <a:pt x="13843" y="208221"/>
                                                  </a:cubicBezTo>
                                                  <a:cubicBezTo>
                                                    <a:pt x="16240" y="211655"/>
                                                    <a:pt x="15980" y="216319"/>
                                                    <a:pt x="17211" y="220336"/>
                                                  </a:cubicBezTo>
                                                  <a:cubicBezTo>
                                                    <a:pt x="22265" y="236857"/>
                                                    <a:pt x="49345" y="238606"/>
                                                    <a:pt x="53232" y="255385"/>
                                                  </a:cubicBezTo>
                                                  <a:cubicBezTo>
                                                    <a:pt x="54074" y="258949"/>
                                                    <a:pt x="53621" y="262577"/>
                                                    <a:pt x="53880" y="266204"/>
                                                  </a:cubicBezTo>
                                                  <a:cubicBezTo>
                                                    <a:pt x="54981" y="282790"/>
                                                    <a:pt x="69753" y="296330"/>
                                                    <a:pt x="69817" y="312980"/>
                                                  </a:cubicBezTo>
                                                  <a:cubicBezTo>
                                                    <a:pt x="69817" y="321402"/>
                                                    <a:pt x="65995" y="329435"/>
                                                    <a:pt x="65995" y="337857"/>
                                                  </a:cubicBezTo>
                                                  <a:cubicBezTo>
                                                    <a:pt x="65995" y="346280"/>
                                                    <a:pt x="72603" y="355997"/>
                                                    <a:pt x="80766" y="353924"/>
                                                  </a:cubicBezTo>
                                                  <a:cubicBezTo>
                                                    <a:pt x="83163" y="353341"/>
                                                    <a:pt x="85236" y="351786"/>
                                                    <a:pt x="87115" y="350296"/>
                                                  </a:cubicBezTo>
                                                  <a:cubicBezTo>
                                                    <a:pt x="98841" y="340967"/>
                                                    <a:pt x="109013" y="329630"/>
                                                    <a:pt x="116981" y="316867"/>
                                                  </a:cubicBezTo>
                                                  <a:cubicBezTo>
                                                    <a:pt x="118277" y="323216"/>
                                                    <a:pt x="123460" y="328658"/>
                                                    <a:pt x="129744" y="330213"/>
                                                  </a:cubicBezTo>
                                                  <a:cubicBezTo>
                                                    <a:pt x="129744" y="334229"/>
                                                    <a:pt x="131558" y="339153"/>
                                                    <a:pt x="132076" y="343170"/>
                                                  </a:cubicBezTo>
                                                  <a:cubicBezTo>
                                                    <a:pt x="134732" y="364160"/>
                                                    <a:pt x="137389" y="385216"/>
                                                    <a:pt x="140110" y="406206"/>
                                                  </a:cubicBezTo>
                                                  <a:cubicBezTo>
                                                    <a:pt x="140563" y="409575"/>
                                                    <a:pt x="141081" y="413268"/>
                                                    <a:pt x="143543" y="415600"/>
                                                  </a:cubicBezTo>
                                                  <a:cubicBezTo>
                                                    <a:pt x="147625" y="419552"/>
                                                    <a:pt x="156306" y="419941"/>
                                                    <a:pt x="156177" y="425577"/>
                                                  </a:cubicBezTo>
                                                  <a:cubicBezTo>
                                                    <a:pt x="156177" y="428298"/>
                                                    <a:pt x="153585" y="430436"/>
                                                    <a:pt x="153067" y="433157"/>
                                                  </a:cubicBezTo>
                                                  <a:cubicBezTo>
                                                    <a:pt x="151577" y="440608"/>
                                                    <a:pt x="164534" y="443329"/>
                                                    <a:pt x="165765" y="450844"/>
                                                  </a:cubicBezTo>
                                                  <a:cubicBezTo>
                                                    <a:pt x="167190" y="459590"/>
                                                    <a:pt x="152290" y="463283"/>
                                                    <a:pt x="151771" y="472093"/>
                                                  </a:cubicBezTo>
                                                  <a:cubicBezTo>
                                                    <a:pt x="151447" y="477860"/>
                                                    <a:pt x="157343" y="481423"/>
                                                    <a:pt x="163044" y="483496"/>
                                                  </a:cubicBezTo>
                                                  <a:cubicBezTo>
                                                    <a:pt x="168356" y="478313"/>
                                                    <a:pt x="170365" y="470085"/>
                                                    <a:pt x="171337" y="462505"/>
                                                  </a:cubicBezTo>
                                                  <a:cubicBezTo>
                                                    <a:pt x="172568" y="452852"/>
                                                    <a:pt x="172956" y="443134"/>
                                                    <a:pt x="172373" y="43341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4" name="Freeform: Shape 200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F22DA04D-5D9F-4F14-80F8-54C6A971910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413927" y="3828007"/>
                                              <a:ext cx="199105" cy="38640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33653 w 199105"/>
                                                <a:gd name="connsiteY0" fmla="*/ 176347 h 386408"/>
                                                <a:gd name="connsiteX1" fmla="*/ 146611 w 199105"/>
                                                <a:gd name="connsiteY1" fmla="*/ 169155 h 386408"/>
                                                <a:gd name="connsiteX2" fmla="*/ 167860 w 199105"/>
                                                <a:gd name="connsiteY2" fmla="*/ 163713 h 386408"/>
                                                <a:gd name="connsiteX3" fmla="*/ 189499 w 199105"/>
                                                <a:gd name="connsiteY3" fmla="*/ 164102 h 386408"/>
                                                <a:gd name="connsiteX4" fmla="*/ 198245 w 199105"/>
                                                <a:gd name="connsiteY4" fmla="*/ 140715 h 386408"/>
                                                <a:gd name="connsiteX5" fmla="*/ 184315 w 199105"/>
                                                <a:gd name="connsiteY5" fmla="*/ 117392 h 386408"/>
                                                <a:gd name="connsiteX6" fmla="*/ 181789 w 199105"/>
                                                <a:gd name="connsiteY6" fmla="*/ 112144 h 386408"/>
                                                <a:gd name="connsiteX7" fmla="*/ 182178 w 199105"/>
                                                <a:gd name="connsiteY7" fmla="*/ 105471 h 386408"/>
                                                <a:gd name="connsiteX8" fmla="*/ 173690 w 199105"/>
                                                <a:gd name="connsiteY8" fmla="*/ 88756 h 386408"/>
                                                <a:gd name="connsiteX9" fmla="*/ 173367 w 199105"/>
                                                <a:gd name="connsiteY9" fmla="*/ 79103 h 386408"/>
                                                <a:gd name="connsiteX10" fmla="*/ 155292 w 199105"/>
                                                <a:gd name="connsiteY10" fmla="*/ 61676 h 386408"/>
                                                <a:gd name="connsiteX11" fmla="*/ 135078 w 199105"/>
                                                <a:gd name="connsiteY11" fmla="*/ 66146 h 386408"/>
                                                <a:gd name="connsiteX12" fmla="*/ 131321 w 199105"/>
                                                <a:gd name="connsiteY12" fmla="*/ 68997 h 386408"/>
                                                <a:gd name="connsiteX13" fmla="*/ 116680 w 199105"/>
                                                <a:gd name="connsiteY13" fmla="*/ 62259 h 386408"/>
                                                <a:gd name="connsiteX14" fmla="*/ 115837 w 199105"/>
                                                <a:gd name="connsiteY14" fmla="*/ 71653 h 386408"/>
                                                <a:gd name="connsiteX15" fmla="*/ 98604 w 199105"/>
                                                <a:gd name="connsiteY15" fmla="*/ 69385 h 386408"/>
                                                <a:gd name="connsiteX16" fmla="*/ 82796 w 199105"/>
                                                <a:gd name="connsiteY16" fmla="*/ 83444 h 386408"/>
                                                <a:gd name="connsiteX17" fmla="*/ 86813 w 199105"/>
                                                <a:gd name="connsiteY17" fmla="*/ 34660 h 386408"/>
                                                <a:gd name="connsiteX18" fmla="*/ 85712 w 199105"/>
                                                <a:gd name="connsiteY18" fmla="*/ 30449 h 386408"/>
                                                <a:gd name="connsiteX19" fmla="*/ 77808 w 199105"/>
                                                <a:gd name="connsiteY19" fmla="*/ 29024 h 386408"/>
                                                <a:gd name="connsiteX20" fmla="*/ 67118 w 199105"/>
                                                <a:gd name="connsiteY20" fmla="*/ 15549 h 386408"/>
                                                <a:gd name="connsiteX21" fmla="*/ 62519 w 199105"/>
                                                <a:gd name="connsiteY21" fmla="*/ 0 h 386408"/>
                                                <a:gd name="connsiteX22" fmla="*/ 56170 w 199105"/>
                                                <a:gd name="connsiteY22" fmla="*/ 5248 h 386408"/>
                                                <a:gd name="connsiteX23" fmla="*/ 45545 w 199105"/>
                                                <a:gd name="connsiteY23" fmla="*/ 8940 h 386408"/>
                                                <a:gd name="connsiteX24" fmla="*/ 12115 w 199105"/>
                                                <a:gd name="connsiteY24" fmla="*/ 20213 h 386408"/>
                                                <a:gd name="connsiteX25" fmla="*/ 2462 w 199105"/>
                                                <a:gd name="connsiteY25" fmla="*/ 26821 h 386408"/>
                                                <a:gd name="connsiteX26" fmla="*/ 259 w 199105"/>
                                                <a:gd name="connsiteY26" fmla="*/ 38029 h 386408"/>
                                                <a:gd name="connsiteX27" fmla="*/ 0 w 199105"/>
                                                <a:gd name="connsiteY27" fmla="*/ 68414 h 386408"/>
                                                <a:gd name="connsiteX28" fmla="*/ 1296 w 199105"/>
                                                <a:gd name="connsiteY28" fmla="*/ 79686 h 386408"/>
                                                <a:gd name="connsiteX29" fmla="*/ 6608 w 199105"/>
                                                <a:gd name="connsiteY29" fmla="*/ 88044 h 386408"/>
                                                <a:gd name="connsiteX30" fmla="*/ 21768 w 199105"/>
                                                <a:gd name="connsiteY30" fmla="*/ 107091 h 386408"/>
                                                <a:gd name="connsiteX31" fmla="*/ 25850 w 199105"/>
                                                <a:gd name="connsiteY31" fmla="*/ 114735 h 386408"/>
                                                <a:gd name="connsiteX32" fmla="*/ 24424 w 199105"/>
                                                <a:gd name="connsiteY32" fmla="*/ 122251 h 386408"/>
                                                <a:gd name="connsiteX33" fmla="*/ 31227 w 199105"/>
                                                <a:gd name="connsiteY33" fmla="*/ 186065 h 386408"/>
                                                <a:gd name="connsiteX34" fmla="*/ 36345 w 199105"/>
                                                <a:gd name="connsiteY34" fmla="*/ 195653 h 386408"/>
                                                <a:gd name="connsiteX35" fmla="*/ 38030 w 199105"/>
                                                <a:gd name="connsiteY35" fmla="*/ 206019 h 386408"/>
                                                <a:gd name="connsiteX36" fmla="*/ 36993 w 199105"/>
                                                <a:gd name="connsiteY36" fmla="*/ 235107 h 386408"/>
                                                <a:gd name="connsiteX37" fmla="*/ 28700 w 199105"/>
                                                <a:gd name="connsiteY37" fmla="*/ 256098 h 386408"/>
                                                <a:gd name="connsiteX38" fmla="*/ 30968 w 199105"/>
                                                <a:gd name="connsiteY38" fmla="*/ 256875 h 386408"/>
                                                <a:gd name="connsiteX39" fmla="*/ 18205 w 199105"/>
                                                <a:gd name="connsiteY39" fmla="*/ 280716 h 386408"/>
                                                <a:gd name="connsiteX40" fmla="*/ 9848 w 199105"/>
                                                <a:gd name="connsiteY40" fmla="*/ 314016 h 386408"/>
                                                <a:gd name="connsiteX41" fmla="*/ 11143 w 199105"/>
                                                <a:gd name="connsiteY41" fmla="*/ 332156 h 386408"/>
                                                <a:gd name="connsiteX42" fmla="*/ 23258 w 199105"/>
                                                <a:gd name="connsiteY42" fmla="*/ 344790 h 386408"/>
                                                <a:gd name="connsiteX43" fmla="*/ 36604 w 199105"/>
                                                <a:gd name="connsiteY43" fmla="*/ 347835 h 386408"/>
                                                <a:gd name="connsiteX44" fmla="*/ 41269 w 199105"/>
                                                <a:gd name="connsiteY44" fmla="*/ 362800 h 386408"/>
                                                <a:gd name="connsiteX45" fmla="*/ 59150 w 199105"/>
                                                <a:gd name="connsiteY45" fmla="*/ 377118 h 386408"/>
                                                <a:gd name="connsiteX46" fmla="*/ 61417 w 199105"/>
                                                <a:gd name="connsiteY46" fmla="*/ 382430 h 386408"/>
                                                <a:gd name="connsiteX47" fmla="*/ 74050 w 199105"/>
                                                <a:gd name="connsiteY47" fmla="*/ 384114 h 386408"/>
                                                <a:gd name="connsiteX48" fmla="*/ 81241 w 199105"/>
                                                <a:gd name="connsiteY48" fmla="*/ 386252 h 386408"/>
                                                <a:gd name="connsiteX49" fmla="*/ 99122 w 199105"/>
                                                <a:gd name="connsiteY49" fmla="*/ 381588 h 386408"/>
                                                <a:gd name="connsiteX50" fmla="*/ 94458 w 199105"/>
                                                <a:gd name="connsiteY50" fmla="*/ 378025 h 386408"/>
                                                <a:gd name="connsiteX51" fmla="*/ 85906 w 199105"/>
                                                <a:gd name="connsiteY51" fmla="*/ 370833 h 386408"/>
                                                <a:gd name="connsiteX52" fmla="*/ 77224 w 199105"/>
                                                <a:gd name="connsiteY52" fmla="*/ 369991 h 386408"/>
                                                <a:gd name="connsiteX53" fmla="*/ 68543 w 199105"/>
                                                <a:gd name="connsiteY53" fmla="*/ 352564 h 386408"/>
                                                <a:gd name="connsiteX54" fmla="*/ 67636 w 199105"/>
                                                <a:gd name="connsiteY54" fmla="*/ 331703 h 386408"/>
                                                <a:gd name="connsiteX55" fmla="*/ 60445 w 199105"/>
                                                <a:gd name="connsiteY55" fmla="*/ 319717 h 386408"/>
                                                <a:gd name="connsiteX56" fmla="*/ 59927 w 199105"/>
                                                <a:gd name="connsiteY56" fmla="*/ 312980 h 386408"/>
                                                <a:gd name="connsiteX57" fmla="*/ 42370 w 199105"/>
                                                <a:gd name="connsiteY57" fmla="*/ 302679 h 386408"/>
                                                <a:gd name="connsiteX58" fmla="*/ 47747 w 199105"/>
                                                <a:gd name="connsiteY58" fmla="*/ 264066 h 386408"/>
                                                <a:gd name="connsiteX59" fmla="*/ 53578 w 199105"/>
                                                <a:gd name="connsiteY59" fmla="*/ 249295 h 386408"/>
                                                <a:gd name="connsiteX60" fmla="*/ 60251 w 199105"/>
                                                <a:gd name="connsiteY60" fmla="*/ 202131 h 386408"/>
                                                <a:gd name="connsiteX61" fmla="*/ 84805 w 199105"/>
                                                <a:gd name="connsiteY61" fmla="*/ 199475 h 386408"/>
                                                <a:gd name="connsiteX62" fmla="*/ 105342 w 199105"/>
                                                <a:gd name="connsiteY62" fmla="*/ 215348 h 386408"/>
                                                <a:gd name="connsiteX63" fmla="*/ 111756 w 199105"/>
                                                <a:gd name="connsiteY63" fmla="*/ 221761 h 386408"/>
                                                <a:gd name="connsiteX64" fmla="*/ 124843 w 199105"/>
                                                <a:gd name="connsiteY64" fmla="*/ 190340 h 386408"/>
                                                <a:gd name="connsiteX65" fmla="*/ 133718 w 199105"/>
                                                <a:gd name="connsiteY65" fmla="*/ 176088 h 38640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99105" h="386408">
                                                  <a:moveTo>
                                                    <a:pt x="133653" y="176347"/>
                                                  </a:moveTo>
                                                  <a:cubicBezTo>
                                                    <a:pt x="137281" y="172978"/>
                                                    <a:pt x="142010" y="171034"/>
                                                    <a:pt x="146611" y="169155"/>
                                                  </a:cubicBezTo>
                                                  <a:cubicBezTo>
                                                    <a:pt x="153413" y="166370"/>
                                                    <a:pt x="160475" y="163584"/>
                                                    <a:pt x="167860" y="163713"/>
                                                  </a:cubicBezTo>
                                                  <a:cubicBezTo>
                                                    <a:pt x="175116" y="163843"/>
                                                    <a:pt x="182696" y="166823"/>
                                                    <a:pt x="189499" y="164102"/>
                                                  </a:cubicBezTo>
                                                  <a:cubicBezTo>
                                                    <a:pt x="197920" y="160669"/>
                                                    <a:pt x="200706" y="149525"/>
                                                    <a:pt x="198245" y="140715"/>
                                                  </a:cubicBezTo>
                                                  <a:cubicBezTo>
                                                    <a:pt x="195783" y="131968"/>
                                                    <a:pt x="189563" y="124842"/>
                                                    <a:pt x="184315" y="117392"/>
                                                  </a:cubicBezTo>
                                                  <a:cubicBezTo>
                                                    <a:pt x="183214" y="115772"/>
                                                    <a:pt x="182048" y="114088"/>
                                                    <a:pt x="181789" y="112144"/>
                                                  </a:cubicBezTo>
                                                  <a:cubicBezTo>
                                                    <a:pt x="181465" y="109941"/>
                                                    <a:pt x="182243" y="107738"/>
                                                    <a:pt x="182178" y="105471"/>
                                                  </a:cubicBezTo>
                                                  <a:cubicBezTo>
                                                    <a:pt x="181854" y="99122"/>
                                                    <a:pt x="174727" y="94976"/>
                                                    <a:pt x="173690" y="88756"/>
                                                  </a:cubicBezTo>
                                                  <a:cubicBezTo>
                                                    <a:pt x="173172" y="85582"/>
                                                    <a:pt x="174274" y="82213"/>
                                                    <a:pt x="173367" y="79103"/>
                                                  </a:cubicBezTo>
                                                  <a:cubicBezTo>
                                                    <a:pt x="170905" y="70746"/>
                                                    <a:pt x="156069" y="70357"/>
                                                    <a:pt x="155292" y="61676"/>
                                                  </a:cubicBezTo>
                                                  <a:cubicBezTo>
                                                    <a:pt x="148424" y="59408"/>
                                                    <a:pt x="140326" y="61222"/>
                                                    <a:pt x="135078" y="66146"/>
                                                  </a:cubicBezTo>
                                                  <a:cubicBezTo>
                                                    <a:pt x="133912" y="67247"/>
                                                    <a:pt x="132811" y="68478"/>
                                                    <a:pt x="131321" y="68997"/>
                                                  </a:cubicBezTo>
                                                  <a:cubicBezTo>
                                                    <a:pt x="126008" y="70746"/>
                                                    <a:pt x="122316" y="62129"/>
                                                    <a:pt x="116680" y="62259"/>
                                                  </a:cubicBezTo>
                                                  <a:cubicBezTo>
                                                    <a:pt x="116420" y="65369"/>
                                                    <a:pt x="116096" y="68543"/>
                                                    <a:pt x="115837" y="71653"/>
                                                  </a:cubicBezTo>
                                                  <a:cubicBezTo>
                                                    <a:pt x="110071" y="70876"/>
                                                    <a:pt x="104370" y="70163"/>
                                                    <a:pt x="98604" y="69385"/>
                                                  </a:cubicBezTo>
                                                  <a:cubicBezTo>
                                                    <a:pt x="98410" y="77289"/>
                                                    <a:pt x="90636" y="84221"/>
                                                    <a:pt x="82796" y="83444"/>
                                                  </a:cubicBezTo>
                                                  <a:cubicBezTo>
                                                    <a:pt x="85841" y="67377"/>
                                                    <a:pt x="87202" y="50986"/>
                                                    <a:pt x="86813" y="34660"/>
                                                  </a:cubicBezTo>
                                                  <a:cubicBezTo>
                                                    <a:pt x="86813" y="33170"/>
                                                    <a:pt x="86684" y="31551"/>
                                                    <a:pt x="85712" y="30449"/>
                                                  </a:cubicBezTo>
                                                  <a:cubicBezTo>
                                                    <a:pt x="83898" y="28376"/>
                                                    <a:pt x="80529" y="29283"/>
                                                    <a:pt x="77808" y="29024"/>
                                                  </a:cubicBezTo>
                                                  <a:cubicBezTo>
                                                    <a:pt x="71653" y="28441"/>
                                                    <a:pt x="68284" y="21638"/>
                                                    <a:pt x="67118" y="15549"/>
                                                  </a:cubicBezTo>
                                                  <a:cubicBezTo>
                                                    <a:pt x="66082" y="10171"/>
                                                    <a:pt x="65693" y="4276"/>
                                                    <a:pt x="62519" y="0"/>
                                                  </a:cubicBezTo>
                                                  <a:cubicBezTo>
                                                    <a:pt x="60640" y="2073"/>
                                                    <a:pt x="58566" y="3887"/>
                                                    <a:pt x="56170" y="5248"/>
                                                  </a:cubicBezTo>
                                                  <a:cubicBezTo>
                                                    <a:pt x="52865" y="7062"/>
                                                    <a:pt x="49173" y="7969"/>
                                                    <a:pt x="45545" y="8940"/>
                                                  </a:cubicBezTo>
                                                  <a:cubicBezTo>
                                                    <a:pt x="34142" y="11921"/>
                                                    <a:pt x="22999" y="15678"/>
                                                    <a:pt x="12115" y="20213"/>
                                                  </a:cubicBezTo>
                                                  <a:cubicBezTo>
                                                    <a:pt x="8487" y="21703"/>
                                                    <a:pt x="4665" y="23517"/>
                                                    <a:pt x="2462" y="26821"/>
                                                  </a:cubicBezTo>
                                                  <a:cubicBezTo>
                                                    <a:pt x="389" y="30060"/>
                                                    <a:pt x="259" y="34142"/>
                                                    <a:pt x="259" y="38029"/>
                                                  </a:cubicBezTo>
                                                  <a:cubicBezTo>
                                                    <a:pt x="195" y="48136"/>
                                                    <a:pt x="65" y="58307"/>
                                                    <a:pt x="0" y="68414"/>
                                                  </a:cubicBezTo>
                                                  <a:cubicBezTo>
                                                    <a:pt x="0" y="72236"/>
                                                    <a:pt x="0" y="76123"/>
                                                    <a:pt x="1296" y="79686"/>
                                                  </a:cubicBezTo>
                                                  <a:cubicBezTo>
                                                    <a:pt x="2462" y="82796"/>
                                                    <a:pt x="4535" y="85452"/>
                                                    <a:pt x="6608" y="88044"/>
                                                  </a:cubicBezTo>
                                                  <a:cubicBezTo>
                                                    <a:pt x="11662" y="94393"/>
                                                    <a:pt x="16715" y="100742"/>
                                                    <a:pt x="21768" y="107091"/>
                                                  </a:cubicBezTo>
                                                  <a:cubicBezTo>
                                                    <a:pt x="23582" y="109358"/>
                                                    <a:pt x="25461" y="111820"/>
                                                    <a:pt x="25850" y="114735"/>
                                                  </a:cubicBezTo>
                                                  <a:cubicBezTo>
                                                    <a:pt x="26174" y="117262"/>
                                                    <a:pt x="25202" y="119789"/>
                                                    <a:pt x="24424" y="122251"/>
                                                  </a:cubicBezTo>
                                                  <a:cubicBezTo>
                                                    <a:pt x="17557" y="143176"/>
                                                    <a:pt x="20149" y="167018"/>
                                                    <a:pt x="31227" y="186065"/>
                                                  </a:cubicBezTo>
                                                  <a:cubicBezTo>
                                                    <a:pt x="33041" y="189174"/>
                                                    <a:pt x="35114" y="192219"/>
                                                    <a:pt x="36345" y="195653"/>
                                                  </a:cubicBezTo>
                                                  <a:cubicBezTo>
                                                    <a:pt x="37511" y="198957"/>
                                                    <a:pt x="37835" y="202520"/>
                                                    <a:pt x="38030" y="206019"/>
                                                  </a:cubicBezTo>
                                                  <a:cubicBezTo>
                                                    <a:pt x="38548" y="215736"/>
                                                    <a:pt x="38224" y="225454"/>
                                                    <a:pt x="36993" y="235107"/>
                                                  </a:cubicBezTo>
                                                  <a:cubicBezTo>
                                                    <a:pt x="36021" y="242687"/>
                                                    <a:pt x="34013" y="250915"/>
                                                    <a:pt x="28700" y="256098"/>
                                                  </a:cubicBezTo>
                                                  <a:cubicBezTo>
                                                    <a:pt x="29478" y="256357"/>
                                                    <a:pt x="30255" y="256616"/>
                                                    <a:pt x="30968" y="256875"/>
                                                  </a:cubicBezTo>
                                                  <a:cubicBezTo>
                                                    <a:pt x="33559" y="265945"/>
                                                    <a:pt x="23777" y="273137"/>
                                                    <a:pt x="18205" y="280716"/>
                                                  </a:cubicBezTo>
                                                  <a:cubicBezTo>
                                                    <a:pt x="11338" y="290110"/>
                                                    <a:pt x="10431" y="302420"/>
                                                    <a:pt x="9848" y="314016"/>
                                                  </a:cubicBezTo>
                                                  <a:cubicBezTo>
                                                    <a:pt x="9589" y="320106"/>
                                                    <a:pt x="9329" y="326390"/>
                                                    <a:pt x="11143" y="332156"/>
                                                  </a:cubicBezTo>
                                                  <a:cubicBezTo>
                                                    <a:pt x="12957" y="337987"/>
                                                    <a:pt x="17298" y="343364"/>
                                                    <a:pt x="23258" y="344790"/>
                                                  </a:cubicBezTo>
                                                  <a:cubicBezTo>
                                                    <a:pt x="27793" y="345826"/>
                                                    <a:pt x="33171" y="344725"/>
                                                    <a:pt x="36604" y="347835"/>
                                                  </a:cubicBezTo>
                                                  <a:cubicBezTo>
                                                    <a:pt x="40491" y="351463"/>
                                                    <a:pt x="39001" y="358006"/>
                                                    <a:pt x="41269" y="362800"/>
                                                  </a:cubicBezTo>
                                                  <a:cubicBezTo>
                                                    <a:pt x="44637" y="369797"/>
                                                    <a:pt x="54679" y="370769"/>
                                                    <a:pt x="59150" y="377118"/>
                                                  </a:cubicBezTo>
                                                  <a:cubicBezTo>
                                                    <a:pt x="60251" y="378737"/>
                                                    <a:pt x="60963" y="380551"/>
                                                    <a:pt x="61417" y="382430"/>
                                                  </a:cubicBezTo>
                                                  <a:cubicBezTo>
                                                    <a:pt x="65693" y="382430"/>
                                                    <a:pt x="69904" y="382819"/>
                                                    <a:pt x="74050" y="384114"/>
                                                  </a:cubicBezTo>
                                                  <a:cubicBezTo>
                                                    <a:pt x="76447" y="384892"/>
                                                    <a:pt x="78779" y="385928"/>
                                                    <a:pt x="81241" y="386252"/>
                                                  </a:cubicBezTo>
                                                  <a:cubicBezTo>
                                                    <a:pt x="87396" y="387159"/>
                                                    <a:pt x="93227" y="383920"/>
                                                    <a:pt x="99122" y="381588"/>
                                                  </a:cubicBezTo>
                                                  <a:cubicBezTo>
                                                    <a:pt x="97438" y="380551"/>
                                                    <a:pt x="95883" y="379385"/>
                                                    <a:pt x="94458" y="378025"/>
                                                  </a:cubicBezTo>
                                                  <a:cubicBezTo>
                                                    <a:pt x="91736" y="375433"/>
                                                    <a:pt x="89534" y="371999"/>
                                                    <a:pt x="85906" y="370833"/>
                                                  </a:cubicBezTo>
                                                  <a:cubicBezTo>
                                                    <a:pt x="83120" y="369926"/>
                                                    <a:pt x="80075" y="370639"/>
                                                    <a:pt x="77224" y="369991"/>
                                                  </a:cubicBezTo>
                                                  <a:cubicBezTo>
                                                    <a:pt x="70358" y="368307"/>
                                                    <a:pt x="68090" y="359625"/>
                                                    <a:pt x="68543" y="352564"/>
                                                  </a:cubicBezTo>
                                                  <a:cubicBezTo>
                                                    <a:pt x="69061" y="345502"/>
                                                    <a:pt x="70940" y="337922"/>
                                                    <a:pt x="67636" y="331703"/>
                                                  </a:cubicBezTo>
                                                  <a:cubicBezTo>
                                                    <a:pt x="65434" y="327557"/>
                                                    <a:pt x="61093" y="324382"/>
                                                    <a:pt x="60445" y="319717"/>
                                                  </a:cubicBezTo>
                                                  <a:cubicBezTo>
                                                    <a:pt x="60121" y="317515"/>
                                                    <a:pt x="60705" y="315118"/>
                                                    <a:pt x="59927" y="312980"/>
                                                  </a:cubicBezTo>
                                                  <a:cubicBezTo>
                                                    <a:pt x="57530" y="306501"/>
                                                    <a:pt x="43212" y="309546"/>
                                                    <a:pt x="42370" y="302679"/>
                                                  </a:cubicBezTo>
                                                  <a:cubicBezTo>
                                                    <a:pt x="40750" y="289657"/>
                                                    <a:pt x="42629" y="276181"/>
                                                    <a:pt x="47747" y="264066"/>
                                                  </a:cubicBezTo>
                                                  <a:cubicBezTo>
                                                    <a:pt x="49820" y="259208"/>
                                                    <a:pt x="52412" y="254478"/>
                                                    <a:pt x="53578" y="249295"/>
                                                  </a:cubicBezTo>
                                                  <a:cubicBezTo>
                                                    <a:pt x="57271" y="233358"/>
                                                    <a:pt x="48330" y="213274"/>
                                                    <a:pt x="60251" y="202131"/>
                                                  </a:cubicBezTo>
                                                  <a:cubicBezTo>
                                                    <a:pt x="66600" y="196171"/>
                                                    <a:pt x="76771" y="196041"/>
                                                    <a:pt x="84805" y="199475"/>
                                                  </a:cubicBezTo>
                                                  <a:cubicBezTo>
                                                    <a:pt x="92838" y="202909"/>
                                                    <a:pt x="99187" y="209193"/>
                                                    <a:pt x="105342" y="215348"/>
                                                  </a:cubicBezTo>
                                                  <a:cubicBezTo>
                                                    <a:pt x="107480" y="217486"/>
                                                    <a:pt x="109617" y="219624"/>
                                                    <a:pt x="111756" y="221761"/>
                                                  </a:cubicBezTo>
                                                  <a:cubicBezTo>
                                                    <a:pt x="115578" y="211072"/>
                                                    <a:pt x="120242" y="200641"/>
                                                    <a:pt x="124843" y="190340"/>
                                                  </a:cubicBezTo>
                                                  <a:cubicBezTo>
                                                    <a:pt x="127175" y="185157"/>
                                                    <a:pt x="129572" y="179910"/>
                                                    <a:pt x="133718" y="17608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5" name="Freeform: Shape 200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D64DDBDB-4E6C-452D-8766-A9665F52E09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525488" y="3991073"/>
                                              <a:ext cx="145097" cy="12024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78585 w 145097"/>
                                                <a:gd name="connsiteY0" fmla="*/ 110460 h 120242"/>
                                                <a:gd name="connsiteX1" fmla="*/ 85906 w 145097"/>
                                                <a:gd name="connsiteY1" fmla="*/ 108970 h 120242"/>
                                                <a:gd name="connsiteX2" fmla="*/ 85711 w 145097"/>
                                                <a:gd name="connsiteY2" fmla="*/ 105536 h 120242"/>
                                                <a:gd name="connsiteX3" fmla="*/ 94782 w 145097"/>
                                                <a:gd name="connsiteY3" fmla="*/ 99705 h 120242"/>
                                                <a:gd name="connsiteX4" fmla="*/ 105989 w 145097"/>
                                                <a:gd name="connsiteY4" fmla="*/ 96660 h 120242"/>
                                                <a:gd name="connsiteX5" fmla="*/ 104824 w 145097"/>
                                                <a:gd name="connsiteY5" fmla="*/ 88368 h 120242"/>
                                                <a:gd name="connsiteX6" fmla="*/ 99770 w 145097"/>
                                                <a:gd name="connsiteY6" fmla="*/ 83638 h 120242"/>
                                                <a:gd name="connsiteX7" fmla="*/ 109553 w 145097"/>
                                                <a:gd name="connsiteY7" fmla="*/ 75281 h 120242"/>
                                                <a:gd name="connsiteX8" fmla="*/ 124195 w 145097"/>
                                                <a:gd name="connsiteY8" fmla="*/ 72690 h 120242"/>
                                                <a:gd name="connsiteX9" fmla="*/ 126267 w 145097"/>
                                                <a:gd name="connsiteY9" fmla="*/ 58048 h 120242"/>
                                                <a:gd name="connsiteX10" fmla="*/ 144666 w 145097"/>
                                                <a:gd name="connsiteY10" fmla="*/ 41463 h 120242"/>
                                                <a:gd name="connsiteX11" fmla="*/ 139937 w 145097"/>
                                                <a:gd name="connsiteY11" fmla="*/ 27080 h 120242"/>
                                                <a:gd name="connsiteX12" fmla="*/ 128017 w 145097"/>
                                                <a:gd name="connsiteY12" fmla="*/ 10884 h 120242"/>
                                                <a:gd name="connsiteX13" fmla="*/ 124583 w 145097"/>
                                                <a:gd name="connsiteY13" fmla="*/ 7450 h 120242"/>
                                                <a:gd name="connsiteX14" fmla="*/ 118817 w 145097"/>
                                                <a:gd name="connsiteY14" fmla="*/ 6738 h 120242"/>
                                                <a:gd name="connsiteX15" fmla="*/ 98409 w 145097"/>
                                                <a:gd name="connsiteY15" fmla="*/ 18205 h 120242"/>
                                                <a:gd name="connsiteX16" fmla="*/ 82213 w 145097"/>
                                                <a:gd name="connsiteY16" fmla="*/ 972 h 120242"/>
                                                <a:gd name="connsiteX17" fmla="*/ 79687 w 145097"/>
                                                <a:gd name="connsiteY17" fmla="*/ 0 h 120242"/>
                                                <a:gd name="connsiteX18" fmla="*/ 77808 w 145097"/>
                                                <a:gd name="connsiteY18" fmla="*/ 1037 h 120242"/>
                                                <a:gd name="connsiteX19" fmla="*/ 56170 w 145097"/>
                                                <a:gd name="connsiteY19" fmla="*/ 648 h 120242"/>
                                                <a:gd name="connsiteX20" fmla="*/ 34920 w 145097"/>
                                                <a:gd name="connsiteY20" fmla="*/ 6090 h 120242"/>
                                                <a:gd name="connsiteX21" fmla="*/ 21962 w 145097"/>
                                                <a:gd name="connsiteY21" fmla="*/ 13281 h 120242"/>
                                                <a:gd name="connsiteX22" fmla="*/ 13087 w 145097"/>
                                                <a:gd name="connsiteY22" fmla="*/ 27534 h 120242"/>
                                                <a:gd name="connsiteX23" fmla="*/ 0 w 145097"/>
                                                <a:gd name="connsiteY23" fmla="*/ 58955 h 120242"/>
                                                <a:gd name="connsiteX24" fmla="*/ 3822 w 145097"/>
                                                <a:gd name="connsiteY24" fmla="*/ 62777 h 120242"/>
                                                <a:gd name="connsiteX25" fmla="*/ 21315 w 145097"/>
                                                <a:gd name="connsiteY25" fmla="*/ 95041 h 120242"/>
                                                <a:gd name="connsiteX26" fmla="*/ 37446 w 145097"/>
                                                <a:gd name="connsiteY26" fmla="*/ 99252 h 120242"/>
                                                <a:gd name="connsiteX27" fmla="*/ 38224 w 145097"/>
                                                <a:gd name="connsiteY27" fmla="*/ 109877 h 120242"/>
                                                <a:gd name="connsiteX28" fmla="*/ 63490 w 145097"/>
                                                <a:gd name="connsiteY28" fmla="*/ 114217 h 120242"/>
                                                <a:gd name="connsiteX29" fmla="*/ 61546 w 145097"/>
                                                <a:gd name="connsiteY29" fmla="*/ 120242 h 120242"/>
                                                <a:gd name="connsiteX30" fmla="*/ 62194 w 145097"/>
                                                <a:gd name="connsiteY30" fmla="*/ 119789 h 120242"/>
                                                <a:gd name="connsiteX31" fmla="*/ 78455 w 145097"/>
                                                <a:gd name="connsiteY31" fmla="*/ 110460 h 12024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45097" h="120242">
                                                  <a:moveTo>
                                                    <a:pt x="78585" y="110460"/>
                                                  </a:moveTo>
                                                  <a:cubicBezTo>
                                                    <a:pt x="81306" y="110719"/>
                                                    <a:pt x="85064" y="111561"/>
                                                    <a:pt x="85906" y="108970"/>
                                                  </a:cubicBezTo>
                                                  <a:cubicBezTo>
                                                    <a:pt x="86229" y="107868"/>
                                                    <a:pt x="85711" y="106702"/>
                                                    <a:pt x="85711" y="105536"/>
                                                  </a:cubicBezTo>
                                                  <a:cubicBezTo>
                                                    <a:pt x="85582" y="101519"/>
                                                    <a:pt x="90765" y="99640"/>
                                                    <a:pt x="94782" y="99705"/>
                                                  </a:cubicBezTo>
                                                  <a:cubicBezTo>
                                                    <a:pt x="98798" y="99770"/>
                                                    <a:pt x="103722" y="100029"/>
                                                    <a:pt x="105989" y="96660"/>
                                                  </a:cubicBezTo>
                                                  <a:cubicBezTo>
                                                    <a:pt x="107414" y="94004"/>
                                                    <a:pt x="106896" y="90506"/>
                                                    <a:pt x="104824" y="88368"/>
                                                  </a:cubicBezTo>
                                                  <a:cubicBezTo>
                                                    <a:pt x="103204" y="86683"/>
                                                    <a:pt x="100742" y="85776"/>
                                                    <a:pt x="99770" y="83638"/>
                                                  </a:cubicBezTo>
                                                  <a:cubicBezTo>
                                                    <a:pt x="97503" y="78974"/>
                                                    <a:pt x="104370" y="75022"/>
                                                    <a:pt x="109553" y="75281"/>
                                                  </a:cubicBezTo>
                                                  <a:cubicBezTo>
                                                    <a:pt x="114735" y="75605"/>
                                                    <a:pt x="121084" y="76836"/>
                                                    <a:pt x="124195" y="72690"/>
                                                  </a:cubicBezTo>
                                                  <a:cubicBezTo>
                                                    <a:pt x="127239" y="68673"/>
                                                    <a:pt x="124648" y="62777"/>
                                                    <a:pt x="126267" y="58048"/>
                                                  </a:cubicBezTo>
                                                  <a:cubicBezTo>
                                                    <a:pt x="129053" y="50015"/>
                                                    <a:pt x="142075" y="49496"/>
                                                    <a:pt x="144666" y="41463"/>
                                                  </a:cubicBezTo>
                                                  <a:cubicBezTo>
                                                    <a:pt x="146286" y="36474"/>
                                                    <a:pt x="143047" y="31356"/>
                                                    <a:pt x="139937" y="27080"/>
                                                  </a:cubicBezTo>
                                                  <a:cubicBezTo>
                                                    <a:pt x="135985" y="21703"/>
                                                    <a:pt x="132033" y="16261"/>
                                                    <a:pt x="128017" y="10884"/>
                                                  </a:cubicBezTo>
                                                  <a:cubicBezTo>
                                                    <a:pt x="127045" y="9588"/>
                                                    <a:pt x="126008" y="8163"/>
                                                    <a:pt x="124583" y="7450"/>
                                                  </a:cubicBezTo>
                                                  <a:cubicBezTo>
                                                    <a:pt x="122833" y="6543"/>
                                                    <a:pt x="120761" y="6673"/>
                                                    <a:pt x="118817" y="6738"/>
                                                  </a:cubicBezTo>
                                                  <a:cubicBezTo>
                                                    <a:pt x="110330" y="7256"/>
                                                    <a:pt x="99576" y="9783"/>
                                                    <a:pt x="98409" y="18205"/>
                                                  </a:cubicBezTo>
                                                  <a:cubicBezTo>
                                                    <a:pt x="90441" y="16909"/>
                                                    <a:pt x="89340" y="4859"/>
                                                    <a:pt x="82213" y="972"/>
                                                  </a:cubicBezTo>
                                                  <a:cubicBezTo>
                                                    <a:pt x="81435" y="518"/>
                                                    <a:pt x="80593" y="259"/>
                                                    <a:pt x="79687" y="0"/>
                                                  </a:cubicBezTo>
                                                  <a:cubicBezTo>
                                                    <a:pt x="79103" y="389"/>
                                                    <a:pt x="78520" y="777"/>
                                                    <a:pt x="77808" y="1037"/>
                                                  </a:cubicBezTo>
                                                  <a:cubicBezTo>
                                                    <a:pt x="71070" y="3758"/>
                                                    <a:pt x="63490" y="777"/>
                                                    <a:pt x="56170" y="648"/>
                                                  </a:cubicBezTo>
                                                  <a:cubicBezTo>
                                                    <a:pt x="48784" y="518"/>
                                                    <a:pt x="41722" y="3304"/>
                                                    <a:pt x="34920" y="6090"/>
                                                  </a:cubicBezTo>
                                                  <a:cubicBezTo>
                                                    <a:pt x="30320" y="7969"/>
                                                    <a:pt x="25590" y="9912"/>
                                                    <a:pt x="21962" y="13281"/>
                                                  </a:cubicBezTo>
                                                  <a:cubicBezTo>
                                                    <a:pt x="17816" y="17104"/>
                                                    <a:pt x="15419" y="22416"/>
                                                    <a:pt x="13087" y="27534"/>
                                                  </a:cubicBezTo>
                                                  <a:cubicBezTo>
                                                    <a:pt x="8487" y="37835"/>
                                                    <a:pt x="3822" y="48330"/>
                                                    <a:pt x="0" y="58955"/>
                                                  </a:cubicBezTo>
                                                  <a:cubicBezTo>
                                                    <a:pt x="1295" y="60251"/>
                                                    <a:pt x="2527" y="61482"/>
                                                    <a:pt x="3822" y="62777"/>
                                                  </a:cubicBezTo>
                                                  <a:cubicBezTo>
                                                    <a:pt x="12763" y="71718"/>
                                                    <a:pt x="22351" y="82407"/>
                                                    <a:pt x="21315" y="95041"/>
                                                  </a:cubicBezTo>
                                                  <a:cubicBezTo>
                                                    <a:pt x="26692" y="96466"/>
                                                    <a:pt x="32069" y="97826"/>
                                                    <a:pt x="37446" y="99252"/>
                                                  </a:cubicBezTo>
                                                  <a:cubicBezTo>
                                                    <a:pt x="37705" y="102815"/>
                                                    <a:pt x="37964" y="106378"/>
                                                    <a:pt x="38224" y="109877"/>
                                                  </a:cubicBezTo>
                                                  <a:cubicBezTo>
                                                    <a:pt x="46775" y="110071"/>
                                                    <a:pt x="55327" y="111496"/>
                                                    <a:pt x="63490" y="114217"/>
                                                  </a:cubicBezTo>
                                                  <a:cubicBezTo>
                                                    <a:pt x="60639" y="114735"/>
                                                    <a:pt x="60445" y="117521"/>
                                                    <a:pt x="61546" y="120242"/>
                                                  </a:cubicBezTo>
                                                  <a:cubicBezTo>
                                                    <a:pt x="61741" y="120113"/>
                                                    <a:pt x="62000" y="119983"/>
                                                    <a:pt x="62194" y="119789"/>
                                                  </a:cubicBezTo>
                                                  <a:cubicBezTo>
                                                    <a:pt x="67248" y="115772"/>
                                                    <a:pt x="72042" y="109877"/>
                                                    <a:pt x="78455" y="11046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6" name="Freeform: Shape 200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0140671-2FEF-4FCC-A0E6-C87F16329A2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476510" y="3770866"/>
                                              <a:ext cx="189433" cy="23860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83149 w 189433"/>
                                                <a:gd name="connsiteY0" fmla="*/ 213145 h 238605"/>
                                                <a:gd name="connsiteX1" fmla="*/ 189369 w 189433"/>
                                                <a:gd name="connsiteY1" fmla="*/ 200641 h 238605"/>
                                                <a:gd name="connsiteX2" fmla="*/ 181206 w 189433"/>
                                                <a:gd name="connsiteY2" fmla="*/ 187684 h 238605"/>
                                                <a:gd name="connsiteX3" fmla="*/ 168897 w 189433"/>
                                                <a:gd name="connsiteY3" fmla="*/ 177513 h 238605"/>
                                                <a:gd name="connsiteX4" fmla="*/ 166176 w 189433"/>
                                                <a:gd name="connsiteY4" fmla="*/ 171682 h 238605"/>
                                                <a:gd name="connsiteX5" fmla="*/ 161771 w 189433"/>
                                                <a:gd name="connsiteY5" fmla="*/ 165787 h 238605"/>
                                                <a:gd name="connsiteX6" fmla="*/ 139225 w 189433"/>
                                                <a:gd name="connsiteY6" fmla="*/ 140261 h 238605"/>
                                                <a:gd name="connsiteX7" fmla="*/ 135273 w 189433"/>
                                                <a:gd name="connsiteY7" fmla="*/ 133782 h 238605"/>
                                                <a:gd name="connsiteX8" fmla="*/ 134625 w 189433"/>
                                                <a:gd name="connsiteY8" fmla="*/ 128664 h 238605"/>
                                                <a:gd name="connsiteX9" fmla="*/ 122769 w 189433"/>
                                                <a:gd name="connsiteY9" fmla="*/ 117651 h 238605"/>
                                                <a:gd name="connsiteX10" fmla="*/ 122575 w 189433"/>
                                                <a:gd name="connsiteY10" fmla="*/ 113505 h 238605"/>
                                                <a:gd name="connsiteX11" fmla="*/ 109423 w 189433"/>
                                                <a:gd name="connsiteY11" fmla="*/ 99640 h 238605"/>
                                                <a:gd name="connsiteX12" fmla="*/ 101066 w 189433"/>
                                                <a:gd name="connsiteY12" fmla="*/ 83638 h 238605"/>
                                                <a:gd name="connsiteX13" fmla="*/ 116809 w 189433"/>
                                                <a:gd name="connsiteY13" fmla="*/ 73596 h 238605"/>
                                                <a:gd name="connsiteX14" fmla="*/ 116614 w 189433"/>
                                                <a:gd name="connsiteY14" fmla="*/ 60315 h 238605"/>
                                                <a:gd name="connsiteX15" fmla="*/ 105925 w 189433"/>
                                                <a:gd name="connsiteY15" fmla="*/ 51116 h 238605"/>
                                                <a:gd name="connsiteX16" fmla="*/ 84935 w 189433"/>
                                                <a:gd name="connsiteY16" fmla="*/ 42240 h 238605"/>
                                                <a:gd name="connsiteX17" fmla="*/ 76965 w 189433"/>
                                                <a:gd name="connsiteY17" fmla="*/ 41722 h 238605"/>
                                                <a:gd name="connsiteX18" fmla="*/ 71978 w 189433"/>
                                                <a:gd name="connsiteY18" fmla="*/ 36215 h 238605"/>
                                                <a:gd name="connsiteX19" fmla="*/ 73921 w 189433"/>
                                                <a:gd name="connsiteY19" fmla="*/ 30385 h 238605"/>
                                                <a:gd name="connsiteX20" fmla="*/ 66405 w 189433"/>
                                                <a:gd name="connsiteY20" fmla="*/ 21833 h 238605"/>
                                                <a:gd name="connsiteX21" fmla="*/ 56299 w 189433"/>
                                                <a:gd name="connsiteY21" fmla="*/ 15354 h 238605"/>
                                                <a:gd name="connsiteX22" fmla="*/ 56817 w 189433"/>
                                                <a:gd name="connsiteY22" fmla="*/ 3822 h 238605"/>
                                                <a:gd name="connsiteX23" fmla="*/ 56494 w 189433"/>
                                                <a:gd name="connsiteY23" fmla="*/ 0 h 238605"/>
                                                <a:gd name="connsiteX24" fmla="*/ 37123 w 189433"/>
                                                <a:gd name="connsiteY24" fmla="*/ 3887 h 238605"/>
                                                <a:gd name="connsiteX25" fmla="*/ 34661 w 189433"/>
                                                <a:gd name="connsiteY25" fmla="*/ 15549 h 238605"/>
                                                <a:gd name="connsiteX26" fmla="*/ 12504 w 189433"/>
                                                <a:gd name="connsiteY26" fmla="*/ 32393 h 238605"/>
                                                <a:gd name="connsiteX27" fmla="*/ 3888 w 189433"/>
                                                <a:gd name="connsiteY27" fmla="*/ 52476 h 238605"/>
                                                <a:gd name="connsiteX28" fmla="*/ 0 w 189433"/>
                                                <a:gd name="connsiteY28" fmla="*/ 57400 h 238605"/>
                                                <a:gd name="connsiteX29" fmla="*/ 4600 w 189433"/>
                                                <a:gd name="connsiteY29" fmla="*/ 72949 h 238605"/>
                                                <a:gd name="connsiteX30" fmla="*/ 15290 w 189433"/>
                                                <a:gd name="connsiteY30" fmla="*/ 86424 h 238605"/>
                                                <a:gd name="connsiteX31" fmla="*/ 23194 w 189433"/>
                                                <a:gd name="connsiteY31" fmla="*/ 87849 h 238605"/>
                                                <a:gd name="connsiteX32" fmla="*/ 24295 w 189433"/>
                                                <a:gd name="connsiteY32" fmla="*/ 92060 h 238605"/>
                                                <a:gd name="connsiteX33" fmla="*/ 20278 w 189433"/>
                                                <a:gd name="connsiteY33" fmla="*/ 140844 h 238605"/>
                                                <a:gd name="connsiteX34" fmla="*/ 36086 w 189433"/>
                                                <a:gd name="connsiteY34" fmla="*/ 126786 h 238605"/>
                                                <a:gd name="connsiteX35" fmla="*/ 53319 w 189433"/>
                                                <a:gd name="connsiteY35" fmla="*/ 129053 h 238605"/>
                                                <a:gd name="connsiteX36" fmla="*/ 54162 w 189433"/>
                                                <a:gd name="connsiteY36" fmla="*/ 119659 h 238605"/>
                                                <a:gd name="connsiteX37" fmla="*/ 68802 w 189433"/>
                                                <a:gd name="connsiteY37" fmla="*/ 126397 h 238605"/>
                                                <a:gd name="connsiteX38" fmla="*/ 72560 w 189433"/>
                                                <a:gd name="connsiteY38" fmla="*/ 123546 h 238605"/>
                                                <a:gd name="connsiteX39" fmla="*/ 92774 w 189433"/>
                                                <a:gd name="connsiteY39" fmla="*/ 119076 h 238605"/>
                                                <a:gd name="connsiteX40" fmla="*/ 110849 w 189433"/>
                                                <a:gd name="connsiteY40" fmla="*/ 136504 h 238605"/>
                                                <a:gd name="connsiteX41" fmla="*/ 111173 w 189433"/>
                                                <a:gd name="connsiteY41" fmla="*/ 146157 h 238605"/>
                                                <a:gd name="connsiteX42" fmla="*/ 119660 w 189433"/>
                                                <a:gd name="connsiteY42" fmla="*/ 162871 h 238605"/>
                                                <a:gd name="connsiteX43" fmla="*/ 119271 w 189433"/>
                                                <a:gd name="connsiteY43" fmla="*/ 169544 h 238605"/>
                                                <a:gd name="connsiteX44" fmla="*/ 121797 w 189433"/>
                                                <a:gd name="connsiteY44" fmla="*/ 174792 h 238605"/>
                                                <a:gd name="connsiteX45" fmla="*/ 135727 w 189433"/>
                                                <a:gd name="connsiteY45" fmla="*/ 198115 h 238605"/>
                                                <a:gd name="connsiteX46" fmla="*/ 128859 w 189433"/>
                                                <a:gd name="connsiteY46" fmla="*/ 220401 h 238605"/>
                                                <a:gd name="connsiteX47" fmla="*/ 131386 w 189433"/>
                                                <a:gd name="connsiteY47" fmla="*/ 221373 h 238605"/>
                                                <a:gd name="connsiteX48" fmla="*/ 147582 w 189433"/>
                                                <a:gd name="connsiteY48" fmla="*/ 238606 h 238605"/>
                                                <a:gd name="connsiteX49" fmla="*/ 167990 w 189433"/>
                                                <a:gd name="connsiteY49" fmla="*/ 227139 h 238605"/>
                                                <a:gd name="connsiteX50" fmla="*/ 173756 w 189433"/>
                                                <a:gd name="connsiteY50" fmla="*/ 227851 h 238605"/>
                                                <a:gd name="connsiteX51" fmla="*/ 177190 w 189433"/>
                                                <a:gd name="connsiteY51" fmla="*/ 231285 h 238605"/>
                                                <a:gd name="connsiteX52" fmla="*/ 181271 w 189433"/>
                                                <a:gd name="connsiteY52" fmla="*/ 236792 h 238605"/>
                                                <a:gd name="connsiteX53" fmla="*/ 182696 w 189433"/>
                                                <a:gd name="connsiteY53" fmla="*/ 224806 h 238605"/>
                                                <a:gd name="connsiteX54" fmla="*/ 183279 w 189433"/>
                                                <a:gd name="connsiteY54" fmla="*/ 213274 h 23860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89433" h="238605">
                                                  <a:moveTo>
                                                    <a:pt x="183149" y="213145"/>
                                                  </a:moveTo>
                                                  <a:cubicBezTo>
                                                    <a:pt x="184704" y="208740"/>
                                                    <a:pt x="188851" y="205306"/>
                                                    <a:pt x="189369" y="200641"/>
                                                  </a:cubicBezTo>
                                                  <a:cubicBezTo>
                                                    <a:pt x="190017" y="195329"/>
                                                    <a:pt x="185676" y="190664"/>
                                                    <a:pt x="181206" y="187684"/>
                                                  </a:cubicBezTo>
                                                  <a:cubicBezTo>
                                                    <a:pt x="176736" y="184704"/>
                                                    <a:pt x="171618" y="182177"/>
                                                    <a:pt x="168897" y="177513"/>
                                                  </a:cubicBezTo>
                                                  <a:cubicBezTo>
                                                    <a:pt x="167795" y="175699"/>
                                                    <a:pt x="167212" y="173561"/>
                                                    <a:pt x="166176" y="171682"/>
                                                  </a:cubicBezTo>
                                                  <a:cubicBezTo>
                                                    <a:pt x="165010" y="169479"/>
                                                    <a:pt x="163390" y="167665"/>
                                                    <a:pt x="161771" y="165787"/>
                                                  </a:cubicBezTo>
                                                  <a:cubicBezTo>
                                                    <a:pt x="154255" y="157300"/>
                                                    <a:pt x="146740" y="148748"/>
                                                    <a:pt x="139225" y="140261"/>
                                                  </a:cubicBezTo>
                                                  <a:cubicBezTo>
                                                    <a:pt x="137541" y="138318"/>
                                                    <a:pt x="135791" y="136309"/>
                                                    <a:pt x="135273" y="133782"/>
                                                  </a:cubicBezTo>
                                                  <a:cubicBezTo>
                                                    <a:pt x="134949" y="132098"/>
                                                    <a:pt x="135208" y="130349"/>
                                                    <a:pt x="134625" y="128664"/>
                                                  </a:cubicBezTo>
                                                  <a:cubicBezTo>
                                                    <a:pt x="132876" y="123417"/>
                                                    <a:pt x="124130" y="123028"/>
                                                    <a:pt x="122769" y="117651"/>
                                                  </a:cubicBezTo>
                                                  <a:cubicBezTo>
                                                    <a:pt x="122445" y="116290"/>
                                                    <a:pt x="122640" y="114865"/>
                                                    <a:pt x="122575" y="113505"/>
                                                  </a:cubicBezTo>
                                                  <a:cubicBezTo>
                                                    <a:pt x="122122" y="106832"/>
                                                    <a:pt x="115124" y="103074"/>
                                                    <a:pt x="109423" y="99640"/>
                                                  </a:cubicBezTo>
                                                  <a:cubicBezTo>
                                                    <a:pt x="103722" y="96207"/>
                                                    <a:pt x="97892" y="89534"/>
                                                    <a:pt x="101066" y="83638"/>
                                                  </a:cubicBezTo>
                                                  <a:cubicBezTo>
                                                    <a:pt x="104111" y="78067"/>
                                                    <a:pt x="112792" y="78455"/>
                                                    <a:pt x="116809" y="73596"/>
                                                  </a:cubicBezTo>
                                                  <a:cubicBezTo>
                                                    <a:pt x="119790" y="69904"/>
                                                    <a:pt x="119141" y="64267"/>
                                                    <a:pt x="116614" y="60315"/>
                                                  </a:cubicBezTo>
                                                  <a:cubicBezTo>
                                                    <a:pt x="114023" y="56363"/>
                                                    <a:pt x="109942" y="53643"/>
                                                    <a:pt x="105925" y="51116"/>
                                                  </a:cubicBezTo>
                                                  <a:cubicBezTo>
                                                    <a:pt x="99447" y="46970"/>
                                                    <a:pt x="92579" y="42629"/>
                                                    <a:pt x="84935" y="42240"/>
                                                  </a:cubicBezTo>
                                                  <a:cubicBezTo>
                                                    <a:pt x="82278" y="42111"/>
                                                    <a:pt x="79557" y="42435"/>
                                                    <a:pt x="76965" y="41722"/>
                                                  </a:cubicBezTo>
                                                  <a:cubicBezTo>
                                                    <a:pt x="74375" y="41009"/>
                                                    <a:pt x="71848" y="38871"/>
                                                    <a:pt x="71978" y="36215"/>
                                                  </a:cubicBezTo>
                                                  <a:cubicBezTo>
                                                    <a:pt x="71978" y="34142"/>
                                                    <a:pt x="73597" y="32393"/>
                                                    <a:pt x="73921" y="30385"/>
                                                  </a:cubicBezTo>
                                                  <a:cubicBezTo>
                                                    <a:pt x="74568" y="26303"/>
                                                    <a:pt x="70228" y="23258"/>
                                                    <a:pt x="66405" y="21833"/>
                                                  </a:cubicBezTo>
                                                  <a:cubicBezTo>
                                                    <a:pt x="62518" y="20407"/>
                                                    <a:pt x="57984" y="19112"/>
                                                    <a:pt x="56299" y="15354"/>
                                                  </a:cubicBezTo>
                                                  <a:cubicBezTo>
                                                    <a:pt x="54744" y="11791"/>
                                                    <a:pt x="56623" y="7710"/>
                                                    <a:pt x="56817" y="3822"/>
                                                  </a:cubicBezTo>
                                                  <a:cubicBezTo>
                                                    <a:pt x="56882" y="2462"/>
                                                    <a:pt x="56752" y="1231"/>
                                                    <a:pt x="56494" y="0"/>
                                                  </a:cubicBezTo>
                                                  <a:cubicBezTo>
                                                    <a:pt x="49626" y="1231"/>
                                                    <a:pt x="41268" y="-1490"/>
                                                    <a:pt x="37123" y="3887"/>
                                                  </a:cubicBezTo>
                                                  <a:cubicBezTo>
                                                    <a:pt x="34661" y="7062"/>
                                                    <a:pt x="35179" y="11532"/>
                                                    <a:pt x="34661" y="15549"/>
                                                  </a:cubicBezTo>
                                                  <a:cubicBezTo>
                                                    <a:pt x="33235" y="25785"/>
                                                    <a:pt x="22546" y="33105"/>
                                                    <a:pt x="12504" y="32393"/>
                                                  </a:cubicBezTo>
                                                  <a:cubicBezTo>
                                                    <a:pt x="10819" y="39519"/>
                                                    <a:pt x="7969" y="46387"/>
                                                    <a:pt x="3888" y="52476"/>
                                                  </a:cubicBezTo>
                                                  <a:cubicBezTo>
                                                    <a:pt x="2721" y="54226"/>
                                                    <a:pt x="1426" y="55845"/>
                                                    <a:pt x="0" y="57400"/>
                                                  </a:cubicBezTo>
                                                  <a:cubicBezTo>
                                                    <a:pt x="3110" y="61676"/>
                                                    <a:pt x="3564" y="67571"/>
                                                    <a:pt x="4600" y="72949"/>
                                                  </a:cubicBezTo>
                                                  <a:cubicBezTo>
                                                    <a:pt x="5766" y="78974"/>
                                                    <a:pt x="9135" y="85841"/>
                                                    <a:pt x="15290" y="86424"/>
                                                  </a:cubicBezTo>
                                                  <a:cubicBezTo>
                                                    <a:pt x="18075" y="86683"/>
                                                    <a:pt x="21380" y="85712"/>
                                                    <a:pt x="23194" y="87849"/>
                                                  </a:cubicBezTo>
                                                  <a:cubicBezTo>
                                                    <a:pt x="24166" y="88951"/>
                                                    <a:pt x="24231" y="90571"/>
                                                    <a:pt x="24295" y="92060"/>
                                                  </a:cubicBezTo>
                                                  <a:cubicBezTo>
                                                    <a:pt x="24619" y="108387"/>
                                                    <a:pt x="23259" y="124777"/>
                                                    <a:pt x="20278" y="140844"/>
                                                  </a:cubicBezTo>
                                                  <a:cubicBezTo>
                                                    <a:pt x="28182" y="141621"/>
                                                    <a:pt x="35956" y="134690"/>
                                                    <a:pt x="36086" y="126786"/>
                                                  </a:cubicBezTo>
                                                  <a:cubicBezTo>
                                                    <a:pt x="41852" y="127563"/>
                                                    <a:pt x="47553" y="128276"/>
                                                    <a:pt x="53319" y="129053"/>
                                                  </a:cubicBezTo>
                                                  <a:cubicBezTo>
                                                    <a:pt x="53578" y="125943"/>
                                                    <a:pt x="53902" y="122769"/>
                                                    <a:pt x="54162" y="119659"/>
                                                  </a:cubicBezTo>
                                                  <a:cubicBezTo>
                                                    <a:pt x="59733" y="119530"/>
                                                    <a:pt x="63490" y="128146"/>
                                                    <a:pt x="68802" y="126397"/>
                                                  </a:cubicBezTo>
                                                  <a:cubicBezTo>
                                                    <a:pt x="70293" y="125879"/>
                                                    <a:pt x="71394" y="124648"/>
                                                    <a:pt x="72560" y="123546"/>
                                                  </a:cubicBezTo>
                                                  <a:cubicBezTo>
                                                    <a:pt x="77873" y="118558"/>
                                                    <a:pt x="85906" y="116809"/>
                                                    <a:pt x="92774" y="119076"/>
                                                  </a:cubicBezTo>
                                                  <a:cubicBezTo>
                                                    <a:pt x="93486" y="127757"/>
                                                    <a:pt x="108387" y="128146"/>
                                                    <a:pt x="110849" y="136504"/>
                                                  </a:cubicBezTo>
                                                  <a:cubicBezTo>
                                                    <a:pt x="111755" y="139613"/>
                                                    <a:pt x="110590" y="142982"/>
                                                    <a:pt x="111173" y="146157"/>
                                                  </a:cubicBezTo>
                                                  <a:cubicBezTo>
                                                    <a:pt x="112209" y="152441"/>
                                                    <a:pt x="119400" y="156587"/>
                                                    <a:pt x="119660" y="162871"/>
                                                  </a:cubicBezTo>
                                                  <a:cubicBezTo>
                                                    <a:pt x="119790" y="165074"/>
                                                    <a:pt x="118947" y="167341"/>
                                                    <a:pt x="119271" y="169544"/>
                                                  </a:cubicBezTo>
                                                  <a:cubicBezTo>
                                                    <a:pt x="119595" y="171488"/>
                                                    <a:pt x="120696" y="173172"/>
                                                    <a:pt x="121797" y="174792"/>
                                                  </a:cubicBezTo>
                                                  <a:cubicBezTo>
                                                    <a:pt x="127045" y="182242"/>
                                                    <a:pt x="133265" y="189304"/>
                                                    <a:pt x="135727" y="198115"/>
                                                  </a:cubicBezTo>
                                                  <a:cubicBezTo>
                                                    <a:pt x="137994" y="206148"/>
                                                    <a:pt x="135727" y="216190"/>
                                                    <a:pt x="128859" y="220401"/>
                                                  </a:cubicBezTo>
                                                  <a:cubicBezTo>
                                                    <a:pt x="129701" y="220660"/>
                                                    <a:pt x="130608" y="220919"/>
                                                    <a:pt x="131386" y="221373"/>
                                                  </a:cubicBezTo>
                                                  <a:cubicBezTo>
                                                    <a:pt x="138512" y="225260"/>
                                                    <a:pt x="139549" y="237310"/>
                                                    <a:pt x="147582" y="238606"/>
                                                  </a:cubicBezTo>
                                                  <a:cubicBezTo>
                                                    <a:pt x="148749" y="230184"/>
                                                    <a:pt x="159567" y="227657"/>
                                                    <a:pt x="167990" y="227139"/>
                                                  </a:cubicBezTo>
                                                  <a:cubicBezTo>
                                                    <a:pt x="169934" y="227009"/>
                                                    <a:pt x="172006" y="226944"/>
                                                    <a:pt x="173756" y="227851"/>
                                                  </a:cubicBezTo>
                                                  <a:cubicBezTo>
                                                    <a:pt x="175181" y="228629"/>
                                                    <a:pt x="176218" y="229989"/>
                                                    <a:pt x="177190" y="231285"/>
                                                  </a:cubicBezTo>
                                                  <a:cubicBezTo>
                                                    <a:pt x="178550" y="233099"/>
                                                    <a:pt x="179910" y="234978"/>
                                                    <a:pt x="181271" y="236792"/>
                                                  </a:cubicBezTo>
                                                  <a:cubicBezTo>
                                                    <a:pt x="182307" y="232905"/>
                                                    <a:pt x="182826" y="228888"/>
                                                    <a:pt x="182696" y="224806"/>
                                                  </a:cubicBezTo>
                                                  <a:cubicBezTo>
                                                    <a:pt x="182631" y="220919"/>
                                                    <a:pt x="182048" y="216903"/>
                                                    <a:pt x="183279" y="21327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7" name="Freeform: Shape 200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14C70D9-D943-4334-9C05-9E18141B881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532068" y="3743267"/>
                                              <a:ext cx="169801" cy="39752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63807 w 169801"/>
                                                <a:gd name="connsiteY0" fmla="*/ 230119 h 397525"/>
                                                <a:gd name="connsiteX1" fmla="*/ 149424 w 169801"/>
                                                <a:gd name="connsiteY1" fmla="*/ 218004 h 397525"/>
                                                <a:gd name="connsiteX2" fmla="*/ 123445 w 169801"/>
                                                <a:gd name="connsiteY2" fmla="*/ 190664 h 397525"/>
                                                <a:gd name="connsiteX3" fmla="*/ 92089 w 169801"/>
                                                <a:gd name="connsiteY3" fmla="*/ 145898 h 397525"/>
                                                <a:gd name="connsiteX4" fmla="*/ 85999 w 169801"/>
                                                <a:gd name="connsiteY4" fmla="*/ 134495 h 397525"/>
                                                <a:gd name="connsiteX5" fmla="*/ 91894 w 169801"/>
                                                <a:gd name="connsiteY5" fmla="*/ 102167 h 397525"/>
                                                <a:gd name="connsiteX6" fmla="*/ 104851 w 169801"/>
                                                <a:gd name="connsiteY6" fmla="*/ 70616 h 397525"/>
                                                <a:gd name="connsiteX7" fmla="*/ 147351 w 169801"/>
                                                <a:gd name="connsiteY7" fmla="*/ 59344 h 397525"/>
                                                <a:gd name="connsiteX8" fmla="*/ 132515 w 169801"/>
                                                <a:gd name="connsiteY8" fmla="*/ 51764 h 397525"/>
                                                <a:gd name="connsiteX9" fmla="*/ 108998 w 169801"/>
                                                <a:gd name="connsiteY9" fmla="*/ 29866 h 397525"/>
                                                <a:gd name="connsiteX10" fmla="*/ 108674 w 169801"/>
                                                <a:gd name="connsiteY10" fmla="*/ 19760 h 397525"/>
                                                <a:gd name="connsiteX11" fmla="*/ 94615 w 169801"/>
                                                <a:gd name="connsiteY11" fmla="*/ 11662 h 397525"/>
                                                <a:gd name="connsiteX12" fmla="*/ 74791 w 169801"/>
                                                <a:gd name="connsiteY12" fmla="*/ 0 h 397525"/>
                                                <a:gd name="connsiteX13" fmla="*/ 60085 w 169801"/>
                                                <a:gd name="connsiteY13" fmla="*/ 17104 h 397525"/>
                                                <a:gd name="connsiteX14" fmla="*/ 35660 w 169801"/>
                                                <a:gd name="connsiteY14" fmla="*/ 16779 h 397525"/>
                                                <a:gd name="connsiteX15" fmla="*/ 12014 w 169801"/>
                                                <a:gd name="connsiteY15" fmla="*/ 20861 h 397525"/>
                                                <a:gd name="connsiteX16" fmla="*/ 3850 w 169801"/>
                                                <a:gd name="connsiteY16" fmla="*/ 26821 h 397525"/>
                                                <a:gd name="connsiteX17" fmla="*/ 806 w 169801"/>
                                                <a:gd name="connsiteY17" fmla="*/ 27664 h 397525"/>
                                                <a:gd name="connsiteX18" fmla="*/ 1129 w 169801"/>
                                                <a:gd name="connsiteY18" fmla="*/ 31486 h 397525"/>
                                                <a:gd name="connsiteX19" fmla="*/ 611 w 169801"/>
                                                <a:gd name="connsiteY19" fmla="*/ 43018 h 397525"/>
                                                <a:gd name="connsiteX20" fmla="*/ 10718 w 169801"/>
                                                <a:gd name="connsiteY20" fmla="*/ 49496 h 397525"/>
                                                <a:gd name="connsiteX21" fmla="*/ 18233 w 169801"/>
                                                <a:gd name="connsiteY21" fmla="*/ 58048 h 397525"/>
                                                <a:gd name="connsiteX22" fmla="*/ 16290 w 169801"/>
                                                <a:gd name="connsiteY22" fmla="*/ 63879 h 397525"/>
                                                <a:gd name="connsiteX23" fmla="*/ 21278 w 169801"/>
                                                <a:gd name="connsiteY23" fmla="*/ 69385 h 397525"/>
                                                <a:gd name="connsiteX24" fmla="*/ 29247 w 169801"/>
                                                <a:gd name="connsiteY24" fmla="*/ 69904 h 397525"/>
                                                <a:gd name="connsiteX25" fmla="*/ 50237 w 169801"/>
                                                <a:gd name="connsiteY25" fmla="*/ 78779 h 397525"/>
                                                <a:gd name="connsiteX26" fmla="*/ 60927 w 169801"/>
                                                <a:gd name="connsiteY26" fmla="*/ 87979 h 397525"/>
                                                <a:gd name="connsiteX27" fmla="*/ 61121 w 169801"/>
                                                <a:gd name="connsiteY27" fmla="*/ 101260 h 397525"/>
                                                <a:gd name="connsiteX28" fmla="*/ 45378 w 169801"/>
                                                <a:gd name="connsiteY28" fmla="*/ 111302 h 397525"/>
                                                <a:gd name="connsiteX29" fmla="*/ 53735 w 169801"/>
                                                <a:gd name="connsiteY29" fmla="*/ 127304 h 397525"/>
                                                <a:gd name="connsiteX30" fmla="*/ 66887 w 169801"/>
                                                <a:gd name="connsiteY30" fmla="*/ 141168 h 397525"/>
                                                <a:gd name="connsiteX31" fmla="*/ 67081 w 169801"/>
                                                <a:gd name="connsiteY31" fmla="*/ 145314 h 397525"/>
                                                <a:gd name="connsiteX32" fmla="*/ 78937 w 169801"/>
                                                <a:gd name="connsiteY32" fmla="*/ 156328 h 397525"/>
                                                <a:gd name="connsiteX33" fmla="*/ 79585 w 169801"/>
                                                <a:gd name="connsiteY33" fmla="*/ 161446 h 397525"/>
                                                <a:gd name="connsiteX34" fmla="*/ 83537 w 169801"/>
                                                <a:gd name="connsiteY34" fmla="*/ 167925 h 397525"/>
                                                <a:gd name="connsiteX35" fmla="*/ 106083 w 169801"/>
                                                <a:gd name="connsiteY35" fmla="*/ 193450 h 397525"/>
                                                <a:gd name="connsiteX36" fmla="*/ 110488 w 169801"/>
                                                <a:gd name="connsiteY36" fmla="*/ 199346 h 397525"/>
                                                <a:gd name="connsiteX37" fmla="*/ 113209 w 169801"/>
                                                <a:gd name="connsiteY37" fmla="*/ 205176 h 397525"/>
                                                <a:gd name="connsiteX38" fmla="*/ 125518 w 169801"/>
                                                <a:gd name="connsiteY38" fmla="*/ 215348 h 397525"/>
                                                <a:gd name="connsiteX39" fmla="*/ 133681 w 169801"/>
                                                <a:gd name="connsiteY39" fmla="*/ 228305 h 397525"/>
                                                <a:gd name="connsiteX40" fmla="*/ 127461 w 169801"/>
                                                <a:gd name="connsiteY40" fmla="*/ 240809 h 397525"/>
                                                <a:gd name="connsiteX41" fmla="*/ 126878 w 169801"/>
                                                <a:gd name="connsiteY41" fmla="*/ 252340 h 397525"/>
                                                <a:gd name="connsiteX42" fmla="*/ 125453 w 169801"/>
                                                <a:gd name="connsiteY42" fmla="*/ 264326 h 397525"/>
                                                <a:gd name="connsiteX43" fmla="*/ 133292 w 169801"/>
                                                <a:gd name="connsiteY43" fmla="*/ 275015 h 397525"/>
                                                <a:gd name="connsiteX44" fmla="*/ 138021 w 169801"/>
                                                <a:gd name="connsiteY44" fmla="*/ 289398 h 397525"/>
                                                <a:gd name="connsiteX45" fmla="*/ 119623 w 169801"/>
                                                <a:gd name="connsiteY45" fmla="*/ 305983 h 397525"/>
                                                <a:gd name="connsiteX46" fmla="*/ 117550 w 169801"/>
                                                <a:gd name="connsiteY46" fmla="*/ 320625 h 397525"/>
                                                <a:gd name="connsiteX47" fmla="*/ 102908 w 169801"/>
                                                <a:gd name="connsiteY47" fmla="*/ 323216 h 397525"/>
                                                <a:gd name="connsiteX48" fmla="*/ 93125 w 169801"/>
                                                <a:gd name="connsiteY48" fmla="*/ 331573 h 397525"/>
                                                <a:gd name="connsiteX49" fmla="*/ 98179 w 169801"/>
                                                <a:gd name="connsiteY49" fmla="*/ 336303 h 397525"/>
                                                <a:gd name="connsiteX50" fmla="*/ 99345 w 169801"/>
                                                <a:gd name="connsiteY50" fmla="*/ 344595 h 397525"/>
                                                <a:gd name="connsiteX51" fmla="*/ 88137 w 169801"/>
                                                <a:gd name="connsiteY51" fmla="*/ 347640 h 397525"/>
                                                <a:gd name="connsiteX52" fmla="*/ 79067 w 169801"/>
                                                <a:gd name="connsiteY52" fmla="*/ 353471 h 397525"/>
                                                <a:gd name="connsiteX53" fmla="*/ 79261 w 169801"/>
                                                <a:gd name="connsiteY53" fmla="*/ 356904 h 397525"/>
                                                <a:gd name="connsiteX54" fmla="*/ 71940 w 169801"/>
                                                <a:gd name="connsiteY54" fmla="*/ 358395 h 397525"/>
                                                <a:gd name="connsiteX55" fmla="*/ 55679 w 169801"/>
                                                <a:gd name="connsiteY55" fmla="*/ 367724 h 397525"/>
                                                <a:gd name="connsiteX56" fmla="*/ 55031 w 169801"/>
                                                <a:gd name="connsiteY56" fmla="*/ 368177 h 397525"/>
                                                <a:gd name="connsiteX57" fmla="*/ 60020 w 169801"/>
                                                <a:gd name="connsiteY57" fmla="*/ 373619 h 397525"/>
                                                <a:gd name="connsiteX58" fmla="*/ 70256 w 169801"/>
                                                <a:gd name="connsiteY58" fmla="*/ 383791 h 397525"/>
                                                <a:gd name="connsiteX59" fmla="*/ 61186 w 169801"/>
                                                <a:gd name="connsiteY59" fmla="*/ 389427 h 397525"/>
                                                <a:gd name="connsiteX60" fmla="*/ 56197 w 169801"/>
                                                <a:gd name="connsiteY60" fmla="*/ 397525 h 397525"/>
                                                <a:gd name="connsiteX61" fmla="*/ 86517 w 169801"/>
                                                <a:gd name="connsiteY61" fmla="*/ 386123 h 397525"/>
                                                <a:gd name="connsiteX62" fmla="*/ 96430 w 169801"/>
                                                <a:gd name="connsiteY62" fmla="*/ 379644 h 397525"/>
                                                <a:gd name="connsiteX63" fmla="*/ 106990 w 169801"/>
                                                <a:gd name="connsiteY63" fmla="*/ 362282 h 397525"/>
                                                <a:gd name="connsiteX64" fmla="*/ 131932 w 169801"/>
                                                <a:gd name="connsiteY64" fmla="*/ 362930 h 397525"/>
                                                <a:gd name="connsiteX65" fmla="*/ 145602 w 169801"/>
                                                <a:gd name="connsiteY65" fmla="*/ 339218 h 397525"/>
                                                <a:gd name="connsiteX66" fmla="*/ 156356 w 169801"/>
                                                <a:gd name="connsiteY66" fmla="*/ 337793 h 397525"/>
                                                <a:gd name="connsiteX67" fmla="*/ 166722 w 169801"/>
                                                <a:gd name="connsiteY67" fmla="*/ 309481 h 397525"/>
                                                <a:gd name="connsiteX68" fmla="*/ 163807 w 169801"/>
                                                <a:gd name="connsiteY68" fmla="*/ 230313 h 39752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69801" h="397525">
                                                  <a:moveTo>
                                                    <a:pt x="163807" y="230119"/>
                                                  </a:moveTo>
                                                  <a:cubicBezTo>
                                                    <a:pt x="161993" y="222993"/>
                                                    <a:pt x="155644" y="214052"/>
                                                    <a:pt x="149424" y="218004"/>
                                                  </a:cubicBezTo>
                                                  <a:cubicBezTo>
                                                    <a:pt x="145407" y="205889"/>
                                                    <a:pt x="133034" y="199087"/>
                                                    <a:pt x="123445" y="190664"/>
                                                  </a:cubicBezTo>
                                                  <a:cubicBezTo>
                                                    <a:pt x="109645" y="178614"/>
                                                    <a:pt x="100705" y="162029"/>
                                                    <a:pt x="92089" y="145898"/>
                                                  </a:cubicBezTo>
                                                  <a:cubicBezTo>
                                                    <a:pt x="90081" y="142075"/>
                                                    <a:pt x="88072" y="138318"/>
                                                    <a:pt x="85999" y="134495"/>
                                                  </a:cubicBezTo>
                                                  <a:cubicBezTo>
                                                    <a:pt x="79067" y="125037"/>
                                                    <a:pt x="84962" y="111626"/>
                                                    <a:pt x="91894" y="102167"/>
                                                  </a:cubicBezTo>
                                                  <a:cubicBezTo>
                                                    <a:pt x="98827" y="92708"/>
                                                    <a:pt x="107313" y="82084"/>
                                                    <a:pt x="104851" y="70616"/>
                                                  </a:cubicBezTo>
                                                  <a:cubicBezTo>
                                                    <a:pt x="118068" y="64138"/>
                                                    <a:pt x="132645" y="60315"/>
                                                    <a:pt x="147351" y="59344"/>
                                                  </a:cubicBezTo>
                                                  <a:cubicBezTo>
                                                    <a:pt x="142945" y="56104"/>
                                                    <a:pt x="137568" y="53643"/>
                                                    <a:pt x="132515" y="51764"/>
                                                  </a:cubicBezTo>
                                                  <a:cubicBezTo>
                                                    <a:pt x="121890" y="47682"/>
                                                    <a:pt x="109452" y="41268"/>
                                                    <a:pt x="108998" y="29866"/>
                                                  </a:cubicBezTo>
                                                  <a:cubicBezTo>
                                                    <a:pt x="108868" y="26497"/>
                                                    <a:pt x="109905" y="22934"/>
                                                    <a:pt x="108674" y="19760"/>
                                                  </a:cubicBezTo>
                                                  <a:cubicBezTo>
                                                    <a:pt x="106665" y="14512"/>
                                                    <a:pt x="99992" y="13216"/>
                                                    <a:pt x="94615" y="11662"/>
                                                  </a:cubicBezTo>
                                                  <a:cubicBezTo>
                                                    <a:pt x="87165" y="9524"/>
                                                    <a:pt x="80233" y="5507"/>
                                                    <a:pt x="74791" y="0"/>
                                                  </a:cubicBezTo>
                                                  <a:cubicBezTo>
                                                    <a:pt x="75504" y="8163"/>
                                                    <a:pt x="68053" y="15095"/>
                                                    <a:pt x="60085" y="17104"/>
                                                  </a:cubicBezTo>
                                                  <a:cubicBezTo>
                                                    <a:pt x="52180" y="19112"/>
                                                    <a:pt x="43824" y="17557"/>
                                                    <a:pt x="35660" y="16779"/>
                                                  </a:cubicBezTo>
                                                  <a:cubicBezTo>
                                                    <a:pt x="27497" y="16002"/>
                                                    <a:pt x="18687" y="16132"/>
                                                    <a:pt x="12014" y="20861"/>
                                                  </a:cubicBezTo>
                                                  <a:cubicBezTo>
                                                    <a:pt x="9227" y="22805"/>
                                                    <a:pt x="6960" y="25526"/>
                                                    <a:pt x="3850" y="26821"/>
                                                  </a:cubicBezTo>
                                                  <a:cubicBezTo>
                                                    <a:pt x="2879" y="27210"/>
                                                    <a:pt x="1843" y="27534"/>
                                                    <a:pt x="806" y="27664"/>
                                                  </a:cubicBezTo>
                                                  <a:cubicBezTo>
                                                    <a:pt x="1065" y="28894"/>
                                                    <a:pt x="1194" y="30125"/>
                                                    <a:pt x="1129" y="31486"/>
                                                  </a:cubicBezTo>
                                                  <a:cubicBezTo>
                                                    <a:pt x="935" y="35373"/>
                                                    <a:pt x="-944" y="39390"/>
                                                    <a:pt x="611" y="43018"/>
                                                  </a:cubicBezTo>
                                                  <a:cubicBezTo>
                                                    <a:pt x="2231" y="46775"/>
                                                    <a:pt x="6830" y="48136"/>
                                                    <a:pt x="10718" y="49496"/>
                                                  </a:cubicBezTo>
                                                  <a:cubicBezTo>
                                                    <a:pt x="14605" y="50922"/>
                                                    <a:pt x="18881" y="53967"/>
                                                    <a:pt x="18233" y="58048"/>
                                                  </a:cubicBezTo>
                                                  <a:cubicBezTo>
                                                    <a:pt x="17909" y="60056"/>
                                                    <a:pt x="16354" y="61806"/>
                                                    <a:pt x="16290" y="63879"/>
                                                  </a:cubicBezTo>
                                                  <a:cubicBezTo>
                                                    <a:pt x="16225" y="66535"/>
                                                    <a:pt x="18687" y="68673"/>
                                                    <a:pt x="21278" y="69385"/>
                                                  </a:cubicBezTo>
                                                  <a:cubicBezTo>
                                                    <a:pt x="23869" y="70098"/>
                                                    <a:pt x="26590" y="69709"/>
                                                    <a:pt x="29247" y="69904"/>
                                                  </a:cubicBezTo>
                                                  <a:cubicBezTo>
                                                    <a:pt x="36956" y="70293"/>
                                                    <a:pt x="43759" y="74633"/>
                                                    <a:pt x="50237" y="78779"/>
                                                  </a:cubicBezTo>
                                                  <a:cubicBezTo>
                                                    <a:pt x="54189" y="81371"/>
                                                    <a:pt x="58335" y="84027"/>
                                                    <a:pt x="60927" y="87979"/>
                                                  </a:cubicBezTo>
                                                  <a:cubicBezTo>
                                                    <a:pt x="63518" y="91931"/>
                                                    <a:pt x="64166" y="97567"/>
                                                    <a:pt x="61121" y="101260"/>
                                                  </a:cubicBezTo>
                                                  <a:cubicBezTo>
                                                    <a:pt x="57104" y="106184"/>
                                                    <a:pt x="48423" y="105730"/>
                                                    <a:pt x="45378" y="111302"/>
                                                  </a:cubicBezTo>
                                                  <a:cubicBezTo>
                                                    <a:pt x="42204" y="117133"/>
                                                    <a:pt x="48035" y="123870"/>
                                                    <a:pt x="53735" y="127304"/>
                                                  </a:cubicBezTo>
                                                  <a:cubicBezTo>
                                                    <a:pt x="59436" y="130738"/>
                                                    <a:pt x="66434" y="134560"/>
                                                    <a:pt x="66887" y="141168"/>
                                                  </a:cubicBezTo>
                                                  <a:cubicBezTo>
                                                    <a:pt x="66952" y="142529"/>
                                                    <a:pt x="66757" y="143954"/>
                                                    <a:pt x="67081" y="145314"/>
                                                  </a:cubicBezTo>
                                                  <a:cubicBezTo>
                                                    <a:pt x="68442" y="150692"/>
                                                    <a:pt x="77188" y="151080"/>
                                                    <a:pt x="78937" y="156328"/>
                                                  </a:cubicBezTo>
                                                  <a:cubicBezTo>
                                                    <a:pt x="79456" y="157948"/>
                                                    <a:pt x="79196" y="159762"/>
                                                    <a:pt x="79585" y="161446"/>
                                                  </a:cubicBezTo>
                                                  <a:cubicBezTo>
                                                    <a:pt x="80103" y="163973"/>
                                                    <a:pt x="81853" y="165981"/>
                                                    <a:pt x="83537" y="167925"/>
                                                  </a:cubicBezTo>
                                                  <a:cubicBezTo>
                                                    <a:pt x="91052" y="176412"/>
                                                    <a:pt x="98567" y="184963"/>
                                                    <a:pt x="106083" y="193450"/>
                                                  </a:cubicBezTo>
                                                  <a:cubicBezTo>
                                                    <a:pt x="107702" y="195264"/>
                                                    <a:pt x="109387" y="197143"/>
                                                    <a:pt x="110488" y="199346"/>
                                                  </a:cubicBezTo>
                                                  <a:cubicBezTo>
                                                    <a:pt x="111459" y="201224"/>
                                                    <a:pt x="112107" y="203298"/>
                                                    <a:pt x="113209" y="205176"/>
                                                  </a:cubicBezTo>
                                                  <a:cubicBezTo>
                                                    <a:pt x="115930" y="209841"/>
                                                    <a:pt x="121048" y="212303"/>
                                                    <a:pt x="125518" y="215348"/>
                                                  </a:cubicBezTo>
                                                  <a:cubicBezTo>
                                                    <a:pt x="129988" y="218328"/>
                                                    <a:pt x="134264" y="222993"/>
                                                    <a:pt x="133681" y="228305"/>
                                                  </a:cubicBezTo>
                                                  <a:cubicBezTo>
                                                    <a:pt x="133163" y="232969"/>
                                                    <a:pt x="129017" y="236403"/>
                                                    <a:pt x="127461" y="240809"/>
                                                  </a:cubicBezTo>
                                                  <a:cubicBezTo>
                                                    <a:pt x="126166" y="244437"/>
                                                    <a:pt x="126749" y="248453"/>
                                                    <a:pt x="126878" y="252340"/>
                                                  </a:cubicBezTo>
                                                  <a:cubicBezTo>
                                                    <a:pt x="126943" y="256357"/>
                                                    <a:pt x="126490" y="260374"/>
                                                    <a:pt x="125453" y="264326"/>
                                                  </a:cubicBezTo>
                                                  <a:cubicBezTo>
                                                    <a:pt x="128045" y="267889"/>
                                                    <a:pt x="130701" y="271452"/>
                                                    <a:pt x="133292" y="275015"/>
                                                  </a:cubicBezTo>
                                                  <a:cubicBezTo>
                                                    <a:pt x="136402" y="279226"/>
                                                    <a:pt x="139706" y="284409"/>
                                                    <a:pt x="138021" y="289398"/>
                                                  </a:cubicBezTo>
                                                  <a:cubicBezTo>
                                                    <a:pt x="135366" y="297431"/>
                                                    <a:pt x="122409" y="298014"/>
                                                    <a:pt x="119623" y="305983"/>
                                                  </a:cubicBezTo>
                                                  <a:cubicBezTo>
                                                    <a:pt x="117938" y="310712"/>
                                                    <a:pt x="120530" y="316673"/>
                                                    <a:pt x="117550" y="320625"/>
                                                  </a:cubicBezTo>
                                                  <a:cubicBezTo>
                                                    <a:pt x="114375" y="324771"/>
                                                    <a:pt x="108090" y="323475"/>
                                                    <a:pt x="102908" y="323216"/>
                                                  </a:cubicBezTo>
                                                  <a:cubicBezTo>
                                                    <a:pt x="97725" y="322892"/>
                                                    <a:pt x="90858" y="326909"/>
                                                    <a:pt x="93125" y="331573"/>
                                                  </a:cubicBezTo>
                                                  <a:cubicBezTo>
                                                    <a:pt x="94162" y="333646"/>
                                                    <a:pt x="96559" y="334618"/>
                                                    <a:pt x="98179" y="336303"/>
                                                  </a:cubicBezTo>
                                                  <a:cubicBezTo>
                                                    <a:pt x="100252" y="338441"/>
                                                    <a:pt x="100705" y="342004"/>
                                                    <a:pt x="99345" y="344595"/>
                                                  </a:cubicBezTo>
                                                  <a:cubicBezTo>
                                                    <a:pt x="97077" y="347964"/>
                                                    <a:pt x="92218" y="347705"/>
                                                    <a:pt x="88137" y="347640"/>
                                                  </a:cubicBezTo>
                                                  <a:cubicBezTo>
                                                    <a:pt x="84055" y="347575"/>
                                                    <a:pt x="78872" y="349454"/>
                                                    <a:pt x="79067" y="353471"/>
                                                  </a:cubicBezTo>
                                                  <a:cubicBezTo>
                                                    <a:pt x="79067" y="354637"/>
                                                    <a:pt x="79649" y="355803"/>
                                                    <a:pt x="79261" y="356904"/>
                                                  </a:cubicBezTo>
                                                  <a:cubicBezTo>
                                                    <a:pt x="78419" y="359496"/>
                                                    <a:pt x="74662" y="358654"/>
                                                    <a:pt x="71940" y="358395"/>
                                                  </a:cubicBezTo>
                                                  <a:cubicBezTo>
                                                    <a:pt x="65527" y="357812"/>
                                                    <a:pt x="60733" y="363707"/>
                                                    <a:pt x="55679" y="367724"/>
                                                  </a:cubicBezTo>
                                                  <a:cubicBezTo>
                                                    <a:pt x="55484" y="367918"/>
                                                    <a:pt x="55226" y="368048"/>
                                                    <a:pt x="55031" y="368177"/>
                                                  </a:cubicBezTo>
                                                  <a:cubicBezTo>
                                                    <a:pt x="56003" y="370445"/>
                                                    <a:pt x="57817" y="372648"/>
                                                    <a:pt x="60020" y="373619"/>
                                                  </a:cubicBezTo>
                                                  <a:cubicBezTo>
                                                    <a:pt x="64879" y="375693"/>
                                                    <a:pt x="71681" y="378673"/>
                                                    <a:pt x="70256" y="383791"/>
                                                  </a:cubicBezTo>
                                                  <a:cubicBezTo>
                                                    <a:pt x="69219" y="387354"/>
                                                    <a:pt x="64749" y="388261"/>
                                                    <a:pt x="61186" y="389427"/>
                                                  </a:cubicBezTo>
                                                  <a:cubicBezTo>
                                                    <a:pt x="57623" y="390593"/>
                                                    <a:pt x="53865" y="394545"/>
                                                    <a:pt x="56197" y="397525"/>
                                                  </a:cubicBezTo>
                                                  <a:cubicBezTo>
                                                    <a:pt x="66563" y="394480"/>
                                                    <a:pt x="76670" y="390658"/>
                                                    <a:pt x="86517" y="386123"/>
                                                  </a:cubicBezTo>
                                                  <a:cubicBezTo>
                                                    <a:pt x="90145" y="384438"/>
                                                    <a:pt x="93773" y="382624"/>
                                                    <a:pt x="96430" y="379644"/>
                                                  </a:cubicBezTo>
                                                  <a:cubicBezTo>
                                                    <a:pt x="100899" y="374526"/>
                                                    <a:pt x="101742" y="366622"/>
                                                    <a:pt x="106990" y="362282"/>
                                                  </a:cubicBezTo>
                                                  <a:cubicBezTo>
                                                    <a:pt x="113727" y="356710"/>
                                                    <a:pt x="123834" y="359690"/>
                                                    <a:pt x="131932" y="362930"/>
                                                  </a:cubicBezTo>
                                                  <a:cubicBezTo>
                                                    <a:pt x="139188" y="357034"/>
                                                    <a:pt x="144112" y="348418"/>
                                                    <a:pt x="145602" y="339218"/>
                                                  </a:cubicBezTo>
                                                  <a:cubicBezTo>
                                                    <a:pt x="149165" y="338765"/>
                                                    <a:pt x="152793" y="338311"/>
                                                    <a:pt x="156356" y="337793"/>
                                                  </a:cubicBezTo>
                                                  <a:cubicBezTo>
                                                    <a:pt x="161733" y="329241"/>
                                                    <a:pt x="164778" y="319394"/>
                                                    <a:pt x="166722" y="309481"/>
                                                  </a:cubicBezTo>
                                                  <a:cubicBezTo>
                                                    <a:pt x="171905" y="283373"/>
                                                    <a:pt x="170285" y="256163"/>
                                                    <a:pt x="163807" y="23031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8" name="Freeform: Shape 200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75DA021-7DA9-492A-A931-73ED9641392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828903" y="4241469"/>
                                              <a:ext cx="34270" cy="4159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2499 w 34270"/>
                                                <a:gd name="connsiteY0" fmla="*/ 1879 h 41592"/>
                                                <a:gd name="connsiteX1" fmla="*/ 32305 w 34270"/>
                                                <a:gd name="connsiteY1" fmla="*/ 1231 h 41592"/>
                                                <a:gd name="connsiteX2" fmla="*/ 31916 w 34270"/>
                                                <a:gd name="connsiteY2" fmla="*/ 0 h 41592"/>
                                                <a:gd name="connsiteX3" fmla="*/ 30815 w 34270"/>
                                                <a:gd name="connsiteY3" fmla="*/ 1620 h 41592"/>
                                                <a:gd name="connsiteX4" fmla="*/ 28288 w 34270"/>
                                                <a:gd name="connsiteY4" fmla="*/ 5896 h 41592"/>
                                                <a:gd name="connsiteX5" fmla="*/ 26992 w 34270"/>
                                                <a:gd name="connsiteY5" fmla="*/ 8617 h 41592"/>
                                                <a:gd name="connsiteX6" fmla="*/ 16562 w 34270"/>
                                                <a:gd name="connsiteY6" fmla="*/ 22222 h 41592"/>
                                                <a:gd name="connsiteX7" fmla="*/ 9306 w 34270"/>
                                                <a:gd name="connsiteY7" fmla="*/ 23647 h 41592"/>
                                                <a:gd name="connsiteX8" fmla="*/ 2892 w 34270"/>
                                                <a:gd name="connsiteY8" fmla="*/ 23129 h 41592"/>
                                                <a:gd name="connsiteX9" fmla="*/ 106 w 34270"/>
                                                <a:gd name="connsiteY9" fmla="*/ 22805 h 41592"/>
                                                <a:gd name="connsiteX10" fmla="*/ 106 w 34270"/>
                                                <a:gd name="connsiteY10" fmla="*/ 23906 h 41592"/>
                                                <a:gd name="connsiteX11" fmla="*/ 366 w 34270"/>
                                                <a:gd name="connsiteY11" fmla="*/ 37187 h 41592"/>
                                                <a:gd name="connsiteX12" fmla="*/ 1078 w 34270"/>
                                                <a:gd name="connsiteY12" fmla="*/ 39390 h 41592"/>
                                                <a:gd name="connsiteX13" fmla="*/ 2309 w 34270"/>
                                                <a:gd name="connsiteY13" fmla="*/ 40232 h 41592"/>
                                                <a:gd name="connsiteX14" fmla="*/ 8269 w 34270"/>
                                                <a:gd name="connsiteY14" fmla="*/ 41593 h 41592"/>
                                                <a:gd name="connsiteX15" fmla="*/ 18117 w 34270"/>
                                                <a:gd name="connsiteY15" fmla="*/ 36280 h 41592"/>
                                                <a:gd name="connsiteX16" fmla="*/ 18894 w 34270"/>
                                                <a:gd name="connsiteY16" fmla="*/ 34401 h 41592"/>
                                                <a:gd name="connsiteX17" fmla="*/ 20125 w 34270"/>
                                                <a:gd name="connsiteY17" fmla="*/ 32004 h 41592"/>
                                                <a:gd name="connsiteX18" fmla="*/ 23235 w 34270"/>
                                                <a:gd name="connsiteY18" fmla="*/ 29607 h 41592"/>
                                                <a:gd name="connsiteX19" fmla="*/ 28223 w 34270"/>
                                                <a:gd name="connsiteY19" fmla="*/ 26821 h 41592"/>
                                                <a:gd name="connsiteX20" fmla="*/ 31981 w 34270"/>
                                                <a:gd name="connsiteY20" fmla="*/ 23971 h 41592"/>
                                                <a:gd name="connsiteX21" fmla="*/ 33859 w 34270"/>
                                                <a:gd name="connsiteY21" fmla="*/ 18853 h 41592"/>
                                                <a:gd name="connsiteX22" fmla="*/ 32499 w 34270"/>
                                                <a:gd name="connsiteY22" fmla="*/ 1879 h 41592"/>
                                                <a:gd name="connsiteX23" fmla="*/ 1985 w 34270"/>
                                                <a:gd name="connsiteY23" fmla="*/ 25007 h 41592"/>
                                                <a:gd name="connsiteX24" fmla="*/ 2828 w 34270"/>
                                                <a:gd name="connsiteY24" fmla="*/ 25007 h 41592"/>
                                                <a:gd name="connsiteX25" fmla="*/ 9306 w 34270"/>
                                                <a:gd name="connsiteY25" fmla="*/ 25590 h 41592"/>
                                                <a:gd name="connsiteX26" fmla="*/ 17404 w 34270"/>
                                                <a:gd name="connsiteY26" fmla="*/ 23971 h 41592"/>
                                                <a:gd name="connsiteX27" fmla="*/ 28742 w 34270"/>
                                                <a:gd name="connsiteY27" fmla="*/ 9459 h 41592"/>
                                                <a:gd name="connsiteX28" fmla="*/ 30037 w 34270"/>
                                                <a:gd name="connsiteY28" fmla="*/ 6738 h 41592"/>
                                                <a:gd name="connsiteX29" fmla="*/ 31204 w 34270"/>
                                                <a:gd name="connsiteY29" fmla="*/ 4535 h 41592"/>
                                                <a:gd name="connsiteX30" fmla="*/ 31916 w 34270"/>
                                                <a:gd name="connsiteY30" fmla="*/ 18594 h 41592"/>
                                                <a:gd name="connsiteX31" fmla="*/ 30426 w 34270"/>
                                                <a:gd name="connsiteY31" fmla="*/ 22805 h 41592"/>
                                                <a:gd name="connsiteX32" fmla="*/ 27187 w 34270"/>
                                                <a:gd name="connsiteY32" fmla="*/ 25137 h 41592"/>
                                                <a:gd name="connsiteX33" fmla="*/ 22263 w 34270"/>
                                                <a:gd name="connsiteY33" fmla="*/ 27923 h 41592"/>
                                                <a:gd name="connsiteX34" fmla="*/ 18570 w 34270"/>
                                                <a:gd name="connsiteY34" fmla="*/ 30773 h 41592"/>
                                                <a:gd name="connsiteX35" fmla="*/ 17080 w 34270"/>
                                                <a:gd name="connsiteY35" fmla="*/ 33754 h 41592"/>
                                                <a:gd name="connsiteX36" fmla="*/ 16368 w 34270"/>
                                                <a:gd name="connsiteY36" fmla="*/ 35373 h 41592"/>
                                                <a:gd name="connsiteX37" fmla="*/ 8269 w 34270"/>
                                                <a:gd name="connsiteY37" fmla="*/ 39649 h 41592"/>
                                                <a:gd name="connsiteX38" fmla="*/ 3151 w 34270"/>
                                                <a:gd name="connsiteY38" fmla="*/ 38483 h 41592"/>
                                                <a:gd name="connsiteX39" fmla="*/ 2568 w 34270"/>
                                                <a:gd name="connsiteY39" fmla="*/ 38159 h 41592"/>
                                                <a:gd name="connsiteX40" fmla="*/ 2309 w 34270"/>
                                                <a:gd name="connsiteY40" fmla="*/ 37057 h 41592"/>
                                                <a:gd name="connsiteX41" fmla="*/ 1985 w 34270"/>
                                                <a:gd name="connsiteY41" fmla="*/ 25007 h 4159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4270" h="41592">
                                                  <a:moveTo>
                                                    <a:pt x="32499" y="1879"/>
                                                  </a:moveTo>
                                                  <a:lnTo>
                                                    <a:pt x="32305" y="1231"/>
                                                  </a:lnTo>
                                                  <a:lnTo>
                                                    <a:pt x="31916" y="0"/>
                                                  </a:lnTo>
                                                  <a:lnTo>
                                                    <a:pt x="30815" y="1620"/>
                                                  </a:lnTo>
                                                  <a:cubicBezTo>
                                                    <a:pt x="29843" y="3045"/>
                                                    <a:pt x="28936" y="4470"/>
                                                    <a:pt x="28288" y="5896"/>
                                                  </a:cubicBezTo>
                                                  <a:cubicBezTo>
                                                    <a:pt x="27835" y="6803"/>
                                                    <a:pt x="27381" y="7710"/>
                                                    <a:pt x="26992" y="8617"/>
                                                  </a:cubicBezTo>
                                                  <a:cubicBezTo>
                                                    <a:pt x="24401" y="14123"/>
                                                    <a:pt x="21744" y="19760"/>
                                                    <a:pt x="16562" y="22222"/>
                                                  </a:cubicBezTo>
                                                  <a:cubicBezTo>
                                                    <a:pt x="14553" y="23193"/>
                                                    <a:pt x="12221" y="23647"/>
                                                    <a:pt x="9306" y="23647"/>
                                                  </a:cubicBezTo>
                                                  <a:cubicBezTo>
                                                    <a:pt x="7297" y="23647"/>
                                                    <a:pt x="5225" y="23388"/>
                                                    <a:pt x="2892" y="23129"/>
                                                  </a:cubicBezTo>
                                                  <a:lnTo>
                                                    <a:pt x="106" y="22805"/>
                                                  </a:lnTo>
                                                  <a:lnTo>
                                                    <a:pt x="106" y="23906"/>
                                                  </a:lnTo>
                                                  <a:cubicBezTo>
                                                    <a:pt x="-88" y="28376"/>
                                                    <a:pt x="-23" y="32911"/>
                                                    <a:pt x="366" y="37187"/>
                                                  </a:cubicBezTo>
                                                  <a:cubicBezTo>
                                                    <a:pt x="430" y="37835"/>
                                                    <a:pt x="495" y="38677"/>
                                                    <a:pt x="1078" y="39390"/>
                                                  </a:cubicBezTo>
                                                  <a:cubicBezTo>
                                                    <a:pt x="1466" y="39843"/>
                                                    <a:pt x="1920" y="40038"/>
                                                    <a:pt x="2309" y="40232"/>
                                                  </a:cubicBezTo>
                                                  <a:cubicBezTo>
                                                    <a:pt x="4123" y="41139"/>
                                                    <a:pt x="6132" y="41593"/>
                                                    <a:pt x="8269" y="41593"/>
                                                  </a:cubicBezTo>
                                                  <a:cubicBezTo>
                                                    <a:pt x="12675" y="41593"/>
                                                    <a:pt x="16368" y="39649"/>
                                                    <a:pt x="18117" y="36280"/>
                                                  </a:cubicBezTo>
                                                  <a:cubicBezTo>
                                                    <a:pt x="18441" y="35697"/>
                                                    <a:pt x="18700" y="35049"/>
                                                    <a:pt x="18894" y="34401"/>
                                                  </a:cubicBezTo>
                                                  <a:cubicBezTo>
                                                    <a:pt x="19283" y="33494"/>
                                                    <a:pt x="19607" y="32652"/>
                                                    <a:pt x="20125" y="32004"/>
                                                  </a:cubicBezTo>
                                                  <a:cubicBezTo>
                                                    <a:pt x="20902" y="30968"/>
                                                    <a:pt x="22134" y="30255"/>
                                                    <a:pt x="23235" y="29607"/>
                                                  </a:cubicBezTo>
                                                  <a:lnTo>
                                                    <a:pt x="28223" y="26821"/>
                                                  </a:lnTo>
                                                  <a:cubicBezTo>
                                                    <a:pt x="29519" y="26109"/>
                                                    <a:pt x="30944" y="25331"/>
                                                    <a:pt x="31981" y="23971"/>
                                                  </a:cubicBezTo>
                                                  <a:cubicBezTo>
                                                    <a:pt x="33147" y="22481"/>
                                                    <a:pt x="33601" y="20537"/>
                                                    <a:pt x="33859" y="18853"/>
                                                  </a:cubicBezTo>
                                                  <a:cubicBezTo>
                                                    <a:pt x="34702" y="13346"/>
                                                    <a:pt x="34248" y="7451"/>
                                                    <a:pt x="32499" y="1879"/>
                                                  </a:cubicBezTo>
                                                  <a:close/>
                                                  <a:moveTo>
                                                    <a:pt x="1985" y="25007"/>
                                                  </a:moveTo>
                                                  <a:lnTo>
                                                    <a:pt x="2828" y="25007"/>
                                                  </a:lnTo>
                                                  <a:cubicBezTo>
                                                    <a:pt x="5030" y="25331"/>
                                                    <a:pt x="7168" y="25590"/>
                                                    <a:pt x="9306" y="25590"/>
                                                  </a:cubicBezTo>
                                                  <a:cubicBezTo>
                                                    <a:pt x="12481" y="25590"/>
                                                    <a:pt x="15137" y="25072"/>
                                                    <a:pt x="17404" y="23971"/>
                                                  </a:cubicBezTo>
                                                  <a:cubicBezTo>
                                                    <a:pt x="23170" y="21250"/>
                                                    <a:pt x="26021" y="15225"/>
                                                    <a:pt x="28742" y="9459"/>
                                                  </a:cubicBezTo>
                                                  <a:cubicBezTo>
                                                    <a:pt x="29130" y="8552"/>
                                                    <a:pt x="29584" y="7645"/>
                                                    <a:pt x="30037" y="6738"/>
                                                  </a:cubicBezTo>
                                                  <a:cubicBezTo>
                                                    <a:pt x="30361" y="6025"/>
                                                    <a:pt x="30815" y="5248"/>
                                                    <a:pt x="31204" y="4535"/>
                                                  </a:cubicBezTo>
                                                  <a:cubicBezTo>
                                                    <a:pt x="32369" y="9200"/>
                                                    <a:pt x="32629" y="14059"/>
                                                    <a:pt x="31916" y="18594"/>
                                                  </a:cubicBezTo>
                                                  <a:cubicBezTo>
                                                    <a:pt x="31722" y="20084"/>
                                                    <a:pt x="31333" y="21639"/>
                                                    <a:pt x="30426" y="22805"/>
                                                  </a:cubicBezTo>
                                                  <a:cubicBezTo>
                                                    <a:pt x="29649" y="23776"/>
                                                    <a:pt x="28418" y="24489"/>
                                                    <a:pt x="27187" y="25137"/>
                                                  </a:cubicBezTo>
                                                  <a:lnTo>
                                                    <a:pt x="22263" y="27923"/>
                                                  </a:lnTo>
                                                  <a:cubicBezTo>
                                                    <a:pt x="21097" y="28635"/>
                                                    <a:pt x="19542" y="29478"/>
                                                    <a:pt x="18570" y="30773"/>
                                                  </a:cubicBezTo>
                                                  <a:cubicBezTo>
                                                    <a:pt x="17857" y="31745"/>
                                                    <a:pt x="17469" y="32717"/>
                                                    <a:pt x="17080" y="33754"/>
                                                  </a:cubicBezTo>
                                                  <a:cubicBezTo>
                                                    <a:pt x="16886" y="34337"/>
                                                    <a:pt x="16692" y="34855"/>
                                                    <a:pt x="16368" y="35373"/>
                                                  </a:cubicBezTo>
                                                  <a:cubicBezTo>
                                                    <a:pt x="15007" y="38094"/>
                                                    <a:pt x="11963" y="39649"/>
                                                    <a:pt x="8269" y="39649"/>
                                                  </a:cubicBezTo>
                                                  <a:cubicBezTo>
                                                    <a:pt x="6455" y="39649"/>
                                                    <a:pt x="4706" y="39260"/>
                                                    <a:pt x="3151" y="38483"/>
                                                  </a:cubicBezTo>
                                                  <a:cubicBezTo>
                                                    <a:pt x="2957" y="38418"/>
                                                    <a:pt x="2698" y="38288"/>
                                                    <a:pt x="2568" y="38159"/>
                                                  </a:cubicBezTo>
                                                  <a:cubicBezTo>
                                                    <a:pt x="2374" y="37900"/>
                                                    <a:pt x="2309" y="37446"/>
                                                    <a:pt x="2309" y="37057"/>
                                                  </a:cubicBezTo>
                                                  <a:cubicBezTo>
                                                    <a:pt x="1985" y="33106"/>
                                                    <a:pt x="1856" y="29089"/>
                                                    <a:pt x="1985" y="2500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09" name="Freeform: Shape 200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91A797B-DB88-4235-9D1A-AF7146C8A26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555289" y="4324201"/>
                                              <a:ext cx="21608" cy="2708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4706 w 21608"/>
                                                <a:gd name="connsiteY0" fmla="*/ 2332 h 27080"/>
                                                <a:gd name="connsiteX1" fmla="*/ 12892 w 21608"/>
                                                <a:gd name="connsiteY1" fmla="*/ 0 h 27080"/>
                                                <a:gd name="connsiteX2" fmla="*/ 12180 w 21608"/>
                                                <a:gd name="connsiteY2" fmla="*/ 648 h 27080"/>
                                                <a:gd name="connsiteX3" fmla="*/ 2009 w 21608"/>
                                                <a:gd name="connsiteY3" fmla="*/ 11532 h 27080"/>
                                                <a:gd name="connsiteX4" fmla="*/ 519 w 21608"/>
                                                <a:gd name="connsiteY4" fmla="*/ 13799 h 27080"/>
                                                <a:gd name="connsiteX5" fmla="*/ 324 w 21608"/>
                                                <a:gd name="connsiteY5" fmla="*/ 14123 h 27080"/>
                                                <a:gd name="connsiteX6" fmla="*/ 0 w 21608"/>
                                                <a:gd name="connsiteY6" fmla="*/ 14641 h 27080"/>
                                                <a:gd name="connsiteX7" fmla="*/ 389 w 21608"/>
                                                <a:gd name="connsiteY7" fmla="*/ 15160 h 27080"/>
                                                <a:gd name="connsiteX8" fmla="*/ 2397 w 21608"/>
                                                <a:gd name="connsiteY8" fmla="*/ 18140 h 27080"/>
                                                <a:gd name="connsiteX9" fmla="*/ 5961 w 21608"/>
                                                <a:gd name="connsiteY9" fmla="*/ 23064 h 27080"/>
                                                <a:gd name="connsiteX10" fmla="*/ 14382 w 21608"/>
                                                <a:gd name="connsiteY10" fmla="*/ 27080 h 27080"/>
                                                <a:gd name="connsiteX11" fmla="*/ 18593 w 21608"/>
                                                <a:gd name="connsiteY11" fmla="*/ 25720 h 27080"/>
                                                <a:gd name="connsiteX12" fmla="*/ 14706 w 21608"/>
                                                <a:gd name="connsiteY12" fmla="*/ 2332 h 27080"/>
                                                <a:gd name="connsiteX13" fmla="*/ 17298 w 21608"/>
                                                <a:gd name="connsiteY13" fmla="*/ 24230 h 27080"/>
                                                <a:gd name="connsiteX14" fmla="*/ 7386 w 21608"/>
                                                <a:gd name="connsiteY14" fmla="*/ 21703 h 27080"/>
                                                <a:gd name="connsiteX15" fmla="*/ 4017 w 21608"/>
                                                <a:gd name="connsiteY15" fmla="*/ 17103 h 27080"/>
                                                <a:gd name="connsiteX16" fmla="*/ 2332 w 21608"/>
                                                <a:gd name="connsiteY16" fmla="*/ 14577 h 27080"/>
                                                <a:gd name="connsiteX17" fmla="*/ 3564 w 21608"/>
                                                <a:gd name="connsiteY17" fmla="*/ 12698 h 27080"/>
                                                <a:gd name="connsiteX18" fmla="*/ 12634 w 21608"/>
                                                <a:gd name="connsiteY18" fmla="*/ 2851 h 27080"/>
                                                <a:gd name="connsiteX19" fmla="*/ 13152 w 21608"/>
                                                <a:gd name="connsiteY19" fmla="*/ 3563 h 27080"/>
                                                <a:gd name="connsiteX20" fmla="*/ 17298 w 21608"/>
                                                <a:gd name="connsiteY20" fmla="*/ 24230 h 2708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1608" h="27080">
                                                  <a:moveTo>
                                                    <a:pt x="14706" y="2332"/>
                                                  </a:moveTo>
                                                  <a:lnTo>
                                                    <a:pt x="12892" y="0"/>
                                                  </a:lnTo>
                                                  <a:lnTo>
                                                    <a:pt x="12180" y="648"/>
                                                  </a:lnTo>
                                                  <a:cubicBezTo>
                                                    <a:pt x="8228" y="3952"/>
                                                    <a:pt x="4794" y="7645"/>
                                                    <a:pt x="2009" y="11532"/>
                                                  </a:cubicBezTo>
                                                  <a:cubicBezTo>
                                                    <a:pt x="1490" y="12244"/>
                                                    <a:pt x="972" y="13022"/>
                                                    <a:pt x="519" y="13799"/>
                                                  </a:cubicBezTo>
                                                  <a:cubicBezTo>
                                                    <a:pt x="519" y="13929"/>
                                                    <a:pt x="389" y="13994"/>
                                                    <a:pt x="324" y="14123"/>
                                                  </a:cubicBezTo>
                                                  <a:lnTo>
                                                    <a:pt x="0" y="14641"/>
                                                  </a:lnTo>
                                                  <a:lnTo>
                                                    <a:pt x="389" y="15160"/>
                                                  </a:lnTo>
                                                  <a:cubicBezTo>
                                                    <a:pt x="1102" y="16132"/>
                                                    <a:pt x="1749" y="17103"/>
                                                    <a:pt x="2397" y="18140"/>
                                                  </a:cubicBezTo>
                                                  <a:cubicBezTo>
                                                    <a:pt x="3434" y="19824"/>
                                                    <a:pt x="4600" y="21509"/>
                                                    <a:pt x="5961" y="23064"/>
                                                  </a:cubicBezTo>
                                                  <a:cubicBezTo>
                                                    <a:pt x="8228" y="25526"/>
                                                    <a:pt x="11467" y="27080"/>
                                                    <a:pt x="14382" y="27080"/>
                                                  </a:cubicBezTo>
                                                  <a:cubicBezTo>
                                                    <a:pt x="15873" y="27080"/>
                                                    <a:pt x="17298" y="26692"/>
                                                    <a:pt x="18593" y="25720"/>
                                                  </a:cubicBezTo>
                                                  <a:cubicBezTo>
                                                    <a:pt x="26109" y="18529"/>
                                                    <a:pt x="17557" y="6025"/>
                                                    <a:pt x="14706" y="2332"/>
                                                  </a:cubicBezTo>
                                                  <a:close/>
                                                  <a:moveTo>
                                                    <a:pt x="17298" y="24230"/>
                                                  </a:moveTo>
                                                  <a:cubicBezTo>
                                                    <a:pt x="14706" y="26109"/>
                                                    <a:pt x="10237" y="24813"/>
                                                    <a:pt x="7386" y="21703"/>
                                                  </a:cubicBezTo>
                                                  <a:cubicBezTo>
                                                    <a:pt x="6155" y="20343"/>
                                                    <a:pt x="5118" y="18723"/>
                                                    <a:pt x="4017" y="17103"/>
                                                  </a:cubicBezTo>
                                                  <a:cubicBezTo>
                                                    <a:pt x="3434" y="16196"/>
                                                    <a:pt x="2916" y="15354"/>
                                                    <a:pt x="2332" y="14577"/>
                                                  </a:cubicBezTo>
                                                  <a:cubicBezTo>
                                                    <a:pt x="2721" y="13929"/>
                                                    <a:pt x="3110" y="13281"/>
                                                    <a:pt x="3564" y="12698"/>
                                                  </a:cubicBezTo>
                                                  <a:cubicBezTo>
                                                    <a:pt x="6090" y="9135"/>
                                                    <a:pt x="9135" y="5831"/>
                                                    <a:pt x="12634" y="2851"/>
                                                  </a:cubicBezTo>
                                                  <a:lnTo>
                                                    <a:pt x="13152" y="3563"/>
                                                  </a:lnTo>
                                                  <a:cubicBezTo>
                                                    <a:pt x="15743" y="6867"/>
                                                    <a:pt x="23582" y="18205"/>
                                                    <a:pt x="17298" y="2423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0" name="Freeform: Shape 200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F533EAFA-FFE4-44C3-8E6B-A247FE253AC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711229" y="4204753"/>
                                              <a:ext cx="244833" cy="16704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43853 w 244833"/>
                                                <a:gd name="connsiteY0" fmla="*/ 37753 h 167043"/>
                                                <a:gd name="connsiteX1" fmla="*/ 239253 w 244833"/>
                                                <a:gd name="connsiteY1" fmla="*/ 34708 h 167043"/>
                                                <a:gd name="connsiteX2" fmla="*/ 205111 w 244833"/>
                                                <a:gd name="connsiteY2" fmla="*/ 29072 h 167043"/>
                                                <a:gd name="connsiteX3" fmla="*/ 195588 w 244833"/>
                                                <a:gd name="connsiteY3" fmla="*/ 6138 h 167043"/>
                                                <a:gd name="connsiteX4" fmla="*/ 172395 w 244833"/>
                                                <a:gd name="connsiteY4" fmla="*/ 2315 h 167043"/>
                                                <a:gd name="connsiteX5" fmla="*/ 162677 w 244833"/>
                                                <a:gd name="connsiteY5" fmla="*/ 31274 h 167043"/>
                                                <a:gd name="connsiteX6" fmla="*/ 149266 w 244833"/>
                                                <a:gd name="connsiteY6" fmla="*/ 38919 h 167043"/>
                                                <a:gd name="connsiteX7" fmla="*/ 150562 w 244833"/>
                                                <a:gd name="connsiteY7" fmla="*/ 55504 h 167043"/>
                                                <a:gd name="connsiteX8" fmla="*/ 148877 w 244833"/>
                                                <a:gd name="connsiteY8" fmla="*/ 60169 h 167043"/>
                                                <a:gd name="connsiteX9" fmla="*/ 145444 w 244833"/>
                                                <a:gd name="connsiteY9" fmla="*/ 62760 h 167043"/>
                                                <a:gd name="connsiteX10" fmla="*/ 140455 w 244833"/>
                                                <a:gd name="connsiteY10" fmla="*/ 65546 h 167043"/>
                                                <a:gd name="connsiteX11" fmla="*/ 137021 w 244833"/>
                                                <a:gd name="connsiteY11" fmla="*/ 68137 h 167043"/>
                                                <a:gd name="connsiteX12" fmla="*/ 134948 w 244833"/>
                                                <a:gd name="connsiteY12" fmla="*/ 72608 h 167043"/>
                                                <a:gd name="connsiteX13" fmla="*/ 120436 w 244833"/>
                                                <a:gd name="connsiteY13" fmla="*/ 76171 h 167043"/>
                                                <a:gd name="connsiteX14" fmla="*/ 119529 w 244833"/>
                                                <a:gd name="connsiteY14" fmla="*/ 75523 h 167043"/>
                                                <a:gd name="connsiteX15" fmla="*/ 119011 w 244833"/>
                                                <a:gd name="connsiteY15" fmla="*/ 73904 h 167043"/>
                                                <a:gd name="connsiteX16" fmla="*/ 118752 w 244833"/>
                                                <a:gd name="connsiteY16" fmla="*/ 60687 h 167043"/>
                                                <a:gd name="connsiteX17" fmla="*/ 108451 w 244833"/>
                                                <a:gd name="connsiteY17" fmla="*/ 59521 h 167043"/>
                                                <a:gd name="connsiteX18" fmla="*/ 102361 w 244833"/>
                                                <a:gd name="connsiteY18" fmla="*/ 59975 h 167043"/>
                                                <a:gd name="connsiteX19" fmla="*/ 97632 w 244833"/>
                                                <a:gd name="connsiteY19" fmla="*/ 81743 h 167043"/>
                                                <a:gd name="connsiteX20" fmla="*/ 88691 w 244833"/>
                                                <a:gd name="connsiteY20" fmla="*/ 91460 h 167043"/>
                                                <a:gd name="connsiteX21" fmla="*/ 88432 w 244833"/>
                                                <a:gd name="connsiteY21" fmla="*/ 97874 h 167043"/>
                                                <a:gd name="connsiteX22" fmla="*/ 75669 w 244833"/>
                                                <a:gd name="connsiteY22" fmla="*/ 108305 h 167043"/>
                                                <a:gd name="connsiteX23" fmla="*/ 57853 w 244833"/>
                                                <a:gd name="connsiteY23" fmla="*/ 107657 h 167043"/>
                                                <a:gd name="connsiteX24" fmla="*/ 43017 w 244833"/>
                                                <a:gd name="connsiteY24" fmla="*/ 115690 h 167043"/>
                                                <a:gd name="connsiteX25" fmla="*/ 42046 w 244833"/>
                                                <a:gd name="connsiteY25" fmla="*/ 123335 h 167043"/>
                                                <a:gd name="connsiteX26" fmla="*/ 42046 w 244833"/>
                                                <a:gd name="connsiteY26" fmla="*/ 144909 h 167043"/>
                                                <a:gd name="connsiteX27" fmla="*/ 22351 w 244833"/>
                                                <a:gd name="connsiteY27" fmla="*/ 147694 h 167043"/>
                                                <a:gd name="connsiteX28" fmla="*/ 17039 w 244833"/>
                                                <a:gd name="connsiteY28" fmla="*/ 136422 h 167043"/>
                                                <a:gd name="connsiteX29" fmla="*/ 3433 w 244833"/>
                                                <a:gd name="connsiteY29" fmla="*/ 134996 h 167043"/>
                                                <a:gd name="connsiteX30" fmla="*/ 0 w 244833"/>
                                                <a:gd name="connsiteY30" fmla="*/ 135385 h 167043"/>
                                                <a:gd name="connsiteX31" fmla="*/ 13605 w 244833"/>
                                                <a:gd name="connsiteY31" fmla="*/ 155793 h 167043"/>
                                                <a:gd name="connsiteX32" fmla="*/ 37510 w 244833"/>
                                                <a:gd name="connsiteY32" fmla="*/ 166547 h 167043"/>
                                                <a:gd name="connsiteX33" fmla="*/ 50144 w 244833"/>
                                                <a:gd name="connsiteY33" fmla="*/ 159356 h 167043"/>
                                                <a:gd name="connsiteX34" fmla="*/ 89987 w 244833"/>
                                                <a:gd name="connsiteY34" fmla="*/ 147176 h 167043"/>
                                                <a:gd name="connsiteX35" fmla="*/ 102685 w 244833"/>
                                                <a:gd name="connsiteY35" fmla="*/ 147111 h 167043"/>
                                                <a:gd name="connsiteX36" fmla="*/ 116095 w 244833"/>
                                                <a:gd name="connsiteY36" fmla="*/ 142965 h 167043"/>
                                                <a:gd name="connsiteX37" fmla="*/ 131709 w 244833"/>
                                                <a:gd name="connsiteY37" fmla="*/ 129101 h 167043"/>
                                                <a:gd name="connsiteX38" fmla="*/ 132162 w 244833"/>
                                                <a:gd name="connsiteY38" fmla="*/ 114006 h 167043"/>
                                                <a:gd name="connsiteX39" fmla="*/ 148877 w 244833"/>
                                                <a:gd name="connsiteY39" fmla="*/ 104547 h 167043"/>
                                                <a:gd name="connsiteX40" fmla="*/ 151922 w 244833"/>
                                                <a:gd name="connsiteY40" fmla="*/ 91201 h 167043"/>
                                                <a:gd name="connsiteX41" fmla="*/ 178161 w 244833"/>
                                                <a:gd name="connsiteY41" fmla="*/ 66518 h 167043"/>
                                                <a:gd name="connsiteX42" fmla="*/ 207379 w 244833"/>
                                                <a:gd name="connsiteY42" fmla="*/ 66971 h 167043"/>
                                                <a:gd name="connsiteX43" fmla="*/ 207508 w 244833"/>
                                                <a:gd name="connsiteY43" fmla="*/ 66842 h 167043"/>
                                                <a:gd name="connsiteX44" fmla="*/ 210682 w 244833"/>
                                                <a:gd name="connsiteY44" fmla="*/ 55958 h 167043"/>
                                                <a:gd name="connsiteX45" fmla="*/ 223446 w 244833"/>
                                                <a:gd name="connsiteY45" fmla="*/ 49868 h 167043"/>
                                                <a:gd name="connsiteX46" fmla="*/ 238346 w 244833"/>
                                                <a:gd name="connsiteY46" fmla="*/ 49415 h 167043"/>
                                                <a:gd name="connsiteX47" fmla="*/ 243724 w 244833"/>
                                                <a:gd name="connsiteY47" fmla="*/ 37753 h 16704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44833" h="167043">
                                                  <a:moveTo>
                                                    <a:pt x="243853" y="37753"/>
                                                  </a:moveTo>
                                                  <a:cubicBezTo>
                                                    <a:pt x="242752" y="36263"/>
                                                    <a:pt x="241003" y="35421"/>
                                                    <a:pt x="239253" y="34708"/>
                                                  </a:cubicBezTo>
                                                  <a:cubicBezTo>
                                                    <a:pt x="228499" y="30238"/>
                                                    <a:pt x="216708" y="28294"/>
                                                    <a:pt x="205111" y="29072"/>
                                                  </a:cubicBezTo>
                                                  <a:cubicBezTo>
                                                    <a:pt x="204334" y="20650"/>
                                                    <a:pt x="201613" y="12033"/>
                                                    <a:pt x="195588" y="6138"/>
                                                  </a:cubicBezTo>
                                                  <a:cubicBezTo>
                                                    <a:pt x="189563" y="242"/>
                                                    <a:pt x="179586" y="-2155"/>
                                                    <a:pt x="172395" y="2315"/>
                                                  </a:cubicBezTo>
                                                  <a:cubicBezTo>
                                                    <a:pt x="163325" y="7951"/>
                                                    <a:pt x="162482" y="20585"/>
                                                    <a:pt x="162677" y="31274"/>
                                                  </a:cubicBezTo>
                                                  <a:cubicBezTo>
                                                    <a:pt x="157234" y="30367"/>
                                                    <a:pt x="152570" y="34190"/>
                                                    <a:pt x="149266" y="38919"/>
                                                  </a:cubicBezTo>
                                                  <a:cubicBezTo>
                                                    <a:pt x="150885" y="44296"/>
                                                    <a:pt x="151404" y="49933"/>
                                                    <a:pt x="150562" y="55504"/>
                                                  </a:cubicBezTo>
                                                  <a:cubicBezTo>
                                                    <a:pt x="150303" y="57124"/>
                                                    <a:pt x="149913" y="58873"/>
                                                    <a:pt x="148877" y="60169"/>
                                                  </a:cubicBezTo>
                                                  <a:cubicBezTo>
                                                    <a:pt x="147970" y="61335"/>
                                                    <a:pt x="146674" y="62048"/>
                                                    <a:pt x="145444" y="62760"/>
                                                  </a:cubicBezTo>
                                                  <a:cubicBezTo>
                                                    <a:pt x="143759" y="63667"/>
                                                    <a:pt x="142139" y="64639"/>
                                                    <a:pt x="140455" y="65546"/>
                                                  </a:cubicBezTo>
                                                  <a:cubicBezTo>
                                                    <a:pt x="139160" y="66259"/>
                                                    <a:pt x="137863" y="66971"/>
                                                    <a:pt x="137021" y="68137"/>
                                                  </a:cubicBezTo>
                                                  <a:cubicBezTo>
                                                    <a:pt x="136050" y="69433"/>
                                                    <a:pt x="135726" y="71118"/>
                                                    <a:pt x="134948" y="72608"/>
                                                  </a:cubicBezTo>
                                                  <a:cubicBezTo>
                                                    <a:pt x="132422" y="77531"/>
                                                    <a:pt x="125360" y="78568"/>
                                                    <a:pt x="120436" y="76171"/>
                                                  </a:cubicBezTo>
                                                  <a:cubicBezTo>
                                                    <a:pt x="120112" y="76041"/>
                                                    <a:pt x="119789" y="75847"/>
                                                    <a:pt x="119529" y="75523"/>
                                                  </a:cubicBezTo>
                                                  <a:cubicBezTo>
                                                    <a:pt x="119140" y="75070"/>
                                                    <a:pt x="119076" y="74487"/>
                                                    <a:pt x="119011" y="73904"/>
                                                  </a:cubicBezTo>
                                                  <a:cubicBezTo>
                                                    <a:pt x="118622" y="69498"/>
                                                    <a:pt x="118557" y="65093"/>
                                                    <a:pt x="118752" y="60687"/>
                                                  </a:cubicBezTo>
                                                  <a:cubicBezTo>
                                                    <a:pt x="115318" y="60298"/>
                                                    <a:pt x="111884" y="59910"/>
                                                    <a:pt x="108451" y="59521"/>
                                                  </a:cubicBezTo>
                                                  <a:cubicBezTo>
                                                    <a:pt x="106378" y="59262"/>
                                                    <a:pt x="104240" y="59068"/>
                                                    <a:pt x="102361" y="59975"/>
                                                  </a:cubicBezTo>
                                                  <a:cubicBezTo>
                                                    <a:pt x="95300" y="63343"/>
                                                    <a:pt x="101648" y="75005"/>
                                                    <a:pt x="97632" y="81743"/>
                                                  </a:cubicBezTo>
                                                  <a:cubicBezTo>
                                                    <a:pt x="95364" y="85565"/>
                                                    <a:pt x="89923" y="87184"/>
                                                    <a:pt x="88691" y="91460"/>
                                                  </a:cubicBezTo>
                                                  <a:cubicBezTo>
                                                    <a:pt x="88108" y="93534"/>
                                                    <a:pt x="88691" y="95736"/>
                                                    <a:pt x="88432" y="97874"/>
                                                  </a:cubicBezTo>
                                                  <a:cubicBezTo>
                                                    <a:pt x="87849" y="103834"/>
                                                    <a:pt x="81565" y="107657"/>
                                                    <a:pt x="75669" y="108305"/>
                                                  </a:cubicBezTo>
                                                  <a:cubicBezTo>
                                                    <a:pt x="69774" y="109017"/>
                                                    <a:pt x="63814" y="107527"/>
                                                    <a:pt x="57853" y="107657"/>
                                                  </a:cubicBezTo>
                                                  <a:cubicBezTo>
                                                    <a:pt x="51893" y="107786"/>
                                                    <a:pt x="45285" y="110119"/>
                                                    <a:pt x="43017" y="115690"/>
                                                  </a:cubicBezTo>
                                                  <a:cubicBezTo>
                                                    <a:pt x="42046" y="118087"/>
                                                    <a:pt x="42046" y="120743"/>
                                                    <a:pt x="42046" y="123335"/>
                                                  </a:cubicBezTo>
                                                  <a:cubicBezTo>
                                                    <a:pt x="42046" y="130526"/>
                                                    <a:pt x="42046" y="137717"/>
                                                    <a:pt x="42046" y="144909"/>
                                                  </a:cubicBezTo>
                                                  <a:cubicBezTo>
                                                    <a:pt x="35632" y="146723"/>
                                                    <a:pt x="29024" y="147694"/>
                                                    <a:pt x="22351" y="147694"/>
                                                  </a:cubicBezTo>
                                                  <a:cubicBezTo>
                                                    <a:pt x="24230" y="143483"/>
                                                    <a:pt x="21184" y="138430"/>
                                                    <a:pt x="17039" y="136422"/>
                                                  </a:cubicBezTo>
                                                  <a:cubicBezTo>
                                                    <a:pt x="12892" y="134413"/>
                                                    <a:pt x="8033" y="134673"/>
                                                    <a:pt x="3433" y="134996"/>
                                                  </a:cubicBezTo>
                                                  <a:cubicBezTo>
                                                    <a:pt x="2332" y="135061"/>
                                                    <a:pt x="1166" y="135191"/>
                                                    <a:pt x="0" y="135385"/>
                                                  </a:cubicBezTo>
                                                  <a:cubicBezTo>
                                                    <a:pt x="4924" y="141929"/>
                                                    <a:pt x="8487" y="149379"/>
                                                    <a:pt x="13605" y="155793"/>
                                                  </a:cubicBezTo>
                                                  <a:cubicBezTo>
                                                    <a:pt x="19371" y="162984"/>
                                                    <a:pt x="28570" y="168815"/>
                                                    <a:pt x="37510" y="166547"/>
                                                  </a:cubicBezTo>
                                                  <a:cubicBezTo>
                                                    <a:pt x="42240" y="165316"/>
                                                    <a:pt x="46127" y="162077"/>
                                                    <a:pt x="50144" y="159356"/>
                                                  </a:cubicBezTo>
                                                  <a:cubicBezTo>
                                                    <a:pt x="61805" y="151387"/>
                                                    <a:pt x="75929" y="147046"/>
                                                    <a:pt x="89987" y="147176"/>
                                                  </a:cubicBezTo>
                                                  <a:cubicBezTo>
                                                    <a:pt x="94263" y="147176"/>
                                                    <a:pt x="98474" y="147630"/>
                                                    <a:pt x="102685" y="147111"/>
                                                  </a:cubicBezTo>
                                                  <a:cubicBezTo>
                                                    <a:pt x="107350" y="146528"/>
                                                    <a:pt x="111755" y="144714"/>
                                                    <a:pt x="116095" y="142965"/>
                                                  </a:cubicBezTo>
                                                  <a:cubicBezTo>
                                                    <a:pt x="122833" y="140244"/>
                                                    <a:pt x="130607" y="136357"/>
                                                    <a:pt x="131709" y="129101"/>
                                                  </a:cubicBezTo>
                                                  <a:cubicBezTo>
                                                    <a:pt x="132486" y="124048"/>
                                                    <a:pt x="129636" y="118411"/>
                                                    <a:pt x="132162" y="114006"/>
                                                  </a:cubicBezTo>
                                                  <a:cubicBezTo>
                                                    <a:pt x="135466" y="108369"/>
                                                    <a:pt x="144601" y="109536"/>
                                                    <a:pt x="148877" y="104547"/>
                                                  </a:cubicBezTo>
                                                  <a:cubicBezTo>
                                                    <a:pt x="151922" y="101049"/>
                                                    <a:pt x="151339" y="95801"/>
                                                    <a:pt x="151922" y="91201"/>
                                                  </a:cubicBezTo>
                                                  <a:cubicBezTo>
                                                    <a:pt x="153607" y="78503"/>
                                                    <a:pt x="165657" y="69239"/>
                                                    <a:pt x="178161" y="66518"/>
                                                  </a:cubicBezTo>
                                                  <a:cubicBezTo>
                                                    <a:pt x="187749" y="64445"/>
                                                    <a:pt x="197596" y="65352"/>
                                                    <a:pt x="207379" y="66971"/>
                                                  </a:cubicBezTo>
                                                  <a:cubicBezTo>
                                                    <a:pt x="207379" y="66971"/>
                                                    <a:pt x="207508" y="66971"/>
                                                    <a:pt x="207508" y="66842"/>
                                                  </a:cubicBezTo>
                                                  <a:cubicBezTo>
                                                    <a:pt x="210294" y="64186"/>
                                                    <a:pt x="209193" y="59456"/>
                                                    <a:pt x="210682" y="55958"/>
                                                  </a:cubicBezTo>
                                                  <a:cubicBezTo>
                                                    <a:pt x="212626" y="51358"/>
                                                    <a:pt x="218457" y="49803"/>
                                                    <a:pt x="223446" y="49868"/>
                                                  </a:cubicBezTo>
                                                  <a:cubicBezTo>
                                                    <a:pt x="228434" y="49933"/>
                                                    <a:pt x="233617" y="51034"/>
                                                    <a:pt x="238346" y="49415"/>
                                                  </a:cubicBezTo>
                                                  <a:cubicBezTo>
                                                    <a:pt x="243075" y="47795"/>
                                                    <a:pt x="246769" y="41705"/>
                                                    <a:pt x="243724" y="3775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1" name="Freeform: Shape 201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2F2C068-B30F-4691-A57B-51D5567E439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475279" y="4209854"/>
                                              <a:ext cx="92837" cy="12879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1630 w 92837"/>
                                                <a:gd name="connsiteY0" fmla="*/ 99770 h 128793"/>
                                                <a:gd name="connsiteX1" fmla="*/ 80723 w 92837"/>
                                                <a:gd name="connsiteY1" fmla="*/ 87979 h 128793"/>
                                                <a:gd name="connsiteX2" fmla="*/ 76641 w 92837"/>
                                                <a:gd name="connsiteY2" fmla="*/ 32134 h 128793"/>
                                                <a:gd name="connsiteX3" fmla="*/ 67053 w 92837"/>
                                                <a:gd name="connsiteY3" fmla="*/ 25331 h 128793"/>
                                                <a:gd name="connsiteX4" fmla="*/ 53708 w 92837"/>
                                                <a:gd name="connsiteY4" fmla="*/ 7515 h 128793"/>
                                                <a:gd name="connsiteX5" fmla="*/ 37705 w 92837"/>
                                                <a:gd name="connsiteY5" fmla="*/ 0 h 128793"/>
                                                <a:gd name="connsiteX6" fmla="*/ 19824 w 92837"/>
                                                <a:gd name="connsiteY6" fmla="*/ 4665 h 128793"/>
                                                <a:gd name="connsiteX7" fmla="*/ 12633 w 92837"/>
                                                <a:gd name="connsiteY7" fmla="*/ 2527 h 128793"/>
                                                <a:gd name="connsiteX8" fmla="*/ 0 w 92837"/>
                                                <a:gd name="connsiteY8" fmla="*/ 842 h 128793"/>
                                                <a:gd name="connsiteX9" fmla="*/ 907 w 92837"/>
                                                <a:gd name="connsiteY9" fmla="*/ 6155 h 128793"/>
                                                <a:gd name="connsiteX10" fmla="*/ 3628 w 92837"/>
                                                <a:gd name="connsiteY10" fmla="*/ 28376 h 128793"/>
                                                <a:gd name="connsiteX11" fmla="*/ 23906 w 92837"/>
                                                <a:gd name="connsiteY11" fmla="*/ 80593 h 128793"/>
                                                <a:gd name="connsiteX12" fmla="*/ 35308 w 92837"/>
                                                <a:gd name="connsiteY12" fmla="*/ 90052 h 128793"/>
                                                <a:gd name="connsiteX13" fmla="*/ 49107 w 92837"/>
                                                <a:gd name="connsiteY13" fmla="*/ 113505 h 128793"/>
                                                <a:gd name="connsiteX14" fmla="*/ 79233 w 92837"/>
                                                <a:gd name="connsiteY14" fmla="*/ 126462 h 128793"/>
                                                <a:gd name="connsiteX15" fmla="*/ 81242 w 92837"/>
                                                <a:gd name="connsiteY15" fmla="*/ 128794 h 128793"/>
                                                <a:gd name="connsiteX16" fmla="*/ 82861 w 92837"/>
                                                <a:gd name="connsiteY16" fmla="*/ 126267 h 128793"/>
                                                <a:gd name="connsiteX17" fmla="*/ 92838 w 92837"/>
                                                <a:gd name="connsiteY17" fmla="*/ 115578 h 128793"/>
                                                <a:gd name="connsiteX18" fmla="*/ 86229 w 92837"/>
                                                <a:gd name="connsiteY18" fmla="*/ 106961 h 128793"/>
                                                <a:gd name="connsiteX19" fmla="*/ 81630 w 92837"/>
                                                <a:gd name="connsiteY19" fmla="*/ 99640 h 12879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2837" h="128793">
                                                  <a:moveTo>
                                                    <a:pt x="81630" y="99770"/>
                                                  </a:moveTo>
                                                  <a:cubicBezTo>
                                                    <a:pt x="80270" y="96077"/>
                                                    <a:pt x="80399" y="91931"/>
                                                    <a:pt x="80723" y="87979"/>
                                                  </a:cubicBezTo>
                                                  <a:cubicBezTo>
                                                    <a:pt x="82084" y="69126"/>
                                                    <a:pt x="84999" y="49107"/>
                                                    <a:pt x="76641" y="32134"/>
                                                  </a:cubicBezTo>
                                                  <a:cubicBezTo>
                                                    <a:pt x="74763" y="28311"/>
                                                    <a:pt x="71199" y="24295"/>
                                                    <a:pt x="67053" y="25331"/>
                                                  </a:cubicBezTo>
                                                  <a:cubicBezTo>
                                                    <a:pt x="67636" y="17492"/>
                                                    <a:pt x="60769" y="11078"/>
                                                    <a:pt x="53708" y="7515"/>
                                                  </a:cubicBezTo>
                                                  <a:cubicBezTo>
                                                    <a:pt x="48460" y="4924"/>
                                                    <a:pt x="42629" y="3045"/>
                                                    <a:pt x="37705" y="0"/>
                                                  </a:cubicBezTo>
                                                  <a:cubicBezTo>
                                                    <a:pt x="31810" y="2267"/>
                                                    <a:pt x="26044" y="5571"/>
                                                    <a:pt x="19824" y="4665"/>
                                                  </a:cubicBezTo>
                                                  <a:cubicBezTo>
                                                    <a:pt x="17363" y="4276"/>
                                                    <a:pt x="15030" y="3239"/>
                                                    <a:pt x="12633" y="2527"/>
                                                  </a:cubicBezTo>
                                                  <a:cubicBezTo>
                                                    <a:pt x="8551" y="1231"/>
                                                    <a:pt x="4341" y="842"/>
                                                    <a:pt x="0" y="842"/>
                                                  </a:cubicBezTo>
                                                  <a:cubicBezTo>
                                                    <a:pt x="388" y="2591"/>
                                                    <a:pt x="648" y="4405"/>
                                                    <a:pt x="907" y="6155"/>
                                                  </a:cubicBezTo>
                                                  <a:cubicBezTo>
                                                    <a:pt x="1814" y="13540"/>
                                                    <a:pt x="2721" y="20991"/>
                                                    <a:pt x="3628" y="28376"/>
                                                  </a:cubicBezTo>
                                                  <a:cubicBezTo>
                                                    <a:pt x="5961" y="47358"/>
                                                    <a:pt x="9265" y="68284"/>
                                                    <a:pt x="23906" y="80593"/>
                                                  </a:cubicBezTo>
                                                  <a:cubicBezTo>
                                                    <a:pt x="27664" y="83768"/>
                                                    <a:pt x="32133" y="86294"/>
                                                    <a:pt x="35308" y="90052"/>
                                                  </a:cubicBezTo>
                                                  <a:cubicBezTo>
                                                    <a:pt x="41204" y="97049"/>
                                                    <a:pt x="42176" y="107544"/>
                                                    <a:pt x="49107" y="113505"/>
                                                  </a:cubicBezTo>
                                                  <a:cubicBezTo>
                                                    <a:pt x="57465" y="120760"/>
                                                    <a:pt x="71329" y="118687"/>
                                                    <a:pt x="79233" y="126462"/>
                                                  </a:cubicBezTo>
                                                  <a:cubicBezTo>
                                                    <a:pt x="79945" y="127174"/>
                                                    <a:pt x="80593" y="127952"/>
                                                    <a:pt x="81242" y="128794"/>
                                                  </a:cubicBezTo>
                                                  <a:cubicBezTo>
                                                    <a:pt x="81760" y="127952"/>
                                                    <a:pt x="82278" y="127110"/>
                                                    <a:pt x="82861" y="126267"/>
                                                  </a:cubicBezTo>
                                                  <a:cubicBezTo>
                                                    <a:pt x="85711" y="122315"/>
                                                    <a:pt x="89080" y="118752"/>
                                                    <a:pt x="92838" y="115578"/>
                                                  </a:cubicBezTo>
                                                  <a:cubicBezTo>
                                                    <a:pt x="90635" y="112727"/>
                                                    <a:pt x="88433" y="109877"/>
                                                    <a:pt x="86229" y="106961"/>
                                                  </a:cubicBezTo>
                                                  <a:cubicBezTo>
                                                    <a:pt x="84481" y="104694"/>
                                                    <a:pt x="82667" y="102297"/>
                                                    <a:pt x="81630" y="9964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2" name="Freeform: Shape 201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1BF5EBA-FE99-43B0-846A-A14C52A2B24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680877" y="4512540"/>
                                              <a:ext cx="100989" cy="54397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5739 w 100989"/>
                                                <a:gd name="connsiteY0" fmla="*/ 32061 h 54397"/>
                                                <a:gd name="connsiteX1" fmla="*/ 49691 w 100989"/>
                                                <a:gd name="connsiteY1" fmla="*/ 31155 h 54397"/>
                                                <a:gd name="connsiteX2" fmla="*/ 55457 w 100989"/>
                                                <a:gd name="connsiteY2" fmla="*/ 23834 h 54397"/>
                                                <a:gd name="connsiteX3" fmla="*/ 65175 w 100989"/>
                                                <a:gd name="connsiteY3" fmla="*/ 21696 h 54397"/>
                                                <a:gd name="connsiteX4" fmla="*/ 73726 w 100989"/>
                                                <a:gd name="connsiteY4" fmla="*/ 17355 h 54397"/>
                                                <a:gd name="connsiteX5" fmla="*/ 74957 w 100989"/>
                                                <a:gd name="connsiteY5" fmla="*/ 12108 h 54397"/>
                                                <a:gd name="connsiteX6" fmla="*/ 83768 w 100989"/>
                                                <a:gd name="connsiteY6" fmla="*/ 6989 h 54397"/>
                                                <a:gd name="connsiteX7" fmla="*/ 84481 w 100989"/>
                                                <a:gd name="connsiteY7" fmla="*/ 3167 h 54397"/>
                                                <a:gd name="connsiteX8" fmla="*/ 89015 w 100989"/>
                                                <a:gd name="connsiteY8" fmla="*/ 122 h 54397"/>
                                                <a:gd name="connsiteX9" fmla="*/ 100288 w 100989"/>
                                                <a:gd name="connsiteY9" fmla="*/ 6082 h 54397"/>
                                                <a:gd name="connsiteX10" fmla="*/ 96142 w 100989"/>
                                                <a:gd name="connsiteY10" fmla="*/ 17744 h 54397"/>
                                                <a:gd name="connsiteX11" fmla="*/ 88432 w 100989"/>
                                                <a:gd name="connsiteY11" fmla="*/ 20853 h 54397"/>
                                                <a:gd name="connsiteX12" fmla="*/ 85582 w 100989"/>
                                                <a:gd name="connsiteY12" fmla="*/ 36143 h 54397"/>
                                                <a:gd name="connsiteX13" fmla="*/ 74568 w 100989"/>
                                                <a:gd name="connsiteY13" fmla="*/ 39253 h 54397"/>
                                                <a:gd name="connsiteX14" fmla="*/ 58372 w 100989"/>
                                                <a:gd name="connsiteY14" fmla="*/ 50525 h 54397"/>
                                                <a:gd name="connsiteX15" fmla="*/ 26886 w 100989"/>
                                                <a:gd name="connsiteY15" fmla="*/ 51303 h 54397"/>
                                                <a:gd name="connsiteX16" fmla="*/ 19630 w 100989"/>
                                                <a:gd name="connsiteY16" fmla="*/ 47027 h 54397"/>
                                                <a:gd name="connsiteX17" fmla="*/ 16131 w 100989"/>
                                                <a:gd name="connsiteY17" fmla="*/ 41585 h 54397"/>
                                                <a:gd name="connsiteX18" fmla="*/ 9653 w 100989"/>
                                                <a:gd name="connsiteY18" fmla="*/ 39317 h 54397"/>
                                                <a:gd name="connsiteX19" fmla="*/ 389 w 100989"/>
                                                <a:gd name="connsiteY19" fmla="*/ 23056 h 54397"/>
                                                <a:gd name="connsiteX20" fmla="*/ 20990 w 100989"/>
                                                <a:gd name="connsiteY20" fmla="*/ 25583 h 54397"/>
                                                <a:gd name="connsiteX21" fmla="*/ 25331 w 100989"/>
                                                <a:gd name="connsiteY21" fmla="*/ 29081 h 54397"/>
                                                <a:gd name="connsiteX22" fmla="*/ 45609 w 100989"/>
                                                <a:gd name="connsiteY22" fmla="*/ 32061 h 54397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0989" h="54397">
                                                  <a:moveTo>
                                                    <a:pt x="45739" y="32061"/>
                                                  </a:moveTo>
                                                  <a:cubicBezTo>
                                                    <a:pt x="47099" y="31932"/>
                                                    <a:pt x="48524" y="31802"/>
                                                    <a:pt x="49691" y="31155"/>
                                                  </a:cubicBezTo>
                                                  <a:cubicBezTo>
                                                    <a:pt x="52412" y="29600"/>
                                                    <a:pt x="53124" y="25907"/>
                                                    <a:pt x="55457" y="23834"/>
                                                  </a:cubicBezTo>
                                                  <a:cubicBezTo>
                                                    <a:pt x="57983" y="21566"/>
                                                    <a:pt x="61806" y="21761"/>
                                                    <a:pt x="65175" y="21696"/>
                                                  </a:cubicBezTo>
                                                  <a:cubicBezTo>
                                                    <a:pt x="68544" y="21566"/>
                                                    <a:pt x="72560" y="20594"/>
                                                    <a:pt x="73726" y="17355"/>
                                                  </a:cubicBezTo>
                                                  <a:cubicBezTo>
                                                    <a:pt x="74309" y="15671"/>
                                                    <a:pt x="73985" y="13662"/>
                                                    <a:pt x="74957" y="12108"/>
                                                  </a:cubicBezTo>
                                                  <a:cubicBezTo>
                                                    <a:pt x="76835" y="9192"/>
                                                    <a:pt x="82343" y="10164"/>
                                                    <a:pt x="83768" y="6989"/>
                                                  </a:cubicBezTo>
                                                  <a:cubicBezTo>
                                                    <a:pt x="84286" y="5823"/>
                                                    <a:pt x="84027" y="4398"/>
                                                    <a:pt x="84481" y="3167"/>
                                                  </a:cubicBezTo>
                                                  <a:cubicBezTo>
                                                    <a:pt x="85128" y="1353"/>
                                                    <a:pt x="87137" y="381"/>
                                                    <a:pt x="89015" y="122"/>
                                                  </a:cubicBezTo>
                                                  <a:cubicBezTo>
                                                    <a:pt x="93551" y="-591"/>
                                                    <a:pt x="98474" y="1871"/>
                                                    <a:pt x="100288" y="6082"/>
                                                  </a:cubicBezTo>
                                                  <a:cubicBezTo>
                                                    <a:pt x="102102" y="10294"/>
                                                    <a:pt x="100288" y="15800"/>
                                                    <a:pt x="96142" y="17744"/>
                                                  </a:cubicBezTo>
                                                  <a:cubicBezTo>
                                                    <a:pt x="93616" y="18910"/>
                                                    <a:pt x="90376" y="18845"/>
                                                    <a:pt x="88432" y="20853"/>
                                                  </a:cubicBezTo>
                                                  <a:cubicBezTo>
                                                    <a:pt x="84740" y="24676"/>
                                                    <a:pt x="88950" y="31997"/>
                                                    <a:pt x="85582" y="36143"/>
                                                  </a:cubicBezTo>
                                                  <a:cubicBezTo>
                                                    <a:pt x="83120" y="39188"/>
                                                    <a:pt x="78390" y="38410"/>
                                                    <a:pt x="74568" y="39253"/>
                                                  </a:cubicBezTo>
                                                  <a:cubicBezTo>
                                                    <a:pt x="68090" y="40678"/>
                                                    <a:pt x="63943" y="46962"/>
                                                    <a:pt x="58372" y="50525"/>
                                                  </a:cubicBezTo>
                                                  <a:cubicBezTo>
                                                    <a:pt x="49237" y="56421"/>
                                                    <a:pt x="37251" y="54672"/>
                                                    <a:pt x="26886" y="51303"/>
                                                  </a:cubicBezTo>
                                                  <a:cubicBezTo>
                                                    <a:pt x="24165" y="50396"/>
                                                    <a:pt x="21314" y="49359"/>
                                                    <a:pt x="19630" y="47027"/>
                                                  </a:cubicBezTo>
                                                  <a:cubicBezTo>
                                                    <a:pt x="18335" y="45278"/>
                                                    <a:pt x="17816" y="43010"/>
                                                    <a:pt x="16131" y="41585"/>
                                                  </a:cubicBezTo>
                                                  <a:cubicBezTo>
                                                    <a:pt x="14382" y="40095"/>
                                                    <a:pt x="11856" y="39965"/>
                                                    <a:pt x="9653" y="39317"/>
                                                  </a:cubicBezTo>
                                                  <a:cubicBezTo>
                                                    <a:pt x="2980" y="37439"/>
                                                    <a:pt x="-1361" y="29729"/>
                                                    <a:pt x="389" y="23056"/>
                                                  </a:cubicBezTo>
                                                  <a:cubicBezTo>
                                                    <a:pt x="7450" y="22214"/>
                                                    <a:pt x="15160" y="21501"/>
                                                    <a:pt x="20990" y="25583"/>
                                                  </a:cubicBezTo>
                                                  <a:cubicBezTo>
                                                    <a:pt x="22480" y="26619"/>
                                                    <a:pt x="23841" y="27980"/>
                                                    <a:pt x="25331" y="29081"/>
                                                  </a:cubicBezTo>
                                                  <a:cubicBezTo>
                                                    <a:pt x="31032" y="33098"/>
                                                    <a:pt x="38677" y="32644"/>
                                                    <a:pt x="45609" y="3206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3" name="Freeform: Shape 201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9C6B0D2-8666-4E80-8440-B061DDA63B9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779221" y="4485501"/>
                                              <a:ext cx="26986" cy="3804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821 w 26986"/>
                                                <a:gd name="connsiteY0" fmla="*/ 26837 h 38044"/>
                                                <a:gd name="connsiteX1" fmla="*/ 23906 w 26986"/>
                                                <a:gd name="connsiteY1" fmla="*/ 16536 h 38044"/>
                                                <a:gd name="connsiteX2" fmla="*/ 14058 w 26986"/>
                                                <a:gd name="connsiteY2" fmla="*/ 10705 h 38044"/>
                                                <a:gd name="connsiteX3" fmla="*/ 13929 w 26986"/>
                                                <a:gd name="connsiteY3" fmla="*/ 7660 h 38044"/>
                                                <a:gd name="connsiteX4" fmla="*/ 13799 w 26986"/>
                                                <a:gd name="connsiteY4" fmla="*/ 3773 h 38044"/>
                                                <a:gd name="connsiteX5" fmla="*/ 7191 w 26986"/>
                                                <a:gd name="connsiteY5" fmla="*/ 16 h 38044"/>
                                                <a:gd name="connsiteX6" fmla="*/ 453 w 26986"/>
                                                <a:gd name="connsiteY6" fmla="*/ 2607 h 38044"/>
                                                <a:gd name="connsiteX7" fmla="*/ 0 w 26986"/>
                                                <a:gd name="connsiteY7" fmla="*/ 2931 h 38044"/>
                                                <a:gd name="connsiteX8" fmla="*/ 0 w 26986"/>
                                                <a:gd name="connsiteY8" fmla="*/ 3449 h 38044"/>
                                                <a:gd name="connsiteX9" fmla="*/ 2008 w 26986"/>
                                                <a:gd name="connsiteY9" fmla="*/ 13685 h 38044"/>
                                                <a:gd name="connsiteX10" fmla="*/ 7386 w 26986"/>
                                                <a:gd name="connsiteY10" fmla="*/ 18804 h 38044"/>
                                                <a:gd name="connsiteX11" fmla="*/ 13281 w 26986"/>
                                                <a:gd name="connsiteY11" fmla="*/ 30983 h 38044"/>
                                                <a:gd name="connsiteX12" fmla="*/ 13410 w 26986"/>
                                                <a:gd name="connsiteY12" fmla="*/ 31566 h 38044"/>
                                                <a:gd name="connsiteX13" fmla="*/ 14835 w 26986"/>
                                                <a:gd name="connsiteY13" fmla="*/ 35324 h 38044"/>
                                                <a:gd name="connsiteX14" fmla="*/ 20278 w 26986"/>
                                                <a:gd name="connsiteY14" fmla="*/ 38045 h 38044"/>
                                                <a:gd name="connsiteX15" fmla="*/ 24942 w 26986"/>
                                                <a:gd name="connsiteY15" fmla="*/ 36101 h 38044"/>
                                                <a:gd name="connsiteX16" fmla="*/ 26821 w 26986"/>
                                                <a:gd name="connsiteY16" fmla="*/ 26837 h 38044"/>
                                                <a:gd name="connsiteX17" fmla="*/ 20278 w 26986"/>
                                                <a:gd name="connsiteY17" fmla="*/ 36101 h 38044"/>
                                                <a:gd name="connsiteX18" fmla="*/ 16455 w 26986"/>
                                                <a:gd name="connsiteY18" fmla="*/ 34223 h 38044"/>
                                                <a:gd name="connsiteX19" fmla="*/ 15289 w 26986"/>
                                                <a:gd name="connsiteY19" fmla="*/ 31048 h 38044"/>
                                                <a:gd name="connsiteX20" fmla="*/ 15160 w 26986"/>
                                                <a:gd name="connsiteY20" fmla="*/ 30465 h 38044"/>
                                                <a:gd name="connsiteX21" fmla="*/ 8681 w 26986"/>
                                                <a:gd name="connsiteY21" fmla="*/ 17314 h 38044"/>
                                                <a:gd name="connsiteX22" fmla="*/ 8293 w 26986"/>
                                                <a:gd name="connsiteY22" fmla="*/ 16925 h 38044"/>
                                                <a:gd name="connsiteX23" fmla="*/ 7839 w 26986"/>
                                                <a:gd name="connsiteY23" fmla="*/ 16925 h 38044"/>
                                                <a:gd name="connsiteX24" fmla="*/ 3822 w 26986"/>
                                                <a:gd name="connsiteY24" fmla="*/ 12973 h 38044"/>
                                                <a:gd name="connsiteX25" fmla="*/ 1943 w 26986"/>
                                                <a:gd name="connsiteY25" fmla="*/ 4032 h 38044"/>
                                                <a:gd name="connsiteX26" fmla="*/ 7386 w 26986"/>
                                                <a:gd name="connsiteY26" fmla="*/ 1959 h 38044"/>
                                                <a:gd name="connsiteX27" fmla="*/ 11920 w 26986"/>
                                                <a:gd name="connsiteY27" fmla="*/ 4421 h 38044"/>
                                                <a:gd name="connsiteX28" fmla="*/ 11985 w 26986"/>
                                                <a:gd name="connsiteY28" fmla="*/ 7466 h 38044"/>
                                                <a:gd name="connsiteX29" fmla="*/ 12698 w 26986"/>
                                                <a:gd name="connsiteY29" fmla="*/ 12196 h 38044"/>
                                                <a:gd name="connsiteX30" fmla="*/ 12957 w 26986"/>
                                                <a:gd name="connsiteY30" fmla="*/ 12649 h 38044"/>
                                                <a:gd name="connsiteX31" fmla="*/ 13475 w 26986"/>
                                                <a:gd name="connsiteY31" fmla="*/ 12649 h 38044"/>
                                                <a:gd name="connsiteX32" fmla="*/ 22286 w 26986"/>
                                                <a:gd name="connsiteY32" fmla="*/ 17573 h 38044"/>
                                                <a:gd name="connsiteX33" fmla="*/ 24877 w 26986"/>
                                                <a:gd name="connsiteY33" fmla="*/ 27032 h 38044"/>
                                                <a:gd name="connsiteX34" fmla="*/ 23517 w 26986"/>
                                                <a:gd name="connsiteY34" fmla="*/ 34806 h 38044"/>
                                                <a:gd name="connsiteX35" fmla="*/ 20278 w 26986"/>
                                                <a:gd name="connsiteY35" fmla="*/ 36101 h 3804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6986" h="38044">
                                                  <a:moveTo>
                                                    <a:pt x="26821" y="26837"/>
                                                  </a:moveTo>
                                                  <a:cubicBezTo>
                                                    <a:pt x="26497" y="23468"/>
                                                    <a:pt x="25914" y="19646"/>
                                                    <a:pt x="23906" y="16536"/>
                                                  </a:cubicBezTo>
                                                  <a:cubicBezTo>
                                                    <a:pt x="21768" y="13167"/>
                                                    <a:pt x="18011" y="11029"/>
                                                    <a:pt x="14058" y="10705"/>
                                                  </a:cubicBezTo>
                                                  <a:cubicBezTo>
                                                    <a:pt x="13735" y="9863"/>
                                                    <a:pt x="13799" y="8827"/>
                                                    <a:pt x="13929" y="7660"/>
                                                  </a:cubicBezTo>
                                                  <a:cubicBezTo>
                                                    <a:pt x="14058" y="6365"/>
                                                    <a:pt x="14188" y="5069"/>
                                                    <a:pt x="13799" y="3773"/>
                                                  </a:cubicBezTo>
                                                  <a:cubicBezTo>
                                                    <a:pt x="12957" y="1441"/>
                                                    <a:pt x="10171" y="-179"/>
                                                    <a:pt x="7191" y="16"/>
                                                  </a:cubicBezTo>
                                                  <a:cubicBezTo>
                                                    <a:pt x="4664" y="210"/>
                                                    <a:pt x="2462" y="1506"/>
                                                    <a:pt x="453" y="2607"/>
                                                  </a:cubicBezTo>
                                                  <a:lnTo>
                                                    <a:pt x="0" y="2931"/>
                                                  </a:lnTo>
                                                  <a:lnTo>
                                                    <a:pt x="0" y="3449"/>
                                                  </a:lnTo>
                                                  <a:cubicBezTo>
                                                    <a:pt x="0" y="6948"/>
                                                    <a:pt x="713" y="10446"/>
                                                    <a:pt x="2008" y="13685"/>
                                                  </a:cubicBezTo>
                                                  <a:cubicBezTo>
                                                    <a:pt x="3239" y="16730"/>
                                                    <a:pt x="5182" y="18544"/>
                                                    <a:pt x="7386" y="18804"/>
                                                  </a:cubicBezTo>
                                                  <a:cubicBezTo>
                                                    <a:pt x="10106" y="22432"/>
                                                    <a:pt x="12115" y="26578"/>
                                                    <a:pt x="13281" y="30983"/>
                                                  </a:cubicBezTo>
                                                  <a:lnTo>
                                                    <a:pt x="13410" y="31566"/>
                                                  </a:lnTo>
                                                  <a:cubicBezTo>
                                                    <a:pt x="13735" y="32797"/>
                                                    <a:pt x="14058" y="34158"/>
                                                    <a:pt x="14835" y="35324"/>
                                                  </a:cubicBezTo>
                                                  <a:cubicBezTo>
                                                    <a:pt x="16002" y="37008"/>
                                                    <a:pt x="18011" y="38045"/>
                                                    <a:pt x="20278" y="38045"/>
                                                  </a:cubicBezTo>
                                                  <a:cubicBezTo>
                                                    <a:pt x="22092" y="38045"/>
                                                    <a:pt x="23776" y="37332"/>
                                                    <a:pt x="24942" y="36101"/>
                                                  </a:cubicBezTo>
                                                  <a:cubicBezTo>
                                                    <a:pt x="27210" y="33704"/>
                                                    <a:pt x="27145" y="30076"/>
                                                    <a:pt x="26821" y="26837"/>
                                                  </a:cubicBezTo>
                                                  <a:close/>
                                                  <a:moveTo>
                                                    <a:pt x="20278" y="36101"/>
                                                  </a:moveTo>
                                                  <a:cubicBezTo>
                                                    <a:pt x="18723" y="36101"/>
                                                    <a:pt x="17233" y="35389"/>
                                                    <a:pt x="16455" y="34223"/>
                                                  </a:cubicBezTo>
                                                  <a:cubicBezTo>
                                                    <a:pt x="15872" y="33316"/>
                                                    <a:pt x="15614" y="32214"/>
                                                    <a:pt x="15289" y="31048"/>
                                                  </a:cubicBezTo>
                                                  <a:lnTo>
                                                    <a:pt x="15160" y="30465"/>
                                                  </a:lnTo>
                                                  <a:cubicBezTo>
                                                    <a:pt x="13929" y="25736"/>
                                                    <a:pt x="11661" y="21201"/>
                                                    <a:pt x="8681" y="17314"/>
                                                  </a:cubicBezTo>
                                                  <a:lnTo>
                                                    <a:pt x="8293" y="16925"/>
                                                  </a:lnTo>
                                                  <a:lnTo>
                                                    <a:pt x="7839" y="16925"/>
                                                  </a:lnTo>
                                                  <a:cubicBezTo>
                                                    <a:pt x="5571" y="16925"/>
                                                    <a:pt x="4211" y="13880"/>
                                                    <a:pt x="3822" y="12973"/>
                                                  </a:cubicBezTo>
                                                  <a:cubicBezTo>
                                                    <a:pt x="2656" y="10122"/>
                                                    <a:pt x="2008" y="7077"/>
                                                    <a:pt x="1943" y="4032"/>
                                                  </a:cubicBezTo>
                                                  <a:cubicBezTo>
                                                    <a:pt x="3692" y="3061"/>
                                                    <a:pt x="5442" y="2089"/>
                                                    <a:pt x="7386" y="1959"/>
                                                  </a:cubicBezTo>
                                                  <a:cubicBezTo>
                                                    <a:pt x="9135" y="1830"/>
                                                    <a:pt x="11338" y="2607"/>
                                                    <a:pt x="11920" y="4421"/>
                                                  </a:cubicBezTo>
                                                  <a:cubicBezTo>
                                                    <a:pt x="12245" y="5263"/>
                                                    <a:pt x="12115" y="6365"/>
                                                    <a:pt x="11985" y="7466"/>
                                                  </a:cubicBezTo>
                                                  <a:cubicBezTo>
                                                    <a:pt x="11856" y="9021"/>
                                                    <a:pt x="11661" y="10705"/>
                                                    <a:pt x="12698" y="12196"/>
                                                  </a:cubicBezTo>
                                                  <a:lnTo>
                                                    <a:pt x="12957" y="12649"/>
                                                  </a:lnTo>
                                                  <a:lnTo>
                                                    <a:pt x="13475" y="12649"/>
                                                  </a:lnTo>
                                                  <a:cubicBezTo>
                                                    <a:pt x="16974" y="12714"/>
                                                    <a:pt x="20343" y="14593"/>
                                                    <a:pt x="22286" y="17573"/>
                                                  </a:cubicBezTo>
                                                  <a:cubicBezTo>
                                                    <a:pt x="24100" y="20358"/>
                                                    <a:pt x="24553" y="23727"/>
                                                    <a:pt x="24877" y="27032"/>
                                                  </a:cubicBezTo>
                                                  <a:cubicBezTo>
                                                    <a:pt x="25202" y="29947"/>
                                                    <a:pt x="25267" y="32927"/>
                                                    <a:pt x="23517" y="34806"/>
                                                  </a:cubicBezTo>
                                                  <a:cubicBezTo>
                                                    <a:pt x="22740" y="35648"/>
                                                    <a:pt x="21573" y="36101"/>
                                                    <a:pt x="20278" y="3610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4" name="Freeform: Shape 201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315E728-649C-4801-80C0-2A0F322808E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840962" y="4537658"/>
                                              <a:ext cx="34686" cy="4633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238 w 34686"/>
                                                <a:gd name="connsiteY0" fmla="*/ 14523 h 46332"/>
                                                <a:gd name="connsiteX1" fmla="*/ 25914 w 34686"/>
                                                <a:gd name="connsiteY1" fmla="*/ 12709 h 46332"/>
                                                <a:gd name="connsiteX2" fmla="*/ 19824 w 34686"/>
                                                <a:gd name="connsiteY2" fmla="*/ 9729 h 46332"/>
                                                <a:gd name="connsiteX3" fmla="*/ 13216 w 34686"/>
                                                <a:gd name="connsiteY3" fmla="*/ 7462 h 46332"/>
                                                <a:gd name="connsiteX4" fmla="*/ 12244 w 34686"/>
                                                <a:gd name="connsiteY4" fmla="*/ 3898 h 46332"/>
                                                <a:gd name="connsiteX5" fmla="*/ 5118 w 34686"/>
                                                <a:gd name="connsiteY5" fmla="*/ 270 h 46332"/>
                                                <a:gd name="connsiteX6" fmla="*/ 713 w 34686"/>
                                                <a:gd name="connsiteY6" fmla="*/ 5259 h 46332"/>
                                                <a:gd name="connsiteX7" fmla="*/ 0 w 34686"/>
                                                <a:gd name="connsiteY7" fmla="*/ 12061 h 46332"/>
                                                <a:gd name="connsiteX8" fmla="*/ 0 w 34686"/>
                                                <a:gd name="connsiteY8" fmla="*/ 16143 h 46332"/>
                                                <a:gd name="connsiteX9" fmla="*/ 259 w 34686"/>
                                                <a:gd name="connsiteY9" fmla="*/ 18605 h 46332"/>
                                                <a:gd name="connsiteX10" fmla="*/ 9718 w 34686"/>
                                                <a:gd name="connsiteY10" fmla="*/ 23658 h 46332"/>
                                                <a:gd name="connsiteX11" fmla="*/ 10624 w 34686"/>
                                                <a:gd name="connsiteY11" fmla="*/ 30720 h 46332"/>
                                                <a:gd name="connsiteX12" fmla="*/ 17297 w 34686"/>
                                                <a:gd name="connsiteY12" fmla="*/ 33441 h 46332"/>
                                                <a:gd name="connsiteX13" fmla="*/ 19176 w 34686"/>
                                                <a:gd name="connsiteY13" fmla="*/ 33700 h 46332"/>
                                                <a:gd name="connsiteX14" fmla="*/ 19565 w 34686"/>
                                                <a:gd name="connsiteY14" fmla="*/ 35708 h 46332"/>
                                                <a:gd name="connsiteX15" fmla="*/ 27339 w 34686"/>
                                                <a:gd name="connsiteY15" fmla="*/ 46139 h 46332"/>
                                                <a:gd name="connsiteX16" fmla="*/ 30579 w 34686"/>
                                                <a:gd name="connsiteY16" fmla="*/ 46139 h 46332"/>
                                                <a:gd name="connsiteX17" fmla="*/ 34271 w 34686"/>
                                                <a:gd name="connsiteY17" fmla="*/ 41798 h 46332"/>
                                                <a:gd name="connsiteX18" fmla="*/ 34595 w 34686"/>
                                                <a:gd name="connsiteY18" fmla="*/ 35902 h 46332"/>
                                                <a:gd name="connsiteX19" fmla="*/ 34206 w 34686"/>
                                                <a:gd name="connsiteY19" fmla="*/ 28517 h 46332"/>
                                                <a:gd name="connsiteX20" fmla="*/ 30060 w 34686"/>
                                                <a:gd name="connsiteY20" fmla="*/ 17633 h 46332"/>
                                                <a:gd name="connsiteX21" fmla="*/ 26108 w 34686"/>
                                                <a:gd name="connsiteY21" fmla="*/ 14523 h 4633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4686" h="46332">
                                                  <a:moveTo>
                                                    <a:pt x="26238" y="14523"/>
                                                  </a:moveTo>
                                                  <a:cubicBezTo>
                                                    <a:pt x="26043" y="13940"/>
                                                    <a:pt x="26043" y="13292"/>
                                                    <a:pt x="25914" y="12709"/>
                                                  </a:cubicBezTo>
                                                  <a:cubicBezTo>
                                                    <a:pt x="25266" y="10377"/>
                                                    <a:pt x="22221" y="9729"/>
                                                    <a:pt x="19824" y="9729"/>
                                                  </a:cubicBezTo>
                                                  <a:cubicBezTo>
                                                    <a:pt x="17362" y="9729"/>
                                                    <a:pt x="14447" y="9599"/>
                                                    <a:pt x="13216" y="7462"/>
                                                  </a:cubicBezTo>
                                                  <a:cubicBezTo>
                                                    <a:pt x="12568" y="6360"/>
                                                    <a:pt x="12633" y="5064"/>
                                                    <a:pt x="12244" y="3898"/>
                                                  </a:cubicBezTo>
                                                  <a:cubicBezTo>
                                                    <a:pt x="11402" y="1048"/>
                                                    <a:pt x="7904" y="-701"/>
                                                    <a:pt x="5118" y="270"/>
                                                  </a:cubicBezTo>
                                                  <a:cubicBezTo>
                                                    <a:pt x="2980" y="983"/>
                                                    <a:pt x="1425" y="3056"/>
                                                    <a:pt x="713" y="5259"/>
                                                  </a:cubicBezTo>
                                                  <a:cubicBezTo>
                                                    <a:pt x="0" y="7462"/>
                                                    <a:pt x="0" y="9794"/>
                                                    <a:pt x="0" y="12061"/>
                                                  </a:cubicBezTo>
                                                  <a:lnTo>
                                                    <a:pt x="0" y="16143"/>
                                                  </a:lnTo>
                                                  <a:cubicBezTo>
                                                    <a:pt x="0" y="16985"/>
                                                    <a:pt x="0" y="17827"/>
                                                    <a:pt x="259" y="18605"/>
                                                  </a:cubicBezTo>
                                                  <a:cubicBezTo>
                                                    <a:pt x="1620" y="22038"/>
                                                    <a:pt x="6997" y="21196"/>
                                                    <a:pt x="9718" y="23658"/>
                                                  </a:cubicBezTo>
                                                  <a:cubicBezTo>
                                                    <a:pt x="8616" y="25925"/>
                                                    <a:pt x="9069" y="28776"/>
                                                    <a:pt x="10624" y="30720"/>
                                                  </a:cubicBezTo>
                                                  <a:cubicBezTo>
                                                    <a:pt x="12180" y="32663"/>
                                                    <a:pt x="14835" y="33635"/>
                                                    <a:pt x="17297" y="33441"/>
                                                  </a:cubicBezTo>
                                                  <a:cubicBezTo>
                                                    <a:pt x="17945" y="33441"/>
                                                    <a:pt x="18722" y="33246"/>
                                                    <a:pt x="19176" y="33700"/>
                                                  </a:cubicBezTo>
                                                  <a:cubicBezTo>
                                                    <a:pt x="19694" y="34153"/>
                                                    <a:pt x="19629" y="34996"/>
                                                    <a:pt x="19565" y="35708"/>
                                                  </a:cubicBezTo>
                                                  <a:cubicBezTo>
                                                    <a:pt x="19241" y="40438"/>
                                                    <a:pt x="22739" y="45167"/>
                                                    <a:pt x="27339" y="46139"/>
                                                  </a:cubicBezTo>
                                                  <a:cubicBezTo>
                                                    <a:pt x="28440" y="46398"/>
                                                    <a:pt x="29542" y="46398"/>
                                                    <a:pt x="30579" y="46139"/>
                                                  </a:cubicBezTo>
                                                  <a:cubicBezTo>
                                                    <a:pt x="32457" y="45555"/>
                                                    <a:pt x="33753" y="43741"/>
                                                    <a:pt x="34271" y="41798"/>
                                                  </a:cubicBezTo>
                                                  <a:cubicBezTo>
                                                    <a:pt x="34790" y="39919"/>
                                                    <a:pt x="34725" y="37846"/>
                                                    <a:pt x="34595" y="35902"/>
                                                  </a:cubicBezTo>
                                                  <a:cubicBezTo>
                                                    <a:pt x="34466" y="33441"/>
                                                    <a:pt x="34336" y="30979"/>
                                                    <a:pt x="34206" y="28517"/>
                                                  </a:cubicBezTo>
                                                  <a:cubicBezTo>
                                                    <a:pt x="34013" y="24500"/>
                                                    <a:pt x="33429" y="19836"/>
                                                    <a:pt x="30060" y="17633"/>
                                                  </a:cubicBezTo>
                                                  <a:cubicBezTo>
                                                    <a:pt x="28635" y="16661"/>
                                                    <a:pt x="26627" y="16143"/>
                                                    <a:pt x="26108" y="1452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5" name="Freeform: Shape 201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17973EF-CE94-4F56-8DF3-FEFA038EDC7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884310" y="4572006"/>
                                              <a:ext cx="25713" cy="2071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071 w 25713"/>
                                                <a:gd name="connsiteY0" fmla="*/ 65 h 20718"/>
                                                <a:gd name="connsiteX1" fmla="*/ 3622 w 25713"/>
                                                <a:gd name="connsiteY1" fmla="*/ 4276 h 20718"/>
                                                <a:gd name="connsiteX2" fmla="*/ 2973 w 25713"/>
                                                <a:gd name="connsiteY2" fmla="*/ 5248 h 20718"/>
                                                <a:gd name="connsiteX3" fmla="*/ 1225 w 25713"/>
                                                <a:gd name="connsiteY3" fmla="*/ 5960 h 20718"/>
                                                <a:gd name="connsiteX4" fmla="*/ 253 w 25713"/>
                                                <a:gd name="connsiteY4" fmla="*/ 9912 h 20718"/>
                                                <a:gd name="connsiteX5" fmla="*/ 10813 w 25713"/>
                                                <a:gd name="connsiteY5" fmla="*/ 14965 h 20718"/>
                                                <a:gd name="connsiteX6" fmla="*/ 11784 w 25713"/>
                                                <a:gd name="connsiteY6" fmla="*/ 14836 h 20718"/>
                                                <a:gd name="connsiteX7" fmla="*/ 12432 w 25713"/>
                                                <a:gd name="connsiteY7" fmla="*/ 15678 h 20718"/>
                                                <a:gd name="connsiteX8" fmla="*/ 18198 w 25713"/>
                                                <a:gd name="connsiteY8" fmla="*/ 20602 h 20718"/>
                                                <a:gd name="connsiteX9" fmla="*/ 24806 w 25713"/>
                                                <a:gd name="connsiteY9" fmla="*/ 17492 h 20718"/>
                                                <a:gd name="connsiteX10" fmla="*/ 25519 w 25713"/>
                                                <a:gd name="connsiteY10" fmla="*/ 14058 h 20718"/>
                                                <a:gd name="connsiteX11" fmla="*/ 25519 w 25713"/>
                                                <a:gd name="connsiteY11" fmla="*/ 3952 h 20718"/>
                                                <a:gd name="connsiteX12" fmla="*/ 11071 w 25713"/>
                                                <a:gd name="connsiteY12" fmla="*/ 0 h 2071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5713" h="20718">
                                                  <a:moveTo>
                                                    <a:pt x="11071" y="65"/>
                                                  </a:moveTo>
                                                  <a:cubicBezTo>
                                                    <a:pt x="8091" y="-130"/>
                                                    <a:pt x="5047" y="1555"/>
                                                    <a:pt x="3622" y="4276"/>
                                                  </a:cubicBezTo>
                                                  <a:cubicBezTo>
                                                    <a:pt x="3427" y="4600"/>
                                                    <a:pt x="3297" y="4988"/>
                                                    <a:pt x="2973" y="5248"/>
                                                  </a:cubicBezTo>
                                                  <a:cubicBezTo>
                                                    <a:pt x="2520" y="5636"/>
                                                    <a:pt x="1807" y="5701"/>
                                                    <a:pt x="1225" y="5960"/>
                                                  </a:cubicBezTo>
                                                  <a:cubicBezTo>
                                                    <a:pt x="-136" y="6608"/>
                                                    <a:pt x="-201" y="8552"/>
                                                    <a:pt x="253" y="9912"/>
                                                  </a:cubicBezTo>
                                                  <a:cubicBezTo>
                                                    <a:pt x="1613" y="14058"/>
                                                    <a:pt x="6731" y="16520"/>
                                                    <a:pt x="10813" y="14965"/>
                                                  </a:cubicBezTo>
                                                  <a:cubicBezTo>
                                                    <a:pt x="11136" y="14836"/>
                                                    <a:pt x="11460" y="14706"/>
                                                    <a:pt x="11784" y="14836"/>
                                                  </a:cubicBezTo>
                                                  <a:cubicBezTo>
                                                    <a:pt x="12108" y="14965"/>
                                                    <a:pt x="12238" y="15354"/>
                                                    <a:pt x="12432" y="15678"/>
                                                  </a:cubicBezTo>
                                                  <a:cubicBezTo>
                                                    <a:pt x="13468" y="18075"/>
                                                    <a:pt x="15607" y="20084"/>
                                                    <a:pt x="18198" y="20602"/>
                                                  </a:cubicBezTo>
                                                  <a:cubicBezTo>
                                                    <a:pt x="20789" y="21120"/>
                                                    <a:pt x="23705" y="19889"/>
                                                    <a:pt x="24806" y="17492"/>
                                                  </a:cubicBezTo>
                                                  <a:cubicBezTo>
                                                    <a:pt x="25325" y="16455"/>
                                                    <a:pt x="25454" y="15225"/>
                                                    <a:pt x="25519" y="14058"/>
                                                  </a:cubicBezTo>
                                                  <a:cubicBezTo>
                                                    <a:pt x="25778" y="10690"/>
                                                    <a:pt x="25778" y="7321"/>
                                                    <a:pt x="25519" y="3952"/>
                                                  </a:cubicBezTo>
                                                  <a:cubicBezTo>
                                                    <a:pt x="20660" y="5571"/>
                                                    <a:pt x="16125" y="324"/>
                                                    <a:pt x="11071" y="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6" name="Freeform: Shape 201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8C39CCB-C417-4144-9A17-8A8607F4524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931468" y="4591507"/>
                                              <a:ext cx="36881" cy="3465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6280 w 36881"/>
                                                <a:gd name="connsiteY0" fmla="*/ 20342 h 34659"/>
                                                <a:gd name="connsiteX1" fmla="*/ 36280 w 36881"/>
                                                <a:gd name="connsiteY1" fmla="*/ 19824 h 34659"/>
                                                <a:gd name="connsiteX2" fmla="*/ 35762 w 36881"/>
                                                <a:gd name="connsiteY2" fmla="*/ 19629 h 34659"/>
                                                <a:gd name="connsiteX3" fmla="*/ 28764 w 36881"/>
                                                <a:gd name="connsiteY3" fmla="*/ 11531 h 34659"/>
                                                <a:gd name="connsiteX4" fmla="*/ 28635 w 36881"/>
                                                <a:gd name="connsiteY4" fmla="*/ 10884 h 34659"/>
                                                <a:gd name="connsiteX5" fmla="*/ 19824 w 36881"/>
                                                <a:gd name="connsiteY5" fmla="*/ 9782 h 34659"/>
                                                <a:gd name="connsiteX6" fmla="*/ 16650 w 36881"/>
                                                <a:gd name="connsiteY6" fmla="*/ 8422 h 34659"/>
                                                <a:gd name="connsiteX7" fmla="*/ 16520 w 36881"/>
                                                <a:gd name="connsiteY7" fmla="*/ 7709 h 34659"/>
                                                <a:gd name="connsiteX8" fmla="*/ 16520 w 36881"/>
                                                <a:gd name="connsiteY8" fmla="*/ 7191 h 34659"/>
                                                <a:gd name="connsiteX9" fmla="*/ 16261 w 36881"/>
                                                <a:gd name="connsiteY9" fmla="*/ 6867 h 34659"/>
                                                <a:gd name="connsiteX10" fmla="*/ 9588 w 36881"/>
                                                <a:gd name="connsiteY10" fmla="*/ 1360 h 34659"/>
                                                <a:gd name="connsiteX11" fmla="*/ 648 w 36881"/>
                                                <a:gd name="connsiteY11" fmla="*/ 777 h 34659"/>
                                                <a:gd name="connsiteX12" fmla="*/ 0 w 36881"/>
                                                <a:gd name="connsiteY12" fmla="*/ 1101 h 34659"/>
                                                <a:gd name="connsiteX13" fmla="*/ 130 w 36881"/>
                                                <a:gd name="connsiteY13" fmla="*/ 1813 h 34659"/>
                                                <a:gd name="connsiteX14" fmla="*/ 259 w 36881"/>
                                                <a:gd name="connsiteY14" fmla="*/ 8227 h 34659"/>
                                                <a:gd name="connsiteX15" fmla="*/ 1555 w 36881"/>
                                                <a:gd name="connsiteY15" fmla="*/ 17945 h 34659"/>
                                                <a:gd name="connsiteX16" fmla="*/ 10106 w 36881"/>
                                                <a:gd name="connsiteY16" fmla="*/ 23387 h 34659"/>
                                                <a:gd name="connsiteX17" fmla="*/ 19111 w 36881"/>
                                                <a:gd name="connsiteY17" fmla="*/ 23193 h 34659"/>
                                                <a:gd name="connsiteX18" fmla="*/ 22805 w 36881"/>
                                                <a:gd name="connsiteY18" fmla="*/ 31291 h 34659"/>
                                                <a:gd name="connsiteX19" fmla="*/ 29607 w 36881"/>
                                                <a:gd name="connsiteY19" fmla="*/ 34660 h 34659"/>
                                                <a:gd name="connsiteX20" fmla="*/ 32263 w 36881"/>
                                                <a:gd name="connsiteY20" fmla="*/ 34142 h 34659"/>
                                                <a:gd name="connsiteX21" fmla="*/ 36733 w 36881"/>
                                                <a:gd name="connsiteY21" fmla="*/ 27728 h 34659"/>
                                                <a:gd name="connsiteX22" fmla="*/ 36280 w 36881"/>
                                                <a:gd name="connsiteY22" fmla="*/ 20342 h 34659"/>
                                                <a:gd name="connsiteX23" fmla="*/ 24295 w 36881"/>
                                                <a:gd name="connsiteY23" fmla="*/ 30060 h 34659"/>
                                                <a:gd name="connsiteX24" fmla="*/ 20796 w 36881"/>
                                                <a:gd name="connsiteY24" fmla="*/ 21897 h 34659"/>
                                                <a:gd name="connsiteX25" fmla="*/ 20537 w 36881"/>
                                                <a:gd name="connsiteY25" fmla="*/ 21055 h 34659"/>
                                                <a:gd name="connsiteX26" fmla="*/ 19694 w 36881"/>
                                                <a:gd name="connsiteY26" fmla="*/ 21184 h 34659"/>
                                                <a:gd name="connsiteX27" fmla="*/ 10430 w 36881"/>
                                                <a:gd name="connsiteY27" fmla="*/ 21444 h 34659"/>
                                                <a:gd name="connsiteX28" fmla="*/ 3239 w 36881"/>
                                                <a:gd name="connsiteY28" fmla="*/ 16973 h 34659"/>
                                                <a:gd name="connsiteX29" fmla="*/ 2202 w 36881"/>
                                                <a:gd name="connsiteY29" fmla="*/ 8357 h 34659"/>
                                                <a:gd name="connsiteX30" fmla="*/ 2202 w 36881"/>
                                                <a:gd name="connsiteY30" fmla="*/ 2202 h 34659"/>
                                                <a:gd name="connsiteX31" fmla="*/ 8681 w 36881"/>
                                                <a:gd name="connsiteY31" fmla="*/ 3109 h 34659"/>
                                                <a:gd name="connsiteX32" fmla="*/ 14512 w 36881"/>
                                                <a:gd name="connsiteY32" fmla="*/ 7903 h 34659"/>
                                                <a:gd name="connsiteX33" fmla="*/ 15095 w 36881"/>
                                                <a:gd name="connsiteY33" fmla="*/ 9588 h 34659"/>
                                                <a:gd name="connsiteX34" fmla="*/ 19565 w 36881"/>
                                                <a:gd name="connsiteY34" fmla="*/ 11726 h 34659"/>
                                                <a:gd name="connsiteX35" fmla="*/ 27080 w 36881"/>
                                                <a:gd name="connsiteY35" fmla="*/ 12698 h 34659"/>
                                                <a:gd name="connsiteX36" fmla="*/ 34466 w 36881"/>
                                                <a:gd name="connsiteY36" fmla="*/ 21184 h 34659"/>
                                                <a:gd name="connsiteX37" fmla="*/ 34790 w 36881"/>
                                                <a:gd name="connsiteY37" fmla="*/ 27469 h 34659"/>
                                                <a:gd name="connsiteX38" fmla="*/ 31486 w 36881"/>
                                                <a:gd name="connsiteY38" fmla="*/ 32328 h 34659"/>
                                                <a:gd name="connsiteX39" fmla="*/ 24295 w 36881"/>
                                                <a:gd name="connsiteY39" fmla="*/ 30060 h 3465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6881" h="34659">
                                                  <a:moveTo>
                                                    <a:pt x="36280" y="20342"/>
                                                  </a:moveTo>
                                                  <a:lnTo>
                                                    <a:pt x="36280" y="19824"/>
                                                  </a:lnTo>
                                                  <a:cubicBezTo>
                                                    <a:pt x="36280" y="19824"/>
                                                    <a:pt x="35762" y="19629"/>
                                                    <a:pt x="35762" y="19629"/>
                                                  </a:cubicBezTo>
                                                  <a:cubicBezTo>
                                                    <a:pt x="32393" y="18140"/>
                                                    <a:pt x="29736" y="15030"/>
                                                    <a:pt x="28764" y="11531"/>
                                                  </a:cubicBezTo>
                                                  <a:lnTo>
                                                    <a:pt x="28635" y="10884"/>
                                                  </a:lnTo>
                                                  <a:lnTo>
                                                    <a:pt x="19824" y="9782"/>
                                                  </a:lnTo>
                                                  <a:cubicBezTo>
                                                    <a:pt x="18399" y="9588"/>
                                                    <a:pt x="17104" y="9070"/>
                                                    <a:pt x="16650" y="8422"/>
                                                  </a:cubicBezTo>
                                                  <a:cubicBezTo>
                                                    <a:pt x="16520" y="8162"/>
                                                    <a:pt x="16455" y="7968"/>
                                                    <a:pt x="16520" y="7709"/>
                                                  </a:cubicBezTo>
                                                  <a:lnTo>
                                                    <a:pt x="16520" y="7191"/>
                                                  </a:lnTo>
                                                  <a:cubicBezTo>
                                                    <a:pt x="16520" y="7191"/>
                                                    <a:pt x="16261" y="6867"/>
                                                    <a:pt x="16261" y="6867"/>
                                                  </a:cubicBezTo>
                                                  <a:cubicBezTo>
                                                    <a:pt x="14253" y="4794"/>
                                                    <a:pt x="12180" y="2720"/>
                                                    <a:pt x="9588" y="1360"/>
                                                  </a:cubicBezTo>
                                                  <a:cubicBezTo>
                                                    <a:pt x="6608" y="-195"/>
                                                    <a:pt x="3239" y="-454"/>
                                                    <a:pt x="648" y="777"/>
                                                  </a:cubicBezTo>
                                                  <a:lnTo>
                                                    <a:pt x="0" y="1101"/>
                                                  </a:lnTo>
                                                  <a:lnTo>
                                                    <a:pt x="130" y="1813"/>
                                                  </a:lnTo>
                                                  <a:cubicBezTo>
                                                    <a:pt x="583" y="3822"/>
                                                    <a:pt x="388" y="6089"/>
                                                    <a:pt x="259" y="8227"/>
                                                  </a:cubicBezTo>
                                                  <a:cubicBezTo>
                                                    <a:pt x="65" y="11531"/>
                                                    <a:pt x="-195" y="14965"/>
                                                    <a:pt x="1555" y="17945"/>
                                                  </a:cubicBezTo>
                                                  <a:cubicBezTo>
                                                    <a:pt x="3110" y="20731"/>
                                                    <a:pt x="6219" y="22739"/>
                                                    <a:pt x="10106" y="23387"/>
                                                  </a:cubicBezTo>
                                                  <a:cubicBezTo>
                                                    <a:pt x="12827" y="23841"/>
                                                    <a:pt x="16132" y="23581"/>
                                                    <a:pt x="19111" y="23193"/>
                                                  </a:cubicBezTo>
                                                  <a:cubicBezTo>
                                                    <a:pt x="19889" y="25914"/>
                                                    <a:pt x="20796" y="28894"/>
                                                    <a:pt x="22805" y="31291"/>
                                                  </a:cubicBezTo>
                                                  <a:cubicBezTo>
                                                    <a:pt x="24553" y="33364"/>
                                                    <a:pt x="27145" y="34660"/>
                                                    <a:pt x="29607" y="34660"/>
                                                  </a:cubicBezTo>
                                                  <a:cubicBezTo>
                                                    <a:pt x="30579" y="34660"/>
                                                    <a:pt x="31421" y="34530"/>
                                                    <a:pt x="32263" y="34142"/>
                                                  </a:cubicBezTo>
                                                  <a:cubicBezTo>
                                                    <a:pt x="34595" y="33105"/>
                                                    <a:pt x="36215" y="30708"/>
                                                    <a:pt x="36733" y="27728"/>
                                                  </a:cubicBezTo>
                                                  <a:cubicBezTo>
                                                    <a:pt x="37122" y="25201"/>
                                                    <a:pt x="36669" y="22610"/>
                                                    <a:pt x="36280" y="20342"/>
                                                  </a:cubicBezTo>
                                                  <a:close/>
                                                  <a:moveTo>
                                                    <a:pt x="24295" y="30060"/>
                                                  </a:moveTo>
                                                  <a:cubicBezTo>
                                                    <a:pt x="22351" y="27793"/>
                                                    <a:pt x="21509" y="24618"/>
                                                    <a:pt x="20796" y="21897"/>
                                                  </a:cubicBezTo>
                                                  <a:lnTo>
                                                    <a:pt x="20537" y="21055"/>
                                                  </a:lnTo>
                                                  <a:lnTo>
                                                    <a:pt x="19694" y="21184"/>
                                                  </a:lnTo>
                                                  <a:cubicBezTo>
                                                    <a:pt x="16585" y="21573"/>
                                                    <a:pt x="13152" y="21897"/>
                                                    <a:pt x="10430" y="21444"/>
                                                  </a:cubicBezTo>
                                                  <a:cubicBezTo>
                                                    <a:pt x="7126" y="20925"/>
                                                    <a:pt x="4535" y="19241"/>
                                                    <a:pt x="3239" y="16973"/>
                                                  </a:cubicBezTo>
                                                  <a:cubicBezTo>
                                                    <a:pt x="1814" y="14512"/>
                                                    <a:pt x="2008" y="11531"/>
                                                    <a:pt x="2202" y="8357"/>
                                                  </a:cubicBezTo>
                                                  <a:cubicBezTo>
                                                    <a:pt x="2332" y="6348"/>
                                                    <a:pt x="2462" y="4275"/>
                                                    <a:pt x="2202" y="2202"/>
                                                  </a:cubicBezTo>
                                                  <a:cubicBezTo>
                                                    <a:pt x="4082" y="1619"/>
                                                    <a:pt x="6543" y="1943"/>
                                                    <a:pt x="8681" y="3109"/>
                                                  </a:cubicBezTo>
                                                  <a:cubicBezTo>
                                                    <a:pt x="10884" y="4275"/>
                                                    <a:pt x="12763" y="6089"/>
                                                    <a:pt x="14512" y="7903"/>
                                                  </a:cubicBezTo>
                                                  <a:cubicBezTo>
                                                    <a:pt x="14512" y="8486"/>
                                                    <a:pt x="14706" y="9070"/>
                                                    <a:pt x="15095" y="9588"/>
                                                  </a:cubicBezTo>
                                                  <a:cubicBezTo>
                                                    <a:pt x="16261" y="11207"/>
                                                    <a:pt x="18853" y="11596"/>
                                                    <a:pt x="19565" y="11726"/>
                                                  </a:cubicBezTo>
                                                  <a:lnTo>
                                                    <a:pt x="27080" y="12698"/>
                                                  </a:lnTo>
                                                  <a:cubicBezTo>
                                                    <a:pt x="28246" y="16390"/>
                                                    <a:pt x="30968" y="19500"/>
                                                    <a:pt x="34466" y="21184"/>
                                                  </a:cubicBezTo>
                                                  <a:cubicBezTo>
                                                    <a:pt x="34790" y="23258"/>
                                                    <a:pt x="35113" y="25395"/>
                                                    <a:pt x="34790" y="27469"/>
                                                  </a:cubicBezTo>
                                                  <a:cubicBezTo>
                                                    <a:pt x="34466" y="29218"/>
                                                    <a:pt x="33494" y="31485"/>
                                                    <a:pt x="31486" y="32328"/>
                                                  </a:cubicBezTo>
                                                  <a:cubicBezTo>
                                                    <a:pt x="29283" y="33364"/>
                                                    <a:pt x="26173" y="32263"/>
                                                    <a:pt x="24295" y="3006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7" name="Freeform: Shape 201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890CEF06-67E3-4202-8E79-B2F32301D72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987893" y="4621826"/>
                                              <a:ext cx="20554" cy="2584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4061 w 20554"/>
                                                <a:gd name="connsiteY0" fmla="*/ 24618 h 25849"/>
                                                <a:gd name="connsiteX1" fmla="*/ 8619 w 20554"/>
                                                <a:gd name="connsiteY1" fmla="*/ 25849 h 25849"/>
                                                <a:gd name="connsiteX2" fmla="*/ 1299 w 20554"/>
                                                <a:gd name="connsiteY2" fmla="*/ 10625 h 25849"/>
                                                <a:gd name="connsiteX3" fmla="*/ 197 w 20554"/>
                                                <a:gd name="connsiteY3" fmla="*/ 7774 h 25849"/>
                                                <a:gd name="connsiteX4" fmla="*/ 67 w 20554"/>
                                                <a:gd name="connsiteY4" fmla="*/ 4988 h 25849"/>
                                                <a:gd name="connsiteX5" fmla="*/ 1947 w 20554"/>
                                                <a:gd name="connsiteY5" fmla="*/ 0 h 25849"/>
                                                <a:gd name="connsiteX6" fmla="*/ 8490 w 20554"/>
                                                <a:gd name="connsiteY6" fmla="*/ 259 h 25849"/>
                                                <a:gd name="connsiteX7" fmla="*/ 10110 w 20554"/>
                                                <a:gd name="connsiteY7" fmla="*/ 583 h 25849"/>
                                                <a:gd name="connsiteX8" fmla="*/ 11405 w 20554"/>
                                                <a:gd name="connsiteY8" fmla="*/ 3369 h 25849"/>
                                                <a:gd name="connsiteX9" fmla="*/ 13349 w 20554"/>
                                                <a:gd name="connsiteY9" fmla="*/ 5831 h 25849"/>
                                                <a:gd name="connsiteX10" fmla="*/ 18531 w 20554"/>
                                                <a:gd name="connsiteY10" fmla="*/ 7839 h 25849"/>
                                                <a:gd name="connsiteX11" fmla="*/ 20540 w 20554"/>
                                                <a:gd name="connsiteY11" fmla="*/ 14706 h 25849"/>
                                                <a:gd name="connsiteX12" fmla="*/ 19633 w 20554"/>
                                                <a:gd name="connsiteY12" fmla="*/ 20213 h 25849"/>
                                                <a:gd name="connsiteX13" fmla="*/ 14126 w 20554"/>
                                                <a:gd name="connsiteY13" fmla="*/ 24554 h 2584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0554" h="25849">
                                                  <a:moveTo>
                                                    <a:pt x="14061" y="24618"/>
                                                  </a:moveTo>
                                                  <a:cubicBezTo>
                                                    <a:pt x="12182" y="24942"/>
                                                    <a:pt x="10045" y="24618"/>
                                                    <a:pt x="8619" y="25849"/>
                                                  </a:cubicBezTo>
                                                  <a:cubicBezTo>
                                                    <a:pt x="6158" y="20796"/>
                                                    <a:pt x="3760" y="15743"/>
                                                    <a:pt x="1299" y="10625"/>
                                                  </a:cubicBezTo>
                                                  <a:cubicBezTo>
                                                    <a:pt x="845" y="9718"/>
                                                    <a:pt x="392" y="8811"/>
                                                    <a:pt x="197" y="7774"/>
                                                  </a:cubicBezTo>
                                                  <a:cubicBezTo>
                                                    <a:pt x="3" y="6867"/>
                                                    <a:pt x="-62" y="5960"/>
                                                    <a:pt x="67" y="4988"/>
                                                  </a:cubicBezTo>
                                                  <a:cubicBezTo>
                                                    <a:pt x="262" y="3174"/>
                                                    <a:pt x="910" y="1425"/>
                                                    <a:pt x="1947" y="0"/>
                                                  </a:cubicBezTo>
                                                  <a:cubicBezTo>
                                                    <a:pt x="4149" y="65"/>
                                                    <a:pt x="6287" y="194"/>
                                                    <a:pt x="8490" y="259"/>
                                                  </a:cubicBezTo>
                                                  <a:cubicBezTo>
                                                    <a:pt x="9008" y="259"/>
                                                    <a:pt x="9591" y="259"/>
                                                    <a:pt x="10110" y="583"/>
                                                  </a:cubicBezTo>
                                                  <a:cubicBezTo>
                                                    <a:pt x="11017" y="1166"/>
                                                    <a:pt x="11081" y="2397"/>
                                                    <a:pt x="11405" y="3369"/>
                                                  </a:cubicBezTo>
                                                  <a:cubicBezTo>
                                                    <a:pt x="11729" y="4405"/>
                                                    <a:pt x="12442" y="5248"/>
                                                    <a:pt x="13349" y="5831"/>
                                                  </a:cubicBezTo>
                                                  <a:cubicBezTo>
                                                    <a:pt x="14969" y="6802"/>
                                                    <a:pt x="17041" y="6738"/>
                                                    <a:pt x="18531" y="7839"/>
                                                  </a:cubicBezTo>
                                                  <a:cubicBezTo>
                                                    <a:pt x="20540" y="9329"/>
                                                    <a:pt x="20605" y="12245"/>
                                                    <a:pt x="20540" y="14706"/>
                                                  </a:cubicBezTo>
                                                  <a:cubicBezTo>
                                                    <a:pt x="20540" y="16585"/>
                                                    <a:pt x="20410" y="18464"/>
                                                    <a:pt x="19633" y="20213"/>
                                                  </a:cubicBezTo>
                                                  <a:cubicBezTo>
                                                    <a:pt x="18661" y="22480"/>
                                                    <a:pt x="16523" y="24165"/>
                                                    <a:pt x="14126" y="2455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8" name="Freeform: Shape 201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D5BCDAB9-3E88-4F16-8547-8D6864E9B4C3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956265" y="4642220"/>
                                              <a:ext cx="34141" cy="2502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5671 w 34141"/>
                                                <a:gd name="connsiteY0" fmla="*/ 23790 h 25020"/>
                                                <a:gd name="connsiteX1" fmla="*/ 33640 w 34141"/>
                                                <a:gd name="connsiteY1" fmla="*/ 25021 h 25020"/>
                                                <a:gd name="connsiteX2" fmla="*/ 32409 w 34141"/>
                                                <a:gd name="connsiteY2" fmla="*/ 14655 h 25020"/>
                                                <a:gd name="connsiteX3" fmla="*/ 30724 w 34141"/>
                                                <a:gd name="connsiteY3" fmla="*/ 11351 h 25020"/>
                                                <a:gd name="connsiteX4" fmla="*/ 29169 w 34141"/>
                                                <a:gd name="connsiteY4" fmla="*/ 3058 h 25020"/>
                                                <a:gd name="connsiteX5" fmla="*/ 22885 w 34141"/>
                                                <a:gd name="connsiteY5" fmla="*/ 2929 h 25020"/>
                                                <a:gd name="connsiteX6" fmla="*/ 17637 w 34141"/>
                                                <a:gd name="connsiteY6" fmla="*/ 4743 h 25020"/>
                                                <a:gd name="connsiteX7" fmla="*/ 16147 w 34141"/>
                                                <a:gd name="connsiteY7" fmla="*/ 4937 h 25020"/>
                                                <a:gd name="connsiteX8" fmla="*/ 13750 w 34141"/>
                                                <a:gd name="connsiteY8" fmla="*/ 596 h 25020"/>
                                                <a:gd name="connsiteX9" fmla="*/ 11807 w 34141"/>
                                                <a:gd name="connsiteY9" fmla="*/ 78 h 25020"/>
                                                <a:gd name="connsiteX10" fmla="*/ 3968 w 34141"/>
                                                <a:gd name="connsiteY10" fmla="*/ 1115 h 25020"/>
                                                <a:gd name="connsiteX11" fmla="*/ 16 w 34141"/>
                                                <a:gd name="connsiteY11" fmla="*/ 8241 h 25020"/>
                                                <a:gd name="connsiteX12" fmla="*/ 4940 w 34141"/>
                                                <a:gd name="connsiteY12" fmla="*/ 14720 h 25020"/>
                                                <a:gd name="connsiteX13" fmla="*/ 20034 w 34141"/>
                                                <a:gd name="connsiteY13" fmla="*/ 17182 h 25020"/>
                                                <a:gd name="connsiteX14" fmla="*/ 21331 w 34141"/>
                                                <a:gd name="connsiteY14" fmla="*/ 17311 h 25020"/>
                                                <a:gd name="connsiteX15" fmla="*/ 21978 w 34141"/>
                                                <a:gd name="connsiteY15" fmla="*/ 18866 h 25020"/>
                                                <a:gd name="connsiteX16" fmla="*/ 25542 w 34141"/>
                                                <a:gd name="connsiteY16" fmla="*/ 23855 h 2502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4141" h="25020">
                                                  <a:moveTo>
                                                    <a:pt x="25671" y="23790"/>
                                                  </a:moveTo>
                                                  <a:cubicBezTo>
                                                    <a:pt x="28327" y="24178"/>
                                                    <a:pt x="30984" y="24632"/>
                                                    <a:pt x="33640" y="25021"/>
                                                  </a:cubicBezTo>
                                                  <a:cubicBezTo>
                                                    <a:pt x="34611" y="21587"/>
                                                    <a:pt x="34158" y="17765"/>
                                                    <a:pt x="32409" y="14655"/>
                                                  </a:cubicBezTo>
                                                  <a:cubicBezTo>
                                                    <a:pt x="31826" y="13554"/>
                                                    <a:pt x="31048" y="12517"/>
                                                    <a:pt x="30724" y="11351"/>
                                                  </a:cubicBezTo>
                                                  <a:cubicBezTo>
                                                    <a:pt x="29947" y="8565"/>
                                                    <a:pt x="31308" y="5002"/>
                                                    <a:pt x="29169" y="3058"/>
                                                  </a:cubicBezTo>
                                                  <a:cubicBezTo>
                                                    <a:pt x="27550" y="1568"/>
                                                    <a:pt x="24958" y="2216"/>
                                                    <a:pt x="22885" y="2929"/>
                                                  </a:cubicBezTo>
                                                  <a:cubicBezTo>
                                                    <a:pt x="21136" y="3512"/>
                                                    <a:pt x="19387" y="4160"/>
                                                    <a:pt x="17637" y="4743"/>
                                                  </a:cubicBezTo>
                                                  <a:cubicBezTo>
                                                    <a:pt x="17184" y="4937"/>
                                                    <a:pt x="16666" y="5067"/>
                                                    <a:pt x="16147" y="4937"/>
                                                  </a:cubicBezTo>
                                                  <a:cubicBezTo>
                                                    <a:pt x="14463" y="4483"/>
                                                    <a:pt x="15111" y="1698"/>
                                                    <a:pt x="13750" y="596"/>
                                                  </a:cubicBezTo>
                                                  <a:cubicBezTo>
                                                    <a:pt x="13232" y="143"/>
                                                    <a:pt x="12455" y="78"/>
                                                    <a:pt x="11807" y="78"/>
                                                  </a:cubicBezTo>
                                                  <a:cubicBezTo>
                                                    <a:pt x="9151" y="-51"/>
                                                    <a:pt x="6300" y="-181"/>
                                                    <a:pt x="3968" y="1115"/>
                                                  </a:cubicBezTo>
                                                  <a:cubicBezTo>
                                                    <a:pt x="1441" y="2475"/>
                                                    <a:pt x="-179" y="5390"/>
                                                    <a:pt x="16" y="8241"/>
                                                  </a:cubicBezTo>
                                                  <a:cubicBezTo>
                                                    <a:pt x="210" y="11092"/>
                                                    <a:pt x="2283" y="13748"/>
                                                    <a:pt x="4940" y="14720"/>
                                                  </a:cubicBezTo>
                                                  <a:cubicBezTo>
                                                    <a:pt x="9604" y="16923"/>
                                                    <a:pt x="14917" y="17765"/>
                                                    <a:pt x="20034" y="17182"/>
                                                  </a:cubicBezTo>
                                                  <a:cubicBezTo>
                                                    <a:pt x="20488" y="17182"/>
                                                    <a:pt x="21006" y="17052"/>
                                                    <a:pt x="21331" y="17311"/>
                                                  </a:cubicBezTo>
                                                  <a:cubicBezTo>
                                                    <a:pt x="21784" y="17635"/>
                                                    <a:pt x="21913" y="18283"/>
                                                    <a:pt x="21978" y="18866"/>
                                                  </a:cubicBezTo>
                                                  <a:cubicBezTo>
                                                    <a:pt x="22367" y="20939"/>
                                                    <a:pt x="23728" y="22818"/>
                                                    <a:pt x="25542" y="2385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19" name="Freeform: Shape 201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5FE8F35-405B-43EB-A4EA-B87652E6AA0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1008733" y="4665945"/>
                                              <a:ext cx="31980" cy="2584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7169 w 31980"/>
                                                <a:gd name="connsiteY0" fmla="*/ 9912 h 25849"/>
                                                <a:gd name="connsiteX1" fmla="*/ 20820 w 31980"/>
                                                <a:gd name="connsiteY1" fmla="*/ 8876 h 25849"/>
                                                <a:gd name="connsiteX2" fmla="*/ 17386 w 31980"/>
                                                <a:gd name="connsiteY2" fmla="*/ 8617 h 25849"/>
                                                <a:gd name="connsiteX3" fmla="*/ 17192 w 31980"/>
                                                <a:gd name="connsiteY3" fmla="*/ 6090 h 25849"/>
                                                <a:gd name="connsiteX4" fmla="*/ 15378 w 31980"/>
                                                <a:gd name="connsiteY4" fmla="*/ 972 h 25849"/>
                                                <a:gd name="connsiteX5" fmla="*/ 13175 w 31980"/>
                                                <a:gd name="connsiteY5" fmla="*/ 324 h 25849"/>
                                                <a:gd name="connsiteX6" fmla="*/ 9223 w 31980"/>
                                                <a:gd name="connsiteY6" fmla="*/ 0 h 25849"/>
                                                <a:gd name="connsiteX7" fmla="*/ 3069 w 31980"/>
                                                <a:gd name="connsiteY7" fmla="*/ 1879 h 25849"/>
                                                <a:gd name="connsiteX8" fmla="*/ 23 w 31980"/>
                                                <a:gd name="connsiteY8" fmla="*/ 12374 h 25849"/>
                                                <a:gd name="connsiteX9" fmla="*/ 866 w 31980"/>
                                                <a:gd name="connsiteY9" fmla="*/ 17298 h 25849"/>
                                                <a:gd name="connsiteX10" fmla="*/ 7344 w 31980"/>
                                                <a:gd name="connsiteY10" fmla="*/ 22157 h 25849"/>
                                                <a:gd name="connsiteX11" fmla="*/ 17192 w 31980"/>
                                                <a:gd name="connsiteY11" fmla="*/ 25202 h 25849"/>
                                                <a:gd name="connsiteX12" fmla="*/ 22375 w 31980"/>
                                                <a:gd name="connsiteY12" fmla="*/ 25849 h 25849"/>
                                                <a:gd name="connsiteX13" fmla="*/ 28335 w 31980"/>
                                                <a:gd name="connsiteY13" fmla="*/ 24230 h 25849"/>
                                                <a:gd name="connsiteX14" fmla="*/ 31963 w 31980"/>
                                                <a:gd name="connsiteY14" fmla="*/ 16715 h 25849"/>
                                                <a:gd name="connsiteX15" fmla="*/ 27169 w 31980"/>
                                                <a:gd name="connsiteY15" fmla="*/ 9912 h 25849"/>
                                                <a:gd name="connsiteX16" fmla="*/ 17581 w 31980"/>
                                                <a:gd name="connsiteY16" fmla="*/ 23258 h 25849"/>
                                                <a:gd name="connsiteX17" fmla="*/ 8057 w 31980"/>
                                                <a:gd name="connsiteY17" fmla="*/ 20407 h 25849"/>
                                                <a:gd name="connsiteX18" fmla="*/ 2615 w 31980"/>
                                                <a:gd name="connsiteY18" fmla="*/ 16455 h 25849"/>
                                                <a:gd name="connsiteX19" fmla="*/ 1967 w 31980"/>
                                                <a:gd name="connsiteY19" fmla="*/ 12309 h 25849"/>
                                                <a:gd name="connsiteX20" fmla="*/ 4364 w 31980"/>
                                                <a:gd name="connsiteY20" fmla="*/ 3369 h 25849"/>
                                                <a:gd name="connsiteX21" fmla="*/ 9223 w 31980"/>
                                                <a:gd name="connsiteY21" fmla="*/ 1943 h 25849"/>
                                                <a:gd name="connsiteX22" fmla="*/ 12916 w 31980"/>
                                                <a:gd name="connsiteY22" fmla="*/ 2267 h 25849"/>
                                                <a:gd name="connsiteX23" fmla="*/ 14342 w 31980"/>
                                                <a:gd name="connsiteY23" fmla="*/ 2656 h 25849"/>
                                                <a:gd name="connsiteX24" fmla="*/ 15249 w 31980"/>
                                                <a:gd name="connsiteY24" fmla="*/ 6090 h 25849"/>
                                                <a:gd name="connsiteX25" fmla="*/ 15702 w 31980"/>
                                                <a:gd name="connsiteY25" fmla="*/ 9848 h 25849"/>
                                                <a:gd name="connsiteX26" fmla="*/ 15896 w 31980"/>
                                                <a:gd name="connsiteY26" fmla="*/ 10366 h 25849"/>
                                                <a:gd name="connsiteX27" fmla="*/ 16414 w 31980"/>
                                                <a:gd name="connsiteY27" fmla="*/ 10366 h 25849"/>
                                                <a:gd name="connsiteX28" fmla="*/ 20755 w 31980"/>
                                                <a:gd name="connsiteY28" fmla="*/ 10819 h 25849"/>
                                                <a:gd name="connsiteX29" fmla="*/ 26392 w 31980"/>
                                                <a:gd name="connsiteY29" fmla="*/ 11661 h 25849"/>
                                                <a:gd name="connsiteX30" fmla="*/ 30019 w 31980"/>
                                                <a:gd name="connsiteY30" fmla="*/ 16909 h 25849"/>
                                                <a:gd name="connsiteX31" fmla="*/ 27234 w 31980"/>
                                                <a:gd name="connsiteY31" fmla="*/ 22610 h 25849"/>
                                                <a:gd name="connsiteX32" fmla="*/ 22375 w 31980"/>
                                                <a:gd name="connsiteY32" fmla="*/ 23906 h 25849"/>
                                                <a:gd name="connsiteX33" fmla="*/ 17581 w 31980"/>
                                                <a:gd name="connsiteY33" fmla="*/ 23258 h 2584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1980" h="25849">
                                                  <a:moveTo>
                                                    <a:pt x="27169" y="9912"/>
                                                  </a:moveTo>
                                                  <a:cubicBezTo>
                                                    <a:pt x="25160" y="8940"/>
                                                    <a:pt x="22958" y="8876"/>
                                                    <a:pt x="20820" y="8876"/>
                                                  </a:cubicBezTo>
                                                  <a:cubicBezTo>
                                                    <a:pt x="19589" y="8811"/>
                                                    <a:pt x="18488" y="8811"/>
                                                    <a:pt x="17386" y="8617"/>
                                                  </a:cubicBezTo>
                                                  <a:cubicBezTo>
                                                    <a:pt x="17192" y="7904"/>
                                                    <a:pt x="17192" y="6997"/>
                                                    <a:pt x="17192" y="6090"/>
                                                  </a:cubicBezTo>
                                                  <a:cubicBezTo>
                                                    <a:pt x="17192" y="4211"/>
                                                    <a:pt x="17192" y="2073"/>
                                                    <a:pt x="15378" y="972"/>
                                                  </a:cubicBezTo>
                                                  <a:cubicBezTo>
                                                    <a:pt x="14665" y="518"/>
                                                    <a:pt x="13823" y="389"/>
                                                    <a:pt x="13175" y="324"/>
                                                  </a:cubicBezTo>
                                                  <a:cubicBezTo>
                                                    <a:pt x="11945" y="194"/>
                                                    <a:pt x="10583" y="0"/>
                                                    <a:pt x="9223" y="0"/>
                                                  </a:cubicBezTo>
                                                  <a:cubicBezTo>
                                                    <a:pt x="6632" y="0"/>
                                                    <a:pt x="4624" y="648"/>
                                                    <a:pt x="3069" y="1879"/>
                                                  </a:cubicBezTo>
                                                  <a:cubicBezTo>
                                                    <a:pt x="218" y="4276"/>
                                                    <a:pt x="-106" y="8357"/>
                                                    <a:pt x="23" y="12374"/>
                                                  </a:cubicBezTo>
                                                  <a:cubicBezTo>
                                                    <a:pt x="23" y="13864"/>
                                                    <a:pt x="23" y="15678"/>
                                                    <a:pt x="866" y="17298"/>
                                                  </a:cubicBezTo>
                                                  <a:cubicBezTo>
                                                    <a:pt x="2097" y="19889"/>
                                                    <a:pt x="4817" y="21250"/>
                                                    <a:pt x="7344" y="22157"/>
                                                  </a:cubicBezTo>
                                                  <a:cubicBezTo>
                                                    <a:pt x="10519" y="23452"/>
                                                    <a:pt x="13823" y="24424"/>
                                                    <a:pt x="17192" y="25202"/>
                                                  </a:cubicBezTo>
                                                  <a:cubicBezTo>
                                                    <a:pt x="19200" y="25655"/>
                                                    <a:pt x="20885" y="25849"/>
                                                    <a:pt x="22375" y="25849"/>
                                                  </a:cubicBezTo>
                                                  <a:cubicBezTo>
                                                    <a:pt x="24772" y="25849"/>
                                                    <a:pt x="26715" y="25331"/>
                                                    <a:pt x="28335" y="24230"/>
                                                  </a:cubicBezTo>
                                                  <a:cubicBezTo>
                                                    <a:pt x="30732" y="22610"/>
                                                    <a:pt x="32158" y="19695"/>
                                                    <a:pt x="31963" y="16715"/>
                                                  </a:cubicBezTo>
                                                  <a:cubicBezTo>
                                                    <a:pt x="31704" y="13799"/>
                                                    <a:pt x="29825" y="11143"/>
                                                    <a:pt x="27169" y="9912"/>
                                                  </a:cubicBezTo>
                                                  <a:close/>
                                                  <a:moveTo>
                                                    <a:pt x="17581" y="23258"/>
                                                  </a:moveTo>
                                                  <a:cubicBezTo>
                                                    <a:pt x="14342" y="22545"/>
                                                    <a:pt x="11102" y="21574"/>
                                                    <a:pt x="8057" y="20407"/>
                                                  </a:cubicBezTo>
                                                  <a:cubicBezTo>
                                                    <a:pt x="5919" y="19565"/>
                                                    <a:pt x="3587" y="18464"/>
                                                    <a:pt x="2615" y="16455"/>
                                                  </a:cubicBezTo>
                                                  <a:cubicBezTo>
                                                    <a:pt x="2032" y="15224"/>
                                                    <a:pt x="1967" y="13605"/>
                                                    <a:pt x="1967" y="12309"/>
                                                  </a:cubicBezTo>
                                                  <a:cubicBezTo>
                                                    <a:pt x="1967" y="9005"/>
                                                    <a:pt x="1967" y="5377"/>
                                                    <a:pt x="4364" y="3369"/>
                                                  </a:cubicBezTo>
                                                  <a:cubicBezTo>
                                                    <a:pt x="5531" y="2397"/>
                                                    <a:pt x="7086" y="1943"/>
                                                    <a:pt x="9223" y="1943"/>
                                                  </a:cubicBezTo>
                                                  <a:cubicBezTo>
                                                    <a:pt x="10454" y="1943"/>
                                                    <a:pt x="11750" y="2138"/>
                                                    <a:pt x="12916" y="2267"/>
                                                  </a:cubicBezTo>
                                                  <a:cubicBezTo>
                                                    <a:pt x="13434" y="2332"/>
                                                    <a:pt x="13952" y="2397"/>
                                                    <a:pt x="14342" y="2656"/>
                                                  </a:cubicBezTo>
                                                  <a:cubicBezTo>
                                                    <a:pt x="15249" y="3174"/>
                                                    <a:pt x="15313" y="4276"/>
                                                    <a:pt x="15249" y="6090"/>
                                                  </a:cubicBezTo>
                                                  <a:cubicBezTo>
                                                    <a:pt x="15249" y="7321"/>
                                                    <a:pt x="15249" y="8681"/>
                                                    <a:pt x="15702" y="9848"/>
                                                  </a:cubicBezTo>
                                                  <a:lnTo>
                                                    <a:pt x="15896" y="10366"/>
                                                  </a:lnTo>
                                                  <a:lnTo>
                                                    <a:pt x="16414" y="10366"/>
                                                  </a:lnTo>
                                                  <a:cubicBezTo>
                                                    <a:pt x="17904" y="10754"/>
                                                    <a:pt x="19330" y="10754"/>
                                                    <a:pt x="20755" y="10819"/>
                                                  </a:cubicBezTo>
                                                  <a:cubicBezTo>
                                                    <a:pt x="22763" y="10819"/>
                                                    <a:pt x="24707" y="10819"/>
                                                    <a:pt x="26392" y="11661"/>
                                                  </a:cubicBezTo>
                                                  <a:cubicBezTo>
                                                    <a:pt x="28400" y="12568"/>
                                                    <a:pt x="29825" y="14706"/>
                                                    <a:pt x="30019" y="16909"/>
                                                  </a:cubicBezTo>
                                                  <a:cubicBezTo>
                                                    <a:pt x="30149" y="19112"/>
                                                    <a:pt x="29048" y="21379"/>
                                                    <a:pt x="27234" y="22610"/>
                                                  </a:cubicBezTo>
                                                  <a:cubicBezTo>
                                                    <a:pt x="25938" y="23517"/>
                                                    <a:pt x="24383" y="23906"/>
                                                    <a:pt x="22375" y="23906"/>
                                                  </a:cubicBezTo>
                                                  <a:cubicBezTo>
                                                    <a:pt x="21014" y="23906"/>
                                                    <a:pt x="19524" y="23711"/>
                                                    <a:pt x="17581" y="2325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0" name="Freeform: Shape 201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2A47931-6A3D-45B3-B39F-3162C638B73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496756" y="4465434"/>
                                              <a:ext cx="237503" cy="21556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27981 w 237503"/>
                                                <a:gd name="connsiteY0" fmla="*/ 196236 h 215563"/>
                                                <a:gd name="connsiteX1" fmla="*/ 224029 w 237503"/>
                                                <a:gd name="connsiteY1" fmla="*/ 190081 h 215563"/>
                                                <a:gd name="connsiteX2" fmla="*/ 203233 w 237503"/>
                                                <a:gd name="connsiteY2" fmla="*/ 178420 h 215563"/>
                                                <a:gd name="connsiteX3" fmla="*/ 190211 w 237503"/>
                                                <a:gd name="connsiteY3" fmla="*/ 160409 h 215563"/>
                                                <a:gd name="connsiteX4" fmla="*/ 173237 w 237503"/>
                                                <a:gd name="connsiteY4" fmla="*/ 151923 h 215563"/>
                                                <a:gd name="connsiteX5" fmla="*/ 165139 w 237503"/>
                                                <a:gd name="connsiteY5" fmla="*/ 132293 h 215563"/>
                                                <a:gd name="connsiteX6" fmla="*/ 159113 w 237503"/>
                                                <a:gd name="connsiteY6" fmla="*/ 122834 h 215563"/>
                                                <a:gd name="connsiteX7" fmla="*/ 148100 w 237503"/>
                                                <a:gd name="connsiteY7" fmla="*/ 117780 h 215563"/>
                                                <a:gd name="connsiteX8" fmla="*/ 146869 w 237503"/>
                                                <a:gd name="connsiteY8" fmla="*/ 107285 h 215563"/>
                                                <a:gd name="connsiteX9" fmla="*/ 154319 w 237503"/>
                                                <a:gd name="connsiteY9" fmla="*/ 106508 h 215563"/>
                                                <a:gd name="connsiteX10" fmla="*/ 169609 w 237503"/>
                                                <a:gd name="connsiteY10" fmla="*/ 98410 h 215563"/>
                                                <a:gd name="connsiteX11" fmla="*/ 156392 w 237503"/>
                                                <a:gd name="connsiteY11" fmla="*/ 88303 h 215563"/>
                                                <a:gd name="connsiteX12" fmla="*/ 118946 w 237503"/>
                                                <a:gd name="connsiteY12" fmla="*/ 69580 h 215563"/>
                                                <a:gd name="connsiteX13" fmla="*/ 114152 w 237503"/>
                                                <a:gd name="connsiteY13" fmla="*/ 60899 h 215563"/>
                                                <a:gd name="connsiteX14" fmla="*/ 108062 w 237503"/>
                                                <a:gd name="connsiteY14" fmla="*/ 54226 h 215563"/>
                                                <a:gd name="connsiteX15" fmla="*/ 79038 w 237503"/>
                                                <a:gd name="connsiteY15" fmla="*/ 33429 h 215563"/>
                                                <a:gd name="connsiteX16" fmla="*/ 67053 w 237503"/>
                                                <a:gd name="connsiteY16" fmla="*/ 28571 h 215563"/>
                                                <a:gd name="connsiteX17" fmla="*/ 57335 w 237503"/>
                                                <a:gd name="connsiteY17" fmla="*/ 18529 h 215563"/>
                                                <a:gd name="connsiteX18" fmla="*/ 28376 w 237503"/>
                                                <a:gd name="connsiteY18" fmla="*/ 12504 h 215563"/>
                                                <a:gd name="connsiteX19" fmla="*/ 15224 w 237503"/>
                                                <a:gd name="connsiteY19" fmla="*/ 4276 h 215563"/>
                                                <a:gd name="connsiteX20" fmla="*/ 1425 w 237503"/>
                                                <a:gd name="connsiteY20" fmla="*/ 259 h 215563"/>
                                                <a:gd name="connsiteX21" fmla="*/ 0 w 237503"/>
                                                <a:gd name="connsiteY21" fmla="*/ 0 h 215563"/>
                                                <a:gd name="connsiteX22" fmla="*/ 0 w 237503"/>
                                                <a:gd name="connsiteY22" fmla="*/ 162547 h 215563"/>
                                                <a:gd name="connsiteX23" fmla="*/ 2980 w 237503"/>
                                                <a:gd name="connsiteY23" fmla="*/ 161964 h 215563"/>
                                                <a:gd name="connsiteX24" fmla="*/ 18399 w 237503"/>
                                                <a:gd name="connsiteY24" fmla="*/ 176217 h 215563"/>
                                                <a:gd name="connsiteX25" fmla="*/ 42240 w 237503"/>
                                                <a:gd name="connsiteY25" fmla="*/ 175764 h 215563"/>
                                                <a:gd name="connsiteX26" fmla="*/ 54290 w 237503"/>
                                                <a:gd name="connsiteY26" fmla="*/ 161770 h 215563"/>
                                                <a:gd name="connsiteX27" fmla="*/ 59020 w 237503"/>
                                                <a:gd name="connsiteY27" fmla="*/ 145185 h 215563"/>
                                                <a:gd name="connsiteX28" fmla="*/ 69903 w 237503"/>
                                                <a:gd name="connsiteY28" fmla="*/ 139419 h 215563"/>
                                                <a:gd name="connsiteX29" fmla="*/ 78001 w 237503"/>
                                                <a:gd name="connsiteY29" fmla="*/ 129053 h 215563"/>
                                                <a:gd name="connsiteX30" fmla="*/ 95170 w 237503"/>
                                                <a:gd name="connsiteY30" fmla="*/ 132487 h 215563"/>
                                                <a:gd name="connsiteX31" fmla="*/ 110848 w 237503"/>
                                                <a:gd name="connsiteY31" fmla="*/ 142140 h 215563"/>
                                                <a:gd name="connsiteX32" fmla="*/ 117650 w 237503"/>
                                                <a:gd name="connsiteY32" fmla="*/ 144213 h 215563"/>
                                                <a:gd name="connsiteX33" fmla="*/ 121019 w 237503"/>
                                                <a:gd name="connsiteY33" fmla="*/ 150432 h 215563"/>
                                                <a:gd name="connsiteX34" fmla="*/ 131385 w 237503"/>
                                                <a:gd name="connsiteY34" fmla="*/ 156522 h 215563"/>
                                                <a:gd name="connsiteX35" fmla="*/ 135531 w 237503"/>
                                                <a:gd name="connsiteY35" fmla="*/ 166240 h 215563"/>
                                                <a:gd name="connsiteX36" fmla="*/ 143176 w 237503"/>
                                                <a:gd name="connsiteY36" fmla="*/ 186583 h 215563"/>
                                                <a:gd name="connsiteX37" fmla="*/ 160409 w 237503"/>
                                                <a:gd name="connsiteY37" fmla="*/ 195588 h 215563"/>
                                                <a:gd name="connsiteX38" fmla="*/ 161446 w 237503"/>
                                                <a:gd name="connsiteY38" fmla="*/ 200382 h 215563"/>
                                                <a:gd name="connsiteX39" fmla="*/ 167212 w 237503"/>
                                                <a:gd name="connsiteY39" fmla="*/ 202974 h 215563"/>
                                                <a:gd name="connsiteX40" fmla="*/ 205824 w 237503"/>
                                                <a:gd name="connsiteY40" fmla="*/ 204464 h 215563"/>
                                                <a:gd name="connsiteX41" fmla="*/ 220919 w 237503"/>
                                                <a:gd name="connsiteY41" fmla="*/ 212886 h 215563"/>
                                                <a:gd name="connsiteX42" fmla="*/ 237439 w 237503"/>
                                                <a:gd name="connsiteY42" fmla="*/ 213923 h 215563"/>
                                                <a:gd name="connsiteX43" fmla="*/ 237504 w 237503"/>
                                                <a:gd name="connsiteY43" fmla="*/ 201483 h 215563"/>
                                                <a:gd name="connsiteX44" fmla="*/ 227851 w 237503"/>
                                                <a:gd name="connsiteY44" fmla="*/ 196236 h 21556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37503" h="215563">
                                                  <a:moveTo>
                                                    <a:pt x="227981" y="196236"/>
                                                  </a:moveTo>
                                                  <a:cubicBezTo>
                                                    <a:pt x="226491" y="194292"/>
                                                    <a:pt x="225454" y="192025"/>
                                                    <a:pt x="224029" y="190081"/>
                                                  </a:cubicBezTo>
                                                  <a:cubicBezTo>
                                                    <a:pt x="219235" y="183603"/>
                                                    <a:pt x="210618" y="181595"/>
                                                    <a:pt x="203233" y="178420"/>
                                                  </a:cubicBezTo>
                                                  <a:cubicBezTo>
                                                    <a:pt x="195847" y="175245"/>
                                                    <a:pt x="188332" y="168249"/>
                                                    <a:pt x="190211" y="160409"/>
                                                  </a:cubicBezTo>
                                                  <a:cubicBezTo>
                                                    <a:pt x="184185" y="164491"/>
                                                    <a:pt x="176022" y="158596"/>
                                                    <a:pt x="173237" y="151923"/>
                                                  </a:cubicBezTo>
                                                  <a:cubicBezTo>
                                                    <a:pt x="170451" y="145185"/>
                                                    <a:pt x="168896" y="138447"/>
                                                    <a:pt x="165139" y="132293"/>
                                                  </a:cubicBezTo>
                                                  <a:cubicBezTo>
                                                    <a:pt x="166175" y="128340"/>
                                                    <a:pt x="162742" y="124583"/>
                                                    <a:pt x="159113" y="122834"/>
                                                  </a:cubicBezTo>
                                                  <a:cubicBezTo>
                                                    <a:pt x="155486" y="121085"/>
                                                    <a:pt x="151274" y="120307"/>
                                                    <a:pt x="148100" y="117780"/>
                                                  </a:cubicBezTo>
                                                  <a:cubicBezTo>
                                                    <a:pt x="144926" y="115254"/>
                                                    <a:pt x="143565" y="109682"/>
                                                    <a:pt x="146869" y="107285"/>
                                                  </a:cubicBezTo>
                                                  <a:cubicBezTo>
                                                    <a:pt x="148942" y="105795"/>
                                                    <a:pt x="151792" y="106184"/>
                                                    <a:pt x="154319" y="106508"/>
                                                  </a:cubicBezTo>
                                                  <a:cubicBezTo>
                                                    <a:pt x="160798" y="107350"/>
                                                    <a:pt x="169544" y="104953"/>
                                                    <a:pt x="169609" y="98410"/>
                                                  </a:cubicBezTo>
                                                  <a:cubicBezTo>
                                                    <a:pt x="169673" y="92384"/>
                                                    <a:pt x="162353" y="89469"/>
                                                    <a:pt x="156392" y="88303"/>
                                                  </a:cubicBezTo>
                                                  <a:cubicBezTo>
                                                    <a:pt x="142269" y="85517"/>
                                                    <a:pt x="126526" y="81824"/>
                                                    <a:pt x="118946" y="69580"/>
                                                  </a:cubicBezTo>
                                                  <a:cubicBezTo>
                                                    <a:pt x="117197" y="66794"/>
                                                    <a:pt x="116031" y="63620"/>
                                                    <a:pt x="114152" y="60899"/>
                                                  </a:cubicBezTo>
                                                  <a:cubicBezTo>
                                                    <a:pt x="112468" y="58372"/>
                                                    <a:pt x="110265" y="56299"/>
                                                    <a:pt x="108062" y="54226"/>
                                                  </a:cubicBezTo>
                                                  <a:cubicBezTo>
                                                    <a:pt x="99381" y="45933"/>
                                                    <a:pt x="90376" y="37381"/>
                                                    <a:pt x="79038" y="33429"/>
                                                  </a:cubicBezTo>
                                                  <a:cubicBezTo>
                                                    <a:pt x="74957" y="32004"/>
                                                    <a:pt x="70551" y="31162"/>
                                                    <a:pt x="67053" y="28571"/>
                                                  </a:cubicBezTo>
                                                  <a:cubicBezTo>
                                                    <a:pt x="63295" y="25785"/>
                                                    <a:pt x="61092" y="21315"/>
                                                    <a:pt x="57335" y="18529"/>
                                                  </a:cubicBezTo>
                                                  <a:cubicBezTo>
                                                    <a:pt x="49302" y="12568"/>
                                                    <a:pt x="37575" y="16261"/>
                                                    <a:pt x="28376" y="12504"/>
                                                  </a:cubicBezTo>
                                                  <a:cubicBezTo>
                                                    <a:pt x="23581" y="10560"/>
                                                    <a:pt x="19824" y="6673"/>
                                                    <a:pt x="15224" y="4276"/>
                                                  </a:cubicBezTo>
                                                  <a:cubicBezTo>
                                                    <a:pt x="10948" y="2073"/>
                                                    <a:pt x="6154" y="1166"/>
                                                    <a:pt x="1425" y="259"/>
                                                  </a:cubicBezTo>
                                                  <a:cubicBezTo>
                                                    <a:pt x="971" y="194"/>
                                                    <a:pt x="453" y="65"/>
                                                    <a:pt x="0" y="0"/>
                                                  </a:cubicBezTo>
                                                  <a:lnTo>
                                                    <a:pt x="0" y="162547"/>
                                                  </a:lnTo>
                                                  <a:cubicBezTo>
                                                    <a:pt x="1036" y="162418"/>
                                                    <a:pt x="2008" y="162223"/>
                                                    <a:pt x="2980" y="161964"/>
                                                  </a:cubicBezTo>
                                                  <a:cubicBezTo>
                                                    <a:pt x="1360" y="169804"/>
                                                    <a:pt x="10430" y="175829"/>
                                                    <a:pt x="18399" y="176217"/>
                                                  </a:cubicBezTo>
                                                  <a:cubicBezTo>
                                                    <a:pt x="26367" y="176606"/>
                                                    <a:pt x="34466" y="173949"/>
                                                    <a:pt x="42240" y="175764"/>
                                                  </a:cubicBezTo>
                                                  <a:cubicBezTo>
                                                    <a:pt x="44119" y="169804"/>
                                                    <a:pt x="49820" y="166046"/>
                                                    <a:pt x="54290" y="161770"/>
                                                  </a:cubicBezTo>
                                                  <a:cubicBezTo>
                                                    <a:pt x="58760" y="157429"/>
                                                    <a:pt x="62389" y="150432"/>
                                                    <a:pt x="59020" y="145185"/>
                                                  </a:cubicBezTo>
                                                  <a:cubicBezTo>
                                                    <a:pt x="63231" y="146675"/>
                                                    <a:pt x="67506" y="143176"/>
                                                    <a:pt x="69903" y="139419"/>
                                                  </a:cubicBezTo>
                                                  <a:cubicBezTo>
                                                    <a:pt x="72300" y="135661"/>
                                                    <a:pt x="74114" y="131191"/>
                                                    <a:pt x="78001" y="129053"/>
                                                  </a:cubicBezTo>
                                                  <a:cubicBezTo>
                                                    <a:pt x="83379" y="126008"/>
                                                    <a:pt x="90246" y="128794"/>
                                                    <a:pt x="95170" y="132487"/>
                                                  </a:cubicBezTo>
                                                  <a:cubicBezTo>
                                                    <a:pt x="100158" y="136180"/>
                                                    <a:pt x="104758" y="140909"/>
                                                    <a:pt x="110848" y="142140"/>
                                                  </a:cubicBezTo>
                                                  <a:cubicBezTo>
                                                    <a:pt x="113180" y="142593"/>
                                                    <a:pt x="115837" y="142593"/>
                                                    <a:pt x="117650" y="144213"/>
                                                  </a:cubicBezTo>
                                                  <a:cubicBezTo>
                                                    <a:pt x="119400" y="145833"/>
                                                    <a:pt x="119724" y="148424"/>
                                                    <a:pt x="121019" y="150432"/>
                                                  </a:cubicBezTo>
                                                  <a:cubicBezTo>
                                                    <a:pt x="123222" y="153866"/>
                                                    <a:pt x="127757" y="154708"/>
                                                    <a:pt x="131385" y="156522"/>
                                                  </a:cubicBezTo>
                                                  <a:cubicBezTo>
                                                    <a:pt x="135013" y="158336"/>
                                                    <a:pt x="138253" y="163130"/>
                                                    <a:pt x="135531" y="166240"/>
                                                  </a:cubicBezTo>
                                                  <a:cubicBezTo>
                                                    <a:pt x="142657" y="169804"/>
                                                    <a:pt x="146156" y="179198"/>
                                                    <a:pt x="143176" y="186583"/>
                                                  </a:cubicBezTo>
                                                  <a:cubicBezTo>
                                                    <a:pt x="150173" y="186907"/>
                                                    <a:pt x="159048" y="188721"/>
                                                    <a:pt x="160409" y="195588"/>
                                                  </a:cubicBezTo>
                                                  <a:cubicBezTo>
                                                    <a:pt x="160733" y="197208"/>
                                                    <a:pt x="160538" y="199022"/>
                                                    <a:pt x="161446" y="200382"/>
                                                  </a:cubicBezTo>
                                                  <a:cubicBezTo>
                                                    <a:pt x="162547" y="202261"/>
                                                    <a:pt x="165009" y="202779"/>
                                                    <a:pt x="167212" y="202974"/>
                                                  </a:cubicBezTo>
                                                  <a:cubicBezTo>
                                                    <a:pt x="180104" y="204140"/>
                                                    <a:pt x="193709" y="199734"/>
                                                    <a:pt x="205824" y="204464"/>
                                                  </a:cubicBezTo>
                                                  <a:cubicBezTo>
                                                    <a:pt x="211201" y="206537"/>
                                                    <a:pt x="215736" y="210295"/>
                                                    <a:pt x="220919" y="212886"/>
                                                  </a:cubicBezTo>
                                                  <a:cubicBezTo>
                                                    <a:pt x="226037" y="215477"/>
                                                    <a:pt x="232451" y="216838"/>
                                                    <a:pt x="237439" y="213923"/>
                                                  </a:cubicBezTo>
                                                  <a:cubicBezTo>
                                                    <a:pt x="237439" y="209776"/>
                                                    <a:pt x="237439" y="205630"/>
                                                    <a:pt x="237504" y="201483"/>
                                                  </a:cubicBezTo>
                                                  <a:cubicBezTo>
                                                    <a:pt x="233747" y="201095"/>
                                                    <a:pt x="230183" y="199151"/>
                                                    <a:pt x="227851" y="19623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1" name="Freeform: Shape 202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8D2F429-744B-4C13-80FB-3384F4DC23C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120508" y="4464059"/>
                                              <a:ext cx="31031" cy="3428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479 w 31031"/>
                                                <a:gd name="connsiteY0" fmla="*/ 20033 h 34285"/>
                                                <a:gd name="connsiteX1" fmla="*/ 10467 w 31031"/>
                                                <a:gd name="connsiteY1" fmla="*/ 21199 h 34285"/>
                                                <a:gd name="connsiteX2" fmla="*/ 13383 w 31031"/>
                                                <a:gd name="connsiteY2" fmla="*/ 27678 h 34285"/>
                                                <a:gd name="connsiteX3" fmla="*/ 16233 w 31031"/>
                                                <a:gd name="connsiteY3" fmla="*/ 32213 h 34285"/>
                                                <a:gd name="connsiteX4" fmla="*/ 27765 w 31031"/>
                                                <a:gd name="connsiteY4" fmla="*/ 33768 h 34285"/>
                                                <a:gd name="connsiteX5" fmla="*/ 30033 w 31031"/>
                                                <a:gd name="connsiteY5" fmla="*/ 32861 h 34285"/>
                                                <a:gd name="connsiteX6" fmla="*/ 30745 w 31031"/>
                                                <a:gd name="connsiteY6" fmla="*/ 30723 h 34285"/>
                                                <a:gd name="connsiteX7" fmla="*/ 30227 w 31031"/>
                                                <a:gd name="connsiteY7" fmla="*/ 16470 h 34285"/>
                                                <a:gd name="connsiteX8" fmla="*/ 21352 w 31031"/>
                                                <a:gd name="connsiteY8" fmla="*/ 12324 h 34285"/>
                                                <a:gd name="connsiteX9" fmla="*/ 18436 w 31031"/>
                                                <a:gd name="connsiteY9" fmla="*/ 11222 h 34285"/>
                                                <a:gd name="connsiteX10" fmla="*/ 17723 w 31031"/>
                                                <a:gd name="connsiteY10" fmla="*/ 7011 h 34285"/>
                                                <a:gd name="connsiteX11" fmla="*/ 13771 w 31031"/>
                                                <a:gd name="connsiteY11" fmla="*/ 1699 h 34285"/>
                                                <a:gd name="connsiteX12" fmla="*/ 7098 w 31031"/>
                                                <a:gd name="connsiteY12" fmla="*/ 79 h 34285"/>
                                                <a:gd name="connsiteX13" fmla="*/ 2564 w 31031"/>
                                                <a:gd name="connsiteY13" fmla="*/ 662 h 34285"/>
                                                <a:gd name="connsiteX14" fmla="*/ 37 w 31031"/>
                                                <a:gd name="connsiteY14" fmla="*/ 10121 h 34285"/>
                                                <a:gd name="connsiteX15" fmla="*/ 1851 w 31031"/>
                                                <a:gd name="connsiteY15" fmla="*/ 18543 h 34285"/>
                                                <a:gd name="connsiteX16" fmla="*/ 5479 w 31031"/>
                                                <a:gd name="connsiteY16" fmla="*/ 20033 h 3428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1031" h="34285">
                                                  <a:moveTo>
                                                    <a:pt x="5479" y="20033"/>
                                                  </a:moveTo>
                                                  <a:cubicBezTo>
                                                    <a:pt x="7163" y="20422"/>
                                                    <a:pt x="8783" y="20811"/>
                                                    <a:pt x="10467" y="21199"/>
                                                  </a:cubicBezTo>
                                                  <a:cubicBezTo>
                                                    <a:pt x="11439" y="23337"/>
                                                    <a:pt x="12411" y="25475"/>
                                                    <a:pt x="13383" y="27678"/>
                                                  </a:cubicBezTo>
                                                  <a:cubicBezTo>
                                                    <a:pt x="14161" y="29297"/>
                                                    <a:pt x="14938" y="31047"/>
                                                    <a:pt x="16233" y="32213"/>
                                                  </a:cubicBezTo>
                                                  <a:cubicBezTo>
                                                    <a:pt x="19213" y="34934"/>
                                                    <a:pt x="23814" y="34416"/>
                                                    <a:pt x="27765" y="33768"/>
                                                  </a:cubicBezTo>
                                                  <a:cubicBezTo>
                                                    <a:pt x="28608" y="33638"/>
                                                    <a:pt x="29450" y="33444"/>
                                                    <a:pt x="30033" y="32861"/>
                                                  </a:cubicBezTo>
                                                  <a:cubicBezTo>
                                                    <a:pt x="30551" y="32278"/>
                                                    <a:pt x="30680" y="31500"/>
                                                    <a:pt x="30745" y="30723"/>
                                                  </a:cubicBezTo>
                                                  <a:cubicBezTo>
                                                    <a:pt x="31264" y="25994"/>
                                                    <a:pt x="31070" y="21199"/>
                                                    <a:pt x="30227" y="16470"/>
                                                  </a:cubicBezTo>
                                                  <a:cubicBezTo>
                                                    <a:pt x="27765" y="14267"/>
                                                    <a:pt x="24591" y="12842"/>
                                                    <a:pt x="21352" y="12324"/>
                                                  </a:cubicBezTo>
                                                  <a:cubicBezTo>
                                                    <a:pt x="20315" y="12129"/>
                                                    <a:pt x="19149" y="12000"/>
                                                    <a:pt x="18436" y="11222"/>
                                                  </a:cubicBezTo>
                                                  <a:cubicBezTo>
                                                    <a:pt x="17465" y="10121"/>
                                                    <a:pt x="17853" y="8436"/>
                                                    <a:pt x="17723" y="7011"/>
                                                  </a:cubicBezTo>
                                                  <a:cubicBezTo>
                                                    <a:pt x="17530" y="4744"/>
                                                    <a:pt x="15780" y="2800"/>
                                                    <a:pt x="13771" y="1699"/>
                                                  </a:cubicBezTo>
                                                  <a:cubicBezTo>
                                                    <a:pt x="11764" y="597"/>
                                                    <a:pt x="9431" y="274"/>
                                                    <a:pt x="7098" y="79"/>
                                                  </a:cubicBezTo>
                                                  <a:cubicBezTo>
                                                    <a:pt x="5544" y="-50"/>
                                                    <a:pt x="3924" y="-115"/>
                                                    <a:pt x="2564" y="662"/>
                                                  </a:cubicBezTo>
                                                  <a:cubicBezTo>
                                                    <a:pt x="-416" y="2411"/>
                                                    <a:pt x="37" y="6687"/>
                                                    <a:pt x="37" y="10121"/>
                                                  </a:cubicBezTo>
                                                  <a:cubicBezTo>
                                                    <a:pt x="37" y="13101"/>
                                                    <a:pt x="-416" y="16600"/>
                                                    <a:pt x="1851" y="18543"/>
                                                  </a:cubicBezTo>
                                                  <a:cubicBezTo>
                                                    <a:pt x="2823" y="19385"/>
                                                    <a:pt x="4183" y="19709"/>
                                                    <a:pt x="5479" y="2003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2" name="Freeform: Shape 202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AAB77F6-C2DF-48A5-8042-685E2DBAEF9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61431" y="4349384"/>
                                              <a:ext cx="135725" cy="42777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1675 w 135725"/>
                                                <a:gd name="connsiteY0" fmla="*/ 26321 h 42777"/>
                                                <a:gd name="connsiteX1" fmla="*/ 32911 w 135725"/>
                                                <a:gd name="connsiteY1" fmla="*/ 25933 h 42777"/>
                                                <a:gd name="connsiteX2" fmla="*/ 29412 w 135725"/>
                                                <a:gd name="connsiteY2" fmla="*/ 26581 h 42777"/>
                                                <a:gd name="connsiteX3" fmla="*/ 26821 w 135725"/>
                                                <a:gd name="connsiteY3" fmla="*/ 37918 h 42777"/>
                                                <a:gd name="connsiteX4" fmla="*/ 21833 w 135725"/>
                                                <a:gd name="connsiteY4" fmla="*/ 39926 h 42777"/>
                                                <a:gd name="connsiteX5" fmla="*/ 0 w 135725"/>
                                                <a:gd name="connsiteY5" fmla="*/ 42777 h 42777"/>
                                                <a:gd name="connsiteX6" fmla="*/ 10106 w 135725"/>
                                                <a:gd name="connsiteY6" fmla="*/ 25998 h 42777"/>
                                                <a:gd name="connsiteX7" fmla="*/ 10041 w 135725"/>
                                                <a:gd name="connsiteY7" fmla="*/ 23471 h 42777"/>
                                                <a:gd name="connsiteX8" fmla="*/ 16261 w 135725"/>
                                                <a:gd name="connsiteY8" fmla="*/ 20750 h 42777"/>
                                                <a:gd name="connsiteX9" fmla="*/ 23452 w 135725"/>
                                                <a:gd name="connsiteY9" fmla="*/ 20232 h 42777"/>
                                                <a:gd name="connsiteX10" fmla="*/ 27857 w 135725"/>
                                                <a:gd name="connsiteY10" fmla="*/ 8894 h 42777"/>
                                                <a:gd name="connsiteX11" fmla="*/ 31939 w 135725"/>
                                                <a:gd name="connsiteY11" fmla="*/ 7663 h 42777"/>
                                                <a:gd name="connsiteX12" fmla="*/ 59797 w 135725"/>
                                                <a:gd name="connsiteY12" fmla="*/ 6108 h 42777"/>
                                                <a:gd name="connsiteX13" fmla="*/ 64008 w 135725"/>
                                                <a:gd name="connsiteY13" fmla="*/ 7274 h 42777"/>
                                                <a:gd name="connsiteX14" fmla="*/ 65693 w 135725"/>
                                                <a:gd name="connsiteY14" fmla="*/ 11486 h 42777"/>
                                                <a:gd name="connsiteX15" fmla="*/ 71912 w 135725"/>
                                                <a:gd name="connsiteY15" fmla="*/ 14336 h 42777"/>
                                                <a:gd name="connsiteX16" fmla="*/ 96466 w 135725"/>
                                                <a:gd name="connsiteY16" fmla="*/ 17122 h 42777"/>
                                                <a:gd name="connsiteX17" fmla="*/ 106961 w 135725"/>
                                                <a:gd name="connsiteY17" fmla="*/ 16215 h 42777"/>
                                                <a:gd name="connsiteX18" fmla="*/ 109487 w 135725"/>
                                                <a:gd name="connsiteY18" fmla="*/ 7274 h 42777"/>
                                                <a:gd name="connsiteX19" fmla="*/ 117585 w 135725"/>
                                                <a:gd name="connsiteY19" fmla="*/ 6173 h 42777"/>
                                                <a:gd name="connsiteX20" fmla="*/ 120112 w 135725"/>
                                                <a:gd name="connsiteY20" fmla="*/ 5396 h 42777"/>
                                                <a:gd name="connsiteX21" fmla="*/ 121732 w 135725"/>
                                                <a:gd name="connsiteY21" fmla="*/ 3128 h 42777"/>
                                                <a:gd name="connsiteX22" fmla="*/ 135726 w 135725"/>
                                                <a:gd name="connsiteY22" fmla="*/ 1055 h 42777"/>
                                                <a:gd name="connsiteX23" fmla="*/ 127822 w 135725"/>
                                                <a:gd name="connsiteY23" fmla="*/ 16863 h 42777"/>
                                                <a:gd name="connsiteX24" fmla="*/ 121149 w 135725"/>
                                                <a:gd name="connsiteY24" fmla="*/ 21268 h 42777"/>
                                                <a:gd name="connsiteX25" fmla="*/ 105924 w 135725"/>
                                                <a:gd name="connsiteY25" fmla="*/ 36298 h 42777"/>
                                                <a:gd name="connsiteX26" fmla="*/ 84157 w 135725"/>
                                                <a:gd name="connsiteY26" fmla="*/ 28589 h 42777"/>
                                                <a:gd name="connsiteX27" fmla="*/ 68543 w 135725"/>
                                                <a:gd name="connsiteY27" fmla="*/ 26516 h 42777"/>
                                                <a:gd name="connsiteX28" fmla="*/ 61611 w 135725"/>
                                                <a:gd name="connsiteY28" fmla="*/ 26451 h 42777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35725" h="42777">
                                                  <a:moveTo>
                                                    <a:pt x="61675" y="26321"/>
                                                  </a:moveTo>
                                                  <a:cubicBezTo>
                                                    <a:pt x="52087" y="26192"/>
                                                    <a:pt x="42499" y="26062"/>
                                                    <a:pt x="32911" y="25933"/>
                                                  </a:cubicBezTo>
                                                  <a:cubicBezTo>
                                                    <a:pt x="31680" y="25933"/>
                                                    <a:pt x="30449" y="25933"/>
                                                    <a:pt x="29412" y="26581"/>
                                                  </a:cubicBezTo>
                                                  <a:cubicBezTo>
                                                    <a:pt x="26043" y="28783"/>
                                                    <a:pt x="29412" y="34744"/>
                                                    <a:pt x="26821" y="37918"/>
                                                  </a:cubicBezTo>
                                                  <a:cubicBezTo>
                                                    <a:pt x="25655" y="39343"/>
                                                    <a:pt x="23646" y="39667"/>
                                                    <a:pt x="21833" y="39926"/>
                                                  </a:cubicBezTo>
                                                  <a:cubicBezTo>
                                                    <a:pt x="14577" y="40898"/>
                                                    <a:pt x="7256" y="41805"/>
                                                    <a:pt x="0" y="42777"/>
                                                  </a:cubicBezTo>
                                                  <a:cubicBezTo>
                                                    <a:pt x="5182" y="38372"/>
                                                    <a:pt x="10819" y="32735"/>
                                                    <a:pt x="10106" y="25998"/>
                                                  </a:cubicBezTo>
                                                  <a:cubicBezTo>
                                                    <a:pt x="10041" y="25155"/>
                                                    <a:pt x="9847" y="24248"/>
                                                    <a:pt x="10041" y="23471"/>
                                                  </a:cubicBezTo>
                                                  <a:cubicBezTo>
                                                    <a:pt x="10625" y="21074"/>
                                                    <a:pt x="13799" y="20426"/>
                                                    <a:pt x="16261" y="20750"/>
                                                  </a:cubicBezTo>
                                                  <a:cubicBezTo>
                                                    <a:pt x="18723" y="21074"/>
                                                    <a:pt x="21509" y="21787"/>
                                                    <a:pt x="23452" y="20232"/>
                                                  </a:cubicBezTo>
                                                  <a:cubicBezTo>
                                                    <a:pt x="26757" y="17705"/>
                                                    <a:pt x="24553" y="11486"/>
                                                    <a:pt x="27857" y="8894"/>
                                                  </a:cubicBezTo>
                                                  <a:cubicBezTo>
                                                    <a:pt x="28959" y="7987"/>
                                                    <a:pt x="30514" y="7793"/>
                                                    <a:pt x="31939" y="7663"/>
                                                  </a:cubicBezTo>
                                                  <a:cubicBezTo>
                                                    <a:pt x="41204" y="6691"/>
                                                    <a:pt x="50468" y="6173"/>
                                                    <a:pt x="59797" y="6108"/>
                                                  </a:cubicBezTo>
                                                  <a:cubicBezTo>
                                                    <a:pt x="61287" y="6108"/>
                                                    <a:pt x="63036" y="6173"/>
                                                    <a:pt x="64008" y="7274"/>
                                                  </a:cubicBezTo>
                                                  <a:cubicBezTo>
                                                    <a:pt x="65044" y="8376"/>
                                                    <a:pt x="64915" y="10125"/>
                                                    <a:pt x="65693" y="11486"/>
                                                  </a:cubicBezTo>
                                                  <a:cubicBezTo>
                                                    <a:pt x="66859" y="13559"/>
                                                    <a:pt x="69580" y="14077"/>
                                                    <a:pt x="71912" y="14336"/>
                                                  </a:cubicBezTo>
                                                  <a:cubicBezTo>
                                                    <a:pt x="80075" y="15243"/>
                                                    <a:pt x="88303" y="16215"/>
                                                    <a:pt x="96466" y="17122"/>
                                                  </a:cubicBezTo>
                                                  <a:cubicBezTo>
                                                    <a:pt x="100029" y="17511"/>
                                                    <a:pt x="103851" y="17899"/>
                                                    <a:pt x="106961" y="16215"/>
                                                  </a:cubicBezTo>
                                                  <a:cubicBezTo>
                                                    <a:pt x="110071" y="14531"/>
                                                    <a:pt x="111884" y="9866"/>
                                                    <a:pt x="109487" y="7274"/>
                                                  </a:cubicBezTo>
                                                  <a:cubicBezTo>
                                                    <a:pt x="112209" y="6886"/>
                                                    <a:pt x="114865" y="6562"/>
                                                    <a:pt x="117585" y="6173"/>
                                                  </a:cubicBezTo>
                                                  <a:cubicBezTo>
                                                    <a:pt x="118493" y="6044"/>
                                                    <a:pt x="119400" y="5914"/>
                                                    <a:pt x="120112" y="5396"/>
                                                  </a:cubicBezTo>
                                                  <a:cubicBezTo>
                                                    <a:pt x="120890" y="4813"/>
                                                    <a:pt x="121214" y="3906"/>
                                                    <a:pt x="121732" y="3128"/>
                                                  </a:cubicBezTo>
                                                  <a:cubicBezTo>
                                                    <a:pt x="124583" y="-1083"/>
                                                    <a:pt x="130867" y="-241"/>
                                                    <a:pt x="135726" y="1055"/>
                                                  </a:cubicBezTo>
                                                  <a:cubicBezTo>
                                                    <a:pt x="135726" y="7145"/>
                                                    <a:pt x="132746" y="13235"/>
                                                    <a:pt x="127822" y="16863"/>
                                                  </a:cubicBezTo>
                                                  <a:cubicBezTo>
                                                    <a:pt x="125684" y="18482"/>
                                                    <a:pt x="123222" y="19584"/>
                                                    <a:pt x="121149" y="21268"/>
                                                  </a:cubicBezTo>
                                                  <a:cubicBezTo>
                                                    <a:pt x="115577" y="25868"/>
                                                    <a:pt x="112921" y="34355"/>
                                                    <a:pt x="105924" y="36298"/>
                                                  </a:cubicBezTo>
                                                  <a:cubicBezTo>
                                                    <a:pt x="98344" y="38437"/>
                                                    <a:pt x="91542" y="31504"/>
                                                    <a:pt x="84157" y="28589"/>
                                                  </a:cubicBezTo>
                                                  <a:cubicBezTo>
                                                    <a:pt x="79233" y="26645"/>
                                                    <a:pt x="73855" y="26581"/>
                                                    <a:pt x="68543" y="26516"/>
                                                  </a:cubicBezTo>
                                                  <a:cubicBezTo>
                                                    <a:pt x="66211" y="26516"/>
                                                    <a:pt x="63943" y="26516"/>
                                                    <a:pt x="61611" y="2645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3" name="Freeform: Shape 202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50D5384-0F4A-4AD0-8BC5-90545616426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33209" y="4403604"/>
                                              <a:ext cx="120994" cy="14923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96052 w 120994"/>
                                                <a:gd name="connsiteY0" fmla="*/ 28465 h 149235"/>
                                                <a:gd name="connsiteX1" fmla="*/ 86658 w 120994"/>
                                                <a:gd name="connsiteY1" fmla="*/ 36045 h 149235"/>
                                                <a:gd name="connsiteX2" fmla="*/ 74090 w 120994"/>
                                                <a:gd name="connsiteY2" fmla="*/ 36045 h 149235"/>
                                                <a:gd name="connsiteX3" fmla="*/ 80309 w 120994"/>
                                                <a:gd name="connsiteY3" fmla="*/ 45569 h 149235"/>
                                                <a:gd name="connsiteX4" fmla="*/ 89315 w 120994"/>
                                                <a:gd name="connsiteY4" fmla="*/ 48743 h 149235"/>
                                                <a:gd name="connsiteX5" fmla="*/ 88861 w 120994"/>
                                                <a:gd name="connsiteY5" fmla="*/ 56712 h 149235"/>
                                                <a:gd name="connsiteX6" fmla="*/ 90934 w 120994"/>
                                                <a:gd name="connsiteY6" fmla="*/ 59562 h 149235"/>
                                                <a:gd name="connsiteX7" fmla="*/ 94563 w 120994"/>
                                                <a:gd name="connsiteY7" fmla="*/ 85995 h 149235"/>
                                                <a:gd name="connsiteX8" fmla="*/ 95858 w 120994"/>
                                                <a:gd name="connsiteY8" fmla="*/ 89429 h 149235"/>
                                                <a:gd name="connsiteX9" fmla="*/ 98903 w 120994"/>
                                                <a:gd name="connsiteY9" fmla="*/ 91178 h 149235"/>
                                                <a:gd name="connsiteX10" fmla="*/ 106288 w 120994"/>
                                                <a:gd name="connsiteY10" fmla="*/ 101284 h 149235"/>
                                                <a:gd name="connsiteX11" fmla="*/ 98903 w 120994"/>
                                                <a:gd name="connsiteY11" fmla="*/ 110678 h 149235"/>
                                                <a:gd name="connsiteX12" fmla="*/ 92684 w 120994"/>
                                                <a:gd name="connsiteY12" fmla="*/ 110290 h 149235"/>
                                                <a:gd name="connsiteX13" fmla="*/ 80958 w 120994"/>
                                                <a:gd name="connsiteY13" fmla="*/ 116250 h 149235"/>
                                                <a:gd name="connsiteX14" fmla="*/ 75450 w 120994"/>
                                                <a:gd name="connsiteY14" fmla="*/ 112687 h 149235"/>
                                                <a:gd name="connsiteX15" fmla="*/ 75710 w 120994"/>
                                                <a:gd name="connsiteY15" fmla="*/ 105236 h 149235"/>
                                                <a:gd name="connsiteX16" fmla="*/ 72988 w 120994"/>
                                                <a:gd name="connsiteY16" fmla="*/ 98693 h 149235"/>
                                                <a:gd name="connsiteX17" fmla="*/ 66445 w 120994"/>
                                                <a:gd name="connsiteY17" fmla="*/ 98239 h 149235"/>
                                                <a:gd name="connsiteX18" fmla="*/ 58995 w 120994"/>
                                                <a:gd name="connsiteY18" fmla="*/ 89688 h 149235"/>
                                                <a:gd name="connsiteX19" fmla="*/ 59384 w 120994"/>
                                                <a:gd name="connsiteY19" fmla="*/ 77573 h 149235"/>
                                                <a:gd name="connsiteX20" fmla="*/ 57051 w 120994"/>
                                                <a:gd name="connsiteY20" fmla="*/ 65652 h 149235"/>
                                                <a:gd name="connsiteX21" fmla="*/ 46880 w 120994"/>
                                                <a:gd name="connsiteY21" fmla="*/ 60016 h 149235"/>
                                                <a:gd name="connsiteX22" fmla="*/ 38782 w 120994"/>
                                                <a:gd name="connsiteY22" fmla="*/ 66819 h 149235"/>
                                                <a:gd name="connsiteX23" fmla="*/ 38782 w 120994"/>
                                                <a:gd name="connsiteY23" fmla="*/ 77703 h 149235"/>
                                                <a:gd name="connsiteX24" fmla="*/ 40402 w 120994"/>
                                                <a:gd name="connsiteY24" fmla="*/ 85930 h 149235"/>
                                                <a:gd name="connsiteX25" fmla="*/ 36838 w 120994"/>
                                                <a:gd name="connsiteY25" fmla="*/ 95778 h 149235"/>
                                                <a:gd name="connsiteX26" fmla="*/ 41957 w 120994"/>
                                                <a:gd name="connsiteY26" fmla="*/ 111650 h 149235"/>
                                                <a:gd name="connsiteX27" fmla="*/ 47981 w 120994"/>
                                                <a:gd name="connsiteY27" fmla="*/ 116056 h 149235"/>
                                                <a:gd name="connsiteX28" fmla="*/ 50767 w 120994"/>
                                                <a:gd name="connsiteY28" fmla="*/ 126551 h 149235"/>
                                                <a:gd name="connsiteX29" fmla="*/ 42864 w 120994"/>
                                                <a:gd name="connsiteY29" fmla="*/ 132706 h 149235"/>
                                                <a:gd name="connsiteX30" fmla="*/ 39948 w 120994"/>
                                                <a:gd name="connsiteY30" fmla="*/ 143460 h 149235"/>
                                                <a:gd name="connsiteX31" fmla="*/ 31007 w 120994"/>
                                                <a:gd name="connsiteY31" fmla="*/ 149226 h 149235"/>
                                                <a:gd name="connsiteX32" fmla="*/ 29517 w 120994"/>
                                                <a:gd name="connsiteY32" fmla="*/ 120850 h 149235"/>
                                                <a:gd name="connsiteX33" fmla="*/ 32239 w 120994"/>
                                                <a:gd name="connsiteY33" fmla="*/ 116509 h 149235"/>
                                                <a:gd name="connsiteX34" fmla="*/ 30943 w 120994"/>
                                                <a:gd name="connsiteY34" fmla="*/ 106986 h 149235"/>
                                                <a:gd name="connsiteX35" fmla="*/ 30619 w 120994"/>
                                                <a:gd name="connsiteY35" fmla="*/ 85477 h 149235"/>
                                                <a:gd name="connsiteX36" fmla="*/ 10665 w 120994"/>
                                                <a:gd name="connsiteY36" fmla="*/ 82173 h 149235"/>
                                                <a:gd name="connsiteX37" fmla="*/ 299 w 120994"/>
                                                <a:gd name="connsiteY37" fmla="*/ 66819 h 149235"/>
                                                <a:gd name="connsiteX38" fmla="*/ 9822 w 120994"/>
                                                <a:gd name="connsiteY38" fmla="*/ 55675 h 149235"/>
                                                <a:gd name="connsiteX39" fmla="*/ 14811 w 120994"/>
                                                <a:gd name="connsiteY39" fmla="*/ 42718 h 149235"/>
                                                <a:gd name="connsiteX40" fmla="*/ 12219 w 120994"/>
                                                <a:gd name="connsiteY40" fmla="*/ 36499 h 149235"/>
                                                <a:gd name="connsiteX41" fmla="*/ 16755 w 120994"/>
                                                <a:gd name="connsiteY41" fmla="*/ 32158 h 149235"/>
                                                <a:gd name="connsiteX42" fmla="*/ 22909 w 120994"/>
                                                <a:gd name="connsiteY42" fmla="*/ 5078 h 149235"/>
                                                <a:gd name="connsiteX43" fmla="*/ 28157 w 120994"/>
                                                <a:gd name="connsiteY43" fmla="*/ 2810 h 149235"/>
                                                <a:gd name="connsiteX44" fmla="*/ 39041 w 120994"/>
                                                <a:gd name="connsiteY44" fmla="*/ 5466 h 149235"/>
                                                <a:gd name="connsiteX45" fmla="*/ 39170 w 120994"/>
                                                <a:gd name="connsiteY45" fmla="*/ 16804 h 149235"/>
                                                <a:gd name="connsiteX46" fmla="*/ 47074 w 120994"/>
                                                <a:gd name="connsiteY46" fmla="*/ 17322 h 149235"/>
                                                <a:gd name="connsiteX47" fmla="*/ 50508 w 120994"/>
                                                <a:gd name="connsiteY47" fmla="*/ 23736 h 149235"/>
                                                <a:gd name="connsiteX48" fmla="*/ 65668 w 120994"/>
                                                <a:gd name="connsiteY48" fmla="*/ 21663 h 149235"/>
                                                <a:gd name="connsiteX49" fmla="*/ 78431 w 120994"/>
                                                <a:gd name="connsiteY49" fmla="*/ 12139 h 149235"/>
                                                <a:gd name="connsiteX50" fmla="*/ 85103 w 120994"/>
                                                <a:gd name="connsiteY50" fmla="*/ 6503 h 149235"/>
                                                <a:gd name="connsiteX51" fmla="*/ 86853 w 120994"/>
                                                <a:gd name="connsiteY51" fmla="*/ 3264 h 149235"/>
                                                <a:gd name="connsiteX52" fmla="*/ 94173 w 120994"/>
                                                <a:gd name="connsiteY52" fmla="*/ 3393 h 149235"/>
                                                <a:gd name="connsiteX53" fmla="*/ 106353 w 120994"/>
                                                <a:gd name="connsiteY53" fmla="*/ 1126 h 149235"/>
                                                <a:gd name="connsiteX54" fmla="*/ 118338 w 120994"/>
                                                <a:gd name="connsiteY54" fmla="*/ 1838 h 149235"/>
                                                <a:gd name="connsiteX55" fmla="*/ 119116 w 120994"/>
                                                <a:gd name="connsiteY55" fmla="*/ 13889 h 149235"/>
                                                <a:gd name="connsiteX56" fmla="*/ 107713 w 120994"/>
                                                <a:gd name="connsiteY56" fmla="*/ 19978 h 149235"/>
                                                <a:gd name="connsiteX57" fmla="*/ 97607 w 120994"/>
                                                <a:gd name="connsiteY57" fmla="*/ 24189 h 149235"/>
                                                <a:gd name="connsiteX58" fmla="*/ 96312 w 120994"/>
                                                <a:gd name="connsiteY58" fmla="*/ 28400 h 14923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20994" h="149235">
                                                  <a:moveTo>
                                                    <a:pt x="96052" y="28465"/>
                                                  </a:moveTo>
                                                  <a:cubicBezTo>
                                                    <a:pt x="94756" y="32482"/>
                                                    <a:pt x="90740" y="35138"/>
                                                    <a:pt x="86658" y="36045"/>
                                                  </a:cubicBezTo>
                                                  <a:cubicBezTo>
                                                    <a:pt x="82577" y="36952"/>
                                                    <a:pt x="78301" y="36499"/>
                                                    <a:pt x="74090" y="36045"/>
                                                  </a:cubicBezTo>
                                                  <a:cubicBezTo>
                                                    <a:pt x="73313" y="40127"/>
                                                    <a:pt x="76228" y="44597"/>
                                                    <a:pt x="80309" y="45569"/>
                                                  </a:cubicBezTo>
                                                  <a:cubicBezTo>
                                                    <a:pt x="83548" y="46346"/>
                                                    <a:pt x="88019" y="45634"/>
                                                    <a:pt x="89315" y="48743"/>
                                                  </a:cubicBezTo>
                                                  <a:cubicBezTo>
                                                    <a:pt x="90351" y="51270"/>
                                                    <a:pt x="88019" y="54120"/>
                                                    <a:pt x="88861" y="56712"/>
                                                  </a:cubicBezTo>
                                                  <a:cubicBezTo>
                                                    <a:pt x="89250" y="57813"/>
                                                    <a:pt x="90157" y="58656"/>
                                                    <a:pt x="90934" y="59562"/>
                                                  </a:cubicBezTo>
                                                  <a:cubicBezTo>
                                                    <a:pt x="96765" y="66495"/>
                                                    <a:pt x="93331" y="76990"/>
                                                    <a:pt x="94563" y="85995"/>
                                                  </a:cubicBezTo>
                                                  <a:cubicBezTo>
                                                    <a:pt x="94756" y="87226"/>
                                                    <a:pt x="95016" y="88522"/>
                                                    <a:pt x="95858" y="89429"/>
                                                  </a:cubicBezTo>
                                                  <a:cubicBezTo>
                                                    <a:pt x="96635" y="90271"/>
                                                    <a:pt x="97802" y="90724"/>
                                                    <a:pt x="98903" y="91178"/>
                                                  </a:cubicBezTo>
                                                  <a:cubicBezTo>
                                                    <a:pt x="102855" y="93057"/>
                                                    <a:pt x="106030" y="96944"/>
                                                    <a:pt x="106288" y="101284"/>
                                                  </a:cubicBezTo>
                                                  <a:cubicBezTo>
                                                    <a:pt x="106548" y="105625"/>
                                                    <a:pt x="103244" y="110160"/>
                                                    <a:pt x="98903" y="110678"/>
                                                  </a:cubicBezTo>
                                                  <a:cubicBezTo>
                                                    <a:pt x="96830" y="110873"/>
                                                    <a:pt x="94756" y="110290"/>
                                                    <a:pt x="92684" y="110290"/>
                                                  </a:cubicBezTo>
                                                  <a:cubicBezTo>
                                                    <a:pt x="88214" y="110290"/>
                                                    <a:pt x="84391" y="113399"/>
                                                    <a:pt x="80958" y="116250"/>
                                                  </a:cubicBezTo>
                                                  <a:cubicBezTo>
                                                    <a:pt x="78690" y="117351"/>
                                                    <a:pt x="76034" y="115149"/>
                                                    <a:pt x="75450" y="112687"/>
                                                  </a:cubicBezTo>
                                                  <a:cubicBezTo>
                                                    <a:pt x="74867" y="110225"/>
                                                    <a:pt x="75515" y="107698"/>
                                                    <a:pt x="75710" y="105236"/>
                                                  </a:cubicBezTo>
                                                  <a:cubicBezTo>
                                                    <a:pt x="75839" y="102710"/>
                                                    <a:pt x="75192" y="99859"/>
                                                    <a:pt x="72988" y="98693"/>
                                                  </a:cubicBezTo>
                                                  <a:cubicBezTo>
                                                    <a:pt x="70980" y="97721"/>
                                                    <a:pt x="68648" y="98499"/>
                                                    <a:pt x="66445" y="98239"/>
                                                  </a:cubicBezTo>
                                                  <a:cubicBezTo>
                                                    <a:pt x="62428" y="97721"/>
                                                    <a:pt x="59643" y="93705"/>
                                                    <a:pt x="58995" y="89688"/>
                                                  </a:cubicBezTo>
                                                  <a:cubicBezTo>
                                                    <a:pt x="58347" y="85671"/>
                                                    <a:pt x="59189" y="81590"/>
                                                    <a:pt x="59384" y="77573"/>
                                                  </a:cubicBezTo>
                                                  <a:cubicBezTo>
                                                    <a:pt x="59643" y="73491"/>
                                                    <a:pt x="59189" y="69151"/>
                                                    <a:pt x="57051" y="65652"/>
                                                  </a:cubicBezTo>
                                                  <a:cubicBezTo>
                                                    <a:pt x="54914" y="62154"/>
                                                    <a:pt x="50962" y="59498"/>
                                                    <a:pt x="46880" y="60016"/>
                                                  </a:cubicBezTo>
                                                  <a:cubicBezTo>
                                                    <a:pt x="43187" y="60470"/>
                                                    <a:pt x="40142" y="63385"/>
                                                    <a:pt x="38782" y="66819"/>
                                                  </a:cubicBezTo>
                                                  <a:cubicBezTo>
                                                    <a:pt x="37421" y="70252"/>
                                                    <a:pt x="37680" y="74139"/>
                                                    <a:pt x="38782" y="77703"/>
                                                  </a:cubicBezTo>
                                                  <a:cubicBezTo>
                                                    <a:pt x="39560" y="80423"/>
                                                    <a:pt x="40855" y="83145"/>
                                                    <a:pt x="40402" y="85930"/>
                                                  </a:cubicBezTo>
                                                  <a:cubicBezTo>
                                                    <a:pt x="39883" y="89429"/>
                                                    <a:pt x="36838" y="92279"/>
                                                    <a:pt x="36838" y="95778"/>
                                                  </a:cubicBezTo>
                                                  <a:cubicBezTo>
                                                    <a:pt x="36838" y="101608"/>
                                                    <a:pt x="44936" y="106662"/>
                                                    <a:pt x="41957" y="111650"/>
                                                  </a:cubicBezTo>
                                                  <a:cubicBezTo>
                                                    <a:pt x="44547" y="111650"/>
                                                    <a:pt x="46556" y="113853"/>
                                                    <a:pt x="47981" y="116056"/>
                                                  </a:cubicBezTo>
                                                  <a:cubicBezTo>
                                                    <a:pt x="49990" y="119165"/>
                                                    <a:pt x="51480" y="122923"/>
                                                    <a:pt x="50767" y="126551"/>
                                                  </a:cubicBezTo>
                                                  <a:cubicBezTo>
                                                    <a:pt x="50055" y="130179"/>
                                                    <a:pt x="46491" y="133418"/>
                                                    <a:pt x="42864" y="132706"/>
                                                  </a:cubicBezTo>
                                                  <a:cubicBezTo>
                                                    <a:pt x="42345" y="136398"/>
                                                    <a:pt x="41762" y="140221"/>
                                                    <a:pt x="39948" y="143460"/>
                                                  </a:cubicBezTo>
                                                  <a:cubicBezTo>
                                                    <a:pt x="38134" y="146699"/>
                                                    <a:pt x="34765" y="149420"/>
                                                    <a:pt x="31007" y="149226"/>
                                                  </a:cubicBezTo>
                                                  <a:cubicBezTo>
                                                    <a:pt x="27445" y="140026"/>
                                                    <a:pt x="24076" y="129078"/>
                                                    <a:pt x="29517" y="120850"/>
                                                  </a:cubicBezTo>
                                                  <a:cubicBezTo>
                                                    <a:pt x="30425" y="119425"/>
                                                    <a:pt x="31655" y="118129"/>
                                                    <a:pt x="32239" y="116509"/>
                                                  </a:cubicBezTo>
                                                  <a:cubicBezTo>
                                                    <a:pt x="33340" y="113399"/>
                                                    <a:pt x="31914" y="110095"/>
                                                    <a:pt x="30943" y="106986"/>
                                                  </a:cubicBezTo>
                                                  <a:cubicBezTo>
                                                    <a:pt x="28740" y="100053"/>
                                                    <a:pt x="28675" y="92474"/>
                                                    <a:pt x="30619" y="85477"/>
                                                  </a:cubicBezTo>
                                                  <a:cubicBezTo>
                                                    <a:pt x="23946" y="84246"/>
                                                    <a:pt x="17013" y="84505"/>
                                                    <a:pt x="10665" y="82173"/>
                                                  </a:cubicBezTo>
                                                  <a:cubicBezTo>
                                                    <a:pt x="4316" y="79776"/>
                                                    <a:pt x="-1385" y="73427"/>
                                                    <a:pt x="299" y="66819"/>
                                                  </a:cubicBezTo>
                                                  <a:cubicBezTo>
                                                    <a:pt x="1530" y="61960"/>
                                                    <a:pt x="6130" y="58979"/>
                                                    <a:pt x="9822" y="55675"/>
                                                  </a:cubicBezTo>
                                                  <a:cubicBezTo>
                                                    <a:pt x="13516" y="52371"/>
                                                    <a:pt x="16949" y="47188"/>
                                                    <a:pt x="14811" y="42718"/>
                                                  </a:cubicBezTo>
                                                  <a:cubicBezTo>
                                                    <a:pt x="13839" y="40645"/>
                                                    <a:pt x="11701" y="38766"/>
                                                    <a:pt x="12219" y="36499"/>
                                                  </a:cubicBezTo>
                                                  <a:cubicBezTo>
                                                    <a:pt x="12673" y="34426"/>
                                                    <a:pt x="15070" y="33519"/>
                                                    <a:pt x="16755" y="32158"/>
                                                  </a:cubicBezTo>
                                                  <a:cubicBezTo>
                                                    <a:pt x="24205" y="26003"/>
                                                    <a:pt x="15459" y="11167"/>
                                                    <a:pt x="22909" y="5078"/>
                                                  </a:cubicBezTo>
                                                  <a:cubicBezTo>
                                                    <a:pt x="24399" y="3847"/>
                                                    <a:pt x="26278" y="3264"/>
                                                    <a:pt x="28157" y="2810"/>
                                                  </a:cubicBezTo>
                                                  <a:cubicBezTo>
                                                    <a:pt x="32109" y="1774"/>
                                                    <a:pt x="37421" y="1709"/>
                                                    <a:pt x="39041" y="5466"/>
                                                  </a:cubicBezTo>
                                                  <a:cubicBezTo>
                                                    <a:pt x="40531" y="9030"/>
                                                    <a:pt x="37227" y="13500"/>
                                                    <a:pt x="39170" y="16804"/>
                                                  </a:cubicBezTo>
                                                  <a:cubicBezTo>
                                                    <a:pt x="41827" y="16545"/>
                                                    <a:pt x="44612" y="16286"/>
                                                    <a:pt x="47074" y="17322"/>
                                                  </a:cubicBezTo>
                                                  <a:cubicBezTo>
                                                    <a:pt x="49536" y="18359"/>
                                                    <a:pt x="51415" y="21209"/>
                                                    <a:pt x="50508" y="23736"/>
                                                  </a:cubicBezTo>
                                                  <a:cubicBezTo>
                                                    <a:pt x="55302" y="26003"/>
                                                    <a:pt x="61133" y="24449"/>
                                                    <a:pt x="65668" y="21663"/>
                                                  </a:cubicBezTo>
                                                  <a:cubicBezTo>
                                                    <a:pt x="70203" y="18877"/>
                                                    <a:pt x="73960" y="14990"/>
                                                    <a:pt x="78431" y="12139"/>
                                                  </a:cubicBezTo>
                                                  <a:cubicBezTo>
                                                    <a:pt x="80893" y="10584"/>
                                                    <a:pt x="83743" y="9159"/>
                                                    <a:pt x="85103" y="6503"/>
                                                  </a:cubicBezTo>
                                                  <a:cubicBezTo>
                                                    <a:pt x="85687" y="5402"/>
                                                    <a:pt x="85946" y="4106"/>
                                                    <a:pt x="86853" y="3264"/>
                                                  </a:cubicBezTo>
                                                  <a:cubicBezTo>
                                                    <a:pt x="88732" y="1579"/>
                                                    <a:pt x="91647" y="2875"/>
                                                    <a:pt x="94173" y="3393"/>
                                                  </a:cubicBezTo>
                                                  <a:cubicBezTo>
                                                    <a:pt x="98255" y="4171"/>
                                                    <a:pt x="102401" y="2422"/>
                                                    <a:pt x="106353" y="1126"/>
                                                  </a:cubicBezTo>
                                                  <a:cubicBezTo>
                                                    <a:pt x="110305" y="-170"/>
                                                    <a:pt x="115099" y="-818"/>
                                                    <a:pt x="118338" y="1838"/>
                                                  </a:cubicBezTo>
                                                  <a:cubicBezTo>
                                                    <a:pt x="121772" y="4689"/>
                                                    <a:pt x="121707" y="10261"/>
                                                    <a:pt x="119116" y="13889"/>
                                                  </a:cubicBezTo>
                                                  <a:cubicBezTo>
                                                    <a:pt x="116525" y="17452"/>
                                                    <a:pt x="112054" y="19266"/>
                                                    <a:pt x="107713" y="19978"/>
                                                  </a:cubicBezTo>
                                                  <a:cubicBezTo>
                                                    <a:pt x="103956" y="20561"/>
                                                    <a:pt x="99486" y="20885"/>
                                                    <a:pt x="97607" y="24189"/>
                                                  </a:cubicBezTo>
                                                  <a:cubicBezTo>
                                                    <a:pt x="96895" y="25485"/>
                                                    <a:pt x="96765" y="27040"/>
                                                    <a:pt x="96312" y="2840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4" name="Freeform: Shape 202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52A8EF6-61A9-4DC0-B628-7194BE82177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149725" y="4337352"/>
                                              <a:ext cx="43064" cy="5791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2408 w 43064"/>
                                                <a:gd name="connsiteY0" fmla="*/ 24878 h 57918"/>
                                                <a:gd name="connsiteX1" fmla="*/ 42408 w 43064"/>
                                                <a:gd name="connsiteY1" fmla="*/ 24683 h 57918"/>
                                                <a:gd name="connsiteX2" fmla="*/ 42149 w 43064"/>
                                                <a:gd name="connsiteY2" fmla="*/ 24489 h 57918"/>
                                                <a:gd name="connsiteX3" fmla="*/ 23361 w 43064"/>
                                                <a:gd name="connsiteY3" fmla="*/ 12244 h 57918"/>
                                                <a:gd name="connsiteX4" fmla="*/ 22518 w 43064"/>
                                                <a:gd name="connsiteY4" fmla="*/ 11791 h 57918"/>
                                                <a:gd name="connsiteX5" fmla="*/ 22389 w 43064"/>
                                                <a:gd name="connsiteY5" fmla="*/ 10690 h 57918"/>
                                                <a:gd name="connsiteX6" fmla="*/ 22583 w 43064"/>
                                                <a:gd name="connsiteY6" fmla="*/ 3434 h 57918"/>
                                                <a:gd name="connsiteX7" fmla="*/ 22000 w 43064"/>
                                                <a:gd name="connsiteY7" fmla="*/ 1101 h 57918"/>
                                                <a:gd name="connsiteX8" fmla="*/ 19020 w 43064"/>
                                                <a:gd name="connsiteY8" fmla="*/ 0 h 57918"/>
                                                <a:gd name="connsiteX9" fmla="*/ 10728 w 43064"/>
                                                <a:gd name="connsiteY9" fmla="*/ 0 h 57918"/>
                                                <a:gd name="connsiteX10" fmla="*/ 8201 w 43064"/>
                                                <a:gd name="connsiteY10" fmla="*/ 324 h 57918"/>
                                                <a:gd name="connsiteX11" fmla="*/ 5804 w 43064"/>
                                                <a:gd name="connsiteY11" fmla="*/ 5636 h 57918"/>
                                                <a:gd name="connsiteX12" fmla="*/ 6128 w 43064"/>
                                                <a:gd name="connsiteY12" fmla="*/ 7839 h 57918"/>
                                                <a:gd name="connsiteX13" fmla="*/ 6516 w 43064"/>
                                                <a:gd name="connsiteY13" fmla="*/ 10560 h 57918"/>
                                                <a:gd name="connsiteX14" fmla="*/ 3472 w 43064"/>
                                                <a:gd name="connsiteY14" fmla="*/ 16974 h 57918"/>
                                                <a:gd name="connsiteX15" fmla="*/ 103 w 43064"/>
                                                <a:gd name="connsiteY15" fmla="*/ 23647 h 57918"/>
                                                <a:gd name="connsiteX16" fmla="*/ 4509 w 43064"/>
                                                <a:gd name="connsiteY16" fmla="*/ 34919 h 57918"/>
                                                <a:gd name="connsiteX17" fmla="*/ 7359 w 43064"/>
                                                <a:gd name="connsiteY17" fmla="*/ 39325 h 57918"/>
                                                <a:gd name="connsiteX18" fmla="*/ 9691 w 43064"/>
                                                <a:gd name="connsiteY18" fmla="*/ 51699 h 57918"/>
                                                <a:gd name="connsiteX19" fmla="*/ 11246 w 43064"/>
                                                <a:gd name="connsiteY19" fmla="*/ 57011 h 57918"/>
                                                <a:gd name="connsiteX20" fmla="*/ 13319 w 43064"/>
                                                <a:gd name="connsiteY20" fmla="*/ 57918 h 57918"/>
                                                <a:gd name="connsiteX21" fmla="*/ 13708 w 43064"/>
                                                <a:gd name="connsiteY21" fmla="*/ 57854 h 57918"/>
                                                <a:gd name="connsiteX22" fmla="*/ 15522 w 43064"/>
                                                <a:gd name="connsiteY22" fmla="*/ 57141 h 57918"/>
                                                <a:gd name="connsiteX23" fmla="*/ 15781 w 43064"/>
                                                <a:gd name="connsiteY23" fmla="*/ 56947 h 57918"/>
                                                <a:gd name="connsiteX24" fmla="*/ 20251 w 43064"/>
                                                <a:gd name="connsiteY24" fmla="*/ 55457 h 57918"/>
                                                <a:gd name="connsiteX25" fmla="*/ 27054 w 43064"/>
                                                <a:gd name="connsiteY25" fmla="*/ 52152 h 57918"/>
                                                <a:gd name="connsiteX26" fmla="*/ 29451 w 43064"/>
                                                <a:gd name="connsiteY26" fmla="*/ 44573 h 57918"/>
                                                <a:gd name="connsiteX27" fmla="*/ 32301 w 43064"/>
                                                <a:gd name="connsiteY27" fmla="*/ 37770 h 57918"/>
                                                <a:gd name="connsiteX28" fmla="*/ 35605 w 43064"/>
                                                <a:gd name="connsiteY28" fmla="*/ 37252 h 57918"/>
                                                <a:gd name="connsiteX29" fmla="*/ 39816 w 43064"/>
                                                <a:gd name="connsiteY29" fmla="*/ 36474 h 57918"/>
                                                <a:gd name="connsiteX30" fmla="*/ 42408 w 43064"/>
                                                <a:gd name="connsiteY30" fmla="*/ 24878 h 57918"/>
                                                <a:gd name="connsiteX31" fmla="*/ 35540 w 43064"/>
                                                <a:gd name="connsiteY31" fmla="*/ 35308 h 57918"/>
                                                <a:gd name="connsiteX32" fmla="*/ 31459 w 43064"/>
                                                <a:gd name="connsiteY32" fmla="*/ 36021 h 57918"/>
                                                <a:gd name="connsiteX33" fmla="*/ 27507 w 43064"/>
                                                <a:gd name="connsiteY33" fmla="*/ 44313 h 57918"/>
                                                <a:gd name="connsiteX34" fmla="*/ 25564 w 43064"/>
                                                <a:gd name="connsiteY34" fmla="*/ 50857 h 57918"/>
                                                <a:gd name="connsiteX35" fmla="*/ 19798 w 43064"/>
                                                <a:gd name="connsiteY35" fmla="*/ 53513 h 57918"/>
                                                <a:gd name="connsiteX36" fmla="*/ 14874 w 43064"/>
                                                <a:gd name="connsiteY36" fmla="*/ 55262 h 57918"/>
                                                <a:gd name="connsiteX37" fmla="*/ 14550 w 43064"/>
                                                <a:gd name="connsiteY37" fmla="*/ 55457 h 57918"/>
                                                <a:gd name="connsiteX38" fmla="*/ 13449 w 43064"/>
                                                <a:gd name="connsiteY38" fmla="*/ 55975 h 57918"/>
                                                <a:gd name="connsiteX39" fmla="*/ 13319 w 43064"/>
                                                <a:gd name="connsiteY39" fmla="*/ 55975 h 57918"/>
                                                <a:gd name="connsiteX40" fmla="*/ 12607 w 43064"/>
                                                <a:gd name="connsiteY40" fmla="*/ 55651 h 57918"/>
                                                <a:gd name="connsiteX41" fmla="*/ 11635 w 43064"/>
                                                <a:gd name="connsiteY41" fmla="*/ 51764 h 57918"/>
                                                <a:gd name="connsiteX42" fmla="*/ 9108 w 43064"/>
                                                <a:gd name="connsiteY42" fmla="*/ 38418 h 57918"/>
                                                <a:gd name="connsiteX43" fmla="*/ 6063 w 43064"/>
                                                <a:gd name="connsiteY43" fmla="*/ 33818 h 57918"/>
                                                <a:gd name="connsiteX44" fmla="*/ 2047 w 43064"/>
                                                <a:gd name="connsiteY44" fmla="*/ 23906 h 57918"/>
                                                <a:gd name="connsiteX45" fmla="*/ 5091 w 43064"/>
                                                <a:gd name="connsiteY45" fmla="*/ 18140 h 57918"/>
                                                <a:gd name="connsiteX46" fmla="*/ 8460 w 43064"/>
                                                <a:gd name="connsiteY46" fmla="*/ 10560 h 57918"/>
                                                <a:gd name="connsiteX47" fmla="*/ 8071 w 43064"/>
                                                <a:gd name="connsiteY47" fmla="*/ 7450 h 57918"/>
                                                <a:gd name="connsiteX48" fmla="*/ 7748 w 43064"/>
                                                <a:gd name="connsiteY48" fmla="*/ 5507 h 57918"/>
                                                <a:gd name="connsiteX49" fmla="*/ 9043 w 43064"/>
                                                <a:gd name="connsiteY49" fmla="*/ 2073 h 57918"/>
                                                <a:gd name="connsiteX50" fmla="*/ 10728 w 43064"/>
                                                <a:gd name="connsiteY50" fmla="*/ 1879 h 57918"/>
                                                <a:gd name="connsiteX51" fmla="*/ 19020 w 43064"/>
                                                <a:gd name="connsiteY51" fmla="*/ 1879 h 57918"/>
                                                <a:gd name="connsiteX52" fmla="*/ 20510 w 43064"/>
                                                <a:gd name="connsiteY52" fmla="*/ 2268 h 57918"/>
                                                <a:gd name="connsiteX53" fmla="*/ 20640 w 43064"/>
                                                <a:gd name="connsiteY53" fmla="*/ 3434 h 57918"/>
                                                <a:gd name="connsiteX54" fmla="*/ 20446 w 43064"/>
                                                <a:gd name="connsiteY54" fmla="*/ 10690 h 57918"/>
                                                <a:gd name="connsiteX55" fmla="*/ 20964 w 43064"/>
                                                <a:gd name="connsiteY55" fmla="*/ 13022 h 57918"/>
                                                <a:gd name="connsiteX56" fmla="*/ 22713 w 43064"/>
                                                <a:gd name="connsiteY56" fmla="*/ 14058 h 57918"/>
                                                <a:gd name="connsiteX57" fmla="*/ 40594 w 43064"/>
                                                <a:gd name="connsiteY57" fmla="*/ 25590 h 57918"/>
                                                <a:gd name="connsiteX58" fmla="*/ 38909 w 43064"/>
                                                <a:gd name="connsiteY58" fmla="*/ 34725 h 57918"/>
                                                <a:gd name="connsiteX59" fmla="*/ 35540 w 43064"/>
                                                <a:gd name="connsiteY59" fmla="*/ 35308 h 5791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3064" h="57918">
                                                  <a:moveTo>
                                                    <a:pt x="42408" y="24878"/>
                                                  </a:moveTo>
                                                  <a:lnTo>
                                                    <a:pt x="42408" y="24683"/>
                                                  </a:lnTo>
                                                  <a:cubicBezTo>
                                                    <a:pt x="42408" y="24683"/>
                                                    <a:pt x="42149" y="24489"/>
                                                    <a:pt x="42149" y="24489"/>
                                                  </a:cubicBezTo>
                                                  <a:cubicBezTo>
                                                    <a:pt x="36965" y="19047"/>
                                                    <a:pt x="30487" y="14771"/>
                                                    <a:pt x="23361" y="12244"/>
                                                  </a:cubicBezTo>
                                                  <a:cubicBezTo>
                                                    <a:pt x="23037" y="12115"/>
                                                    <a:pt x="22648" y="11985"/>
                                                    <a:pt x="22518" y="11791"/>
                                                  </a:cubicBezTo>
                                                  <a:cubicBezTo>
                                                    <a:pt x="22389" y="11597"/>
                                                    <a:pt x="22389" y="11078"/>
                                                    <a:pt x="22389" y="10690"/>
                                                  </a:cubicBezTo>
                                                  <a:lnTo>
                                                    <a:pt x="22583" y="3434"/>
                                                  </a:lnTo>
                                                  <a:cubicBezTo>
                                                    <a:pt x="22583" y="2786"/>
                                                    <a:pt x="22583" y="1879"/>
                                                    <a:pt x="22000" y="1101"/>
                                                  </a:cubicBezTo>
                                                  <a:cubicBezTo>
                                                    <a:pt x="21158" y="0"/>
                                                    <a:pt x="19733" y="0"/>
                                                    <a:pt x="19020" y="0"/>
                                                  </a:cubicBezTo>
                                                  <a:lnTo>
                                                    <a:pt x="10728" y="0"/>
                                                  </a:lnTo>
                                                  <a:cubicBezTo>
                                                    <a:pt x="9950" y="0"/>
                                                    <a:pt x="9043" y="0"/>
                                                    <a:pt x="8201" y="324"/>
                                                  </a:cubicBezTo>
                                                  <a:cubicBezTo>
                                                    <a:pt x="6192" y="1296"/>
                                                    <a:pt x="5609" y="3822"/>
                                                    <a:pt x="5804" y="5636"/>
                                                  </a:cubicBezTo>
                                                  <a:cubicBezTo>
                                                    <a:pt x="5869" y="6414"/>
                                                    <a:pt x="5998" y="7126"/>
                                                    <a:pt x="6128" y="7839"/>
                                                  </a:cubicBezTo>
                                                  <a:cubicBezTo>
                                                    <a:pt x="6322" y="8746"/>
                                                    <a:pt x="6516" y="9653"/>
                                                    <a:pt x="6516" y="10560"/>
                                                  </a:cubicBezTo>
                                                  <a:cubicBezTo>
                                                    <a:pt x="6516" y="12827"/>
                                                    <a:pt x="5027" y="14901"/>
                                                    <a:pt x="3472" y="16974"/>
                                                  </a:cubicBezTo>
                                                  <a:cubicBezTo>
                                                    <a:pt x="2047" y="18982"/>
                                                    <a:pt x="556" y="21120"/>
                                                    <a:pt x="103" y="23647"/>
                                                  </a:cubicBezTo>
                                                  <a:cubicBezTo>
                                                    <a:pt x="-545" y="27923"/>
                                                    <a:pt x="1982" y="31486"/>
                                                    <a:pt x="4509" y="34919"/>
                                                  </a:cubicBezTo>
                                                  <a:cubicBezTo>
                                                    <a:pt x="5480" y="36345"/>
                                                    <a:pt x="6581" y="37835"/>
                                                    <a:pt x="7359" y="39325"/>
                                                  </a:cubicBezTo>
                                                  <a:cubicBezTo>
                                                    <a:pt x="9043" y="42499"/>
                                                    <a:pt x="9821" y="46516"/>
                                                    <a:pt x="9691" y="51699"/>
                                                  </a:cubicBezTo>
                                                  <a:cubicBezTo>
                                                    <a:pt x="9691" y="52541"/>
                                                    <a:pt x="9691" y="55457"/>
                                                    <a:pt x="11246" y="57011"/>
                                                  </a:cubicBezTo>
                                                  <a:cubicBezTo>
                                                    <a:pt x="11765" y="57594"/>
                                                    <a:pt x="12477" y="57918"/>
                                                    <a:pt x="13319" y="57918"/>
                                                  </a:cubicBezTo>
                                                  <a:cubicBezTo>
                                                    <a:pt x="13449" y="57918"/>
                                                    <a:pt x="13513" y="57918"/>
                                                    <a:pt x="13708" y="57854"/>
                                                  </a:cubicBezTo>
                                                  <a:cubicBezTo>
                                                    <a:pt x="14420" y="57789"/>
                                                    <a:pt x="15004" y="57465"/>
                                                    <a:pt x="15522" y="57141"/>
                                                  </a:cubicBezTo>
                                                  <a:lnTo>
                                                    <a:pt x="15781" y="56947"/>
                                                  </a:lnTo>
                                                  <a:cubicBezTo>
                                                    <a:pt x="17141" y="56234"/>
                                                    <a:pt x="18631" y="55845"/>
                                                    <a:pt x="20251" y="55457"/>
                                                  </a:cubicBezTo>
                                                  <a:cubicBezTo>
                                                    <a:pt x="22713" y="54809"/>
                                                    <a:pt x="25305" y="54161"/>
                                                    <a:pt x="27054" y="52152"/>
                                                  </a:cubicBezTo>
                                                  <a:cubicBezTo>
                                                    <a:pt x="28803" y="50079"/>
                                                    <a:pt x="29127" y="47293"/>
                                                    <a:pt x="29451" y="44573"/>
                                                  </a:cubicBezTo>
                                                  <a:cubicBezTo>
                                                    <a:pt x="29774" y="41528"/>
                                                    <a:pt x="30099" y="38871"/>
                                                    <a:pt x="32301" y="37770"/>
                                                  </a:cubicBezTo>
                                                  <a:cubicBezTo>
                                                    <a:pt x="33273" y="37316"/>
                                                    <a:pt x="34375" y="37316"/>
                                                    <a:pt x="35605" y="37252"/>
                                                  </a:cubicBezTo>
                                                  <a:cubicBezTo>
                                                    <a:pt x="37030" y="37252"/>
                                                    <a:pt x="38456" y="37122"/>
                                                    <a:pt x="39816" y="36474"/>
                                                  </a:cubicBezTo>
                                                  <a:cubicBezTo>
                                                    <a:pt x="42926" y="34790"/>
                                                    <a:pt x="43833" y="30838"/>
                                                    <a:pt x="42408" y="24878"/>
                                                  </a:cubicBezTo>
                                                  <a:close/>
                                                  <a:moveTo>
                                                    <a:pt x="35540" y="35308"/>
                                                  </a:moveTo>
                                                  <a:cubicBezTo>
                                                    <a:pt x="34180" y="35373"/>
                                                    <a:pt x="32755" y="35373"/>
                                                    <a:pt x="31459" y="36021"/>
                                                  </a:cubicBezTo>
                                                  <a:cubicBezTo>
                                                    <a:pt x="28284" y="37576"/>
                                                    <a:pt x="27896" y="41009"/>
                                                    <a:pt x="27507" y="44313"/>
                                                  </a:cubicBezTo>
                                                  <a:cubicBezTo>
                                                    <a:pt x="27248" y="46775"/>
                                                    <a:pt x="26924" y="49237"/>
                                                    <a:pt x="25564" y="50857"/>
                                                  </a:cubicBezTo>
                                                  <a:cubicBezTo>
                                                    <a:pt x="24203" y="52476"/>
                                                    <a:pt x="22065" y="52995"/>
                                                    <a:pt x="19798" y="53513"/>
                                                  </a:cubicBezTo>
                                                  <a:cubicBezTo>
                                                    <a:pt x="18113" y="53966"/>
                                                    <a:pt x="16364" y="54355"/>
                                                    <a:pt x="14874" y="55262"/>
                                                  </a:cubicBezTo>
                                                  <a:lnTo>
                                                    <a:pt x="14550" y="55457"/>
                                                  </a:lnTo>
                                                  <a:cubicBezTo>
                                                    <a:pt x="14097" y="55716"/>
                                                    <a:pt x="13772" y="55910"/>
                                                    <a:pt x="13449" y="55975"/>
                                                  </a:cubicBezTo>
                                                  <a:lnTo>
                                                    <a:pt x="13319" y="55975"/>
                                                  </a:lnTo>
                                                  <a:cubicBezTo>
                                                    <a:pt x="13319" y="55975"/>
                                                    <a:pt x="12801" y="55845"/>
                                                    <a:pt x="12607" y="55651"/>
                                                  </a:cubicBezTo>
                                                  <a:cubicBezTo>
                                                    <a:pt x="11958" y="55003"/>
                                                    <a:pt x="11570" y="53383"/>
                                                    <a:pt x="11635" y="51764"/>
                                                  </a:cubicBezTo>
                                                  <a:cubicBezTo>
                                                    <a:pt x="11765" y="46257"/>
                                                    <a:pt x="10922" y="41916"/>
                                                    <a:pt x="9108" y="38418"/>
                                                  </a:cubicBezTo>
                                                  <a:cubicBezTo>
                                                    <a:pt x="8201" y="36798"/>
                                                    <a:pt x="7099" y="35243"/>
                                                    <a:pt x="6063" y="33818"/>
                                                  </a:cubicBezTo>
                                                  <a:cubicBezTo>
                                                    <a:pt x="3731" y="30514"/>
                                                    <a:pt x="1463" y="27469"/>
                                                    <a:pt x="2047" y="23906"/>
                                                  </a:cubicBezTo>
                                                  <a:cubicBezTo>
                                                    <a:pt x="2370" y="21833"/>
                                                    <a:pt x="3666" y="20019"/>
                                                    <a:pt x="5091" y="18140"/>
                                                  </a:cubicBezTo>
                                                  <a:cubicBezTo>
                                                    <a:pt x="6711" y="15872"/>
                                                    <a:pt x="8396" y="13475"/>
                                                    <a:pt x="8460" y="10560"/>
                                                  </a:cubicBezTo>
                                                  <a:cubicBezTo>
                                                    <a:pt x="8460" y="9459"/>
                                                    <a:pt x="8266" y="8422"/>
                                                    <a:pt x="8071" y="7450"/>
                                                  </a:cubicBezTo>
                                                  <a:cubicBezTo>
                                                    <a:pt x="7942" y="6802"/>
                                                    <a:pt x="7748" y="6155"/>
                                                    <a:pt x="7748" y="5507"/>
                                                  </a:cubicBezTo>
                                                  <a:cubicBezTo>
                                                    <a:pt x="7618" y="4146"/>
                                                    <a:pt x="7942" y="2591"/>
                                                    <a:pt x="9043" y="2073"/>
                                                  </a:cubicBezTo>
                                                  <a:cubicBezTo>
                                                    <a:pt x="9496" y="1879"/>
                                                    <a:pt x="10145" y="1879"/>
                                                    <a:pt x="10728" y="1879"/>
                                                  </a:cubicBezTo>
                                                  <a:lnTo>
                                                    <a:pt x="19020" y="1879"/>
                                                  </a:lnTo>
                                                  <a:cubicBezTo>
                                                    <a:pt x="19603" y="1943"/>
                                                    <a:pt x="20251" y="2008"/>
                                                    <a:pt x="20510" y="2268"/>
                                                  </a:cubicBezTo>
                                                  <a:cubicBezTo>
                                                    <a:pt x="20640" y="2527"/>
                                                    <a:pt x="20640" y="3045"/>
                                                    <a:pt x="20640" y="3434"/>
                                                  </a:cubicBezTo>
                                                  <a:lnTo>
                                                    <a:pt x="20446" y="10690"/>
                                                  </a:lnTo>
                                                  <a:cubicBezTo>
                                                    <a:pt x="20446" y="11273"/>
                                                    <a:pt x="20381" y="12244"/>
                                                    <a:pt x="20964" y="13022"/>
                                                  </a:cubicBezTo>
                                                  <a:cubicBezTo>
                                                    <a:pt x="21482" y="13605"/>
                                                    <a:pt x="22130" y="13864"/>
                                                    <a:pt x="22713" y="14058"/>
                                                  </a:cubicBezTo>
                                                  <a:cubicBezTo>
                                                    <a:pt x="29451" y="16456"/>
                                                    <a:pt x="35605" y="20472"/>
                                                    <a:pt x="40594" y="25590"/>
                                                  </a:cubicBezTo>
                                                  <a:cubicBezTo>
                                                    <a:pt x="41242" y="28506"/>
                                                    <a:pt x="41824" y="33235"/>
                                                    <a:pt x="38909" y="34725"/>
                                                  </a:cubicBezTo>
                                                  <a:cubicBezTo>
                                                    <a:pt x="37937" y="35243"/>
                                                    <a:pt x="36772" y="35243"/>
                                                    <a:pt x="35540" y="3530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5" name="Freeform: Shape 202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C4F7E74-E5F8-47E8-96BC-4CF2BAA554E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173845" y="4467766"/>
                                              <a:ext cx="71531" cy="2848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4508 w 71531"/>
                                                <a:gd name="connsiteY0" fmla="*/ 15937 h 28488"/>
                                                <a:gd name="connsiteX1" fmla="*/ 3582 w 71531"/>
                                                <a:gd name="connsiteY1" fmla="*/ 18658 h 28488"/>
                                                <a:gd name="connsiteX2" fmla="*/ 408 w 71531"/>
                                                <a:gd name="connsiteY2" fmla="*/ 17038 h 28488"/>
                                                <a:gd name="connsiteX3" fmla="*/ 83 w 71531"/>
                                                <a:gd name="connsiteY3" fmla="*/ 13605 h 28488"/>
                                                <a:gd name="connsiteX4" fmla="*/ 1250 w 71531"/>
                                                <a:gd name="connsiteY4" fmla="*/ 3693 h 28488"/>
                                                <a:gd name="connsiteX5" fmla="*/ 11097 w 71531"/>
                                                <a:gd name="connsiteY5" fmla="*/ 324 h 28488"/>
                                                <a:gd name="connsiteX6" fmla="*/ 44721 w 71531"/>
                                                <a:gd name="connsiteY6" fmla="*/ 0 h 28488"/>
                                                <a:gd name="connsiteX7" fmla="*/ 51199 w 71531"/>
                                                <a:gd name="connsiteY7" fmla="*/ 2591 h 28488"/>
                                                <a:gd name="connsiteX8" fmla="*/ 52689 w 71531"/>
                                                <a:gd name="connsiteY8" fmla="*/ 7321 h 28488"/>
                                                <a:gd name="connsiteX9" fmla="*/ 57937 w 71531"/>
                                                <a:gd name="connsiteY9" fmla="*/ 7580 h 28488"/>
                                                <a:gd name="connsiteX10" fmla="*/ 62796 w 71531"/>
                                                <a:gd name="connsiteY10" fmla="*/ 12763 h 28488"/>
                                                <a:gd name="connsiteX11" fmla="*/ 65582 w 71531"/>
                                                <a:gd name="connsiteY11" fmla="*/ 13475 h 28488"/>
                                                <a:gd name="connsiteX12" fmla="*/ 71477 w 71531"/>
                                                <a:gd name="connsiteY12" fmla="*/ 19954 h 28488"/>
                                                <a:gd name="connsiteX13" fmla="*/ 67331 w 71531"/>
                                                <a:gd name="connsiteY13" fmla="*/ 27663 h 28488"/>
                                                <a:gd name="connsiteX14" fmla="*/ 53986 w 71531"/>
                                                <a:gd name="connsiteY14" fmla="*/ 23841 h 28488"/>
                                                <a:gd name="connsiteX15" fmla="*/ 49256 w 71531"/>
                                                <a:gd name="connsiteY15" fmla="*/ 19565 h 28488"/>
                                                <a:gd name="connsiteX16" fmla="*/ 35327 w 71531"/>
                                                <a:gd name="connsiteY16" fmla="*/ 18334 h 28488"/>
                                                <a:gd name="connsiteX17" fmla="*/ 24508 w 71531"/>
                                                <a:gd name="connsiteY17" fmla="*/ 15937 h 2848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71531" h="28488">
                                                  <a:moveTo>
                                                    <a:pt x="24508" y="15937"/>
                                                  </a:moveTo>
                                                  <a:cubicBezTo>
                                                    <a:pt x="17446" y="15289"/>
                                                    <a:pt x="10579" y="19630"/>
                                                    <a:pt x="3582" y="18658"/>
                                                  </a:cubicBezTo>
                                                  <a:cubicBezTo>
                                                    <a:pt x="2351" y="18464"/>
                                                    <a:pt x="1055" y="18075"/>
                                                    <a:pt x="408" y="17038"/>
                                                  </a:cubicBezTo>
                                                  <a:cubicBezTo>
                                                    <a:pt x="-175" y="16067"/>
                                                    <a:pt x="19" y="14771"/>
                                                    <a:pt x="83" y="13605"/>
                                                  </a:cubicBezTo>
                                                  <a:cubicBezTo>
                                                    <a:pt x="278" y="10236"/>
                                                    <a:pt x="-629" y="6479"/>
                                                    <a:pt x="1250" y="3693"/>
                                                  </a:cubicBezTo>
                                                  <a:cubicBezTo>
                                                    <a:pt x="3258" y="713"/>
                                                    <a:pt x="7469" y="389"/>
                                                    <a:pt x="11097" y="324"/>
                                                  </a:cubicBezTo>
                                                  <a:cubicBezTo>
                                                    <a:pt x="22305" y="194"/>
                                                    <a:pt x="33513" y="65"/>
                                                    <a:pt x="44721" y="0"/>
                                                  </a:cubicBezTo>
                                                  <a:cubicBezTo>
                                                    <a:pt x="47183" y="0"/>
                                                    <a:pt x="50227" y="324"/>
                                                    <a:pt x="51199" y="2591"/>
                                                  </a:cubicBezTo>
                                                  <a:cubicBezTo>
                                                    <a:pt x="51847" y="4146"/>
                                                    <a:pt x="51329" y="6284"/>
                                                    <a:pt x="52689" y="7321"/>
                                                  </a:cubicBezTo>
                                                  <a:cubicBezTo>
                                                    <a:pt x="54115" y="8422"/>
                                                    <a:pt x="56188" y="7126"/>
                                                    <a:pt x="57937" y="7580"/>
                                                  </a:cubicBezTo>
                                                  <a:cubicBezTo>
                                                    <a:pt x="60270" y="8228"/>
                                                    <a:pt x="60723" y="11597"/>
                                                    <a:pt x="62796" y="12763"/>
                                                  </a:cubicBezTo>
                                                  <a:cubicBezTo>
                                                    <a:pt x="63639" y="13216"/>
                                                    <a:pt x="64675" y="13281"/>
                                                    <a:pt x="65582" y="13475"/>
                                                  </a:cubicBezTo>
                                                  <a:cubicBezTo>
                                                    <a:pt x="68627" y="14188"/>
                                                    <a:pt x="71089" y="16909"/>
                                                    <a:pt x="71477" y="19954"/>
                                                  </a:cubicBezTo>
                                                  <a:cubicBezTo>
                                                    <a:pt x="71866" y="23064"/>
                                                    <a:pt x="70117" y="26303"/>
                                                    <a:pt x="67331" y="27663"/>
                                                  </a:cubicBezTo>
                                                  <a:cubicBezTo>
                                                    <a:pt x="62926" y="29866"/>
                                                    <a:pt x="57483" y="27340"/>
                                                    <a:pt x="53986" y="23841"/>
                                                  </a:cubicBezTo>
                                                  <a:cubicBezTo>
                                                    <a:pt x="52496" y="22351"/>
                                                    <a:pt x="51135" y="20602"/>
                                                    <a:pt x="49256" y="19565"/>
                                                  </a:cubicBezTo>
                                                  <a:cubicBezTo>
                                                    <a:pt x="45175" y="17233"/>
                                                    <a:pt x="39992" y="18788"/>
                                                    <a:pt x="35327" y="18334"/>
                                                  </a:cubicBezTo>
                                                  <a:cubicBezTo>
                                                    <a:pt x="31634" y="17946"/>
                                                    <a:pt x="28201" y="16261"/>
                                                    <a:pt x="24508" y="1593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6" name="Freeform: Shape 202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1044189-566C-4D8E-8C1E-06B319D9CDE3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56859" y="4609295"/>
                                              <a:ext cx="111901" cy="2297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2125 w 111901"/>
                                                <a:gd name="connsiteY0" fmla="*/ 9875 h 22971"/>
                                                <a:gd name="connsiteX1" fmla="*/ 48238 w 111901"/>
                                                <a:gd name="connsiteY1" fmla="*/ 2230 h 22971"/>
                                                <a:gd name="connsiteX2" fmla="*/ 39428 w 111901"/>
                                                <a:gd name="connsiteY2" fmla="*/ 92 h 22971"/>
                                                <a:gd name="connsiteX3" fmla="*/ 14614 w 111901"/>
                                                <a:gd name="connsiteY3" fmla="*/ 3655 h 22971"/>
                                                <a:gd name="connsiteX4" fmla="*/ 37 w 111901"/>
                                                <a:gd name="connsiteY4" fmla="*/ 19528 h 22971"/>
                                                <a:gd name="connsiteX5" fmla="*/ 73505 w 111901"/>
                                                <a:gd name="connsiteY5" fmla="*/ 20888 h 22971"/>
                                                <a:gd name="connsiteX6" fmla="*/ 90479 w 111901"/>
                                                <a:gd name="connsiteY6" fmla="*/ 12531 h 22971"/>
                                                <a:gd name="connsiteX7" fmla="*/ 110108 w 111901"/>
                                                <a:gd name="connsiteY7" fmla="*/ 8838 h 22971"/>
                                                <a:gd name="connsiteX8" fmla="*/ 111728 w 111901"/>
                                                <a:gd name="connsiteY8" fmla="*/ 3979 h 22971"/>
                                                <a:gd name="connsiteX9" fmla="*/ 105573 w 111901"/>
                                                <a:gd name="connsiteY9" fmla="*/ 869 h 22971"/>
                                                <a:gd name="connsiteX10" fmla="*/ 65471 w 111901"/>
                                                <a:gd name="connsiteY10" fmla="*/ 5728 h 22971"/>
                                                <a:gd name="connsiteX11" fmla="*/ 52125 w 111901"/>
                                                <a:gd name="connsiteY11" fmla="*/ 9939 h 2297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11901" h="22971">
                                                  <a:moveTo>
                                                    <a:pt x="52125" y="9875"/>
                                                  </a:moveTo>
                                                  <a:cubicBezTo>
                                                    <a:pt x="52708" y="6895"/>
                                                    <a:pt x="50830" y="3785"/>
                                                    <a:pt x="48238" y="2230"/>
                                                  </a:cubicBezTo>
                                                  <a:cubicBezTo>
                                                    <a:pt x="45647" y="610"/>
                                                    <a:pt x="42472" y="221"/>
                                                    <a:pt x="39428" y="92"/>
                                                  </a:cubicBezTo>
                                                  <a:cubicBezTo>
                                                    <a:pt x="31070" y="-362"/>
                                                    <a:pt x="22583" y="869"/>
                                                    <a:pt x="14614" y="3655"/>
                                                  </a:cubicBezTo>
                                                  <a:cubicBezTo>
                                                    <a:pt x="7293" y="6182"/>
                                                    <a:pt x="-610" y="11818"/>
                                                    <a:pt x="37" y="19528"/>
                                                  </a:cubicBezTo>
                                                  <a:cubicBezTo>
                                                    <a:pt x="24267" y="23609"/>
                                                    <a:pt x="49145" y="24063"/>
                                                    <a:pt x="73505" y="20888"/>
                                                  </a:cubicBezTo>
                                                  <a:cubicBezTo>
                                                    <a:pt x="74995" y="14150"/>
                                                    <a:pt x="83611" y="12207"/>
                                                    <a:pt x="90479" y="12531"/>
                                                  </a:cubicBezTo>
                                                  <a:cubicBezTo>
                                                    <a:pt x="97346" y="12855"/>
                                                    <a:pt x="105314" y="13762"/>
                                                    <a:pt x="110108" y="8838"/>
                                                  </a:cubicBezTo>
                                                  <a:cubicBezTo>
                                                    <a:pt x="111340" y="7542"/>
                                                    <a:pt x="112311" y="5664"/>
                                                    <a:pt x="111728" y="3979"/>
                                                  </a:cubicBezTo>
                                                  <a:cubicBezTo>
                                                    <a:pt x="110950" y="1647"/>
                                                    <a:pt x="107971" y="1129"/>
                                                    <a:pt x="105573" y="869"/>
                                                  </a:cubicBezTo>
                                                  <a:cubicBezTo>
                                                    <a:pt x="91904" y="-297"/>
                                                    <a:pt x="77327" y="-1204"/>
                                                    <a:pt x="65471" y="5728"/>
                                                  </a:cubicBezTo>
                                                  <a:cubicBezTo>
                                                    <a:pt x="61260" y="8190"/>
                                                    <a:pt x="56660" y="11689"/>
                                                    <a:pt x="52125" y="993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7" name="Freeform: Shape 202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747822B-1A7B-406D-B468-34CDF068093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943964" y="4645344"/>
                                              <a:ext cx="50378" cy="2583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0119 w 50378"/>
                                                <a:gd name="connsiteY0" fmla="*/ 14577 h 25836"/>
                                                <a:gd name="connsiteX1" fmla="*/ 36773 w 50378"/>
                                                <a:gd name="connsiteY1" fmla="*/ 8487 h 25836"/>
                                                <a:gd name="connsiteX2" fmla="*/ 32951 w 50378"/>
                                                <a:gd name="connsiteY2" fmla="*/ 2915 h 25836"/>
                                                <a:gd name="connsiteX3" fmla="*/ 25954 w 50378"/>
                                                <a:gd name="connsiteY3" fmla="*/ 1555 h 25836"/>
                                                <a:gd name="connsiteX4" fmla="*/ 1141 w 50378"/>
                                                <a:gd name="connsiteY4" fmla="*/ 0 h 25836"/>
                                                <a:gd name="connsiteX5" fmla="*/ 3798 w 50378"/>
                                                <a:gd name="connsiteY5" fmla="*/ 10236 h 25836"/>
                                                <a:gd name="connsiteX6" fmla="*/ 15264 w 50378"/>
                                                <a:gd name="connsiteY6" fmla="*/ 12827 h 25836"/>
                                                <a:gd name="connsiteX7" fmla="*/ 26666 w 50378"/>
                                                <a:gd name="connsiteY7" fmla="*/ 15484 h 25836"/>
                                                <a:gd name="connsiteX8" fmla="*/ 34765 w 50378"/>
                                                <a:gd name="connsiteY8" fmla="*/ 23517 h 25836"/>
                                                <a:gd name="connsiteX9" fmla="*/ 50378 w 50378"/>
                                                <a:gd name="connsiteY9" fmla="*/ 25266 h 25836"/>
                                                <a:gd name="connsiteX10" fmla="*/ 50054 w 50378"/>
                                                <a:gd name="connsiteY10" fmla="*/ 14577 h 2583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0378" h="25836">
                                                  <a:moveTo>
                                                    <a:pt x="50119" y="14577"/>
                                                  </a:moveTo>
                                                  <a:cubicBezTo>
                                                    <a:pt x="45649" y="12568"/>
                                                    <a:pt x="41243" y="10560"/>
                                                    <a:pt x="36773" y="8487"/>
                                                  </a:cubicBezTo>
                                                  <a:cubicBezTo>
                                                    <a:pt x="36903" y="6090"/>
                                                    <a:pt x="35089" y="3952"/>
                                                    <a:pt x="32951" y="2915"/>
                                                  </a:cubicBezTo>
                                                  <a:cubicBezTo>
                                                    <a:pt x="30813" y="1879"/>
                                                    <a:pt x="28351" y="1684"/>
                                                    <a:pt x="25954" y="1555"/>
                                                  </a:cubicBezTo>
                                                  <a:cubicBezTo>
                                                    <a:pt x="17661" y="1036"/>
                                                    <a:pt x="9434" y="518"/>
                                                    <a:pt x="1141" y="0"/>
                                                  </a:cubicBezTo>
                                                  <a:cubicBezTo>
                                                    <a:pt x="-1321" y="3110"/>
                                                    <a:pt x="493" y="8033"/>
                                                    <a:pt x="3798" y="10236"/>
                                                  </a:cubicBezTo>
                                                  <a:cubicBezTo>
                                                    <a:pt x="7101" y="12439"/>
                                                    <a:pt x="11312" y="12633"/>
                                                    <a:pt x="15264" y="12827"/>
                                                  </a:cubicBezTo>
                                                  <a:cubicBezTo>
                                                    <a:pt x="19216" y="13022"/>
                                                    <a:pt x="23427" y="13281"/>
                                                    <a:pt x="26666" y="15484"/>
                                                  </a:cubicBezTo>
                                                  <a:cubicBezTo>
                                                    <a:pt x="29841" y="17622"/>
                                                    <a:pt x="31655" y="21379"/>
                                                    <a:pt x="34765" y="23517"/>
                                                  </a:cubicBezTo>
                                                  <a:cubicBezTo>
                                                    <a:pt x="39170" y="26562"/>
                                                    <a:pt x="45066" y="25979"/>
                                                    <a:pt x="50378" y="25266"/>
                                                  </a:cubicBezTo>
                                                  <a:cubicBezTo>
                                                    <a:pt x="50248" y="21703"/>
                                                    <a:pt x="50184" y="18140"/>
                                                    <a:pt x="50054" y="1457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8" name="Freeform: Shape 202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FA265D4-2201-4450-92BC-B36B45D1026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873064" y="4608717"/>
                                              <a:ext cx="65238" cy="3501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360 w 65238"/>
                                                <a:gd name="connsiteY0" fmla="*/ 17774 h 35014"/>
                                                <a:gd name="connsiteX1" fmla="*/ 2462 w 65238"/>
                                                <a:gd name="connsiteY1" fmla="*/ 24576 h 35014"/>
                                                <a:gd name="connsiteX2" fmla="*/ 9912 w 65238"/>
                                                <a:gd name="connsiteY2" fmla="*/ 33257 h 35014"/>
                                                <a:gd name="connsiteX3" fmla="*/ 29089 w 65238"/>
                                                <a:gd name="connsiteY3" fmla="*/ 32675 h 35014"/>
                                                <a:gd name="connsiteX4" fmla="*/ 32069 w 65238"/>
                                                <a:gd name="connsiteY4" fmla="*/ 31119 h 35014"/>
                                                <a:gd name="connsiteX5" fmla="*/ 34207 w 65238"/>
                                                <a:gd name="connsiteY5" fmla="*/ 28463 h 35014"/>
                                                <a:gd name="connsiteX6" fmla="*/ 39130 w 65238"/>
                                                <a:gd name="connsiteY6" fmla="*/ 20819 h 35014"/>
                                                <a:gd name="connsiteX7" fmla="*/ 64591 w 65238"/>
                                                <a:gd name="connsiteY7" fmla="*/ 17579 h 35014"/>
                                                <a:gd name="connsiteX8" fmla="*/ 65239 w 65238"/>
                                                <a:gd name="connsiteY8" fmla="*/ 5011 h 35014"/>
                                                <a:gd name="connsiteX9" fmla="*/ 32393 w 65238"/>
                                                <a:gd name="connsiteY9" fmla="*/ 8509 h 35014"/>
                                                <a:gd name="connsiteX10" fmla="*/ 26238 w 65238"/>
                                                <a:gd name="connsiteY10" fmla="*/ 13433 h 35014"/>
                                                <a:gd name="connsiteX11" fmla="*/ 18852 w 65238"/>
                                                <a:gd name="connsiteY11" fmla="*/ 13109 h 35014"/>
                                                <a:gd name="connsiteX12" fmla="*/ 16714 w 65238"/>
                                                <a:gd name="connsiteY12" fmla="*/ 9416 h 35014"/>
                                                <a:gd name="connsiteX13" fmla="*/ 13410 w 65238"/>
                                                <a:gd name="connsiteY13" fmla="*/ 994 h 35014"/>
                                                <a:gd name="connsiteX14" fmla="*/ 0 w 65238"/>
                                                <a:gd name="connsiteY14" fmla="*/ 87 h 35014"/>
                                                <a:gd name="connsiteX15" fmla="*/ 1490 w 65238"/>
                                                <a:gd name="connsiteY15" fmla="*/ 17774 h 3501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5238" h="35014">
                                                  <a:moveTo>
                                                    <a:pt x="1360" y="17774"/>
                                                  </a:moveTo>
                                                  <a:cubicBezTo>
                                                    <a:pt x="1555" y="20041"/>
                                                    <a:pt x="1749" y="22373"/>
                                                    <a:pt x="2462" y="24576"/>
                                                  </a:cubicBezTo>
                                                  <a:cubicBezTo>
                                                    <a:pt x="3692" y="28334"/>
                                                    <a:pt x="6414" y="31508"/>
                                                    <a:pt x="9912" y="33257"/>
                                                  </a:cubicBezTo>
                                                  <a:cubicBezTo>
                                                    <a:pt x="15807" y="36238"/>
                                                    <a:pt x="22934" y="35007"/>
                                                    <a:pt x="29089" y="32675"/>
                                                  </a:cubicBezTo>
                                                  <a:cubicBezTo>
                                                    <a:pt x="30126" y="32285"/>
                                                    <a:pt x="31162" y="31832"/>
                                                    <a:pt x="32069" y="31119"/>
                                                  </a:cubicBezTo>
                                                  <a:cubicBezTo>
                                                    <a:pt x="32976" y="30407"/>
                                                    <a:pt x="33559" y="29370"/>
                                                    <a:pt x="34207" y="28463"/>
                                                  </a:cubicBezTo>
                                                  <a:cubicBezTo>
                                                    <a:pt x="35827" y="25937"/>
                                                    <a:pt x="37510" y="23345"/>
                                                    <a:pt x="39130" y="20819"/>
                                                  </a:cubicBezTo>
                                                  <a:cubicBezTo>
                                                    <a:pt x="47293" y="18033"/>
                                                    <a:pt x="55975" y="16931"/>
                                                    <a:pt x="64591" y="17579"/>
                                                  </a:cubicBezTo>
                                                  <a:lnTo>
                                                    <a:pt x="65239" y="5011"/>
                                                  </a:lnTo>
                                                  <a:cubicBezTo>
                                                    <a:pt x="54938" y="-496"/>
                                                    <a:pt x="41333" y="929"/>
                                                    <a:pt x="32393" y="8509"/>
                                                  </a:cubicBezTo>
                                                  <a:cubicBezTo>
                                                    <a:pt x="30384" y="10194"/>
                                                    <a:pt x="28570" y="12202"/>
                                                    <a:pt x="26238" y="13433"/>
                                                  </a:cubicBezTo>
                                                  <a:cubicBezTo>
                                                    <a:pt x="23906" y="14664"/>
                                                    <a:pt x="20796" y="14858"/>
                                                    <a:pt x="18852" y="13109"/>
                                                  </a:cubicBezTo>
                                                  <a:cubicBezTo>
                                                    <a:pt x="17816" y="12137"/>
                                                    <a:pt x="17232" y="10777"/>
                                                    <a:pt x="16714" y="9416"/>
                                                  </a:cubicBezTo>
                                                  <a:cubicBezTo>
                                                    <a:pt x="15613" y="6631"/>
                                                    <a:pt x="14512" y="3780"/>
                                                    <a:pt x="13410" y="994"/>
                                                  </a:cubicBezTo>
                                                  <a:cubicBezTo>
                                                    <a:pt x="9005" y="152"/>
                                                    <a:pt x="4470" y="-172"/>
                                                    <a:pt x="0" y="87"/>
                                                  </a:cubicBezTo>
                                                  <a:cubicBezTo>
                                                    <a:pt x="518" y="5983"/>
                                                    <a:pt x="972" y="11878"/>
                                                    <a:pt x="1490" y="1777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29" name="Freeform: Shape 202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475652B-FAC8-4AC5-B7DA-94A33E2721E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843417" y="4608590"/>
                                              <a:ext cx="22944" cy="1666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5394 w 22944"/>
                                                <a:gd name="connsiteY0" fmla="*/ 862 h 16669"/>
                                                <a:gd name="connsiteX1" fmla="*/ 4251 w 22944"/>
                                                <a:gd name="connsiteY1" fmla="*/ 1575 h 16669"/>
                                                <a:gd name="connsiteX2" fmla="*/ 817 w 22944"/>
                                                <a:gd name="connsiteY2" fmla="*/ 12070 h 16669"/>
                                                <a:gd name="connsiteX3" fmla="*/ 10794 w 22944"/>
                                                <a:gd name="connsiteY3" fmla="*/ 16670 h 16669"/>
                                                <a:gd name="connsiteX4" fmla="*/ 11571 w 22944"/>
                                                <a:gd name="connsiteY4" fmla="*/ 16670 h 16669"/>
                                                <a:gd name="connsiteX5" fmla="*/ 22909 w 22944"/>
                                                <a:gd name="connsiteY5" fmla="*/ 9673 h 16669"/>
                                                <a:gd name="connsiteX6" fmla="*/ 15394 w 22944"/>
                                                <a:gd name="connsiteY6" fmla="*/ 862 h 16669"/>
                                                <a:gd name="connsiteX7" fmla="*/ 11571 w 22944"/>
                                                <a:gd name="connsiteY7" fmla="*/ 14726 h 16669"/>
                                                <a:gd name="connsiteX8" fmla="*/ 10924 w 22944"/>
                                                <a:gd name="connsiteY8" fmla="*/ 14726 h 16669"/>
                                                <a:gd name="connsiteX9" fmla="*/ 2501 w 22944"/>
                                                <a:gd name="connsiteY9" fmla="*/ 11098 h 16669"/>
                                                <a:gd name="connsiteX10" fmla="*/ 5223 w 22944"/>
                                                <a:gd name="connsiteY10" fmla="*/ 3194 h 16669"/>
                                                <a:gd name="connsiteX11" fmla="*/ 10211 w 22944"/>
                                                <a:gd name="connsiteY11" fmla="*/ 1963 h 16669"/>
                                                <a:gd name="connsiteX12" fmla="*/ 14811 w 22944"/>
                                                <a:gd name="connsiteY12" fmla="*/ 2676 h 16669"/>
                                                <a:gd name="connsiteX13" fmla="*/ 20965 w 22944"/>
                                                <a:gd name="connsiteY13" fmla="*/ 9478 h 16669"/>
                                                <a:gd name="connsiteX14" fmla="*/ 11571 w 22944"/>
                                                <a:gd name="connsiteY14" fmla="*/ 14726 h 1666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2944" h="16669">
                                                  <a:moveTo>
                                                    <a:pt x="15394" y="862"/>
                                                  </a:moveTo>
                                                  <a:cubicBezTo>
                                                    <a:pt x="11247" y="-498"/>
                                                    <a:pt x="7167" y="-239"/>
                                                    <a:pt x="4251" y="1575"/>
                                                  </a:cubicBezTo>
                                                  <a:cubicBezTo>
                                                    <a:pt x="882" y="3583"/>
                                                    <a:pt x="-1256" y="8247"/>
                                                    <a:pt x="817" y="12070"/>
                                                  </a:cubicBezTo>
                                                  <a:cubicBezTo>
                                                    <a:pt x="2372" y="14920"/>
                                                    <a:pt x="5741" y="16411"/>
                                                    <a:pt x="10794" y="16670"/>
                                                  </a:cubicBezTo>
                                                  <a:lnTo>
                                                    <a:pt x="11571" y="16670"/>
                                                  </a:lnTo>
                                                  <a:cubicBezTo>
                                                    <a:pt x="16884" y="16670"/>
                                                    <a:pt x="22391" y="14532"/>
                                                    <a:pt x="22909" y="9673"/>
                                                  </a:cubicBezTo>
                                                  <a:cubicBezTo>
                                                    <a:pt x="23363" y="5397"/>
                                                    <a:pt x="19345" y="2093"/>
                                                    <a:pt x="15394" y="862"/>
                                                  </a:cubicBezTo>
                                                  <a:close/>
                                                  <a:moveTo>
                                                    <a:pt x="11571" y="14726"/>
                                                  </a:moveTo>
                                                  <a:lnTo>
                                                    <a:pt x="10924" y="14726"/>
                                                  </a:lnTo>
                                                  <a:cubicBezTo>
                                                    <a:pt x="6518" y="14532"/>
                                                    <a:pt x="3733" y="13301"/>
                                                    <a:pt x="2501" y="11098"/>
                                                  </a:cubicBezTo>
                                                  <a:cubicBezTo>
                                                    <a:pt x="1011" y="8377"/>
                                                    <a:pt x="2696" y="4749"/>
                                                    <a:pt x="5223" y="3194"/>
                                                  </a:cubicBezTo>
                                                  <a:cubicBezTo>
                                                    <a:pt x="6648" y="2352"/>
                                                    <a:pt x="8332" y="1963"/>
                                                    <a:pt x="10211" y="1963"/>
                                                  </a:cubicBezTo>
                                                  <a:cubicBezTo>
                                                    <a:pt x="11701" y="1963"/>
                                                    <a:pt x="13256" y="2222"/>
                                                    <a:pt x="14811" y="2676"/>
                                                  </a:cubicBezTo>
                                                  <a:cubicBezTo>
                                                    <a:pt x="18050" y="3713"/>
                                                    <a:pt x="21354" y="6304"/>
                                                    <a:pt x="20965" y="9478"/>
                                                  </a:cubicBezTo>
                                                  <a:cubicBezTo>
                                                    <a:pt x="20577" y="13625"/>
                                                    <a:pt x="14876" y="14726"/>
                                                    <a:pt x="11571" y="1472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0" name="Freeform: Shape 202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C9553ED-012F-469E-9864-EBDDE5D7CBF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606297" y="4548065"/>
                                              <a:ext cx="207747" cy="5769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80861 w 207747"/>
                                                <a:gd name="connsiteY0" fmla="*/ 50309 h 57696"/>
                                                <a:gd name="connsiteX1" fmla="*/ 176132 w 207747"/>
                                                <a:gd name="connsiteY1" fmla="*/ 50892 h 57696"/>
                                                <a:gd name="connsiteX2" fmla="*/ 135899 w 207747"/>
                                                <a:gd name="connsiteY2" fmla="*/ 55492 h 57696"/>
                                                <a:gd name="connsiteX3" fmla="*/ 112836 w 207747"/>
                                                <a:gd name="connsiteY3" fmla="*/ 52900 h 57696"/>
                                                <a:gd name="connsiteX4" fmla="*/ 109920 w 207747"/>
                                                <a:gd name="connsiteY4" fmla="*/ 47264 h 57696"/>
                                                <a:gd name="connsiteX5" fmla="*/ 99166 w 207747"/>
                                                <a:gd name="connsiteY5" fmla="*/ 42146 h 57696"/>
                                                <a:gd name="connsiteX6" fmla="*/ 87570 w 207747"/>
                                                <a:gd name="connsiteY6" fmla="*/ 37741 h 57696"/>
                                                <a:gd name="connsiteX7" fmla="*/ 80638 w 207747"/>
                                                <a:gd name="connsiteY7" fmla="*/ 45903 h 57696"/>
                                                <a:gd name="connsiteX8" fmla="*/ 53816 w 207747"/>
                                                <a:gd name="connsiteY8" fmla="*/ 49531 h 57696"/>
                                                <a:gd name="connsiteX9" fmla="*/ 47596 w 207747"/>
                                                <a:gd name="connsiteY9" fmla="*/ 44478 h 57696"/>
                                                <a:gd name="connsiteX10" fmla="*/ 34639 w 207747"/>
                                                <a:gd name="connsiteY10" fmla="*/ 40656 h 57696"/>
                                                <a:gd name="connsiteX11" fmla="*/ 34251 w 207747"/>
                                                <a:gd name="connsiteY11" fmla="*/ 36898 h 57696"/>
                                                <a:gd name="connsiteX12" fmla="*/ 23432 w 207747"/>
                                                <a:gd name="connsiteY12" fmla="*/ 28994 h 57696"/>
                                                <a:gd name="connsiteX13" fmla="*/ 8920 w 207747"/>
                                                <a:gd name="connsiteY13" fmla="*/ 29124 h 57696"/>
                                                <a:gd name="connsiteX14" fmla="*/ 109 w 207747"/>
                                                <a:gd name="connsiteY14" fmla="*/ 19471 h 57696"/>
                                                <a:gd name="connsiteX15" fmla="*/ 19285 w 207747"/>
                                                <a:gd name="connsiteY15" fmla="*/ 1979 h 57696"/>
                                                <a:gd name="connsiteX16" fmla="*/ 57639 w 207747"/>
                                                <a:gd name="connsiteY16" fmla="*/ 35 h 57696"/>
                                                <a:gd name="connsiteX17" fmla="*/ 64506 w 207747"/>
                                                <a:gd name="connsiteY17" fmla="*/ 2173 h 57696"/>
                                                <a:gd name="connsiteX18" fmla="*/ 65802 w 207747"/>
                                                <a:gd name="connsiteY18" fmla="*/ 6449 h 57696"/>
                                                <a:gd name="connsiteX19" fmla="*/ 82711 w 207747"/>
                                                <a:gd name="connsiteY19" fmla="*/ 11049 h 57696"/>
                                                <a:gd name="connsiteX20" fmla="*/ 84330 w 207747"/>
                                                <a:gd name="connsiteY20" fmla="*/ 18952 h 57696"/>
                                                <a:gd name="connsiteX21" fmla="*/ 93400 w 207747"/>
                                                <a:gd name="connsiteY21" fmla="*/ 21091 h 57696"/>
                                                <a:gd name="connsiteX22" fmla="*/ 119638 w 207747"/>
                                                <a:gd name="connsiteY22" fmla="*/ 25237 h 57696"/>
                                                <a:gd name="connsiteX23" fmla="*/ 136353 w 207747"/>
                                                <a:gd name="connsiteY23" fmla="*/ 18952 h 57696"/>
                                                <a:gd name="connsiteX24" fmla="*/ 147561 w 207747"/>
                                                <a:gd name="connsiteY24" fmla="*/ 28476 h 57696"/>
                                                <a:gd name="connsiteX25" fmla="*/ 207747 w 207747"/>
                                                <a:gd name="connsiteY25" fmla="*/ 25431 h 57696"/>
                                                <a:gd name="connsiteX26" fmla="*/ 195179 w 207747"/>
                                                <a:gd name="connsiteY26" fmla="*/ 37352 h 57696"/>
                                                <a:gd name="connsiteX27" fmla="*/ 187210 w 207747"/>
                                                <a:gd name="connsiteY27" fmla="*/ 38000 h 57696"/>
                                                <a:gd name="connsiteX28" fmla="*/ 180991 w 207747"/>
                                                <a:gd name="connsiteY28" fmla="*/ 50309 h 5769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07747" h="57696">
                                                  <a:moveTo>
                                                    <a:pt x="180861" y="50309"/>
                                                  </a:moveTo>
                                                  <a:cubicBezTo>
                                                    <a:pt x="179436" y="51086"/>
                                                    <a:pt x="177752" y="51022"/>
                                                    <a:pt x="176132" y="50892"/>
                                                  </a:cubicBezTo>
                                                  <a:cubicBezTo>
                                                    <a:pt x="162591" y="50244"/>
                                                    <a:pt x="148921" y="51799"/>
                                                    <a:pt x="135899" y="55492"/>
                                                  </a:cubicBezTo>
                                                  <a:cubicBezTo>
                                                    <a:pt x="127866" y="57759"/>
                                                    <a:pt x="117241" y="59962"/>
                                                    <a:pt x="112836" y="52900"/>
                                                  </a:cubicBezTo>
                                                  <a:cubicBezTo>
                                                    <a:pt x="111734" y="51086"/>
                                                    <a:pt x="111216" y="48948"/>
                                                    <a:pt x="109920" y="47264"/>
                                                  </a:cubicBezTo>
                                                  <a:cubicBezTo>
                                                    <a:pt x="107394" y="44154"/>
                                                    <a:pt x="102794" y="43895"/>
                                                    <a:pt x="99166" y="42146"/>
                                                  </a:cubicBezTo>
                                                  <a:cubicBezTo>
                                                    <a:pt x="95344" y="40332"/>
                                                    <a:pt x="91651" y="36510"/>
                                                    <a:pt x="87570" y="37741"/>
                                                  </a:cubicBezTo>
                                                  <a:cubicBezTo>
                                                    <a:pt x="84006" y="38777"/>
                                                    <a:pt x="82581" y="42794"/>
                                                    <a:pt x="80638" y="45903"/>
                                                  </a:cubicBezTo>
                                                  <a:cubicBezTo>
                                                    <a:pt x="75130" y="54520"/>
                                                    <a:pt x="61461" y="56399"/>
                                                    <a:pt x="53816" y="49531"/>
                                                  </a:cubicBezTo>
                                                  <a:cubicBezTo>
                                                    <a:pt x="51808" y="47717"/>
                                                    <a:pt x="50123" y="45450"/>
                                                    <a:pt x="47596" y="44478"/>
                                                  </a:cubicBezTo>
                                                  <a:cubicBezTo>
                                                    <a:pt x="43127" y="42794"/>
                                                    <a:pt x="36259" y="45126"/>
                                                    <a:pt x="34639" y="40656"/>
                                                  </a:cubicBezTo>
                                                  <a:cubicBezTo>
                                                    <a:pt x="34186" y="39490"/>
                                                    <a:pt x="34446" y="38129"/>
                                                    <a:pt x="34251" y="36898"/>
                                                  </a:cubicBezTo>
                                                  <a:cubicBezTo>
                                                    <a:pt x="33668" y="32104"/>
                                                    <a:pt x="28290" y="29318"/>
                                                    <a:pt x="23432" y="28994"/>
                                                  </a:cubicBezTo>
                                                  <a:cubicBezTo>
                                                    <a:pt x="18573" y="28670"/>
                                                    <a:pt x="13714" y="29966"/>
                                                    <a:pt x="8920" y="29124"/>
                                                  </a:cubicBezTo>
                                                  <a:cubicBezTo>
                                                    <a:pt x="4126" y="28347"/>
                                                    <a:pt x="-798" y="24265"/>
                                                    <a:pt x="109" y="19471"/>
                                                  </a:cubicBezTo>
                                                  <a:cubicBezTo>
                                                    <a:pt x="9567" y="19277"/>
                                                    <a:pt x="18184" y="11373"/>
                                                    <a:pt x="19285" y="1979"/>
                                                  </a:cubicBezTo>
                                                  <a:cubicBezTo>
                                                    <a:pt x="32049" y="1331"/>
                                                    <a:pt x="44811" y="683"/>
                                                    <a:pt x="57639" y="35"/>
                                                  </a:cubicBezTo>
                                                  <a:cubicBezTo>
                                                    <a:pt x="60165" y="-95"/>
                                                    <a:pt x="63145" y="35"/>
                                                    <a:pt x="64506" y="2173"/>
                                                  </a:cubicBezTo>
                                                  <a:cubicBezTo>
                                                    <a:pt x="65284" y="3469"/>
                                                    <a:pt x="65219" y="5088"/>
                                                    <a:pt x="65802" y="6449"/>
                                                  </a:cubicBezTo>
                                                  <a:cubicBezTo>
                                                    <a:pt x="68199" y="12085"/>
                                                    <a:pt x="77074" y="8587"/>
                                                    <a:pt x="82711" y="11049"/>
                                                  </a:cubicBezTo>
                                                  <a:cubicBezTo>
                                                    <a:pt x="80378" y="13122"/>
                                                    <a:pt x="81674" y="17268"/>
                                                    <a:pt x="84330" y="18952"/>
                                                  </a:cubicBezTo>
                                                  <a:cubicBezTo>
                                                    <a:pt x="86987" y="20637"/>
                                                    <a:pt x="90291" y="20637"/>
                                                    <a:pt x="93400" y="21091"/>
                                                  </a:cubicBezTo>
                                                  <a:cubicBezTo>
                                                    <a:pt x="102276" y="22257"/>
                                                    <a:pt x="110892" y="27051"/>
                                                    <a:pt x="119638" y="25237"/>
                                                  </a:cubicBezTo>
                                                  <a:cubicBezTo>
                                                    <a:pt x="125469" y="24006"/>
                                                    <a:pt x="130458" y="19924"/>
                                                    <a:pt x="136353" y="18952"/>
                                                  </a:cubicBezTo>
                                                  <a:cubicBezTo>
                                                    <a:pt x="142249" y="17981"/>
                                                    <a:pt x="149764" y="22969"/>
                                                    <a:pt x="147561" y="28476"/>
                                                  </a:cubicBezTo>
                                                  <a:cubicBezTo>
                                                    <a:pt x="167645" y="27439"/>
                                                    <a:pt x="187663" y="26468"/>
                                                    <a:pt x="207747" y="25431"/>
                                                  </a:cubicBezTo>
                                                  <a:cubicBezTo>
                                                    <a:pt x="207488" y="31780"/>
                                                    <a:pt x="201592" y="37416"/>
                                                    <a:pt x="195179" y="37352"/>
                                                  </a:cubicBezTo>
                                                  <a:cubicBezTo>
                                                    <a:pt x="192458" y="37352"/>
                                                    <a:pt x="189477" y="36510"/>
                                                    <a:pt x="187210" y="38000"/>
                                                  </a:cubicBezTo>
                                                  <a:cubicBezTo>
                                                    <a:pt x="183258" y="40656"/>
                                                    <a:pt x="185137" y="47977"/>
                                                    <a:pt x="180991" y="5030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1" name="Freeform: Shape 203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E6971DB-6819-4E2E-B2A1-9C147647F63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356741" y="4242182"/>
                                              <a:ext cx="278638" cy="30461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53551 w 278638"/>
                                                <a:gd name="connsiteY0" fmla="*/ 191636 h 304616"/>
                                                <a:gd name="connsiteX1" fmla="*/ 272534 w 278638"/>
                                                <a:gd name="connsiteY1" fmla="*/ 201484 h 304616"/>
                                                <a:gd name="connsiteX2" fmla="*/ 278623 w 278638"/>
                                                <a:gd name="connsiteY2" fmla="*/ 222733 h 304616"/>
                                                <a:gd name="connsiteX3" fmla="*/ 276939 w 278638"/>
                                                <a:gd name="connsiteY3" fmla="*/ 228694 h 304616"/>
                                                <a:gd name="connsiteX4" fmla="*/ 269683 w 278638"/>
                                                <a:gd name="connsiteY4" fmla="*/ 230248 h 304616"/>
                                                <a:gd name="connsiteX5" fmla="*/ 260419 w 278638"/>
                                                <a:gd name="connsiteY5" fmla="*/ 247611 h 304616"/>
                                                <a:gd name="connsiteX6" fmla="*/ 255819 w 278638"/>
                                                <a:gd name="connsiteY6" fmla="*/ 290046 h 304616"/>
                                                <a:gd name="connsiteX7" fmla="*/ 248563 w 278638"/>
                                                <a:gd name="connsiteY7" fmla="*/ 303780 h 304616"/>
                                                <a:gd name="connsiteX8" fmla="*/ 238003 w 278638"/>
                                                <a:gd name="connsiteY8" fmla="*/ 303586 h 304616"/>
                                                <a:gd name="connsiteX9" fmla="*/ 219798 w 278638"/>
                                                <a:gd name="connsiteY9" fmla="*/ 294321 h 304616"/>
                                                <a:gd name="connsiteX10" fmla="*/ 208201 w 278638"/>
                                                <a:gd name="connsiteY10" fmla="*/ 275793 h 304616"/>
                                                <a:gd name="connsiteX11" fmla="*/ 191227 w 278638"/>
                                                <a:gd name="connsiteY11" fmla="*/ 265168 h 304616"/>
                                                <a:gd name="connsiteX12" fmla="*/ 190256 w 278638"/>
                                                <a:gd name="connsiteY12" fmla="*/ 257523 h 304616"/>
                                                <a:gd name="connsiteX13" fmla="*/ 178400 w 278638"/>
                                                <a:gd name="connsiteY13" fmla="*/ 249360 h 304616"/>
                                                <a:gd name="connsiteX14" fmla="*/ 173411 w 278638"/>
                                                <a:gd name="connsiteY14" fmla="*/ 230184 h 304616"/>
                                                <a:gd name="connsiteX15" fmla="*/ 162463 w 278638"/>
                                                <a:gd name="connsiteY15" fmla="*/ 220660 h 304616"/>
                                                <a:gd name="connsiteX16" fmla="*/ 157863 w 278638"/>
                                                <a:gd name="connsiteY16" fmla="*/ 204982 h 304616"/>
                                                <a:gd name="connsiteX17" fmla="*/ 149571 w 278638"/>
                                                <a:gd name="connsiteY17" fmla="*/ 199993 h 304616"/>
                                                <a:gd name="connsiteX18" fmla="*/ 143870 w 278638"/>
                                                <a:gd name="connsiteY18" fmla="*/ 183862 h 304616"/>
                                                <a:gd name="connsiteX19" fmla="*/ 124887 w 278638"/>
                                                <a:gd name="connsiteY19" fmla="*/ 163390 h 304616"/>
                                                <a:gd name="connsiteX20" fmla="*/ 116465 w 278638"/>
                                                <a:gd name="connsiteY20" fmla="*/ 146027 h 304616"/>
                                                <a:gd name="connsiteX21" fmla="*/ 101176 w 278638"/>
                                                <a:gd name="connsiteY21" fmla="*/ 143371 h 304616"/>
                                                <a:gd name="connsiteX22" fmla="*/ 92429 w 278638"/>
                                                <a:gd name="connsiteY22" fmla="*/ 131450 h 304616"/>
                                                <a:gd name="connsiteX23" fmla="*/ 92235 w 278638"/>
                                                <a:gd name="connsiteY23" fmla="*/ 121603 h 304616"/>
                                                <a:gd name="connsiteX24" fmla="*/ 86404 w 278638"/>
                                                <a:gd name="connsiteY24" fmla="*/ 117068 h 304616"/>
                                                <a:gd name="connsiteX25" fmla="*/ 82517 w 278638"/>
                                                <a:gd name="connsiteY25" fmla="*/ 96336 h 304616"/>
                                                <a:gd name="connsiteX26" fmla="*/ 76103 w 278638"/>
                                                <a:gd name="connsiteY26" fmla="*/ 93097 h 304616"/>
                                                <a:gd name="connsiteX27" fmla="*/ 53946 w 278638"/>
                                                <a:gd name="connsiteY27" fmla="*/ 71912 h 304616"/>
                                                <a:gd name="connsiteX28" fmla="*/ 38592 w 278638"/>
                                                <a:gd name="connsiteY28" fmla="*/ 46840 h 304616"/>
                                                <a:gd name="connsiteX29" fmla="*/ 23238 w 278638"/>
                                                <a:gd name="connsiteY29" fmla="*/ 37576 h 304616"/>
                                                <a:gd name="connsiteX30" fmla="*/ 19999 w 278638"/>
                                                <a:gd name="connsiteY30" fmla="*/ 28765 h 304616"/>
                                                <a:gd name="connsiteX31" fmla="*/ 12030 w 278638"/>
                                                <a:gd name="connsiteY31" fmla="*/ 26303 h 304616"/>
                                                <a:gd name="connsiteX32" fmla="*/ 7042 w 278638"/>
                                                <a:gd name="connsiteY32" fmla="*/ 13022 h 304616"/>
                                                <a:gd name="connsiteX33" fmla="*/ 434 w 278638"/>
                                                <a:gd name="connsiteY33" fmla="*/ 0 h 304616"/>
                                                <a:gd name="connsiteX34" fmla="*/ 52457 w 278638"/>
                                                <a:gd name="connsiteY34" fmla="*/ 5766 h 304616"/>
                                                <a:gd name="connsiteX35" fmla="*/ 67681 w 278638"/>
                                                <a:gd name="connsiteY35" fmla="*/ 15419 h 304616"/>
                                                <a:gd name="connsiteX36" fmla="*/ 68070 w 278638"/>
                                                <a:gd name="connsiteY36" fmla="*/ 26951 h 304616"/>
                                                <a:gd name="connsiteX37" fmla="*/ 76168 w 278638"/>
                                                <a:gd name="connsiteY37" fmla="*/ 32393 h 304616"/>
                                                <a:gd name="connsiteX38" fmla="*/ 79472 w 278638"/>
                                                <a:gd name="connsiteY38" fmla="*/ 40362 h 304616"/>
                                                <a:gd name="connsiteX39" fmla="*/ 94891 w 278638"/>
                                                <a:gd name="connsiteY39" fmla="*/ 48330 h 304616"/>
                                                <a:gd name="connsiteX40" fmla="*/ 102083 w 278638"/>
                                                <a:gd name="connsiteY40" fmla="*/ 59214 h 304616"/>
                                                <a:gd name="connsiteX41" fmla="*/ 114068 w 278638"/>
                                                <a:gd name="connsiteY41" fmla="*/ 65434 h 304616"/>
                                                <a:gd name="connsiteX42" fmla="*/ 116206 w 278638"/>
                                                <a:gd name="connsiteY42" fmla="*/ 74115 h 304616"/>
                                                <a:gd name="connsiteX43" fmla="*/ 125276 w 278638"/>
                                                <a:gd name="connsiteY43" fmla="*/ 83055 h 304616"/>
                                                <a:gd name="connsiteX44" fmla="*/ 126442 w 278638"/>
                                                <a:gd name="connsiteY44" fmla="*/ 87072 h 304616"/>
                                                <a:gd name="connsiteX45" fmla="*/ 131042 w 278638"/>
                                                <a:gd name="connsiteY45" fmla="*/ 89210 h 304616"/>
                                                <a:gd name="connsiteX46" fmla="*/ 163758 w 278638"/>
                                                <a:gd name="connsiteY46" fmla="*/ 100418 h 304616"/>
                                                <a:gd name="connsiteX47" fmla="*/ 164601 w 278638"/>
                                                <a:gd name="connsiteY47" fmla="*/ 107415 h 304616"/>
                                                <a:gd name="connsiteX48" fmla="*/ 179177 w 278638"/>
                                                <a:gd name="connsiteY48" fmla="*/ 118428 h 304616"/>
                                                <a:gd name="connsiteX49" fmla="*/ 188571 w 278638"/>
                                                <a:gd name="connsiteY49" fmla="*/ 133135 h 304616"/>
                                                <a:gd name="connsiteX50" fmla="*/ 199973 w 278638"/>
                                                <a:gd name="connsiteY50" fmla="*/ 142982 h 304616"/>
                                                <a:gd name="connsiteX51" fmla="*/ 206646 w 278638"/>
                                                <a:gd name="connsiteY51" fmla="*/ 153542 h 304616"/>
                                                <a:gd name="connsiteX52" fmla="*/ 196086 w 278638"/>
                                                <a:gd name="connsiteY52" fmla="*/ 160280 h 304616"/>
                                                <a:gd name="connsiteX53" fmla="*/ 200751 w 278638"/>
                                                <a:gd name="connsiteY53" fmla="*/ 172654 h 304616"/>
                                                <a:gd name="connsiteX54" fmla="*/ 215457 w 278638"/>
                                                <a:gd name="connsiteY54" fmla="*/ 173496 h 304616"/>
                                                <a:gd name="connsiteX55" fmla="*/ 218373 w 278638"/>
                                                <a:gd name="connsiteY55" fmla="*/ 185546 h 304616"/>
                                                <a:gd name="connsiteX56" fmla="*/ 228091 w 278638"/>
                                                <a:gd name="connsiteY56" fmla="*/ 189822 h 304616"/>
                                                <a:gd name="connsiteX57" fmla="*/ 232366 w 278638"/>
                                                <a:gd name="connsiteY57" fmla="*/ 197661 h 304616"/>
                                                <a:gd name="connsiteX58" fmla="*/ 251673 w 278638"/>
                                                <a:gd name="connsiteY58" fmla="*/ 219688 h 304616"/>
                                                <a:gd name="connsiteX59" fmla="*/ 265472 w 278638"/>
                                                <a:gd name="connsiteY59" fmla="*/ 219494 h 304616"/>
                                                <a:gd name="connsiteX60" fmla="*/ 259058 w 278638"/>
                                                <a:gd name="connsiteY60" fmla="*/ 205630 h 304616"/>
                                                <a:gd name="connsiteX61" fmla="*/ 253228 w 278638"/>
                                                <a:gd name="connsiteY61" fmla="*/ 191636 h 30461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78638" h="304616">
                                                  <a:moveTo>
                                                    <a:pt x="253551" y="191636"/>
                                                  </a:moveTo>
                                                  <a:cubicBezTo>
                                                    <a:pt x="261002" y="190924"/>
                                                    <a:pt x="268323" y="195329"/>
                                                    <a:pt x="272534" y="201484"/>
                                                  </a:cubicBezTo>
                                                  <a:cubicBezTo>
                                                    <a:pt x="276745" y="207638"/>
                                                    <a:pt x="278300" y="215283"/>
                                                    <a:pt x="278623" y="222733"/>
                                                  </a:cubicBezTo>
                                                  <a:cubicBezTo>
                                                    <a:pt x="278688" y="224871"/>
                                                    <a:pt x="278623" y="227333"/>
                                                    <a:pt x="276939" y="228694"/>
                                                  </a:cubicBezTo>
                                                  <a:cubicBezTo>
                                                    <a:pt x="275061" y="230313"/>
                                                    <a:pt x="272145" y="229730"/>
                                                    <a:pt x="269683" y="230248"/>
                                                  </a:cubicBezTo>
                                                  <a:cubicBezTo>
                                                    <a:pt x="262751" y="231609"/>
                                                    <a:pt x="260937" y="240549"/>
                                                    <a:pt x="260419" y="247611"/>
                                                  </a:cubicBezTo>
                                                  <a:cubicBezTo>
                                                    <a:pt x="259512" y="261799"/>
                                                    <a:pt x="257957" y="275987"/>
                                                    <a:pt x="255819" y="290046"/>
                                                  </a:cubicBezTo>
                                                  <a:cubicBezTo>
                                                    <a:pt x="254976" y="295358"/>
                                                    <a:pt x="253486" y="301513"/>
                                                    <a:pt x="248563" y="303780"/>
                                                  </a:cubicBezTo>
                                                  <a:cubicBezTo>
                                                    <a:pt x="245259" y="305270"/>
                                                    <a:pt x="241501" y="304493"/>
                                                    <a:pt x="238003" y="303586"/>
                                                  </a:cubicBezTo>
                                                  <a:cubicBezTo>
                                                    <a:pt x="231265" y="301901"/>
                                                    <a:pt x="224203" y="299699"/>
                                                    <a:pt x="219798" y="294321"/>
                                                  </a:cubicBezTo>
                                                  <a:cubicBezTo>
                                                    <a:pt x="215134" y="288620"/>
                                                    <a:pt x="214227" y="280069"/>
                                                    <a:pt x="208201" y="275793"/>
                                                  </a:cubicBezTo>
                                                  <a:cubicBezTo>
                                                    <a:pt x="202630" y="271776"/>
                                                    <a:pt x="193171" y="271841"/>
                                                    <a:pt x="191227" y="265168"/>
                                                  </a:cubicBezTo>
                                                  <a:cubicBezTo>
                                                    <a:pt x="190515" y="262706"/>
                                                    <a:pt x="191163" y="259985"/>
                                                    <a:pt x="190256" y="257523"/>
                                                  </a:cubicBezTo>
                                                  <a:cubicBezTo>
                                                    <a:pt x="188571" y="252923"/>
                                                    <a:pt x="182611" y="251952"/>
                                                    <a:pt x="178400" y="249360"/>
                                                  </a:cubicBezTo>
                                                  <a:cubicBezTo>
                                                    <a:pt x="172181" y="245538"/>
                                                    <a:pt x="169849" y="236597"/>
                                                    <a:pt x="173411" y="230184"/>
                                                  </a:cubicBezTo>
                                                  <a:cubicBezTo>
                                                    <a:pt x="168229" y="232192"/>
                                                    <a:pt x="163499" y="226102"/>
                                                    <a:pt x="162463" y="220660"/>
                                                  </a:cubicBezTo>
                                                  <a:cubicBezTo>
                                                    <a:pt x="161491" y="215218"/>
                                                    <a:pt x="161815" y="208934"/>
                                                    <a:pt x="157863" y="204982"/>
                                                  </a:cubicBezTo>
                                                  <a:cubicBezTo>
                                                    <a:pt x="155595" y="202715"/>
                                                    <a:pt x="152291" y="201807"/>
                                                    <a:pt x="149571" y="199993"/>
                                                  </a:cubicBezTo>
                                                  <a:cubicBezTo>
                                                    <a:pt x="144517" y="196560"/>
                                                    <a:pt x="142055" y="189693"/>
                                                    <a:pt x="143870" y="183862"/>
                                                  </a:cubicBezTo>
                                                  <a:cubicBezTo>
                                                    <a:pt x="134475" y="181724"/>
                                                    <a:pt x="129098" y="172071"/>
                                                    <a:pt x="124887" y="163390"/>
                                                  </a:cubicBezTo>
                                                  <a:cubicBezTo>
                                                    <a:pt x="122102" y="157624"/>
                                                    <a:pt x="119315" y="151793"/>
                                                    <a:pt x="116465" y="146027"/>
                                                  </a:cubicBezTo>
                                                  <a:cubicBezTo>
                                                    <a:pt x="111282" y="145768"/>
                                                    <a:pt x="105905" y="145509"/>
                                                    <a:pt x="101176" y="143371"/>
                                                  </a:cubicBezTo>
                                                  <a:cubicBezTo>
                                                    <a:pt x="96446" y="141233"/>
                                                    <a:pt x="92429" y="136633"/>
                                                    <a:pt x="92429" y="131450"/>
                                                  </a:cubicBezTo>
                                                  <a:cubicBezTo>
                                                    <a:pt x="92429" y="128081"/>
                                                    <a:pt x="94049" y="124453"/>
                                                    <a:pt x="92235" y="121603"/>
                                                  </a:cubicBezTo>
                                                  <a:cubicBezTo>
                                                    <a:pt x="90874" y="119530"/>
                                                    <a:pt x="88154" y="118817"/>
                                                    <a:pt x="86404" y="117068"/>
                                                  </a:cubicBezTo>
                                                  <a:cubicBezTo>
                                                    <a:pt x="81286" y="111885"/>
                                                    <a:pt x="87570" y="101584"/>
                                                    <a:pt x="82517" y="96336"/>
                                                  </a:cubicBezTo>
                                                  <a:cubicBezTo>
                                                    <a:pt x="80833" y="94587"/>
                                                    <a:pt x="78371" y="93939"/>
                                                    <a:pt x="76103" y="93097"/>
                                                  </a:cubicBezTo>
                                                  <a:cubicBezTo>
                                                    <a:pt x="66386" y="89404"/>
                                                    <a:pt x="59713" y="80593"/>
                                                    <a:pt x="53946" y="71912"/>
                                                  </a:cubicBezTo>
                                                  <a:cubicBezTo>
                                                    <a:pt x="48505" y="63749"/>
                                                    <a:pt x="43387" y="55392"/>
                                                    <a:pt x="38592" y="46840"/>
                                                  </a:cubicBezTo>
                                                  <a:cubicBezTo>
                                                    <a:pt x="32243" y="47358"/>
                                                    <a:pt x="25765" y="43471"/>
                                                    <a:pt x="23238" y="37576"/>
                                                  </a:cubicBezTo>
                                                  <a:cubicBezTo>
                                                    <a:pt x="22007" y="34725"/>
                                                    <a:pt x="21618" y="31421"/>
                                                    <a:pt x="19999" y="28765"/>
                                                  </a:cubicBezTo>
                                                  <a:cubicBezTo>
                                                    <a:pt x="18314" y="26109"/>
                                                    <a:pt x="14492" y="24359"/>
                                                    <a:pt x="12030" y="26303"/>
                                                  </a:cubicBezTo>
                                                  <a:cubicBezTo>
                                                    <a:pt x="14946" y="22027"/>
                                                    <a:pt x="10929" y="16456"/>
                                                    <a:pt x="7042" y="13022"/>
                                                  </a:cubicBezTo>
                                                  <a:cubicBezTo>
                                                    <a:pt x="3155" y="9588"/>
                                                    <a:pt x="-1445" y="4859"/>
                                                    <a:pt x="434" y="0"/>
                                                  </a:cubicBezTo>
                                                  <a:cubicBezTo>
                                                    <a:pt x="17861" y="1166"/>
                                                    <a:pt x="35224" y="3110"/>
                                                    <a:pt x="52457" y="5766"/>
                                                  </a:cubicBezTo>
                                                  <a:cubicBezTo>
                                                    <a:pt x="58805" y="6738"/>
                                                    <a:pt x="66515" y="9070"/>
                                                    <a:pt x="67681" y="15419"/>
                                                  </a:cubicBezTo>
                                                  <a:cubicBezTo>
                                                    <a:pt x="68394" y="19241"/>
                                                    <a:pt x="66256" y="23517"/>
                                                    <a:pt x="68070" y="26951"/>
                                                  </a:cubicBezTo>
                                                  <a:cubicBezTo>
                                                    <a:pt x="69625" y="29866"/>
                                                    <a:pt x="73253" y="30838"/>
                                                    <a:pt x="76168" y="32393"/>
                                                  </a:cubicBezTo>
                                                  <a:cubicBezTo>
                                                    <a:pt x="79083" y="33948"/>
                                                    <a:pt x="81610" y="37835"/>
                                                    <a:pt x="79472" y="40362"/>
                                                  </a:cubicBezTo>
                                                  <a:cubicBezTo>
                                                    <a:pt x="85562" y="40167"/>
                                                    <a:pt x="91587" y="43277"/>
                                                    <a:pt x="94891" y="48330"/>
                                                  </a:cubicBezTo>
                                                  <a:cubicBezTo>
                                                    <a:pt x="97288" y="52023"/>
                                                    <a:pt x="98455" y="56752"/>
                                                    <a:pt x="102083" y="59214"/>
                                                  </a:cubicBezTo>
                                                  <a:cubicBezTo>
                                                    <a:pt x="105905" y="61806"/>
                                                    <a:pt x="111800" y="61417"/>
                                                    <a:pt x="114068" y="65434"/>
                                                  </a:cubicBezTo>
                                                  <a:cubicBezTo>
                                                    <a:pt x="115558" y="68025"/>
                                                    <a:pt x="114781" y="71459"/>
                                                    <a:pt x="116206" y="74115"/>
                                                  </a:cubicBezTo>
                                                  <a:cubicBezTo>
                                                    <a:pt x="118149" y="77937"/>
                                                    <a:pt x="123850" y="78974"/>
                                                    <a:pt x="125276" y="83055"/>
                                                  </a:cubicBezTo>
                                                  <a:cubicBezTo>
                                                    <a:pt x="125729" y="84351"/>
                                                    <a:pt x="125664" y="85906"/>
                                                    <a:pt x="126442" y="87072"/>
                                                  </a:cubicBezTo>
                                                  <a:cubicBezTo>
                                                    <a:pt x="127414" y="88497"/>
                                                    <a:pt x="129358" y="88886"/>
                                                    <a:pt x="131042" y="89210"/>
                                                  </a:cubicBezTo>
                                                  <a:cubicBezTo>
                                                    <a:pt x="142444" y="91283"/>
                                                    <a:pt x="153523" y="95105"/>
                                                    <a:pt x="163758" y="100418"/>
                                                  </a:cubicBezTo>
                                                  <a:cubicBezTo>
                                                    <a:pt x="164018" y="102750"/>
                                                    <a:pt x="164276" y="105082"/>
                                                    <a:pt x="164601" y="107415"/>
                                                  </a:cubicBezTo>
                                                  <a:cubicBezTo>
                                                    <a:pt x="169460" y="111107"/>
                                                    <a:pt x="174318" y="114800"/>
                                                    <a:pt x="179177" y="118428"/>
                                                  </a:cubicBezTo>
                                                  <a:cubicBezTo>
                                                    <a:pt x="184036" y="122121"/>
                                                    <a:pt x="189478" y="127045"/>
                                                    <a:pt x="188571" y="133135"/>
                                                  </a:cubicBezTo>
                                                  <a:cubicBezTo>
                                                    <a:pt x="194272" y="131645"/>
                                                    <a:pt x="200622" y="137151"/>
                                                    <a:pt x="199973" y="142982"/>
                                                  </a:cubicBezTo>
                                                  <a:cubicBezTo>
                                                    <a:pt x="204509" y="144019"/>
                                                    <a:pt x="207683" y="149007"/>
                                                    <a:pt x="206646" y="153542"/>
                                                  </a:cubicBezTo>
                                                  <a:cubicBezTo>
                                                    <a:pt x="205610" y="158077"/>
                                                    <a:pt x="200622" y="161252"/>
                                                    <a:pt x="196086" y="160280"/>
                                                  </a:cubicBezTo>
                                                  <a:cubicBezTo>
                                                    <a:pt x="193301" y="164426"/>
                                                    <a:pt x="196281" y="170451"/>
                                                    <a:pt x="200751" y="172654"/>
                                                  </a:cubicBezTo>
                                                  <a:cubicBezTo>
                                                    <a:pt x="205221" y="174857"/>
                                                    <a:pt x="210533" y="174274"/>
                                                    <a:pt x="215457" y="173496"/>
                                                  </a:cubicBezTo>
                                                  <a:cubicBezTo>
                                                    <a:pt x="218956" y="175958"/>
                                                    <a:pt x="216235" y="181854"/>
                                                    <a:pt x="218373" y="185546"/>
                                                  </a:cubicBezTo>
                                                  <a:cubicBezTo>
                                                    <a:pt x="220186" y="188656"/>
                                                    <a:pt x="224592" y="188850"/>
                                                    <a:pt x="228091" y="189822"/>
                                                  </a:cubicBezTo>
                                                  <a:cubicBezTo>
                                                    <a:pt x="231589" y="190794"/>
                                                    <a:pt x="235023" y="195199"/>
                                                    <a:pt x="232366" y="197661"/>
                                                  </a:cubicBezTo>
                                                  <a:cubicBezTo>
                                                    <a:pt x="241113" y="202455"/>
                                                    <a:pt x="248045" y="210424"/>
                                                    <a:pt x="251673" y="219688"/>
                                                  </a:cubicBezTo>
                                                  <a:cubicBezTo>
                                                    <a:pt x="256273" y="219688"/>
                                                    <a:pt x="260872" y="219559"/>
                                                    <a:pt x="265472" y="219494"/>
                                                  </a:cubicBezTo>
                                                  <a:cubicBezTo>
                                                    <a:pt x="267805" y="214505"/>
                                                    <a:pt x="263204" y="209258"/>
                                                    <a:pt x="259058" y="205630"/>
                                                  </a:cubicBezTo>
                                                  <a:cubicBezTo>
                                                    <a:pt x="254912" y="202002"/>
                                                    <a:pt x="250507" y="196430"/>
                                                    <a:pt x="253228" y="19163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2" name="Freeform: Shape 203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6E51332-B262-4C3D-87D4-1264D59A85A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9686938" y="4270067"/>
                                              <a:ext cx="257324" cy="22866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19878 w 257324"/>
                                                <a:gd name="connsiteY0" fmla="*/ 5868 h 228669"/>
                                                <a:gd name="connsiteX1" fmla="*/ 231799 w 257324"/>
                                                <a:gd name="connsiteY1" fmla="*/ 1657 h 228669"/>
                                                <a:gd name="connsiteX2" fmla="*/ 202580 w 257324"/>
                                                <a:gd name="connsiteY2" fmla="*/ 1203 h 228669"/>
                                                <a:gd name="connsiteX3" fmla="*/ 176342 w 257324"/>
                                                <a:gd name="connsiteY3" fmla="*/ 25887 h 228669"/>
                                                <a:gd name="connsiteX4" fmla="*/ 173298 w 257324"/>
                                                <a:gd name="connsiteY4" fmla="*/ 39233 h 228669"/>
                                                <a:gd name="connsiteX5" fmla="*/ 156582 w 257324"/>
                                                <a:gd name="connsiteY5" fmla="*/ 48691 h 228669"/>
                                                <a:gd name="connsiteX6" fmla="*/ 156129 w 257324"/>
                                                <a:gd name="connsiteY6" fmla="*/ 63786 h 228669"/>
                                                <a:gd name="connsiteX7" fmla="*/ 140516 w 257324"/>
                                                <a:gd name="connsiteY7" fmla="*/ 77651 h 228669"/>
                                                <a:gd name="connsiteX8" fmla="*/ 127105 w 257324"/>
                                                <a:gd name="connsiteY8" fmla="*/ 81797 h 228669"/>
                                                <a:gd name="connsiteX9" fmla="*/ 114407 w 257324"/>
                                                <a:gd name="connsiteY9" fmla="*/ 81862 h 228669"/>
                                                <a:gd name="connsiteX10" fmla="*/ 74564 w 257324"/>
                                                <a:gd name="connsiteY10" fmla="*/ 94041 h 228669"/>
                                                <a:gd name="connsiteX11" fmla="*/ 61931 w 257324"/>
                                                <a:gd name="connsiteY11" fmla="*/ 101233 h 228669"/>
                                                <a:gd name="connsiteX12" fmla="*/ 38025 w 257324"/>
                                                <a:gd name="connsiteY12" fmla="*/ 90478 h 228669"/>
                                                <a:gd name="connsiteX13" fmla="*/ 24419 w 257324"/>
                                                <a:gd name="connsiteY13" fmla="*/ 70071 h 228669"/>
                                                <a:gd name="connsiteX14" fmla="*/ 11462 w 257324"/>
                                                <a:gd name="connsiteY14" fmla="*/ 79465 h 228669"/>
                                                <a:gd name="connsiteX15" fmla="*/ 1486 w 257324"/>
                                                <a:gd name="connsiteY15" fmla="*/ 96438 h 228669"/>
                                                <a:gd name="connsiteX16" fmla="*/ 10232 w 257324"/>
                                                <a:gd name="connsiteY16" fmla="*/ 105573 h 228669"/>
                                                <a:gd name="connsiteX17" fmla="*/ 13924 w 257324"/>
                                                <a:gd name="connsiteY17" fmla="*/ 136347 h 228669"/>
                                                <a:gd name="connsiteX18" fmla="*/ 27595 w 257324"/>
                                                <a:gd name="connsiteY18" fmla="*/ 145092 h 228669"/>
                                                <a:gd name="connsiteX19" fmla="*/ 28048 w 257324"/>
                                                <a:gd name="connsiteY19" fmla="*/ 151895 h 228669"/>
                                                <a:gd name="connsiteX20" fmla="*/ 42107 w 257324"/>
                                                <a:gd name="connsiteY20" fmla="*/ 165630 h 228669"/>
                                                <a:gd name="connsiteX21" fmla="*/ 46836 w 257324"/>
                                                <a:gd name="connsiteY21" fmla="*/ 181567 h 228669"/>
                                                <a:gd name="connsiteX22" fmla="*/ 48585 w 257324"/>
                                                <a:gd name="connsiteY22" fmla="*/ 198346 h 228669"/>
                                                <a:gd name="connsiteX23" fmla="*/ 61542 w 257324"/>
                                                <a:gd name="connsiteY23" fmla="*/ 207028 h 228669"/>
                                                <a:gd name="connsiteX24" fmla="*/ 77090 w 257324"/>
                                                <a:gd name="connsiteY24" fmla="*/ 196208 h 228669"/>
                                                <a:gd name="connsiteX25" fmla="*/ 86873 w 257324"/>
                                                <a:gd name="connsiteY25" fmla="*/ 216098 h 228669"/>
                                                <a:gd name="connsiteX26" fmla="*/ 100737 w 257324"/>
                                                <a:gd name="connsiteY26" fmla="*/ 212016 h 228669"/>
                                                <a:gd name="connsiteX27" fmla="*/ 125032 w 257324"/>
                                                <a:gd name="connsiteY27" fmla="*/ 207805 h 228669"/>
                                                <a:gd name="connsiteX28" fmla="*/ 142330 w 257324"/>
                                                <a:gd name="connsiteY28" fmla="*/ 220503 h 228669"/>
                                                <a:gd name="connsiteX29" fmla="*/ 158008 w 257324"/>
                                                <a:gd name="connsiteY29" fmla="*/ 223807 h 228669"/>
                                                <a:gd name="connsiteX30" fmla="*/ 173556 w 257324"/>
                                                <a:gd name="connsiteY30" fmla="*/ 226139 h 228669"/>
                                                <a:gd name="connsiteX31" fmla="*/ 177573 w 257324"/>
                                                <a:gd name="connsiteY31" fmla="*/ 218106 h 228669"/>
                                                <a:gd name="connsiteX32" fmla="*/ 183534 w 257324"/>
                                                <a:gd name="connsiteY32" fmla="*/ 218300 h 228669"/>
                                                <a:gd name="connsiteX33" fmla="*/ 193057 w 257324"/>
                                                <a:gd name="connsiteY33" fmla="*/ 204112 h 228669"/>
                                                <a:gd name="connsiteX34" fmla="*/ 196685 w 257324"/>
                                                <a:gd name="connsiteY34" fmla="*/ 167703 h 228669"/>
                                                <a:gd name="connsiteX35" fmla="*/ 202322 w 257324"/>
                                                <a:gd name="connsiteY35" fmla="*/ 156819 h 228669"/>
                                                <a:gd name="connsiteX36" fmla="*/ 207310 w 257324"/>
                                                <a:gd name="connsiteY36" fmla="*/ 156171 h 228669"/>
                                                <a:gd name="connsiteX37" fmla="*/ 217093 w 257324"/>
                                                <a:gd name="connsiteY37" fmla="*/ 140039 h 228669"/>
                                                <a:gd name="connsiteX38" fmla="*/ 216186 w 257324"/>
                                                <a:gd name="connsiteY38" fmla="*/ 116457 h 228669"/>
                                                <a:gd name="connsiteX39" fmla="*/ 215797 w 257324"/>
                                                <a:gd name="connsiteY39" fmla="*/ 109460 h 228669"/>
                                                <a:gd name="connsiteX40" fmla="*/ 235232 w 257324"/>
                                                <a:gd name="connsiteY40" fmla="*/ 98252 h 228669"/>
                                                <a:gd name="connsiteX41" fmla="*/ 257325 w 257324"/>
                                                <a:gd name="connsiteY41" fmla="*/ 90737 h 228669"/>
                                                <a:gd name="connsiteX42" fmla="*/ 246375 w 257324"/>
                                                <a:gd name="connsiteY42" fmla="*/ 80177 h 228669"/>
                                                <a:gd name="connsiteX43" fmla="*/ 237370 w 257324"/>
                                                <a:gd name="connsiteY43" fmla="*/ 79141 h 228669"/>
                                                <a:gd name="connsiteX44" fmla="*/ 225385 w 257324"/>
                                                <a:gd name="connsiteY44" fmla="*/ 49922 h 228669"/>
                                                <a:gd name="connsiteX45" fmla="*/ 213205 w 257324"/>
                                                <a:gd name="connsiteY45" fmla="*/ 43185 h 228669"/>
                                                <a:gd name="connsiteX46" fmla="*/ 219295 w 257324"/>
                                                <a:gd name="connsiteY46" fmla="*/ 34244 h 228669"/>
                                                <a:gd name="connsiteX47" fmla="*/ 218064 w 257324"/>
                                                <a:gd name="connsiteY47" fmla="*/ 10792 h 228669"/>
                                                <a:gd name="connsiteX48" fmla="*/ 220008 w 257324"/>
                                                <a:gd name="connsiteY48" fmla="*/ 5998 h 22866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57324" h="228669">
                                                  <a:moveTo>
                                                    <a:pt x="219878" y="5868"/>
                                                  </a:moveTo>
                                                  <a:cubicBezTo>
                                                    <a:pt x="222793" y="2758"/>
                                                    <a:pt x="228624" y="4443"/>
                                                    <a:pt x="231799" y="1657"/>
                                                  </a:cubicBezTo>
                                                  <a:cubicBezTo>
                                                    <a:pt x="222081" y="37"/>
                                                    <a:pt x="212169" y="-870"/>
                                                    <a:pt x="202580" y="1203"/>
                                                  </a:cubicBezTo>
                                                  <a:cubicBezTo>
                                                    <a:pt x="190077" y="3924"/>
                                                    <a:pt x="178027" y="13254"/>
                                                    <a:pt x="176342" y="25887"/>
                                                  </a:cubicBezTo>
                                                  <a:cubicBezTo>
                                                    <a:pt x="175695" y="30487"/>
                                                    <a:pt x="176342" y="35669"/>
                                                    <a:pt x="173298" y="39233"/>
                                                  </a:cubicBezTo>
                                                  <a:cubicBezTo>
                                                    <a:pt x="169022" y="44221"/>
                                                    <a:pt x="159887" y="43055"/>
                                                    <a:pt x="156582" y="48691"/>
                                                  </a:cubicBezTo>
                                                  <a:cubicBezTo>
                                                    <a:pt x="154056" y="53097"/>
                                                    <a:pt x="156842" y="58733"/>
                                                    <a:pt x="156129" y="63786"/>
                                                  </a:cubicBezTo>
                                                  <a:cubicBezTo>
                                                    <a:pt x="155028" y="70978"/>
                                                    <a:pt x="147319" y="74930"/>
                                                    <a:pt x="140516" y="77651"/>
                                                  </a:cubicBezTo>
                                                  <a:cubicBezTo>
                                                    <a:pt x="136175" y="79400"/>
                                                    <a:pt x="131770" y="81149"/>
                                                    <a:pt x="127105" y="81797"/>
                                                  </a:cubicBezTo>
                                                  <a:cubicBezTo>
                                                    <a:pt x="122894" y="82315"/>
                                                    <a:pt x="118618" y="81926"/>
                                                    <a:pt x="114407" y="81862"/>
                                                  </a:cubicBezTo>
                                                  <a:cubicBezTo>
                                                    <a:pt x="100284" y="81732"/>
                                                    <a:pt x="86160" y="86008"/>
                                                    <a:pt x="74564" y="94041"/>
                                                  </a:cubicBezTo>
                                                  <a:cubicBezTo>
                                                    <a:pt x="70547" y="96827"/>
                                                    <a:pt x="66660" y="100066"/>
                                                    <a:pt x="61931" y="101233"/>
                                                  </a:cubicBezTo>
                                                  <a:cubicBezTo>
                                                    <a:pt x="52990" y="103500"/>
                                                    <a:pt x="43791" y="97669"/>
                                                    <a:pt x="38025" y="90478"/>
                                                  </a:cubicBezTo>
                                                  <a:cubicBezTo>
                                                    <a:pt x="32907" y="84129"/>
                                                    <a:pt x="29343" y="76614"/>
                                                    <a:pt x="24419" y="70071"/>
                                                  </a:cubicBezTo>
                                                  <a:cubicBezTo>
                                                    <a:pt x="18265" y="71042"/>
                                                    <a:pt x="11851" y="73569"/>
                                                    <a:pt x="11462" y="79465"/>
                                                  </a:cubicBezTo>
                                                  <a:cubicBezTo>
                                                    <a:pt x="3300" y="78882"/>
                                                    <a:pt x="-2985" y="89636"/>
                                                    <a:pt x="1486" y="96438"/>
                                                  </a:cubicBezTo>
                                                  <a:cubicBezTo>
                                                    <a:pt x="3818" y="99937"/>
                                                    <a:pt x="8029" y="101945"/>
                                                    <a:pt x="10232" y="105573"/>
                                                  </a:cubicBezTo>
                                                  <a:cubicBezTo>
                                                    <a:pt x="15803" y="114708"/>
                                                    <a:pt x="5891" y="129220"/>
                                                    <a:pt x="13924" y="136347"/>
                                                  </a:cubicBezTo>
                                                  <a:cubicBezTo>
                                                    <a:pt x="18071" y="140039"/>
                                                    <a:pt x="25781" y="139845"/>
                                                    <a:pt x="27595" y="145092"/>
                                                  </a:cubicBezTo>
                                                  <a:cubicBezTo>
                                                    <a:pt x="28307" y="147230"/>
                                                    <a:pt x="27724" y="149628"/>
                                                    <a:pt x="28048" y="151895"/>
                                                  </a:cubicBezTo>
                                                  <a:cubicBezTo>
                                                    <a:pt x="29149" y="158503"/>
                                                    <a:pt x="37571" y="160641"/>
                                                    <a:pt x="42107" y="165630"/>
                                                  </a:cubicBezTo>
                                                  <a:cubicBezTo>
                                                    <a:pt x="45929" y="169841"/>
                                                    <a:pt x="46706" y="175866"/>
                                                    <a:pt x="46836" y="181567"/>
                                                  </a:cubicBezTo>
                                                  <a:cubicBezTo>
                                                    <a:pt x="46966" y="187268"/>
                                                    <a:pt x="46576" y="193099"/>
                                                    <a:pt x="48585" y="198346"/>
                                                  </a:cubicBezTo>
                                                  <a:cubicBezTo>
                                                    <a:pt x="50593" y="203659"/>
                                                    <a:pt x="55970" y="208194"/>
                                                    <a:pt x="61542" y="207028"/>
                                                  </a:cubicBezTo>
                                                  <a:cubicBezTo>
                                                    <a:pt x="67826" y="205732"/>
                                                    <a:pt x="71001" y="198152"/>
                                                    <a:pt x="77090" y="196208"/>
                                                  </a:cubicBezTo>
                                                  <a:cubicBezTo>
                                                    <a:pt x="82533" y="201391"/>
                                                    <a:pt x="86096" y="208583"/>
                                                    <a:pt x="86873" y="216098"/>
                                                  </a:cubicBezTo>
                                                  <a:cubicBezTo>
                                                    <a:pt x="91473" y="214737"/>
                                                    <a:pt x="96138" y="213377"/>
                                                    <a:pt x="100737" y="212016"/>
                                                  </a:cubicBezTo>
                                                  <a:cubicBezTo>
                                                    <a:pt x="108641" y="209684"/>
                                                    <a:pt x="116804" y="207287"/>
                                                    <a:pt x="125032" y="207805"/>
                                                  </a:cubicBezTo>
                                                  <a:cubicBezTo>
                                                    <a:pt x="132807" y="208258"/>
                                                    <a:pt x="141488" y="212794"/>
                                                    <a:pt x="142330" y="220503"/>
                                                  </a:cubicBezTo>
                                                  <a:cubicBezTo>
                                                    <a:pt x="146087" y="215839"/>
                                                    <a:pt x="153473" y="219855"/>
                                                    <a:pt x="158008" y="223807"/>
                                                  </a:cubicBezTo>
                                                  <a:cubicBezTo>
                                                    <a:pt x="162543" y="227759"/>
                                                    <a:pt x="170382" y="231193"/>
                                                    <a:pt x="173556" y="226139"/>
                                                  </a:cubicBezTo>
                                                  <a:cubicBezTo>
                                                    <a:pt x="175176" y="223548"/>
                                                    <a:pt x="174788" y="219402"/>
                                                    <a:pt x="177573" y="218106"/>
                                                  </a:cubicBezTo>
                                                  <a:cubicBezTo>
                                                    <a:pt x="179387" y="217264"/>
                                                    <a:pt x="181525" y="218236"/>
                                                    <a:pt x="183534" y="218300"/>
                                                  </a:cubicBezTo>
                                                  <a:cubicBezTo>
                                                    <a:pt x="189818" y="218495"/>
                                                    <a:pt x="192409" y="210397"/>
                                                    <a:pt x="193057" y="204112"/>
                                                  </a:cubicBezTo>
                                                  <a:cubicBezTo>
                                                    <a:pt x="194288" y="191997"/>
                                                    <a:pt x="195454" y="179818"/>
                                                    <a:pt x="196685" y="167703"/>
                                                  </a:cubicBezTo>
                                                  <a:cubicBezTo>
                                                    <a:pt x="197138" y="163362"/>
                                                    <a:pt x="198240" y="158179"/>
                                                    <a:pt x="202322" y="156819"/>
                                                  </a:cubicBezTo>
                                                  <a:cubicBezTo>
                                                    <a:pt x="203876" y="156300"/>
                                                    <a:pt x="205626" y="156495"/>
                                                    <a:pt x="207310" y="156171"/>
                                                  </a:cubicBezTo>
                                                  <a:cubicBezTo>
                                                    <a:pt x="213983" y="155005"/>
                                                    <a:pt x="216574" y="146842"/>
                                                    <a:pt x="217093" y="140039"/>
                                                  </a:cubicBezTo>
                                                  <a:cubicBezTo>
                                                    <a:pt x="217741" y="132200"/>
                                                    <a:pt x="217416" y="124296"/>
                                                    <a:pt x="216186" y="116457"/>
                                                  </a:cubicBezTo>
                                                  <a:cubicBezTo>
                                                    <a:pt x="215797" y="114125"/>
                                                    <a:pt x="215408" y="111793"/>
                                                    <a:pt x="215797" y="109460"/>
                                                  </a:cubicBezTo>
                                                  <a:cubicBezTo>
                                                    <a:pt x="217157" y="101492"/>
                                                    <a:pt x="227134" y="98576"/>
                                                    <a:pt x="235232" y="98252"/>
                                                  </a:cubicBezTo>
                                                  <a:cubicBezTo>
                                                    <a:pt x="243331" y="97928"/>
                                                    <a:pt x="252984" y="97540"/>
                                                    <a:pt x="257325" y="90737"/>
                                                  </a:cubicBezTo>
                                                  <a:cubicBezTo>
                                                    <a:pt x="256353" y="85425"/>
                                                    <a:pt x="251753" y="80955"/>
                                                    <a:pt x="246375" y="80177"/>
                                                  </a:cubicBezTo>
                                                  <a:cubicBezTo>
                                                    <a:pt x="243331" y="79724"/>
                                                    <a:pt x="240156" y="80307"/>
                                                    <a:pt x="237370" y="79141"/>
                                                  </a:cubicBezTo>
                                                  <a:cubicBezTo>
                                                    <a:pt x="227134" y="74865"/>
                                                    <a:pt x="234714" y="55818"/>
                                                    <a:pt x="225385" y="49922"/>
                                                  </a:cubicBezTo>
                                                  <a:cubicBezTo>
                                                    <a:pt x="221303" y="47331"/>
                                                    <a:pt x="214566" y="47784"/>
                                                    <a:pt x="213205" y="43185"/>
                                                  </a:cubicBezTo>
                                                  <a:cubicBezTo>
                                                    <a:pt x="212169" y="39427"/>
                                                    <a:pt x="215991" y="36252"/>
                                                    <a:pt x="219295" y="34244"/>
                                                  </a:cubicBezTo>
                                                  <a:cubicBezTo>
                                                    <a:pt x="214825" y="27571"/>
                                                    <a:pt x="216315" y="18631"/>
                                                    <a:pt x="218064" y="10792"/>
                                                  </a:cubicBezTo>
                                                  <a:cubicBezTo>
                                                    <a:pt x="218453" y="9107"/>
                                                    <a:pt x="218841" y="7293"/>
                                                    <a:pt x="220008" y="599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3" name="Freeform: Shape 203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E118ED6-98D7-4160-A14F-CA11ED8AA8F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244953" y="4402163"/>
                                              <a:ext cx="251738" cy="22588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8526 w 251738"/>
                                                <a:gd name="connsiteY0" fmla="*/ 55237 h 225889"/>
                                                <a:gd name="connsiteX1" fmla="*/ 202371 w 251738"/>
                                                <a:gd name="connsiteY1" fmla="*/ 52646 h 225889"/>
                                                <a:gd name="connsiteX2" fmla="*/ 200168 w 251738"/>
                                                <a:gd name="connsiteY2" fmla="*/ 48759 h 225889"/>
                                                <a:gd name="connsiteX3" fmla="*/ 183259 w 251738"/>
                                                <a:gd name="connsiteY3" fmla="*/ 41308 h 225889"/>
                                                <a:gd name="connsiteX4" fmla="*/ 178595 w 251738"/>
                                                <a:gd name="connsiteY4" fmla="*/ 27315 h 225889"/>
                                                <a:gd name="connsiteX5" fmla="*/ 156503 w 251738"/>
                                                <a:gd name="connsiteY5" fmla="*/ 37356 h 225889"/>
                                                <a:gd name="connsiteX6" fmla="*/ 145554 w 251738"/>
                                                <a:gd name="connsiteY6" fmla="*/ 49795 h 225889"/>
                                                <a:gd name="connsiteX7" fmla="*/ 139464 w 251738"/>
                                                <a:gd name="connsiteY7" fmla="*/ 54654 h 225889"/>
                                                <a:gd name="connsiteX8" fmla="*/ 128969 w 251738"/>
                                                <a:gd name="connsiteY8" fmla="*/ 56663 h 225889"/>
                                                <a:gd name="connsiteX9" fmla="*/ 122296 w 251738"/>
                                                <a:gd name="connsiteY9" fmla="*/ 67352 h 225889"/>
                                                <a:gd name="connsiteX10" fmla="*/ 112125 w 251738"/>
                                                <a:gd name="connsiteY10" fmla="*/ 69361 h 225889"/>
                                                <a:gd name="connsiteX11" fmla="*/ 106941 w 251738"/>
                                                <a:gd name="connsiteY11" fmla="*/ 74608 h 225889"/>
                                                <a:gd name="connsiteX12" fmla="*/ 93078 w 251738"/>
                                                <a:gd name="connsiteY12" fmla="*/ 72989 h 225889"/>
                                                <a:gd name="connsiteX13" fmla="*/ 88672 w 251738"/>
                                                <a:gd name="connsiteY13" fmla="*/ 58671 h 225889"/>
                                                <a:gd name="connsiteX14" fmla="*/ 87052 w 251738"/>
                                                <a:gd name="connsiteY14" fmla="*/ 45001 h 225889"/>
                                                <a:gd name="connsiteX15" fmla="*/ 82906 w 251738"/>
                                                <a:gd name="connsiteY15" fmla="*/ 40013 h 225889"/>
                                                <a:gd name="connsiteX16" fmla="*/ 82194 w 251738"/>
                                                <a:gd name="connsiteY16" fmla="*/ 30360 h 225889"/>
                                                <a:gd name="connsiteX17" fmla="*/ 62110 w 251738"/>
                                                <a:gd name="connsiteY17" fmla="*/ 2955 h 225889"/>
                                                <a:gd name="connsiteX18" fmla="*/ 26478 w 251738"/>
                                                <a:gd name="connsiteY18" fmla="*/ 2696 h 225889"/>
                                                <a:gd name="connsiteX19" fmla="*/ 18185 w 251738"/>
                                                <a:gd name="connsiteY19" fmla="*/ 6842 h 225889"/>
                                                <a:gd name="connsiteX20" fmla="*/ 14428 w 251738"/>
                                                <a:gd name="connsiteY20" fmla="*/ 13127 h 225889"/>
                                                <a:gd name="connsiteX21" fmla="*/ 45 w 251738"/>
                                                <a:gd name="connsiteY21" fmla="*/ 19864 h 225889"/>
                                                <a:gd name="connsiteX22" fmla="*/ 13651 w 251738"/>
                                                <a:gd name="connsiteY22" fmla="*/ 31591 h 225889"/>
                                                <a:gd name="connsiteX23" fmla="*/ 27061 w 251738"/>
                                                <a:gd name="connsiteY23" fmla="*/ 43446 h 225889"/>
                                                <a:gd name="connsiteX24" fmla="*/ 70986 w 251738"/>
                                                <a:gd name="connsiteY24" fmla="*/ 45779 h 225889"/>
                                                <a:gd name="connsiteX25" fmla="*/ 71893 w 251738"/>
                                                <a:gd name="connsiteY25" fmla="*/ 54589 h 225889"/>
                                                <a:gd name="connsiteX26" fmla="*/ 61916 w 251738"/>
                                                <a:gd name="connsiteY26" fmla="*/ 57829 h 225889"/>
                                                <a:gd name="connsiteX27" fmla="*/ 41249 w 251738"/>
                                                <a:gd name="connsiteY27" fmla="*/ 60031 h 225889"/>
                                                <a:gd name="connsiteX28" fmla="*/ 34641 w 251738"/>
                                                <a:gd name="connsiteY28" fmla="*/ 62040 h 225889"/>
                                                <a:gd name="connsiteX29" fmla="*/ 33993 w 251738"/>
                                                <a:gd name="connsiteY29" fmla="*/ 73183 h 225889"/>
                                                <a:gd name="connsiteX30" fmla="*/ 44359 w 251738"/>
                                                <a:gd name="connsiteY30" fmla="*/ 79532 h 225889"/>
                                                <a:gd name="connsiteX31" fmla="*/ 39953 w 251738"/>
                                                <a:gd name="connsiteY31" fmla="*/ 95404 h 225889"/>
                                                <a:gd name="connsiteX32" fmla="*/ 56020 w 251738"/>
                                                <a:gd name="connsiteY32" fmla="*/ 97866 h 225889"/>
                                                <a:gd name="connsiteX33" fmla="*/ 63082 w 251738"/>
                                                <a:gd name="connsiteY33" fmla="*/ 86140 h 225889"/>
                                                <a:gd name="connsiteX34" fmla="*/ 74549 w 251738"/>
                                                <a:gd name="connsiteY34" fmla="*/ 83808 h 225889"/>
                                                <a:gd name="connsiteX35" fmla="*/ 76363 w 251738"/>
                                                <a:gd name="connsiteY35" fmla="*/ 90675 h 225889"/>
                                                <a:gd name="connsiteX36" fmla="*/ 94956 w 251738"/>
                                                <a:gd name="connsiteY36" fmla="*/ 95793 h 225889"/>
                                                <a:gd name="connsiteX37" fmla="*/ 96317 w 251738"/>
                                                <a:gd name="connsiteY37" fmla="*/ 109139 h 225889"/>
                                                <a:gd name="connsiteX38" fmla="*/ 126572 w 251738"/>
                                                <a:gd name="connsiteY38" fmla="*/ 110694 h 225889"/>
                                                <a:gd name="connsiteX39" fmla="*/ 135124 w 251738"/>
                                                <a:gd name="connsiteY39" fmla="*/ 112443 h 225889"/>
                                                <a:gd name="connsiteX40" fmla="*/ 143675 w 251738"/>
                                                <a:gd name="connsiteY40" fmla="*/ 119116 h 225889"/>
                                                <a:gd name="connsiteX41" fmla="*/ 157604 w 251738"/>
                                                <a:gd name="connsiteY41" fmla="*/ 120217 h 225889"/>
                                                <a:gd name="connsiteX42" fmla="*/ 163629 w 251738"/>
                                                <a:gd name="connsiteY42" fmla="*/ 129870 h 225889"/>
                                                <a:gd name="connsiteX43" fmla="*/ 189025 w 251738"/>
                                                <a:gd name="connsiteY43" fmla="*/ 158700 h 225889"/>
                                                <a:gd name="connsiteX44" fmla="*/ 188442 w 251738"/>
                                                <a:gd name="connsiteY44" fmla="*/ 165049 h 225889"/>
                                                <a:gd name="connsiteX45" fmla="*/ 202630 w 251738"/>
                                                <a:gd name="connsiteY45" fmla="*/ 177941 h 225889"/>
                                                <a:gd name="connsiteX46" fmla="*/ 196605 w 251738"/>
                                                <a:gd name="connsiteY46" fmla="*/ 184420 h 225889"/>
                                                <a:gd name="connsiteX47" fmla="*/ 187146 w 251738"/>
                                                <a:gd name="connsiteY47" fmla="*/ 182736 h 225889"/>
                                                <a:gd name="connsiteX48" fmla="*/ 183259 w 251738"/>
                                                <a:gd name="connsiteY48" fmla="*/ 189344 h 225889"/>
                                                <a:gd name="connsiteX49" fmla="*/ 175873 w 251738"/>
                                                <a:gd name="connsiteY49" fmla="*/ 193425 h 225889"/>
                                                <a:gd name="connsiteX50" fmla="*/ 173283 w 251738"/>
                                                <a:gd name="connsiteY50" fmla="*/ 198932 h 225889"/>
                                                <a:gd name="connsiteX51" fmla="*/ 160779 w 251738"/>
                                                <a:gd name="connsiteY51" fmla="*/ 202884 h 225889"/>
                                                <a:gd name="connsiteX52" fmla="*/ 156309 w 251738"/>
                                                <a:gd name="connsiteY52" fmla="*/ 212213 h 225889"/>
                                                <a:gd name="connsiteX53" fmla="*/ 221353 w 251738"/>
                                                <a:gd name="connsiteY53" fmla="*/ 206058 h 225889"/>
                                                <a:gd name="connsiteX54" fmla="*/ 231913 w 251738"/>
                                                <a:gd name="connsiteY54" fmla="*/ 209039 h 225889"/>
                                                <a:gd name="connsiteX55" fmla="*/ 234116 w 251738"/>
                                                <a:gd name="connsiteY55" fmla="*/ 214740 h 225889"/>
                                                <a:gd name="connsiteX56" fmla="*/ 251738 w 251738"/>
                                                <a:gd name="connsiteY56" fmla="*/ 225818 h 225889"/>
                                                <a:gd name="connsiteX57" fmla="*/ 251738 w 251738"/>
                                                <a:gd name="connsiteY57" fmla="*/ 63271 h 225889"/>
                                                <a:gd name="connsiteX58" fmla="*/ 208461 w 251738"/>
                                                <a:gd name="connsiteY58" fmla="*/ 55302 h 22588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51738" h="225889">
                                                  <a:moveTo>
                                                    <a:pt x="208526" y="55237"/>
                                                  </a:moveTo>
                                                  <a:cubicBezTo>
                                                    <a:pt x="206323" y="54849"/>
                                                    <a:pt x="203926" y="54330"/>
                                                    <a:pt x="202371" y="52646"/>
                                                  </a:cubicBezTo>
                                                  <a:cubicBezTo>
                                                    <a:pt x="201335" y="51544"/>
                                                    <a:pt x="200881" y="50054"/>
                                                    <a:pt x="200168" y="48759"/>
                                                  </a:cubicBezTo>
                                                  <a:cubicBezTo>
                                                    <a:pt x="197123" y="42798"/>
                                                    <a:pt x="189673" y="39494"/>
                                                    <a:pt x="183259" y="41308"/>
                                                  </a:cubicBezTo>
                                                  <a:cubicBezTo>
                                                    <a:pt x="185851" y="36449"/>
                                                    <a:pt x="183583" y="29647"/>
                                                    <a:pt x="178595" y="27315"/>
                                                  </a:cubicBezTo>
                                                  <a:cubicBezTo>
                                                    <a:pt x="170691" y="23622"/>
                                                    <a:pt x="162269" y="30813"/>
                                                    <a:pt x="156503" y="37356"/>
                                                  </a:cubicBezTo>
                                                  <a:cubicBezTo>
                                                    <a:pt x="152875" y="41503"/>
                                                    <a:pt x="149247" y="45649"/>
                                                    <a:pt x="145554" y="49795"/>
                                                  </a:cubicBezTo>
                                                  <a:cubicBezTo>
                                                    <a:pt x="143805" y="51804"/>
                                                    <a:pt x="141991" y="53812"/>
                                                    <a:pt x="139464" y="54654"/>
                                                  </a:cubicBezTo>
                                                  <a:cubicBezTo>
                                                    <a:pt x="136031" y="55820"/>
                                                    <a:pt x="131885" y="54525"/>
                                                    <a:pt x="128969" y="56663"/>
                                                  </a:cubicBezTo>
                                                  <a:cubicBezTo>
                                                    <a:pt x="125536" y="59189"/>
                                                    <a:pt x="125924" y="65020"/>
                                                    <a:pt x="122296" y="67352"/>
                                                  </a:cubicBezTo>
                                                  <a:cubicBezTo>
                                                    <a:pt x="119316" y="69231"/>
                                                    <a:pt x="115169" y="67741"/>
                                                    <a:pt x="112125" y="69361"/>
                                                  </a:cubicBezTo>
                                                  <a:cubicBezTo>
                                                    <a:pt x="109922" y="70527"/>
                                                    <a:pt x="108820" y="72989"/>
                                                    <a:pt x="106941" y="74608"/>
                                                  </a:cubicBezTo>
                                                  <a:cubicBezTo>
                                                    <a:pt x="103054" y="77977"/>
                                                    <a:pt x="96641" y="76746"/>
                                                    <a:pt x="93078" y="72989"/>
                                                  </a:cubicBezTo>
                                                  <a:cubicBezTo>
                                                    <a:pt x="89579" y="69231"/>
                                                    <a:pt x="88478" y="63789"/>
                                                    <a:pt x="88672" y="58671"/>
                                                  </a:cubicBezTo>
                                                  <a:cubicBezTo>
                                                    <a:pt x="88802" y="54006"/>
                                                    <a:pt x="89774" y="48824"/>
                                                    <a:pt x="87052" y="45001"/>
                                                  </a:cubicBezTo>
                                                  <a:cubicBezTo>
                                                    <a:pt x="85822" y="43187"/>
                                                    <a:pt x="83943" y="41956"/>
                                                    <a:pt x="82906" y="40013"/>
                                                  </a:cubicBezTo>
                                                  <a:cubicBezTo>
                                                    <a:pt x="81351" y="37162"/>
                                                    <a:pt x="82064" y="33599"/>
                                                    <a:pt x="82194" y="30360"/>
                                                  </a:cubicBezTo>
                                                  <a:cubicBezTo>
                                                    <a:pt x="82583" y="18309"/>
                                                    <a:pt x="73318" y="7361"/>
                                                    <a:pt x="62110" y="2955"/>
                                                  </a:cubicBezTo>
                                                  <a:cubicBezTo>
                                                    <a:pt x="50902" y="-1450"/>
                                                    <a:pt x="38139" y="-414"/>
                                                    <a:pt x="26478" y="2696"/>
                                                  </a:cubicBezTo>
                                                  <a:cubicBezTo>
                                                    <a:pt x="23433" y="3474"/>
                                                    <a:pt x="20323" y="4510"/>
                                                    <a:pt x="18185" y="6842"/>
                                                  </a:cubicBezTo>
                                                  <a:cubicBezTo>
                                                    <a:pt x="16566" y="8656"/>
                                                    <a:pt x="15723" y="11053"/>
                                                    <a:pt x="14428" y="13127"/>
                                                  </a:cubicBezTo>
                                                  <a:cubicBezTo>
                                                    <a:pt x="11447" y="17856"/>
                                                    <a:pt x="5617" y="20577"/>
                                                    <a:pt x="45" y="19864"/>
                                                  </a:cubicBezTo>
                                                  <a:cubicBezTo>
                                                    <a:pt x="-668" y="26408"/>
                                                    <a:pt x="7237" y="29971"/>
                                                    <a:pt x="13651" y="31591"/>
                                                  </a:cubicBezTo>
                                                  <a:cubicBezTo>
                                                    <a:pt x="19999" y="33145"/>
                                                    <a:pt x="27968" y="36903"/>
                                                    <a:pt x="27061" y="43446"/>
                                                  </a:cubicBezTo>
                                                  <a:cubicBezTo>
                                                    <a:pt x="41702" y="42993"/>
                                                    <a:pt x="56409" y="43770"/>
                                                    <a:pt x="70986" y="45779"/>
                                                  </a:cubicBezTo>
                                                  <a:cubicBezTo>
                                                    <a:pt x="74549" y="46232"/>
                                                    <a:pt x="74549" y="52192"/>
                                                    <a:pt x="71893" y="54589"/>
                                                  </a:cubicBezTo>
                                                  <a:cubicBezTo>
                                                    <a:pt x="69236" y="56986"/>
                                                    <a:pt x="65414" y="57440"/>
                                                    <a:pt x="61916" y="57829"/>
                                                  </a:cubicBezTo>
                                                  <a:cubicBezTo>
                                                    <a:pt x="55049" y="58541"/>
                                                    <a:pt x="48116" y="59319"/>
                                                    <a:pt x="41249" y="60031"/>
                                                  </a:cubicBezTo>
                                                  <a:cubicBezTo>
                                                    <a:pt x="38916" y="60291"/>
                                                    <a:pt x="36455" y="60550"/>
                                                    <a:pt x="34641" y="62040"/>
                                                  </a:cubicBezTo>
                                                  <a:cubicBezTo>
                                                    <a:pt x="31402" y="64566"/>
                                                    <a:pt x="31531" y="69879"/>
                                                    <a:pt x="33993" y="73183"/>
                                                  </a:cubicBezTo>
                                                  <a:cubicBezTo>
                                                    <a:pt x="36455" y="76487"/>
                                                    <a:pt x="40472" y="78301"/>
                                                    <a:pt x="44359" y="79532"/>
                                                  </a:cubicBezTo>
                                                  <a:cubicBezTo>
                                                    <a:pt x="38916" y="82447"/>
                                                    <a:pt x="36649" y="90222"/>
                                                    <a:pt x="39953" y="95404"/>
                                                  </a:cubicBezTo>
                                                  <a:cubicBezTo>
                                                    <a:pt x="43257" y="100652"/>
                                                    <a:pt x="51420" y="101948"/>
                                                    <a:pt x="56020" y="97866"/>
                                                  </a:cubicBezTo>
                                                  <a:cubicBezTo>
                                                    <a:pt x="59454" y="94821"/>
                                                    <a:pt x="60491" y="89898"/>
                                                    <a:pt x="63082" y="86140"/>
                                                  </a:cubicBezTo>
                                                  <a:cubicBezTo>
                                                    <a:pt x="65673" y="82383"/>
                                                    <a:pt x="71893" y="80050"/>
                                                    <a:pt x="74549" y="83808"/>
                                                  </a:cubicBezTo>
                                                  <a:cubicBezTo>
                                                    <a:pt x="75910" y="85751"/>
                                                    <a:pt x="75585" y="88408"/>
                                                    <a:pt x="76363" y="90675"/>
                                                  </a:cubicBezTo>
                                                  <a:cubicBezTo>
                                                    <a:pt x="78630" y="97348"/>
                                                    <a:pt x="88024" y="97218"/>
                                                    <a:pt x="94956" y="95793"/>
                                                  </a:cubicBezTo>
                                                  <a:cubicBezTo>
                                                    <a:pt x="95410" y="100263"/>
                                                    <a:pt x="95863" y="104734"/>
                                                    <a:pt x="96317" y="109139"/>
                                                  </a:cubicBezTo>
                                                  <a:cubicBezTo>
                                                    <a:pt x="106423" y="109657"/>
                                                    <a:pt x="116465" y="110175"/>
                                                    <a:pt x="126572" y="110694"/>
                                                  </a:cubicBezTo>
                                                  <a:cubicBezTo>
                                                    <a:pt x="129487" y="110823"/>
                                                    <a:pt x="132532" y="111018"/>
                                                    <a:pt x="135124" y="112443"/>
                                                  </a:cubicBezTo>
                                                  <a:cubicBezTo>
                                                    <a:pt x="138298" y="114192"/>
                                                    <a:pt x="140371" y="117561"/>
                                                    <a:pt x="143675" y="119116"/>
                                                  </a:cubicBezTo>
                                                  <a:cubicBezTo>
                                                    <a:pt x="147951" y="121124"/>
                                                    <a:pt x="152940" y="119569"/>
                                                    <a:pt x="157604" y="120217"/>
                                                  </a:cubicBezTo>
                                                  <a:cubicBezTo>
                                                    <a:pt x="162269" y="120865"/>
                                                    <a:pt x="166933" y="126502"/>
                                                    <a:pt x="163629" y="129870"/>
                                                  </a:cubicBezTo>
                                                  <a:cubicBezTo>
                                                    <a:pt x="178400" y="128769"/>
                                                    <a:pt x="192005" y="144188"/>
                                                    <a:pt x="189025" y="158700"/>
                                                  </a:cubicBezTo>
                                                  <a:cubicBezTo>
                                                    <a:pt x="188572" y="160838"/>
                                                    <a:pt x="187859" y="162976"/>
                                                    <a:pt x="188442" y="165049"/>
                                                  </a:cubicBezTo>
                                                  <a:cubicBezTo>
                                                    <a:pt x="190192" y="171463"/>
                                                    <a:pt x="202047" y="171269"/>
                                                    <a:pt x="202630" y="177941"/>
                                                  </a:cubicBezTo>
                                                  <a:cubicBezTo>
                                                    <a:pt x="202889" y="181181"/>
                                                    <a:pt x="199780" y="183902"/>
                                                    <a:pt x="196605" y="184420"/>
                                                  </a:cubicBezTo>
                                                  <a:cubicBezTo>
                                                    <a:pt x="193431" y="184938"/>
                                                    <a:pt x="190192" y="183837"/>
                                                    <a:pt x="187146" y="182736"/>
                                                  </a:cubicBezTo>
                                                  <a:cubicBezTo>
                                                    <a:pt x="188377" y="185327"/>
                                                    <a:pt x="185916" y="188178"/>
                                                    <a:pt x="183259" y="189344"/>
                                                  </a:cubicBezTo>
                                                  <a:cubicBezTo>
                                                    <a:pt x="180668" y="190510"/>
                                                    <a:pt x="177558" y="191158"/>
                                                    <a:pt x="175873" y="193425"/>
                                                  </a:cubicBezTo>
                                                  <a:cubicBezTo>
                                                    <a:pt x="174708" y="195045"/>
                                                    <a:pt x="174448" y="197247"/>
                                                    <a:pt x="173283" y="198932"/>
                                                  </a:cubicBezTo>
                                                  <a:cubicBezTo>
                                                    <a:pt x="170691" y="202625"/>
                                                    <a:pt x="165249" y="202042"/>
                                                    <a:pt x="160779" y="202884"/>
                                                  </a:cubicBezTo>
                                                  <a:cubicBezTo>
                                                    <a:pt x="156309" y="203726"/>
                                                    <a:pt x="152291" y="210010"/>
                                                    <a:pt x="156309" y="212213"/>
                                                  </a:cubicBezTo>
                                                  <a:cubicBezTo>
                                                    <a:pt x="177882" y="209168"/>
                                                    <a:pt x="199585" y="207095"/>
                                                    <a:pt x="221353" y="206058"/>
                                                  </a:cubicBezTo>
                                                  <a:cubicBezTo>
                                                    <a:pt x="225175" y="205864"/>
                                                    <a:pt x="229581" y="206058"/>
                                                    <a:pt x="231913" y="209039"/>
                                                  </a:cubicBezTo>
                                                  <a:cubicBezTo>
                                                    <a:pt x="233145" y="210658"/>
                                                    <a:pt x="233468" y="212796"/>
                                                    <a:pt x="234116" y="214740"/>
                                                  </a:cubicBezTo>
                                                  <a:cubicBezTo>
                                                    <a:pt x="236513" y="221866"/>
                                                    <a:pt x="244352" y="226531"/>
                                                    <a:pt x="251738" y="225818"/>
                                                  </a:cubicBezTo>
                                                  <a:lnTo>
                                                    <a:pt x="251738" y="63271"/>
                                                  </a:lnTo>
                                                  <a:cubicBezTo>
                                                    <a:pt x="237291" y="60614"/>
                                                    <a:pt x="222843" y="57958"/>
                                                    <a:pt x="208461" y="5530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4" name="Freeform: Shape 203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D66CCD5-398B-41A5-AFA9-D9555DF4F30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53935" y="4628435"/>
                                              <a:ext cx="53207" cy="4231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0177 w 53207"/>
                                                <a:gd name="connsiteY0" fmla="*/ 0 h 42312"/>
                                                <a:gd name="connsiteX1" fmla="*/ 29617 w 53207"/>
                                                <a:gd name="connsiteY1" fmla="*/ 7126 h 42312"/>
                                                <a:gd name="connsiteX2" fmla="*/ 20482 w 53207"/>
                                                <a:gd name="connsiteY2" fmla="*/ 13735 h 42312"/>
                                                <a:gd name="connsiteX3" fmla="*/ 15300 w 53207"/>
                                                <a:gd name="connsiteY3" fmla="*/ 19436 h 42312"/>
                                                <a:gd name="connsiteX4" fmla="*/ 1565 w 53207"/>
                                                <a:gd name="connsiteY4" fmla="*/ 22092 h 42312"/>
                                                <a:gd name="connsiteX5" fmla="*/ 6230 w 53207"/>
                                                <a:gd name="connsiteY5" fmla="*/ 39325 h 42312"/>
                                                <a:gd name="connsiteX6" fmla="*/ 25276 w 53207"/>
                                                <a:gd name="connsiteY6" fmla="*/ 40944 h 42312"/>
                                                <a:gd name="connsiteX7" fmla="*/ 36161 w 53207"/>
                                                <a:gd name="connsiteY7" fmla="*/ 29089 h 42312"/>
                                                <a:gd name="connsiteX8" fmla="*/ 35901 w 53207"/>
                                                <a:gd name="connsiteY8" fmla="*/ 23841 h 42312"/>
                                                <a:gd name="connsiteX9" fmla="*/ 45101 w 53207"/>
                                                <a:gd name="connsiteY9" fmla="*/ 18852 h 42312"/>
                                                <a:gd name="connsiteX10" fmla="*/ 53199 w 53207"/>
                                                <a:gd name="connsiteY10" fmla="*/ 6867 h 42312"/>
                                                <a:gd name="connsiteX11" fmla="*/ 53199 w 53207"/>
                                                <a:gd name="connsiteY11" fmla="*/ 6867 h 42312"/>
                                                <a:gd name="connsiteX12" fmla="*/ 44517 w 53207"/>
                                                <a:gd name="connsiteY12" fmla="*/ 1879 h 42312"/>
                                                <a:gd name="connsiteX13" fmla="*/ 40307 w 53207"/>
                                                <a:gd name="connsiteY13" fmla="*/ 0 h 4231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3207" h="42312">
                                                  <a:moveTo>
                                                    <a:pt x="40177" y="0"/>
                                                  </a:moveTo>
                                                  <a:cubicBezTo>
                                                    <a:pt x="36808" y="2591"/>
                                                    <a:pt x="33245" y="4988"/>
                                                    <a:pt x="29617" y="7126"/>
                                                  </a:cubicBezTo>
                                                  <a:cubicBezTo>
                                                    <a:pt x="26378" y="9005"/>
                                                    <a:pt x="22879" y="10819"/>
                                                    <a:pt x="20482" y="13735"/>
                                                  </a:cubicBezTo>
                                                  <a:cubicBezTo>
                                                    <a:pt x="18798" y="15743"/>
                                                    <a:pt x="17632" y="18334"/>
                                                    <a:pt x="15300" y="19436"/>
                                                  </a:cubicBezTo>
                                                  <a:cubicBezTo>
                                                    <a:pt x="10959" y="21573"/>
                                                    <a:pt x="4221" y="18010"/>
                                                    <a:pt x="1565" y="22092"/>
                                                  </a:cubicBezTo>
                                                  <a:cubicBezTo>
                                                    <a:pt x="-1933" y="27663"/>
                                                    <a:pt x="787" y="35632"/>
                                                    <a:pt x="6230" y="39325"/>
                                                  </a:cubicBezTo>
                                                  <a:cubicBezTo>
                                                    <a:pt x="11736" y="43017"/>
                                                    <a:pt x="18992" y="42953"/>
                                                    <a:pt x="25276" y="40944"/>
                                                  </a:cubicBezTo>
                                                  <a:cubicBezTo>
                                                    <a:pt x="30783" y="39195"/>
                                                    <a:pt x="36484" y="34854"/>
                                                    <a:pt x="36161" y="29089"/>
                                                  </a:cubicBezTo>
                                                  <a:cubicBezTo>
                                                    <a:pt x="36031" y="27339"/>
                                                    <a:pt x="35383" y="25525"/>
                                                    <a:pt x="35901" y="23841"/>
                                                  </a:cubicBezTo>
                                                  <a:cubicBezTo>
                                                    <a:pt x="36938" y="20342"/>
                                                    <a:pt x="41667" y="20083"/>
                                                    <a:pt x="45101" y="18852"/>
                                                  </a:cubicBezTo>
                                                  <a:cubicBezTo>
                                                    <a:pt x="49960" y="17168"/>
                                                    <a:pt x="53393" y="12050"/>
                                                    <a:pt x="53199" y="6867"/>
                                                  </a:cubicBezTo>
                                                  <a:cubicBezTo>
                                                    <a:pt x="53199" y="6867"/>
                                                    <a:pt x="53199" y="6867"/>
                                                    <a:pt x="53199" y="6867"/>
                                                  </a:cubicBezTo>
                                                  <a:cubicBezTo>
                                                    <a:pt x="50348" y="5118"/>
                                                    <a:pt x="47498" y="3369"/>
                                                    <a:pt x="44517" y="1879"/>
                                                  </a:cubicBezTo>
                                                  <a:cubicBezTo>
                                                    <a:pt x="43157" y="1166"/>
                                                    <a:pt x="41732" y="518"/>
                                                    <a:pt x="40307" y="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5" name="Freeform: Shape 203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D7C77951-B3B8-42EB-A288-F3B17D21AC3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0094112" y="4611062"/>
                                              <a:ext cx="58045" cy="2430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7595 w 58045"/>
                                                <a:gd name="connsiteY0" fmla="*/ 5387 h 24306"/>
                                                <a:gd name="connsiteX1" fmla="*/ 50209 w 58045"/>
                                                <a:gd name="connsiteY1" fmla="*/ 1889 h 24306"/>
                                                <a:gd name="connsiteX2" fmla="*/ 35827 w 58045"/>
                                                <a:gd name="connsiteY2" fmla="*/ 464 h 24306"/>
                                                <a:gd name="connsiteX3" fmla="*/ 19824 w 58045"/>
                                                <a:gd name="connsiteY3" fmla="*/ 1500 h 24306"/>
                                                <a:gd name="connsiteX4" fmla="*/ 8616 w 58045"/>
                                                <a:gd name="connsiteY4" fmla="*/ 10181 h 24306"/>
                                                <a:gd name="connsiteX5" fmla="*/ 0 w 58045"/>
                                                <a:gd name="connsiteY5" fmla="*/ 17437 h 24306"/>
                                                <a:gd name="connsiteX6" fmla="*/ 4211 w 58045"/>
                                                <a:gd name="connsiteY6" fmla="*/ 19316 h 24306"/>
                                                <a:gd name="connsiteX7" fmla="*/ 12892 w 58045"/>
                                                <a:gd name="connsiteY7" fmla="*/ 24305 h 24306"/>
                                                <a:gd name="connsiteX8" fmla="*/ 30190 w 58045"/>
                                                <a:gd name="connsiteY8" fmla="*/ 19834 h 24306"/>
                                                <a:gd name="connsiteX9" fmla="*/ 35373 w 58045"/>
                                                <a:gd name="connsiteY9" fmla="*/ 16984 h 24306"/>
                                                <a:gd name="connsiteX10" fmla="*/ 55975 w 58045"/>
                                                <a:gd name="connsiteY10" fmla="*/ 11736 h 24306"/>
                                                <a:gd name="connsiteX11" fmla="*/ 57659 w 58045"/>
                                                <a:gd name="connsiteY11" fmla="*/ 5387 h 2430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58045" h="24306">
                                                  <a:moveTo>
                                                    <a:pt x="57595" y="5387"/>
                                                  </a:moveTo>
                                                  <a:cubicBezTo>
                                                    <a:pt x="56363" y="2796"/>
                                                    <a:pt x="53059" y="2148"/>
                                                    <a:pt x="50209" y="1889"/>
                                                  </a:cubicBezTo>
                                                  <a:cubicBezTo>
                                                    <a:pt x="45415" y="1435"/>
                                                    <a:pt x="40621" y="917"/>
                                                    <a:pt x="35827" y="464"/>
                                                  </a:cubicBezTo>
                                                  <a:cubicBezTo>
                                                    <a:pt x="30449" y="-55"/>
                                                    <a:pt x="24813" y="-573"/>
                                                    <a:pt x="19824" y="1500"/>
                                                  </a:cubicBezTo>
                                                  <a:cubicBezTo>
                                                    <a:pt x="15419" y="3314"/>
                                                    <a:pt x="12050" y="6877"/>
                                                    <a:pt x="8616" y="10181"/>
                                                  </a:cubicBezTo>
                                                  <a:cubicBezTo>
                                                    <a:pt x="5896" y="12773"/>
                                                    <a:pt x="2980" y="15170"/>
                                                    <a:pt x="0" y="17437"/>
                                                  </a:cubicBezTo>
                                                  <a:cubicBezTo>
                                                    <a:pt x="1425" y="18021"/>
                                                    <a:pt x="2850" y="18668"/>
                                                    <a:pt x="4211" y="19316"/>
                                                  </a:cubicBezTo>
                                                  <a:cubicBezTo>
                                                    <a:pt x="7191" y="20806"/>
                                                    <a:pt x="10041" y="22556"/>
                                                    <a:pt x="12892" y="24305"/>
                                                  </a:cubicBezTo>
                                                  <a:cubicBezTo>
                                                    <a:pt x="18917" y="24369"/>
                                                    <a:pt x="24942" y="22815"/>
                                                    <a:pt x="30190" y="19834"/>
                                                  </a:cubicBezTo>
                                                  <a:cubicBezTo>
                                                    <a:pt x="31939" y="18863"/>
                                                    <a:pt x="33559" y="17697"/>
                                                    <a:pt x="35373" y="16984"/>
                                                  </a:cubicBezTo>
                                                  <a:cubicBezTo>
                                                    <a:pt x="42046" y="14263"/>
                                                    <a:pt x="50857" y="16790"/>
                                                    <a:pt x="55975" y="11736"/>
                                                  </a:cubicBezTo>
                                                  <a:cubicBezTo>
                                                    <a:pt x="57659" y="10117"/>
                                                    <a:pt x="58631" y="7525"/>
                                                    <a:pt x="57659" y="538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6" name="Freeform: Shape 203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5472F13-7871-4D4E-9514-17426F402B7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778729" y="3141053"/>
                                              <a:ext cx="234821" cy="12406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2494 w 234821"/>
                                                <a:gd name="connsiteY0" fmla="*/ 17847 h 124063"/>
                                                <a:gd name="connsiteX1" fmla="*/ 120151 w 234821"/>
                                                <a:gd name="connsiteY1" fmla="*/ 11887 h 124063"/>
                                                <a:gd name="connsiteX2" fmla="*/ 109008 w 234821"/>
                                                <a:gd name="connsiteY2" fmla="*/ 8453 h 124063"/>
                                                <a:gd name="connsiteX3" fmla="*/ 107324 w 234821"/>
                                                <a:gd name="connsiteY3" fmla="*/ 4501 h 124063"/>
                                                <a:gd name="connsiteX4" fmla="*/ 97541 w 234821"/>
                                                <a:gd name="connsiteY4" fmla="*/ 31 h 124063"/>
                                                <a:gd name="connsiteX5" fmla="*/ 75579 w 234821"/>
                                                <a:gd name="connsiteY5" fmla="*/ 12858 h 124063"/>
                                                <a:gd name="connsiteX6" fmla="*/ 52709 w 234821"/>
                                                <a:gd name="connsiteY6" fmla="*/ 23224 h 124063"/>
                                                <a:gd name="connsiteX7" fmla="*/ 27961 w 234821"/>
                                                <a:gd name="connsiteY7" fmla="*/ 15450 h 124063"/>
                                                <a:gd name="connsiteX8" fmla="*/ 18827 w 234821"/>
                                                <a:gd name="connsiteY8" fmla="*/ 21669 h 124063"/>
                                                <a:gd name="connsiteX9" fmla="*/ 4703 w 234821"/>
                                                <a:gd name="connsiteY9" fmla="*/ 35469 h 124063"/>
                                                <a:gd name="connsiteX10" fmla="*/ 233 w 234821"/>
                                                <a:gd name="connsiteY10" fmla="*/ 41753 h 124063"/>
                                                <a:gd name="connsiteX11" fmla="*/ 12218 w 234821"/>
                                                <a:gd name="connsiteY11" fmla="*/ 53997 h 124063"/>
                                                <a:gd name="connsiteX12" fmla="*/ 31524 w 234821"/>
                                                <a:gd name="connsiteY12" fmla="*/ 55358 h 124063"/>
                                                <a:gd name="connsiteX13" fmla="*/ 42408 w 234821"/>
                                                <a:gd name="connsiteY13" fmla="*/ 62160 h 124063"/>
                                                <a:gd name="connsiteX14" fmla="*/ 54588 w 234821"/>
                                                <a:gd name="connsiteY14" fmla="*/ 64233 h 124063"/>
                                                <a:gd name="connsiteX15" fmla="*/ 59706 w 234821"/>
                                                <a:gd name="connsiteY15" fmla="*/ 77774 h 124063"/>
                                                <a:gd name="connsiteX16" fmla="*/ 61974 w 234821"/>
                                                <a:gd name="connsiteY16" fmla="*/ 80948 h 124063"/>
                                                <a:gd name="connsiteX17" fmla="*/ 61326 w 234821"/>
                                                <a:gd name="connsiteY17" fmla="*/ 82568 h 124063"/>
                                                <a:gd name="connsiteX18" fmla="*/ 23815 w 234821"/>
                                                <a:gd name="connsiteY18" fmla="*/ 96626 h 124063"/>
                                                <a:gd name="connsiteX19" fmla="*/ 9691 w 234821"/>
                                                <a:gd name="connsiteY19" fmla="*/ 97468 h 124063"/>
                                                <a:gd name="connsiteX20" fmla="*/ 1593 w 234821"/>
                                                <a:gd name="connsiteY20" fmla="*/ 107899 h 124063"/>
                                                <a:gd name="connsiteX21" fmla="*/ 8590 w 234821"/>
                                                <a:gd name="connsiteY21" fmla="*/ 117034 h 124063"/>
                                                <a:gd name="connsiteX22" fmla="*/ 36189 w 234821"/>
                                                <a:gd name="connsiteY22" fmla="*/ 123901 h 124063"/>
                                                <a:gd name="connsiteX23" fmla="*/ 71432 w 234821"/>
                                                <a:gd name="connsiteY23" fmla="*/ 116969 h 124063"/>
                                                <a:gd name="connsiteX24" fmla="*/ 80373 w 234821"/>
                                                <a:gd name="connsiteY24" fmla="*/ 117941 h 124063"/>
                                                <a:gd name="connsiteX25" fmla="*/ 80373 w 234821"/>
                                                <a:gd name="connsiteY25" fmla="*/ 117099 h 124063"/>
                                                <a:gd name="connsiteX26" fmla="*/ 83612 w 234821"/>
                                                <a:gd name="connsiteY26" fmla="*/ 106603 h 124063"/>
                                                <a:gd name="connsiteX27" fmla="*/ 92941 w 234821"/>
                                                <a:gd name="connsiteY27" fmla="*/ 104141 h 124063"/>
                                                <a:gd name="connsiteX28" fmla="*/ 109591 w 234821"/>
                                                <a:gd name="connsiteY28" fmla="*/ 90860 h 124063"/>
                                                <a:gd name="connsiteX29" fmla="*/ 127925 w 234821"/>
                                                <a:gd name="connsiteY29" fmla="*/ 91703 h 124063"/>
                                                <a:gd name="connsiteX30" fmla="*/ 131035 w 234821"/>
                                                <a:gd name="connsiteY30" fmla="*/ 100967 h 124063"/>
                                                <a:gd name="connsiteX31" fmla="*/ 143150 w 234821"/>
                                                <a:gd name="connsiteY31" fmla="*/ 99866 h 124063"/>
                                                <a:gd name="connsiteX32" fmla="*/ 142762 w 234821"/>
                                                <a:gd name="connsiteY32" fmla="*/ 86973 h 124063"/>
                                                <a:gd name="connsiteX33" fmla="*/ 156172 w 234821"/>
                                                <a:gd name="connsiteY33" fmla="*/ 82827 h 124063"/>
                                                <a:gd name="connsiteX34" fmla="*/ 159022 w 234821"/>
                                                <a:gd name="connsiteY34" fmla="*/ 78098 h 124063"/>
                                                <a:gd name="connsiteX35" fmla="*/ 181568 w 234821"/>
                                                <a:gd name="connsiteY35" fmla="*/ 76543 h 124063"/>
                                                <a:gd name="connsiteX36" fmla="*/ 205280 w 234821"/>
                                                <a:gd name="connsiteY36" fmla="*/ 55228 h 124063"/>
                                                <a:gd name="connsiteX37" fmla="*/ 215969 w 234821"/>
                                                <a:gd name="connsiteY37" fmla="*/ 51082 h 124063"/>
                                                <a:gd name="connsiteX38" fmla="*/ 226853 w 234821"/>
                                                <a:gd name="connsiteY38" fmla="*/ 40975 h 124063"/>
                                                <a:gd name="connsiteX39" fmla="*/ 232490 w 234821"/>
                                                <a:gd name="connsiteY39" fmla="*/ 39874 h 124063"/>
                                                <a:gd name="connsiteX40" fmla="*/ 234822 w 234821"/>
                                                <a:gd name="connsiteY40" fmla="*/ 37801 h 124063"/>
                                                <a:gd name="connsiteX41" fmla="*/ 231712 w 234821"/>
                                                <a:gd name="connsiteY41" fmla="*/ 32812 h 124063"/>
                                                <a:gd name="connsiteX42" fmla="*/ 202494 w 234821"/>
                                                <a:gd name="connsiteY42" fmla="*/ 17653 h 12406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34821" h="124063">
                                                  <a:moveTo>
                                                    <a:pt x="202494" y="17847"/>
                                                  </a:moveTo>
                                                  <a:cubicBezTo>
                                                    <a:pt x="175543" y="11887"/>
                                                    <a:pt x="147685" y="10526"/>
                                                    <a:pt x="120151" y="11887"/>
                                                  </a:cubicBezTo>
                                                  <a:cubicBezTo>
                                                    <a:pt x="116070" y="12081"/>
                                                    <a:pt x="111146" y="11887"/>
                                                    <a:pt x="109008" y="8453"/>
                                                  </a:cubicBezTo>
                                                  <a:cubicBezTo>
                                                    <a:pt x="108231" y="7222"/>
                                                    <a:pt x="107972" y="5797"/>
                                                    <a:pt x="107324" y="4501"/>
                                                  </a:cubicBezTo>
                                                  <a:cubicBezTo>
                                                    <a:pt x="105574" y="1132"/>
                                                    <a:pt x="101299" y="-228"/>
                                                    <a:pt x="97541" y="31"/>
                                                  </a:cubicBezTo>
                                                  <a:cubicBezTo>
                                                    <a:pt x="88860" y="549"/>
                                                    <a:pt x="81993" y="7028"/>
                                                    <a:pt x="75579" y="12858"/>
                                                  </a:cubicBezTo>
                                                  <a:cubicBezTo>
                                                    <a:pt x="69165" y="18689"/>
                                                    <a:pt x="61261" y="24520"/>
                                                    <a:pt x="52709" y="23224"/>
                                                  </a:cubicBezTo>
                                                  <a:cubicBezTo>
                                                    <a:pt x="43963" y="21864"/>
                                                    <a:pt x="36513" y="13312"/>
                                                    <a:pt x="27961" y="15450"/>
                                                  </a:cubicBezTo>
                                                  <a:cubicBezTo>
                                                    <a:pt x="24333" y="16357"/>
                                                    <a:pt x="21483" y="19078"/>
                                                    <a:pt x="18827" y="21669"/>
                                                  </a:cubicBezTo>
                                                  <a:cubicBezTo>
                                                    <a:pt x="14097" y="26269"/>
                                                    <a:pt x="9432" y="30869"/>
                                                    <a:pt x="4703" y="35469"/>
                                                  </a:cubicBezTo>
                                                  <a:cubicBezTo>
                                                    <a:pt x="2824" y="37283"/>
                                                    <a:pt x="881" y="39226"/>
                                                    <a:pt x="233" y="41753"/>
                                                  </a:cubicBezTo>
                                                  <a:cubicBezTo>
                                                    <a:pt x="-1387" y="48037"/>
                                                    <a:pt x="5740" y="53285"/>
                                                    <a:pt x="12218" y="53997"/>
                                                  </a:cubicBezTo>
                                                  <a:cubicBezTo>
                                                    <a:pt x="18632" y="54710"/>
                                                    <a:pt x="25434" y="53090"/>
                                                    <a:pt x="31524" y="55358"/>
                                                  </a:cubicBezTo>
                                                  <a:cubicBezTo>
                                                    <a:pt x="35541" y="56848"/>
                                                    <a:pt x="38780" y="59893"/>
                                                    <a:pt x="42408" y="62160"/>
                                                  </a:cubicBezTo>
                                                  <a:cubicBezTo>
                                                    <a:pt x="46036" y="64428"/>
                                                    <a:pt x="50701" y="66048"/>
                                                    <a:pt x="54588" y="64233"/>
                                                  </a:cubicBezTo>
                                                  <a:cubicBezTo>
                                                    <a:pt x="55171" y="69157"/>
                                                    <a:pt x="56013" y="74470"/>
                                                    <a:pt x="59706" y="77774"/>
                                                  </a:cubicBezTo>
                                                  <a:cubicBezTo>
                                                    <a:pt x="60743" y="78681"/>
                                                    <a:pt x="62038" y="79588"/>
                                                    <a:pt x="61974" y="80948"/>
                                                  </a:cubicBezTo>
                                                  <a:cubicBezTo>
                                                    <a:pt x="61974" y="81531"/>
                                                    <a:pt x="61650" y="82049"/>
                                                    <a:pt x="61326" y="82568"/>
                                                  </a:cubicBezTo>
                                                  <a:cubicBezTo>
                                                    <a:pt x="53746" y="94294"/>
                                                    <a:pt x="37809" y="97209"/>
                                                    <a:pt x="23815" y="96626"/>
                                                  </a:cubicBezTo>
                                                  <a:cubicBezTo>
                                                    <a:pt x="19086" y="96432"/>
                                                    <a:pt x="14227" y="95979"/>
                                                    <a:pt x="9691" y="97468"/>
                                                  </a:cubicBezTo>
                                                  <a:cubicBezTo>
                                                    <a:pt x="5221" y="98959"/>
                                                    <a:pt x="1205" y="103170"/>
                                                    <a:pt x="1593" y="107899"/>
                                                  </a:cubicBezTo>
                                                  <a:cubicBezTo>
                                                    <a:pt x="1982" y="111851"/>
                                                    <a:pt x="5221" y="114896"/>
                                                    <a:pt x="8590" y="117034"/>
                                                  </a:cubicBezTo>
                                                  <a:cubicBezTo>
                                                    <a:pt x="16688" y="122282"/>
                                                    <a:pt x="26600" y="124743"/>
                                                    <a:pt x="36189" y="123901"/>
                                                  </a:cubicBezTo>
                                                  <a:cubicBezTo>
                                                    <a:pt x="48109" y="122865"/>
                                                    <a:pt x="59447" y="116969"/>
                                                    <a:pt x="71432" y="116969"/>
                                                  </a:cubicBezTo>
                                                  <a:cubicBezTo>
                                                    <a:pt x="74412" y="116969"/>
                                                    <a:pt x="77393" y="117358"/>
                                                    <a:pt x="80373" y="117941"/>
                                                  </a:cubicBezTo>
                                                  <a:cubicBezTo>
                                                    <a:pt x="80373" y="117682"/>
                                                    <a:pt x="80373" y="117423"/>
                                                    <a:pt x="80373" y="117099"/>
                                                  </a:cubicBezTo>
                                                  <a:cubicBezTo>
                                                    <a:pt x="80373" y="113276"/>
                                                    <a:pt x="80567" y="108936"/>
                                                    <a:pt x="83612" y="106603"/>
                                                  </a:cubicBezTo>
                                                  <a:cubicBezTo>
                                                    <a:pt x="86203" y="104595"/>
                                                    <a:pt x="89831" y="104919"/>
                                                    <a:pt x="92941" y="104141"/>
                                                  </a:cubicBezTo>
                                                  <a:cubicBezTo>
                                                    <a:pt x="99938" y="102392"/>
                                                    <a:pt x="104149" y="95525"/>
                                                    <a:pt x="109591" y="90860"/>
                                                  </a:cubicBezTo>
                                                  <a:cubicBezTo>
                                                    <a:pt x="115098" y="86196"/>
                                                    <a:pt x="125464" y="84965"/>
                                                    <a:pt x="127925" y="91703"/>
                                                  </a:cubicBezTo>
                                                  <a:cubicBezTo>
                                                    <a:pt x="129092" y="94877"/>
                                                    <a:pt x="128185" y="99218"/>
                                                    <a:pt x="131035" y="100967"/>
                                                  </a:cubicBezTo>
                                                  <a:cubicBezTo>
                                                    <a:pt x="134599" y="103170"/>
                                                    <a:pt x="139198" y="98440"/>
                                                    <a:pt x="143150" y="99866"/>
                                                  </a:cubicBezTo>
                                                  <a:cubicBezTo>
                                                    <a:pt x="145223" y="95914"/>
                                                    <a:pt x="145094" y="90796"/>
                                                    <a:pt x="142762" y="86973"/>
                                                  </a:cubicBezTo>
                                                  <a:cubicBezTo>
                                                    <a:pt x="145936" y="83410"/>
                                                    <a:pt x="152738" y="86196"/>
                                                    <a:pt x="156172" y="82827"/>
                                                  </a:cubicBezTo>
                                                  <a:cubicBezTo>
                                                    <a:pt x="157468" y="81531"/>
                                                    <a:pt x="157921" y="79588"/>
                                                    <a:pt x="159022" y="78098"/>
                                                  </a:cubicBezTo>
                                                  <a:cubicBezTo>
                                                    <a:pt x="163687" y="71749"/>
                                                    <a:pt x="173729" y="77838"/>
                                                    <a:pt x="181568" y="76543"/>
                                                  </a:cubicBezTo>
                                                  <a:cubicBezTo>
                                                    <a:pt x="192258" y="74793"/>
                                                    <a:pt x="195497" y="59893"/>
                                                    <a:pt x="205280" y="55228"/>
                                                  </a:cubicBezTo>
                                                  <a:cubicBezTo>
                                                    <a:pt x="208713" y="53544"/>
                                                    <a:pt x="212859" y="53285"/>
                                                    <a:pt x="215969" y="51082"/>
                                                  </a:cubicBezTo>
                                                  <a:cubicBezTo>
                                                    <a:pt x="220116" y="48232"/>
                                                    <a:pt x="222059" y="42336"/>
                                                    <a:pt x="226853" y="40975"/>
                                                  </a:cubicBezTo>
                                                  <a:cubicBezTo>
                                                    <a:pt x="228667" y="40457"/>
                                                    <a:pt x="230740" y="40716"/>
                                                    <a:pt x="232490" y="39874"/>
                                                  </a:cubicBezTo>
                                                  <a:cubicBezTo>
                                                    <a:pt x="233462" y="39421"/>
                                                    <a:pt x="234239" y="38643"/>
                                                    <a:pt x="234822" y="37801"/>
                                                  </a:cubicBezTo>
                                                  <a:cubicBezTo>
                                                    <a:pt x="233915" y="36052"/>
                                                    <a:pt x="232878" y="34367"/>
                                                    <a:pt x="231712" y="32812"/>
                                                  </a:cubicBezTo>
                                                  <a:cubicBezTo>
                                                    <a:pt x="224975" y="23807"/>
                                                    <a:pt x="213443" y="20114"/>
                                                    <a:pt x="202494" y="1765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7" name="Freeform: Shape 203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E4588F2-D051-4B17-AAA5-849ED2771B1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700442" y="3222761"/>
                                              <a:ext cx="192606" cy="13490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9214 w 192606"/>
                                                <a:gd name="connsiteY0" fmla="*/ 1508 h 134901"/>
                                                <a:gd name="connsiteX1" fmla="*/ 51893 w 192606"/>
                                                <a:gd name="connsiteY1" fmla="*/ 6172 h 134901"/>
                                                <a:gd name="connsiteX2" fmla="*/ 37381 w 192606"/>
                                                <a:gd name="connsiteY2" fmla="*/ 17186 h 134901"/>
                                                <a:gd name="connsiteX3" fmla="*/ 11532 w 192606"/>
                                                <a:gd name="connsiteY3" fmla="*/ 46599 h 134901"/>
                                                <a:gd name="connsiteX4" fmla="*/ 16132 w 192606"/>
                                                <a:gd name="connsiteY4" fmla="*/ 76400 h 134901"/>
                                                <a:gd name="connsiteX5" fmla="*/ 20602 w 192606"/>
                                                <a:gd name="connsiteY5" fmla="*/ 83786 h 134901"/>
                                                <a:gd name="connsiteX6" fmla="*/ 12633 w 192606"/>
                                                <a:gd name="connsiteY6" fmla="*/ 99140 h 134901"/>
                                                <a:gd name="connsiteX7" fmla="*/ 0 w 192606"/>
                                                <a:gd name="connsiteY7" fmla="*/ 111773 h 134901"/>
                                                <a:gd name="connsiteX8" fmla="*/ 1555 w 192606"/>
                                                <a:gd name="connsiteY8" fmla="*/ 112810 h 134901"/>
                                                <a:gd name="connsiteX9" fmla="*/ 10625 w 192606"/>
                                                <a:gd name="connsiteY9" fmla="*/ 111708 h 134901"/>
                                                <a:gd name="connsiteX10" fmla="*/ 18788 w 192606"/>
                                                <a:gd name="connsiteY10" fmla="*/ 125184 h 134901"/>
                                                <a:gd name="connsiteX11" fmla="*/ 50857 w 192606"/>
                                                <a:gd name="connsiteY11" fmla="*/ 111903 h 134901"/>
                                                <a:gd name="connsiteX12" fmla="*/ 56947 w 192606"/>
                                                <a:gd name="connsiteY12" fmla="*/ 106849 h 134901"/>
                                                <a:gd name="connsiteX13" fmla="*/ 58372 w 192606"/>
                                                <a:gd name="connsiteY13" fmla="*/ 102897 h 134901"/>
                                                <a:gd name="connsiteX14" fmla="*/ 68932 w 192606"/>
                                                <a:gd name="connsiteY14" fmla="*/ 97779 h 134901"/>
                                                <a:gd name="connsiteX15" fmla="*/ 75540 w 192606"/>
                                                <a:gd name="connsiteY15" fmla="*/ 90394 h 134901"/>
                                                <a:gd name="connsiteX16" fmla="*/ 84286 w 192606"/>
                                                <a:gd name="connsiteY16" fmla="*/ 88126 h 134901"/>
                                                <a:gd name="connsiteX17" fmla="*/ 85452 w 192606"/>
                                                <a:gd name="connsiteY17" fmla="*/ 80222 h 134901"/>
                                                <a:gd name="connsiteX18" fmla="*/ 91995 w 192606"/>
                                                <a:gd name="connsiteY18" fmla="*/ 76789 h 134901"/>
                                                <a:gd name="connsiteX19" fmla="*/ 95883 w 192606"/>
                                                <a:gd name="connsiteY19" fmla="*/ 84304 h 134901"/>
                                                <a:gd name="connsiteX20" fmla="*/ 96336 w 192606"/>
                                                <a:gd name="connsiteY20" fmla="*/ 93309 h 134901"/>
                                                <a:gd name="connsiteX21" fmla="*/ 103592 w 192606"/>
                                                <a:gd name="connsiteY21" fmla="*/ 95188 h 134901"/>
                                                <a:gd name="connsiteX22" fmla="*/ 107479 w 192606"/>
                                                <a:gd name="connsiteY22" fmla="*/ 120066 h 134901"/>
                                                <a:gd name="connsiteX23" fmla="*/ 110071 w 192606"/>
                                                <a:gd name="connsiteY23" fmla="*/ 134902 h 134901"/>
                                                <a:gd name="connsiteX24" fmla="*/ 113699 w 192606"/>
                                                <a:gd name="connsiteY24" fmla="*/ 131662 h 134901"/>
                                                <a:gd name="connsiteX25" fmla="*/ 140909 w 192606"/>
                                                <a:gd name="connsiteY25" fmla="*/ 120584 h 134901"/>
                                                <a:gd name="connsiteX26" fmla="*/ 160539 w 192606"/>
                                                <a:gd name="connsiteY26" fmla="*/ 104193 h 134901"/>
                                                <a:gd name="connsiteX27" fmla="*/ 170904 w 192606"/>
                                                <a:gd name="connsiteY27" fmla="*/ 115466 h 134901"/>
                                                <a:gd name="connsiteX28" fmla="*/ 188138 w 192606"/>
                                                <a:gd name="connsiteY28" fmla="*/ 116243 h 134901"/>
                                                <a:gd name="connsiteX29" fmla="*/ 188656 w 192606"/>
                                                <a:gd name="connsiteY29" fmla="*/ 116438 h 134901"/>
                                                <a:gd name="connsiteX30" fmla="*/ 191118 w 192606"/>
                                                <a:gd name="connsiteY30" fmla="*/ 104647 h 134901"/>
                                                <a:gd name="connsiteX31" fmla="*/ 192543 w 192606"/>
                                                <a:gd name="connsiteY31" fmla="*/ 95836 h 134901"/>
                                                <a:gd name="connsiteX32" fmla="*/ 189174 w 192606"/>
                                                <a:gd name="connsiteY32" fmla="*/ 87932 h 134901"/>
                                                <a:gd name="connsiteX33" fmla="*/ 172135 w 192606"/>
                                                <a:gd name="connsiteY33" fmla="*/ 69533 h 134901"/>
                                                <a:gd name="connsiteX34" fmla="*/ 162417 w 192606"/>
                                                <a:gd name="connsiteY34" fmla="*/ 64868 h 134901"/>
                                                <a:gd name="connsiteX35" fmla="*/ 158789 w 192606"/>
                                                <a:gd name="connsiteY35" fmla="*/ 51717 h 134901"/>
                                                <a:gd name="connsiteX36" fmla="*/ 158660 w 192606"/>
                                                <a:gd name="connsiteY36" fmla="*/ 36233 h 134901"/>
                                                <a:gd name="connsiteX37" fmla="*/ 149720 w 192606"/>
                                                <a:gd name="connsiteY37" fmla="*/ 35261 h 134901"/>
                                                <a:gd name="connsiteX38" fmla="*/ 114476 w 192606"/>
                                                <a:gd name="connsiteY38" fmla="*/ 42193 h 134901"/>
                                                <a:gd name="connsiteX39" fmla="*/ 86877 w 192606"/>
                                                <a:gd name="connsiteY39" fmla="*/ 35326 h 134901"/>
                                                <a:gd name="connsiteX40" fmla="*/ 79881 w 192606"/>
                                                <a:gd name="connsiteY40" fmla="*/ 26191 h 134901"/>
                                                <a:gd name="connsiteX41" fmla="*/ 87979 w 192606"/>
                                                <a:gd name="connsiteY41" fmla="*/ 15761 h 134901"/>
                                                <a:gd name="connsiteX42" fmla="*/ 102102 w 192606"/>
                                                <a:gd name="connsiteY42" fmla="*/ 14918 h 134901"/>
                                                <a:gd name="connsiteX43" fmla="*/ 121020 w 192606"/>
                                                <a:gd name="connsiteY43" fmla="*/ 13104 h 134901"/>
                                                <a:gd name="connsiteX44" fmla="*/ 88044 w 192606"/>
                                                <a:gd name="connsiteY44" fmla="*/ 5654 h 134901"/>
                                                <a:gd name="connsiteX45" fmla="*/ 59149 w 192606"/>
                                                <a:gd name="connsiteY45" fmla="*/ 1443 h 13490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92606" h="134901">
                                                  <a:moveTo>
                                                    <a:pt x="59214" y="1508"/>
                                                  </a:moveTo>
                                                  <a:cubicBezTo>
                                                    <a:pt x="56558" y="2609"/>
                                                    <a:pt x="54161" y="4423"/>
                                                    <a:pt x="51893" y="6172"/>
                                                  </a:cubicBezTo>
                                                  <a:cubicBezTo>
                                                    <a:pt x="47034" y="9865"/>
                                                    <a:pt x="42175" y="13558"/>
                                                    <a:pt x="37381" y="17186"/>
                                                  </a:cubicBezTo>
                                                  <a:cubicBezTo>
                                                    <a:pt x="26821" y="25219"/>
                                                    <a:pt x="15678" y="34030"/>
                                                    <a:pt x="11532" y="46599"/>
                                                  </a:cubicBezTo>
                                                  <a:cubicBezTo>
                                                    <a:pt x="8292" y="56511"/>
                                                    <a:pt x="10107" y="67913"/>
                                                    <a:pt x="16132" y="76400"/>
                                                  </a:cubicBezTo>
                                                  <a:cubicBezTo>
                                                    <a:pt x="17816" y="78732"/>
                                                    <a:pt x="19889" y="81000"/>
                                                    <a:pt x="20602" y="83786"/>
                                                  </a:cubicBezTo>
                                                  <a:cubicBezTo>
                                                    <a:pt x="22221" y="89681"/>
                                                    <a:pt x="17492" y="95447"/>
                                                    <a:pt x="12633" y="99140"/>
                                                  </a:cubicBezTo>
                                                  <a:cubicBezTo>
                                                    <a:pt x="7839" y="102833"/>
                                                    <a:pt x="2138" y="106137"/>
                                                    <a:pt x="0" y="111773"/>
                                                  </a:cubicBezTo>
                                                  <a:cubicBezTo>
                                                    <a:pt x="453" y="112227"/>
                                                    <a:pt x="972" y="112550"/>
                                                    <a:pt x="1555" y="112810"/>
                                                  </a:cubicBezTo>
                                                  <a:cubicBezTo>
                                                    <a:pt x="4405" y="113911"/>
                                                    <a:pt x="7515" y="111644"/>
                                                    <a:pt x="10625" y="111708"/>
                                                  </a:cubicBezTo>
                                                  <a:cubicBezTo>
                                                    <a:pt x="16391" y="111903"/>
                                                    <a:pt x="18464" y="119353"/>
                                                    <a:pt x="18788" y="125184"/>
                                                  </a:cubicBezTo>
                                                  <a:cubicBezTo>
                                                    <a:pt x="30060" y="122463"/>
                                                    <a:pt x="40556" y="117150"/>
                                                    <a:pt x="50857" y="111903"/>
                                                  </a:cubicBezTo>
                                                  <a:cubicBezTo>
                                                    <a:pt x="53254" y="110672"/>
                                                    <a:pt x="55780" y="109311"/>
                                                    <a:pt x="56947" y="106849"/>
                                                  </a:cubicBezTo>
                                                  <a:cubicBezTo>
                                                    <a:pt x="57529" y="105554"/>
                                                    <a:pt x="57659" y="104064"/>
                                                    <a:pt x="58372" y="102897"/>
                                                  </a:cubicBezTo>
                                                  <a:cubicBezTo>
                                                    <a:pt x="60380" y="99464"/>
                                                    <a:pt x="65433" y="99788"/>
                                                    <a:pt x="68932" y="97779"/>
                                                  </a:cubicBezTo>
                                                  <a:cubicBezTo>
                                                    <a:pt x="71782" y="96095"/>
                                                    <a:pt x="73337" y="92856"/>
                                                    <a:pt x="75540" y="90394"/>
                                                  </a:cubicBezTo>
                                                  <a:cubicBezTo>
                                                    <a:pt x="77743" y="87867"/>
                                                    <a:pt x="81630" y="86053"/>
                                                    <a:pt x="84286" y="88126"/>
                                                  </a:cubicBezTo>
                                                  <a:cubicBezTo>
                                                    <a:pt x="84286" y="85405"/>
                                                    <a:pt x="84286" y="82619"/>
                                                    <a:pt x="85452" y="80222"/>
                                                  </a:cubicBezTo>
                                                  <a:cubicBezTo>
                                                    <a:pt x="86618" y="77825"/>
                                                    <a:pt x="89469" y="75947"/>
                                                    <a:pt x="91995" y="76789"/>
                                                  </a:cubicBezTo>
                                                  <a:cubicBezTo>
                                                    <a:pt x="94911" y="77696"/>
                                                    <a:pt x="95948" y="81259"/>
                                                    <a:pt x="95883" y="84304"/>
                                                  </a:cubicBezTo>
                                                  <a:cubicBezTo>
                                                    <a:pt x="95883" y="87349"/>
                                                    <a:pt x="95170" y="90523"/>
                                                    <a:pt x="96336" y="93309"/>
                                                  </a:cubicBezTo>
                                                  <a:cubicBezTo>
                                                    <a:pt x="97567" y="96095"/>
                                                    <a:pt x="101843" y="97715"/>
                                                    <a:pt x="103592" y="95188"/>
                                                  </a:cubicBezTo>
                                                  <a:cubicBezTo>
                                                    <a:pt x="108257" y="102314"/>
                                                    <a:pt x="107026" y="111579"/>
                                                    <a:pt x="107479" y="120066"/>
                                                  </a:cubicBezTo>
                                                  <a:cubicBezTo>
                                                    <a:pt x="107738" y="125119"/>
                                                    <a:pt x="108581" y="130108"/>
                                                    <a:pt x="110071" y="134902"/>
                                                  </a:cubicBezTo>
                                                  <a:cubicBezTo>
                                                    <a:pt x="111107" y="133736"/>
                                                    <a:pt x="112273" y="132634"/>
                                                    <a:pt x="113699" y="131662"/>
                                                  </a:cubicBezTo>
                                                  <a:cubicBezTo>
                                                    <a:pt x="121862" y="126091"/>
                                                    <a:pt x="133717" y="127322"/>
                                                    <a:pt x="140909" y="120584"/>
                                                  </a:cubicBezTo>
                                                  <a:cubicBezTo>
                                                    <a:pt x="147582" y="114364"/>
                                                    <a:pt x="151857" y="101407"/>
                                                    <a:pt x="160539" y="104193"/>
                                                  </a:cubicBezTo>
                                                  <a:cubicBezTo>
                                                    <a:pt x="159114" y="109765"/>
                                                    <a:pt x="165204" y="114624"/>
                                                    <a:pt x="170904" y="115466"/>
                                                  </a:cubicBezTo>
                                                  <a:cubicBezTo>
                                                    <a:pt x="176606" y="116308"/>
                                                    <a:pt x="182501" y="114883"/>
                                                    <a:pt x="188138" y="116243"/>
                                                  </a:cubicBezTo>
                                                  <a:cubicBezTo>
                                                    <a:pt x="188332" y="116243"/>
                                                    <a:pt x="188461" y="116373"/>
                                                    <a:pt x="188656" y="116438"/>
                                                  </a:cubicBezTo>
                                                  <a:cubicBezTo>
                                                    <a:pt x="189239" y="112486"/>
                                                    <a:pt x="190081" y="108534"/>
                                                    <a:pt x="191118" y="104647"/>
                                                  </a:cubicBezTo>
                                                  <a:cubicBezTo>
                                                    <a:pt x="191895" y="101796"/>
                                                    <a:pt x="192867" y="98816"/>
                                                    <a:pt x="192543" y="95836"/>
                                                  </a:cubicBezTo>
                                                  <a:cubicBezTo>
                                                    <a:pt x="192219" y="92985"/>
                                                    <a:pt x="190664" y="90394"/>
                                                    <a:pt x="189174" y="87932"/>
                                                  </a:cubicBezTo>
                                                  <a:cubicBezTo>
                                                    <a:pt x="184769" y="80676"/>
                                                    <a:pt x="179910" y="72966"/>
                                                    <a:pt x="172135" y="69533"/>
                                                  </a:cubicBezTo>
                                                  <a:cubicBezTo>
                                                    <a:pt x="168832" y="68043"/>
                                                    <a:pt x="165009" y="67395"/>
                                                    <a:pt x="162417" y="64868"/>
                                                  </a:cubicBezTo>
                                                  <a:cubicBezTo>
                                                    <a:pt x="159049" y="61629"/>
                                                    <a:pt x="158789" y="56381"/>
                                                    <a:pt x="158789" y="51717"/>
                                                  </a:cubicBezTo>
                                                  <a:lnTo>
                                                    <a:pt x="158660" y="36233"/>
                                                  </a:lnTo>
                                                  <a:cubicBezTo>
                                                    <a:pt x="155745" y="35650"/>
                                                    <a:pt x="152764" y="35261"/>
                                                    <a:pt x="149720" y="35261"/>
                                                  </a:cubicBezTo>
                                                  <a:cubicBezTo>
                                                    <a:pt x="137734" y="35261"/>
                                                    <a:pt x="126461" y="41157"/>
                                                    <a:pt x="114476" y="42193"/>
                                                  </a:cubicBezTo>
                                                  <a:cubicBezTo>
                                                    <a:pt x="104823" y="43036"/>
                                                    <a:pt x="94976" y="40574"/>
                                                    <a:pt x="86877" y="35326"/>
                                                  </a:cubicBezTo>
                                                  <a:cubicBezTo>
                                                    <a:pt x="83573" y="33188"/>
                                                    <a:pt x="80269" y="30143"/>
                                                    <a:pt x="79881" y="26191"/>
                                                  </a:cubicBezTo>
                                                  <a:cubicBezTo>
                                                    <a:pt x="79427" y="21462"/>
                                                    <a:pt x="83444" y="17316"/>
                                                    <a:pt x="87979" y="15761"/>
                                                  </a:cubicBezTo>
                                                  <a:cubicBezTo>
                                                    <a:pt x="92449" y="14271"/>
                                                    <a:pt x="97373" y="14724"/>
                                                    <a:pt x="102102" y="14918"/>
                                                  </a:cubicBezTo>
                                                  <a:cubicBezTo>
                                                    <a:pt x="108322" y="15178"/>
                                                    <a:pt x="114930" y="14724"/>
                                                    <a:pt x="121020" y="13104"/>
                                                  </a:cubicBezTo>
                                                  <a:cubicBezTo>
                                                    <a:pt x="109747" y="12068"/>
                                                    <a:pt x="98669" y="9606"/>
                                                    <a:pt x="88044" y="5654"/>
                                                  </a:cubicBezTo>
                                                  <a:cubicBezTo>
                                                    <a:pt x="78650" y="2220"/>
                                                    <a:pt x="68349" y="-2379"/>
                                                    <a:pt x="59149" y="144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8" name="Freeform: Shape 203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E9637C6-BAF0-4924-B845-6CD0A984512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8169717" y="2714434"/>
                                              <a:ext cx="1017070" cy="50521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999968 w 1017070"/>
                                                <a:gd name="connsiteY0" fmla="*/ 213505 h 505210"/>
                                                <a:gd name="connsiteX1" fmla="*/ 966473 w 1017070"/>
                                                <a:gd name="connsiteY1" fmla="*/ 206508 h 505210"/>
                                                <a:gd name="connsiteX2" fmla="*/ 961161 w 1017070"/>
                                                <a:gd name="connsiteY2" fmla="*/ 196077 h 505210"/>
                                                <a:gd name="connsiteX3" fmla="*/ 949629 w 1017070"/>
                                                <a:gd name="connsiteY3" fmla="*/ 189469 h 505210"/>
                                                <a:gd name="connsiteX4" fmla="*/ 931295 w 1017070"/>
                                                <a:gd name="connsiteY4" fmla="*/ 164462 h 505210"/>
                                                <a:gd name="connsiteX5" fmla="*/ 906676 w 1017070"/>
                                                <a:gd name="connsiteY5" fmla="*/ 167312 h 505210"/>
                                                <a:gd name="connsiteX6" fmla="*/ 884390 w 1017070"/>
                                                <a:gd name="connsiteY6" fmla="*/ 170422 h 505210"/>
                                                <a:gd name="connsiteX7" fmla="*/ 872858 w 1017070"/>
                                                <a:gd name="connsiteY7" fmla="*/ 153448 h 505210"/>
                                                <a:gd name="connsiteX8" fmla="*/ 859707 w 1017070"/>
                                                <a:gd name="connsiteY8" fmla="*/ 156623 h 505210"/>
                                                <a:gd name="connsiteX9" fmla="*/ 849211 w 1017070"/>
                                                <a:gd name="connsiteY9" fmla="*/ 168219 h 505210"/>
                                                <a:gd name="connsiteX10" fmla="*/ 835218 w 1017070"/>
                                                <a:gd name="connsiteY10" fmla="*/ 158177 h 505210"/>
                                                <a:gd name="connsiteX11" fmla="*/ 811571 w 1017070"/>
                                                <a:gd name="connsiteY11" fmla="*/ 119047 h 505210"/>
                                                <a:gd name="connsiteX12" fmla="*/ 806193 w 1017070"/>
                                                <a:gd name="connsiteY12" fmla="*/ 107256 h 505210"/>
                                                <a:gd name="connsiteX13" fmla="*/ 804120 w 1017070"/>
                                                <a:gd name="connsiteY13" fmla="*/ 99028 h 505210"/>
                                                <a:gd name="connsiteX14" fmla="*/ 793366 w 1017070"/>
                                                <a:gd name="connsiteY14" fmla="*/ 90152 h 505210"/>
                                                <a:gd name="connsiteX15" fmla="*/ 786887 w 1017070"/>
                                                <a:gd name="connsiteY15" fmla="*/ 72790 h 505210"/>
                                                <a:gd name="connsiteX16" fmla="*/ 766026 w 1017070"/>
                                                <a:gd name="connsiteY16" fmla="*/ 61971 h 505210"/>
                                                <a:gd name="connsiteX17" fmla="*/ 762074 w 1017070"/>
                                                <a:gd name="connsiteY17" fmla="*/ 42600 h 505210"/>
                                                <a:gd name="connsiteX18" fmla="*/ 747886 w 1017070"/>
                                                <a:gd name="connsiteY18" fmla="*/ 46098 h 505210"/>
                                                <a:gd name="connsiteX19" fmla="*/ 692236 w 1017070"/>
                                                <a:gd name="connsiteY19" fmla="*/ 72142 h 505210"/>
                                                <a:gd name="connsiteX20" fmla="*/ 687830 w 1017070"/>
                                                <a:gd name="connsiteY20" fmla="*/ 58861 h 505210"/>
                                                <a:gd name="connsiteX21" fmla="*/ 663147 w 1017070"/>
                                                <a:gd name="connsiteY21" fmla="*/ 48431 h 505210"/>
                                                <a:gd name="connsiteX22" fmla="*/ 636455 w 1017070"/>
                                                <a:gd name="connsiteY22" fmla="*/ 52771 h 505210"/>
                                                <a:gd name="connsiteX23" fmla="*/ 632309 w 1017070"/>
                                                <a:gd name="connsiteY23" fmla="*/ 29513 h 505210"/>
                                                <a:gd name="connsiteX24" fmla="*/ 616112 w 1017070"/>
                                                <a:gd name="connsiteY24" fmla="*/ 7162 h 505210"/>
                                                <a:gd name="connsiteX25" fmla="*/ 588125 w 1017070"/>
                                                <a:gd name="connsiteY25" fmla="*/ 554 h 505210"/>
                                                <a:gd name="connsiteX26" fmla="*/ 572576 w 1017070"/>
                                                <a:gd name="connsiteY26" fmla="*/ 1655 h 505210"/>
                                                <a:gd name="connsiteX27" fmla="*/ 560008 w 1017070"/>
                                                <a:gd name="connsiteY27" fmla="*/ 13252 h 505210"/>
                                                <a:gd name="connsiteX28" fmla="*/ 525153 w 1017070"/>
                                                <a:gd name="connsiteY28" fmla="*/ 25561 h 505210"/>
                                                <a:gd name="connsiteX29" fmla="*/ 462635 w 1017070"/>
                                                <a:gd name="connsiteY29" fmla="*/ 37417 h 505210"/>
                                                <a:gd name="connsiteX30" fmla="*/ 427132 w 1017070"/>
                                                <a:gd name="connsiteY30" fmla="*/ 49726 h 505210"/>
                                                <a:gd name="connsiteX31" fmla="*/ 401283 w 1017070"/>
                                                <a:gd name="connsiteY31" fmla="*/ 51864 h 505210"/>
                                                <a:gd name="connsiteX32" fmla="*/ 375952 w 1017070"/>
                                                <a:gd name="connsiteY32" fmla="*/ 55622 h 505210"/>
                                                <a:gd name="connsiteX33" fmla="*/ 383985 w 1017070"/>
                                                <a:gd name="connsiteY33" fmla="*/ 72920 h 505210"/>
                                                <a:gd name="connsiteX34" fmla="*/ 393833 w 1017070"/>
                                                <a:gd name="connsiteY34" fmla="*/ 89699 h 505210"/>
                                                <a:gd name="connsiteX35" fmla="*/ 379385 w 1017070"/>
                                                <a:gd name="connsiteY35" fmla="*/ 86330 h 505210"/>
                                                <a:gd name="connsiteX36" fmla="*/ 368761 w 1017070"/>
                                                <a:gd name="connsiteY36" fmla="*/ 95141 h 505210"/>
                                                <a:gd name="connsiteX37" fmla="*/ 368761 w 1017070"/>
                                                <a:gd name="connsiteY37" fmla="*/ 102267 h 505210"/>
                                                <a:gd name="connsiteX38" fmla="*/ 364614 w 1017070"/>
                                                <a:gd name="connsiteY38" fmla="*/ 108940 h 505210"/>
                                                <a:gd name="connsiteX39" fmla="*/ 365456 w 1017070"/>
                                                <a:gd name="connsiteY39" fmla="*/ 122675 h 505210"/>
                                                <a:gd name="connsiteX40" fmla="*/ 351074 w 1017070"/>
                                                <a:gd name="connsiteY40" fmla="*/ 129413 h 505210"/>
                                                <a:gd name="connsiteX41" fmla="*/ 351074 w 1017070"/>
                                                <a:gd name="connsiteY41" fmla="*/ 139195 h 505210"/>
                                                <a:gd name="connsiteX42" fmla="*/ 376729 w 1017070"/>
                                                <a:gd name="connsiteY42" fmla="*/ 152023 h 505210"/>
                                                <a:gd name="connsiteX43" fmla="*/ 371870 w 1017070"/>
                                                <a:gd name="connsiteY43" fmla="*/ 180399 h 505210"/>
                                                <a:gd name="connsiteX44" fmla="*/ 360727 w 1017070"/>
                                                <a:gd name="connsiteY44" fmla="*/ 170422 h 505210"/>
                                                <a:gd name="connsiteX45" fmla="*/ 330990 w 1017070"/>
                                                <a:gd name="connsiteY45" fmla="*/ 180334 h 505210"/>
                                                <a:gd name="connsiteX46" fmla="*/ 325808 w 1017070"/>
                                                <a:gd name="connsiteY46" fmla="*/ 166729 h 505210"/>
                                                <a:gd name="connsiteX47" fmla="*/ 304039 w 1017070"/>
                                                <a:gd name="connsiteY47" fmla="*/ 158048 h 505210"/>
                                                <a:gd name="connsiteX48" fmla="*/ 275728 w 1017070"/>
                                                <a:gd name="connsiteY48" fmla="*/ 166341 h 505210"/>
                                                <a:gd name="connsiteX49" fmla="*/ 273072 w 1017070"/>
                                                <a:gd name="connsiteY49" fmla="*/ 158825 h 505210"/>
                                                <a:gd name="connsiteX50" fmla="*/ 243789 w 1017070"/>
                                                <a:gd name="connsiteY50" fmla="*/ 168025 h 505210"/>
                                                <a:gd name="connsiteX51" fmla="*/ 233877 w 1017070"/>
                                                <a:gd name="connsiteY51" fmla="*/ 176771 h 505210"/>
                                                <a:gd name="connsiteX52" fmla="*/ 222863 w 1017070"/>
                                                <a:gd name="connsiteY52" fmla="*/ 173013 h 505210"/>
                                                <a:gd name="connsiteX53" fmla="*/ 210683 w 1017070"/>
                                                <a:gd name="connsiteY53" fmla="*/ 174763 h 505210"/>
                                                <a:gd name="connsiteX54" fmla="*/ 210683 w 1017070"/>
                                                <a:gd name="connsiteY54" fmla="*/ 161935 h 505210"/>
                                                <a:gd name="connsiteX55" fmla="*/ 188202 w 1017070"/>
                                                <a:gd name="connsiteY55" fmla="*/ 151893 h 505210"/>
                                                <a:gd name="connsiteX56" fmla="*/ 131256 w 1017070"/>
                                                <a:gd name="connsiteY56" fmla="*/ 141528 h 505210"/>
                                                <a:gd name="connsiteX57" fmla="*/ 114800 w 1017070"/>
                                                <a:gd name="connsiteY57" fmla="*/ 147617 h 505210"/>
                                                <a:gd name="connsiteX58" fmla="*/ 98539 w 1017070"/>
                                                <a:gd name="connsiteY58" fmla="*/ 149237 h 505210"/>
                                                <a:gd name="connsiteX59" fmla="*/ 85193 w 1017070"/>
                                                <a:gd name="connsiteY59" fmla="*/ 165498 h 505210"/>
                                                <a:gd name="connsiteX60" fmla="*/ 66924 w 1017070"/>
                                                <a:gd name="connsiteY60" fmla="*/ 167831 h 505210"/>
                                                <a:gd name="connsiteX61" fmla="*/ 62000 w 1017070"/>
                                                <a:gd name="connsiteY61" fmla="*/ 180593 h 505210"/>
                                                <a:gd name="connsiteX62" fmla="*/ 61417 w 1017070"/>
                                                <a:gd name="connsiteY62" fmla="*/ 194911 h 505210"/>
                                                <a:gd name="connsiteX63" fmla="*/ 50080 w 1017070"/>
                                                <a:gd name="connsiteY63" fmla="*/ 199835 h 505210"/>
                                                <a:gd name="connsiteX64" fmla="*/ 45545 w 1017070"/>
                                                <a:gd name="connsiteY64" fmla="*/ 187979 h 505210"/>
                                                <a:gd name="connsiteX65" fmla="*/ 29089 w 1017070"/>
                                                <a:gd name="connsiteY65" fmla="*/ 181759 h 505210"/>
                                                <a:gd name="connsiteX66" fmla="*/ 13346 w 1017070"/>
                                                <a:gd name="connsiteY66" fmla="*/ 192320 h 505210"/>
                                                <a:gd name="connsiteX67" fmla="*/ 13087 w 1017070"/>
                                                <a:gd name="connsiteY67" fmla="*/ 212598 h 505210"/>
                                                <a:gd name="connsiteX68" fmla="*/ 6090 w 1017070"/>
                                                <a:gd name="connsiteY68" fmla="*/ 221862 h 505210"/>
                                                <a:gd name="connsiteX69" fmla="*/ 11661 w 1017070"/>
                                                <a:gd name="connsiteY69" fmla="*/ 233523 h 505210"/>
                                                <a:gd name="connsiteX70" fmla="*/ 0 w 1017070"/>
                                                <a:gd name="connsiteY70" fmla="*/ 244083 h 505210"/>
                                                <a:gd name="connsiteX71" fmla="*/ 15354 w 1017070"/>
                                                <a:gd name="connsiteY71" fmla="*/ 256976 h 505210"/>
                                                <a:gd name="connsiteX72" fmla="*/ 28311 w 1017070"/>
                                                <a:gd name="connsiteY72" fmla="*/ 273367 h 505210"/>
                                                <a:gd name="connsiteX73" fmla="*/ 37705 w 1017070"/>
                                                <a:gd name="connsiteY73" fmla="*/ 274014 h 505210"/>
                                                <a:gd name="connsiteX74" fmla="*/ 48265 w 1017070"/>
                                                <a:gd name="connsiteY74" fmla="*/ 288332 h 505210"/>
                                                <a:gd name="connsiteX75" fmla="*/ 61546 w 1017070"/>
                                                <a:gd name="connsiteY75" fmla="*/ 298698 h 505210"/>
                                                <a:gd name="connsiteX76" fmla="*/ 59085 w 1017070"/>
                                                <a:gd name="connsiteY76" fmla="*/ 325454 h 505210"/>
                                                <a:gd name="connsiteX77" fmla="*/ 62195 w 1017070"/>
                                                <a:gd name="connsiteY77" fmla="*/ 324418 h 505210"/>
                                                <a:gd name="connsiteX78" fmla="*/ 74374 w 1017070"/>
                                                <a:gd name="connsiteY78" fmla="*/ 321308 h 505210"/>
                                                <a:gd name="connsiteX79" fmla="*/ 97762 w 1017070"/>
                                                <a:gd name="connsiteY79" fmla="*/ 302650 h 505210"/>
                                                <a:gd name="connsiteX80" fmla="*/ 104499 w 1017070"/>
                                                <a:gd name="connsiteY80" fmla="*/ 297013 h 505210"/>
                                                <a:gd name="connsiteX81" fmla="*/ 113764 w 1017070"/>
                                                <a:gd name="connsiteY81" fmla="*/ 297791 h 505210"/>
                                                <a:gd name="connsiteX82" fmla="*/ 156846 w 1017070"/>
                                                <a:gd name="connsiteY82" fmla="*/ 300058 h 505210"/>
                                                <a:gd name="connsiteX83" fmla="*/ 161576 w 1017070"/>
                                                <a:gd name="connsiteY83" fmla="*/ 300641 h 505210"/>
                                                <a:gd name="connsiteX84" fmla="*/ 163325 w 1017070"/>
                                                <a:gd name="connsiteY84" fmla="*/ 304075 h 505210"/>
                                                <a:gd name="connsiteX85" fmla="*/ 175310 w 1017070"/>
                                                <a:gd name="connsiteY85" fmla="*/ 318781 h 505210"/>
                                                <a:gd name="connsiteX86" fmla="*/ 179262 w 1017070"/>
                                                <a:gd name="connsiteY86" fmla="*/ 336014 h 505210"/>
                                                <a:gd name="connsiteX87" fmla="*/ 168896 w 1017070"/>
                                                <a:gd name="connsiteY87" fmla="*/ 345667 h 505210"/>
                                                <a:gd name="connsiteX88" fmla="*/ 167342 w 1017070"/>
                                                <a:gd name="connsiteY88" fmla="*/ 356098 h 505210"/>
                                                <a:gd name="connsiteX89" fmla="*/ 152830 w 1017070"/>
                                                <a:gd name="connsiteY89" fmla="*/ 364326 h 505210"/>
                                                <a:gd name="connsiteX90" fmla="*/ 119076 w 1017070"/>
                                                <a:gd name="connsiteY90" fmla="*/ 369573 h 505210"/>
                                                <a:gd name="connsiteX91" fmla="*/ 116614 w 1017070"/>
                                                <a:gd name="connsiteY91" fmla="*/ 387908 h 505210"/>
                                                <a:gd name="connsiteX92" fmla="*/ 95559 w 1017070"/>
                                                <a:gd name="connsiteY92" fmla="*/ 385899 h 505210"/>
                                                <a:gd name="connsiteX93" fmla="*/ 105536 w 1017070"/>
                                                <a:gd name="connsiteY93" fmla="*/ 401772 h 505210"/>
                                                <a:gd name="connsiteX94" fmla="*/ 119206 w 1017070"/>
                                                <a:gd name="connsiteY94" fmla="*/ 415571 h 505210"/>
                                                <a:gd name="connsiteX95" fmla="*/ 121927 w 1017070"/>
                                                <a:gd name="connsiteY95" fmla="*/ 427686 h 505210"/>
                                                <a:gd name="connsiteX96" fmla="*/ 131450 w 1017070"/>
                                                <a:gd name="connsiteY96" fmla="*/ 428464 h 505210"/>
                                                <a:gd name="connsiteX97" fmla="*/ 132293 w 1017070"/>
                                                <a:gd name="connsiteY97" fmla="*/ 438959 h 505210"/>
                                                <a:gd name="connsiteX98" fmla="*/ 156782 w 1017070"/>
                                                <a:gd name="connsiteY98" fmla="*/ 441809 h 505210"/>
                                                <a:gd name="connsiteX99" fmla="*/ 160345 w 1017070"/>
                                                <a:gd name="connsiteY99" fmla="*/ 443947 h 505210"/>
                                                <a:gd name="connsiteX100" fmla="*/ 160604 w 1017070"/>
                                                <a:gd name="connsiteY100" fmla="*/ 450879 h 505210"/>
                                                <a:gd name="connsiteX101" fmla="*/ 152376 w 1017070"/>
                                                <a:gd name="connsiteY101" fmla="*/ 465586 h 505210"/>
                                                <a:gd name="connsiteX102" fmla="*/ 160021 w 1017070"/>
                                                <a:gd name="connsiteY102" fmla="*/ 476988 h 505210"/>
                                                <a:gd name="connsiteX103" fmla="*/ 165657 w 1017070"/>
                                                <a:gd name="connsiteY103" fmla="*/ 466946 h 505210"/>
                                                <a:gd name="connsiteX104" fmla="*/ 167601 w 1017070"/>
                                                <a:gd name="connsiteY104" fmla="*/ 452499 h 505210"/>
                                                <a:gd name="connsiteX105" fmla="*/ 171034 w 1017070"/>
                                                <a:gd name="connsiteY105" fmla="*/ 447705 h 505210"/>
                                                <a:gd name="connsiteX106" fmla="*/ 173302 w 1017070"/>
                                                <a:gd name="connsiteY106" fmla="*/ 448871 h 505210"/>
                                                <a:gd name="connsiteX107" fmla="*/ 183214 w 1017070"/>
                                                <a:gd name="connsiteY107" fmla="*/ 460856 h 505210"/>
                                                <a:gd name="connsiteX108" fmla="*/ 183408 w 1017070"/>
                                                <a:gd name="connsiteY108" fmla="*/ 461699 h 505210"/>
                                                <a:gd name="connsiteX109" fmla="*/ 186648 w 1017070"/>
                                                <a:gd name="connsiteY109" fmla="*/ 456321 h 505210"/>
                                                <a:gd name="connsiteX110" fmla="*/ 189822 w 1017070"/>
                                                <a:gd name="connsiteY110" fmla="*/ 452370 h 505210"/>
                                                <a:gd name="connsiteX111" fmla="*/ 198245 w 1017070"/>
                                                <a:gd name="connsiteY111" fmla="*/ 452240 h 505210"/>
                                                <a:gd name="connsiteX112" fmla="*/ 204982 w 1017070"/>
                                                <a:gd name="connsiteY112" fmla="*/ 457812 h 505210"/>
                                                <a:gd name="connsiteX113" fmla="*/ 220336 w 1017070"/>
                                                <a:gd name="connsiteY113" fmla="*/ 474008 h 505210"/>
                                                <a:gd name="connsiteX114" fmla="*/ 240679 w 1017070"/>
                                                <a:gd name="connsiteY114" fmla="*/ 485669 h 505210"/>
                                                <a:gd name="connsiteX115" fmla="*/ 243465 w 1017070"/>
                                                <a:gd name="connsiteY115" fmla="*/ 485151 h 505210"/>
                                                <a:gd name="connsiteX116" fmla="*/ 242687 w 1017070"/>
                                                <a:gd name="connsiteY116" fmla="*/ 483920 h 505210"/>
                                                <a:gd name="connsiteX117" fmla="*/ 243270 w 1017070"/>
                                                <a:gd name="connsiteY117" fmla="*/ 475239 h 505210"/>
                                                <a:gd name="connsiteX118" fmla="*/ 243595 w 1017070"/>
                                                <a:gd name="connsiteY118" fmla="*/ 374043 h 505210"/>
                                                <a:gd name="connsiteX119" fmla="*/ 243724 w 1017070"/>
                                                <a:gd name="connsiteY119" fmla="*/ 371452 h 505210"/>
                                                <a:gd name="connsiteX120" fmla="*/ 269768 w 1017070"/>
                                                <a:gd name="connsiteY120" fmla="*/ 356681 h 505210"/>
                                                <a:gd name="connsiteX121" fmla="*/ 272683 w 1017070"/>
                                                <a:gd name="connsiteY121" fmla="*/ 356098 h 505210"/>
                                                <a:gd name="connsiteX122" fmla="*/ 275080 w 1017070"/>
                                                <a:gd name="connsiteY122" fmla="*/ 350267 h 505210"/>
                                                <a:gd name="connsiteX123" fmla="*/ 284280 w 1017070"/>
                                                <a:gd name="connsiteY123" fmla="*/ 345926 h 505210"/>
                                                <a:gd name="connsiteX124" fmla="*/ 303586 w 1017070"/>
                                                <a:gd name="connsiteY124" fmla="*/ 342687 h 505210"/>
                                                <a:gd name="connsiteX125" fmla="*/ 311814 w 1017070"/>
                                                <a:gd name="connsiteY125" fmla="*/ 340873 h 505210"/>
                                                <a:gd name="connsiteX126" fmla="*/ 317321 w 1017070"/>
                                                <a:gd name="connsiteY126" fmla="*/ 336857 h 505210"/>
                                                <a:gd name="connsiteX127" fmla="*/ 331703 w 1017070"/>
                                                <a:gd name="connsiteY127" fmla="*/ 335366 h 505210"/>
                                                <a:gd name="connsiteX128" fmla="*/ 341615 w 1017070"/>
                                                <a:gd name="connsiteY128" fmla="*/ 327074 h 505210"/>
                                                <a:gd name="connsiteX129" fmla="*/ 339477 w 1017070"/>
                                                <a:gd name="connsiteY129" fmla="*/ 321697 h 505210"/>
                                                <a:gd name="connsiteX130" fmla="*/ 352888 w 1017070"/>
                                                <a:gd name="connsiteY130" fmla="*/ 310489 h 505210"/>
                                                <a:gd name="connsiteX131" fmla="*/ 382365 w 1017070"/>
                                                <a:gd name="connsiteY131" fmla="*/ 324612 h 505210"/>
                                                <a:gd name="connsiteX132" fmla="*/ 361569 w 1017070"/>
                                                <a:gd name="connsiteY132" fmla="*/ 329924 h 505210"/>
                                                <a:gd name="connsiteX133" fmla="*/ 350685 w 1017070"/>
                                                <a:gd name="connsiteY133" fmla="*/ 335755 h 505210"/>
                                                <a:gd name="connsiteX134" fmla="*/ 347057 w 1017070"/>
                                                <a:gd name="connsiteY134" fmla="*/ 347028 h 505210"/>
                                                <a:gd name="connsiteX135" fmla="*/ 362411 w 1017070"/>
                                                <a:gd name="connsiteY135" fmla="*/ 361410 h 505210"/>
                                                <a:gd name="connsiteX136" fmla="*/ 359367 w 1017070"/>
                                                <a:gd name="connsiteY136" fmla="*/ 385964 h 505210"/>
                                                <a:gd name="connsiteX137" fmla="*/ 392472 w 1017070"/>
                                                <a:gd name="connsiteY137" fmla="*/ 411619 h 505210"/>
                                                <a:gd name="connsiteX138" fmla="*/ 448317 w 1017070"/>
                                                <a:gd name="connsiteY138" fmla="*/ 413628 h 505210"/>
                                                <a:gd name="connsiteX139" fmla="*/ 481358 w 1017070"/>
                                                <a:gd name="connsiteY139" fmla="*/ 422633 h 505210"/>
                                                <a:gd name="connsiteX140" fmla="*/ 489910 w 1017070"/>
                                                <a:gd name="connsiteY140" fmla="*/ 440190 h 505210"/>
                                                <a:gd name="connsiteX141" fmla="*/ 512067 w 1017070"/>
                                                <a:gd name="connsiteY141" fmla="*/ 480746 h 505210"/>
                                                <a:gd name="connsiteX142" fmla="*/ 523080 w 1017070"/>
                                                <a:gd name="connsiteY142" fmla="*/ 492342 h 505210"/>
                                                <a:gd name="connsiteX143" fmla="*/ 542386 w 1017070"/>
                                                <a:gd name="connsiteY143" fmla="*/ 498303 h 505210"/>
                                                <a:gd name="connsiteX144" fmla="*/ 547699 w 1017070"/>
                                                <a:gd name="connsiteY144" fmla="*/ 504133 h 505210"/>
                                                <a:gd name="connsiteX145" fmla="*/ 564608 w 1017070"/>
                                                <a:gd name="connsiteY145" fmla="*/ 496359 h 505210"/>
                                                <a:gd name="connsiteX146" fmla="*/ 568819 w 1017070"/>
                                                <a:gd name="connsiteY146" fmla="*/ 492018 h 505210"/>
                                                <a:gd name="connsiteX147" fmla="*/ 570049 w 1017070"/>
                                                <a:gd name="connsiteY147" fmla="*/ 490917 h 505210"/>
                                                <a:gd name="connsiteX148" fmla="*/ 572706 w 1017070"/>
                                                <a:gd name="connsiteY148" fmla="*/ 488585 h 505210"/>
                                                <a:gd name="connsiteX149" fmla="*/ 572900 w 1017070"/>
                                                <a:gd name="connsiteY149" fmla="*/ 488390 h 505210"/>
                                                <a:gd name="connsiteX150" fmla="*/ 574908 w 1017070"/>
                                                <a:gd name="connsiteY150" fmla="*/ 486835 h 505210"/>
                                                <a:gd name="connsiteX151" fmla="*/ 579314 w 1017070"/>
                                                <a:gd name="connsiteY151" fmla="*/ 483661 h 505210"/>
                                                <a:gd name="connsiteX152" fmla="*/ 590587 w 1017070"/>
                                                <a:gd name="connsiteY152" fmla="*/ 477506 h 505210"/>
                                                <a:gd name="connsiteX153" fmla="*/ 593178 w 1017070"/>
                                                <a:gd name="connsiteY153" fmla="*/ 476470 h 505210"/>
                                                <a:gd name="connsiteX154" fmla="*/ 593891 w 1017070"/>
                                                <a:gd name="connsiteY154" fmla="*/ 476146 h 505210"/>
                                                <a:gd name="connsiteX155" fmla="*/ 596677 w 1017070"/>
                                                <a:gd name="connsiteY155" fmla="*/ 475045 h 505210"/>
                                                <a:gd name="connsiteX156" fmla="*/ 602767 w 1017070"/>
                                                <a:gd name="connsiteY156" fmla="*/ 473101 h 505210"/>
                                                <a:gd name="connsiteX157" fmla="*/ 602767 w 1017070"/>
                                                <a:gd name="connsiteY157" fmla="*/ 473101 h 505210"/>
                                                <a:gd name="connsiteX158" fmla="*/ 608986 w 1017070"/>
                                                <a:gd name="connsiteY158" fmla="*/ 471611 h 505210"/>
                                                <a:gd name="connsiteX159" fmla="*/ 609115 w 1017070"/>
                                                <a:gd name="connsiteY159" fmla="*/ 471611 h 505210"/>
                                                <a:gd name="connsiteX160" fmla="*/ 609115 w 1017070"/>
                                                <a:gd name="connsiteY160" fmla="*/ 468436 h 505210"/>
                                                <a:gd name="connsiteX161" fmla="*/ 613586 w 1017070"/>
                                                <a:gd name="connsiteY161" fmla="*/ 462152 h 505210"/>
                                                <a:gd name="connsiteX162" fmla="*/ 627709 w 1017070"/>
                                                <a:gd name="connsiteY162" fmla="*/ 448353 h 505210"/>
                                                <a:gd name="connsiteX163" fmla="*/ 636779 w 1017070"/>
                                                <a:gd name="connsiteY163" fmla="*/ 442133 h 505210"/>
                                                <a:gd name="connsiteX164" fmla="*/ 661592 w 1017070"/>
                                                <a:gd name="connsiteY164" fmla="*/ 449972 h 505210"/>
                                                <a:gd name="connsiteX165" fmla="*/ 684461 w 1017070"/>
                                                <a:gd name="connsiteY165" fmla="*/ 439607 h 505210"/>
                                                <a:gd name="connsiteX166" fmla="*/ 706424 w 1017070"/>
                                                <a:gd name="connsiteY166" fmla="*/ 426714 h 505210"/>
                                                <a:gd name="connsiteX167" fmla="*/ 716206 w 1017070"/>
                                                <a:gd name="connsiteY167" fmla="*/ 431249 h 505210"/>
                                                <a:gd name="connsiteX168" fmla="*/ 717891 w 1017070"/>
                                                <a:gd name="connsiteY168" fmla="*/ 435137 h 505210"/>
                                                <a:gd name="connsiteX169" fmla="*/ 729034 w 1017070"/>
                                                <a:gd name="connsiteY169" fmla="*/ 438570 h 505210"/>
                                                <a:gd name="connsiteX170" fmla="*/ 811376 w 1017070"/>
                                                <a:gd name="connsiteY170" fmla="*/ 444530 h 505210"/>
                                                <a:gd name="connsiteX171" fmla="*/ 840595 w 1017070"/>
                                                <a:gd name="connsiteY171" fmla="*/ 459626 h 505210"/>
                                                <a:gd name="connsiteX172" fmla="*/ 843705 w 1017070"/>
                                                <a:gd name="connsiteY172" fmla="*/ 464679 h 505210"/>
                                                <a:gd name="connsiteX173" fmla="*/ 845518 w 1017070"/>
                                                <a:gd name="connsiteY173" fmla="*/ 461569 h 505210"/>
                                                <a:gd name="connsiteX174" fmla="*/ 858411 w 1017070"/>
                                                <a:gd name="connsiteY174" fmla="*/ 435072 h 505210"/>
                                                <a:gd name="connsiteX175" fmla="*/ 864112 w 1017070"/>
                                                <a:gd name="connsiteY175" fmla="*/ 421920 h 505210"/>
                                                <a:gd name="connsiteX176" fmla="*/ 855301 w 1017070"/>
                                                <a:gd name="connsiteY176" fmla="*/ 413045 h 505210"/>
                                                <a:gd name="connsiteX177" fmla="*/ 851673 w 1017070"/>
                                                <a:gd name="connsiteY177" fmla="*/ 382336 h 505210"/>
                                                <a:gd name="connsiteX178" fmla="*/ 850248 w 1017070"/>
                                                <a:gd name="connsiteY178" fmla="*/ 375404 h 505210"/>
                                                <a:gd name="connsiteX179" fmla="*/ 856014 w 1017070"/>
                                                <a:gd name="connsiteY179" fmla="*/ 368926 h 505210"/>
                                                <a:gd name="connsiteX180" fmla="*/ 888212 w 1017070"/>
                                                <a:gd name="connsiteY180" fmla="*/ 359791 h 505210"/>
                                                <a:gd name="connsiteX181" fmla="*/ 906546 w 1017070"/>
                                                <a:gd name="connsiteY181" fmla="*/ 365427 h 505210"/>
                                                <a:gd name="connsiteX182" fmla="*/ 908166 w 1017070"/>
                                                <a:gd name="connsiteY182" fmla="*/ 345991 h 505210"/>
                                                <a:gd name="connsiteX183" fmla="*/ 909786 w 1017070"/>
                                                <a:gd name="connsiteY183" fmla="*/ 318457 h 505210"/>
                                                <a:gd name="connsiteX184" fmla="*/ 920346 w 1017070"/>
                                                <a:gd name="connsiteY184" fmla="*/ 311849 h 505210"/>
                                                <a:gd name="connsiteX185" fmla="*/ 923196 w 1017070"/>
                                                <a:gd name="connsiteY185" fmla="*/ 301548 h 505210"/>
                                                <a:gd name="connsiteX186" fmla="*/ 935506 w 1017070"/>
                                                <a:gd name="connsiteY186" fmla="*/ 303168 h 505210"/>
                                                <a:gd name="connsiteX187" fmla="*/ 961485 w 1017070"/>
                                                <a:gd name="connsiteY187" fmla="*/ 305695 h 505210"/>
                                                <a:gd name="connsiteX188" fmla="*/ 973989 w 1017070"/>
                                                <a:gd name="connsiteY188" fmla="*/ 300253 h 505210"/>
                                                <a:gd name="connsiteX189" fmla="*/ 975673 w 1017070"/>
                                                <a:gd name="connsiteY189" fmla="*/ 290729 h 505210"/>
                                                <a:gd name="connsiteX190" fmla="*/ 979690 w 1017070"/>
                                                <a:gd name="connsiteY190" fmla="*/ 286065 h 505210"/>
                                                <a:gd name="connsiteX191" fmla="*/ 980856 w 1017070"/>
                                                <a:gd name="connsiteY191" fmla="*/ 275440 h 505210"/>
                                                <a:gd name="connsiteX192" fmla="*/ 997959 w 1017070"/>
                                                <a:gd name="connsiteY192" fmla="*/ 247323 h 505210"/>
                                                <a:gd name="connsiteX193" fmla="*/ 1004502 w 1017070"/>
                                                <a:gd name="connsiteY193" fmla="*/ 243824 h 505210"/>
                                                <a:gd name="connsiteX194" fmla="*/ 1009621 w 1017070"/>
                                                <a:gd name="connsiteY194" fmla="*/ 233394 h 505210"/>
                                                <a:gd name="connsiteX195" fmla="*/ 1010917 w 1017070"/>
                                                <a:gd name="connsiteY195" fmla="*/ 230738 h 505210"/>
                                                <a:gd name="connsiteX196" fmla="*/ 1011759 w 1017070"/>
                                                <a:gd name="connsiteY196" fmla="*/ 229507 h 505210"/>
                                                <a:gd name="connsiteX197" fmla="*/ 1012277 w 1017070"/>
                                                <a:gd name="connsiteY197" fmla="*/ 228859 h 505210"/>
                                                <a:gd name="connsiteX198" fmla="*/ 1013508 w 1017070"/>
                                                <a:gd name="connsiteY198" fmla="*/ 227628 h 505210"/>
                                                <a:gd name="connsiteX199" fmla="*/ 1014609 w 1017070"/>
                                                <a:gd name="connsiteY199" fmla="*/ 226850 h 505210"/>
                                                <a:gd name="connsiteX200" fmla="*/ 1015451 w 1017070"/>
                                                <a:gd name="connsiteY200" fmla="*/ 226462 h 505210"/>
                                                <a:gd name="connsiteX201" fmla="*/ 1015711 w 1017070"/>
                                                <a:gd name="connsiteY201" fmla="*/ 226332 h 505210"/>
                                                <a:gd name="connsiteX202" fmla="*/ 1015840 w 1017070"/>
                                                <a:gd name="connsiteY202" fmla="*/ 226332 h 505210"/>
                                                <a:gd name="connsiteX203" fmla="*/ 1017071 w 1017070"/>
                                                <a:gd name="connsiteY203" fmla="*/ 226073 h 505210"/>
                                                <a:gd name="connsiteX204" fmla="*/ 999838 w 1017070"/>
                                                <a:gd name="connsiteY204" fmla="*/ 213505 h 505210"/>
                                                <a:gd name="connsiteX205" fmla="*/ 812024 w 1017070"/>
                                                <a:gd name="connsiteY205" fmla="*/ 322604 h 505210"/>
                                                <a:gd name="connsiteX206" fmla="*/ 809692 w 1017070"/>
                                                <a:gd name="connsiteY206" fmla="*/ 332840 h 505210"/>
                                                <a:gd name="connsiteX207" fmla="*/ 780279 w 1017070"/>
                                                <a:gd name="connsiteY207" fmla="*/ 330831 h 505210"/>
                                                <a:gd name="connsiteX208" fmla="*/ 753393 w 1017070"/>
                                                <a:gd name="connsiteY208" fmla="*/ 330054 h 505210"/>
                                                <a:gd name="connsiteX209" fmla="*/ 712967 w 1017070"/>
                                                <a:gd name="connsiteY209" fmla="*/ 332516 h 505210"/>
                                                <a:gd name="connsiteX210" fmla="*/ 711606 w 1017070"/>
                                                <a:gd name="connsiteY210" fmla="*/ 344566 h 505210"/>
                                                <a:gd name="connsiteX211" fmla="*/ 707266 w 1017070"/>
                                                <a:gd name="connsiteY211" fmla="*/ 349166 h 505210"/>
                                                <a:gd name="connsiteX212" fmla="*/ 704156 w 1017070"/>
                                                <a:gd name="connsiteY212" fmla="*/ 374886 h 505210"/>
                                                <a:gd name="connsiteX213" fmla="*/ 687312 w 1017070"/>
                                                <a:gd name="connsiteY213" fmla="*/ 363419 h 505210"/>
                                                <a:gd name="connsiteX214" fmla="*/ 689709 w 1017070"/>
                                                <a:gd name="connsiteY214" fmla="*/ 341456 h 505210"/>
                                                <a:gd name="connsiteX215" fmla="*/ 682582 w 1017070"/>
                                                <a:gd name="connsiteY215" fmla="*/ 326296 h 505210"/>
                                                <a:gd name="connsiteX216" fmla="*/ 696123 w 1017070"/>
                                                <a:gd name="connsiteY216" fmla="*/ 322409 h 505210"/>
                                                <a:gd name="connsiteX217" fmla="*/ 707719 w 1017070"/>
                                                <a:gd name="connsiteY217" fmla="*/ 313339 h 505210"/>
                                                <a:gd name="connsiteX218" fmla="*/ 721130 w 1017070"/>
                                                <a:gd name="connsiteY218" fmla="*/ 311331 h 505210"/>
                                                <a:gd name="connsiteX219" fmla="*/ 795374 w 1017070"/>
                                                <a:gd name="connsiteY219" fmla="*/ 310683 h 505210"/>
                                                <a:gd name="connsiteX220" fmla="*/ 821936 w 1017070"/>
                                                <a:gd name="connsiteY220" fmla="*/ 314765 h 505210"/>
                                                <a:gd name="connsiteX221" fmla="*/ 812024 w 1017070"/>
                                                <a:gd name="connsiteY221" fmla="*/ 322604 h 50521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  <a:cxn ang="0">
                                                  <a:pos x="connsiteX104" y="connsiteY104"/>
                                                </a:cxn>
                                                <a:cxn ang="0">
                                                  <a:pos x="connsiteX105" y="connsiteY105"/>
                                                </a:cxn>
                                                <a:cxn ang="0">
                                                  <a:pos x="connsiteX106" y="connsiteY106"/>
                                                </a:cxn>
                                                <a:cxn ang="0">
                                                  <a:pos x="connsiteX107" y="connsiteY107"/>
                                                </a:cxn>
                                                <a:cxn ang="0">
                                                  <a:pos x="connsiteX108" y="connsiteY108"/>
                                                </a:cxn>
                                                <a:cxn ang="0">
                                                  <a:pos x="connsiteX109" y="connsiteY109"/>
                                                </a:cxn>
                                                <a:cxn ang="0">
                                                  <a:pos x="connsiteX110" y="connsiteY110"/>
                                                </a:cxn>
                                                <a:cxn ang="0">
                                                  <a:pos x="connsiteX111" y="connsiteY111"/>
                                                </a:cxn>
                                                <a:cxn ang="0">
                                                  <a:pos x="connsiteX112" y="connsiteY112"/>
                                                </a:cxn>
                                                <a:cxn ang="0">
                                                  <a:pos x="connsiteX113" y="connsiteY113"/>
                                                </a:cxn>
                                                <a:cxn ang="0">
                                                  <a:pos x="connsiteX114" y="connsiteY114"/>
                                                </a:cxn>
                                                <a:cxn ang="0">
                                                  <a:pos x="connsiteX115" y="connsiteY115"/>
                                                </a:cxn>
                                                <a:cxn ang="0">
                                                  <a:pos x="connsiteX116" y="connsiteY116"/>
                                                </a:cxn>
                                                <a:cxn ang="0">
                                                  <a:pos x="connsiteX117" y="connsiteY117"/>
                                                </a:cxn>
                                                <a:cxn ang="0">
                                                  <a:pos x="connsiteX118" y="connsiteY118"/>
                                                </a:cxn>
                                                <a:cxn ang="0">
                                                  <a:pos x="connsiteX119" y="connsiteY119"/>
                                                </a:cxn>
                                                <a:cxn ang="0">
                                                  <a:pos x="connsiteX120" y="connsiteY120"/>
                                                </a:cxn>
                                                <a:cxn ang="0">
                                                  <a:pos x="connsiteX121" y="connsiteY121"/>
                                                </a:cxn>
                                                <a:cxn ang="0">
                                                  <a:pos x="connsiteX122" y="connsiteY122"/>
                                                </a:cxn>
                                                <a:cxn ang="0">
                                                  <a:pos x="connsiteX123" y="connsiteY123"/>
                                                </a:cxn>
                                                <a:cxn ang="0">
                                                  <a:pos x="connsiteX124" y="connsiteY124"/>
                                                </a:cxn>
                                                <a:cxn ang="0">
                                                  <a:pos x="connsiteX125" y="connsiteY125"/>
                                                </a:cxn>
                                                <a:cxn ang="0">
                                                  <a:pos x="connsiteX126" y="connsiteY126"/>
                                                </a:cxn>
                                                <a:cxn ang="0">
                                                  <a:pos x="connsiteX127" y="connsiteY127"/>
                                                </a:cxn>
                                                <a:cxn ang="0">
                                                  <a:pos x="connsiteX128" y="connsiteY128"/>
                                                </a:cxn>
                                                <a:cxn ang="0">
                                                  <a:pos x="connsiteX129" y="connsiteY129"/>
                                                </a:cxn>
                                                <a:cxn ang="0">
                                                  <a:pos x="connsiteX130" y="connsiteY130"/>
                                                </a:cxn>
                                                <a:cxn ang="0">
                                                  <a:pos x="connsiteX131" y="connsiteY131"/>
                                                </a:cxn>
                                                <a:cxn ang="0">
                                                  <a:pos x="connsiteX132" y="connsiteY132"/>
                                                </a:cxn>
                                                <a:cxn ang="0">
                                                  <a:pos x="connsiteX133" y="connsiteY133"/>
                                                </a:cxn>
                                                <a:cxn ang="0">
                                                  <a:pos x="connsiteX134" y="connsiteY134"/>
                                                </a:cxn>
                                                <a:cxn ang="0">
                                                  <a:pos x="connsiteX135" y="connsiteY135"/>
                                                </a:cxn>
                                                <a:cxn ang="0">
                                                  <a:pos x="connsiteX136" y="connsiteY136"/>
                                                </a:cxn>
                                                <a:cxn ang="0">
                                                  <a:pos x="connsiteX137" y="connsiteY137"/>
                                                </a:cxn>
                                                <a:cxn ang="0">
                                                  <a:pos x="connsiteX138" y="connsiteY138"/>
                                                </a:cxn>
                                                <a:cxn ang="0">
                                                  <a:pos x="connsiteX139" y="connsiteY139"/>
                                                </a:cxn>
                                                <a:cxn ang="0">
                                                  <a:pos x="connsiteX140" y="connsiteY140"/>
                                                </a:cxn>
                                                <a:cxn ang="0">
                                                  <a:pos x="connsiteX141" y="connsiteY141"/>
                                                </a:cxn>
                                                <a:cxn ang="0">
                                                  <a:pos x="connsiteX142" y="connsiteY142"/>
                                                </a:cxn>
                                                <a:cxn ang="0">
                                                  <a:pos x="connsiteX143" y="connsiteY143"/>
                                                </a:cxn>
                                                <a:cxn ang="0">
                                                  <a:pos x="connsiteX144" y="connsiteY144"/>
                                                </a:cxn>
                                                <a:cxn ang="0">
                                                  <a:pos x="connsiteX145" y="connsiteY145"/>
                                                </a:cxn>
                                                <a:cxn ang="0">
                                                  <a:pos x="connsiteX146" y="connsiteY146"/>
                                                </a:cxn>
                                                <a:cxn ang="0">
                                                  <a:pos x="connsiteX147" y="connsiteY147"/>
                                                </a:cxn>
                                                <a:cxn ang="0">
                                                  <a:pos x="connsiteX148" y="connsiteY148"/>
                                                </a:cxn>
                                                <a:cxn ang="0">
                                                  <a:pos x="connsiteX149" y="connsiteY149"/>
                                                </a:cxn>
                                                <a:cxn ang="0">
                                                  <a:pos x="connsiteX150" y="connsiteY150"/>
                                                </a:cxn>
                                                <a:cxn ang="0">
                                                  <a:pos x="connsiteX151" y="connsiteY151"/>
                                                </a:cxn>
                                                <a:cxn ang="0">
                                                  <a:pos x="connsiteX152" y="connsiteY152"/>
                                                </a:cxn>
                                                <a:cxn ang="0">
                                                  <a:pos x="connsiteX153" y="connsiteY153"/>
                                                </a:cxn>
                                                <a:cxn ang="0">
                                                  <a:pos x="connsiteX154" y="connsiteY154"/>
                                                </a:cxn>
                                                <a:cxn ang="0">
                                                  <a:pos x="connsiteX155" y="connsiteY155"/>
                                                </a:cxn>
                                                <a:cxn ang="0">
                                                  <a:pos x="connsiteX156" y="connsiteY156"/>
                                                </a:cxn>
                                                <a:cxn ang="0">
                                                  <a:pos x="connsiteX157" y="connsiteY157"/>
                                                </a:cxn>
                                                <a:cxn ang="0">
                                                  <a:pos x="connsiteX158" y="connsiteY158"/>
                                                </a:cxn>
                                                <a:cxn ang="0">
                                                  <a:pos x="connsiteX159" y="connsiteY159"/>
                                                </a:cxn>
                                                <a:cxn ang="0">
                                                  <a:pos x="connsiteX160" y="connsiteY160"/>
                                                </a:cxn>
                                                <a:cxn ang="0">
                                                  <a:pos x="connsiteX161" y="connsiteY161"/>
                                                </a:cxn>
                                                <a:cxn ang="0">
                                                  <a:pos x="connsiteX162" y="connsiteY162"/>
                                                </a:cxn>
                                                <a:cxn ang="0">
                                                  <a:pos x="connsiteX163" y="connsiteY163"/>
                                                </a:cxn>
                                                <a:cxn ang="0">
                                                  <a:pos x="connsiteX164" y="connsiteY164"/>
                                                </a:cxn>
                                                <a:cxn ang="0">
                                                  <a:pos x="connsiteX165" y="connsiteY165"/>
                                                </a:cxn>
                                                <a:cxn ang="0">
                                                  <a:pos x="connsiteX166" y="connsiteY166"/>
                                                </a:cxn>
                                                <a:cxn ang="0">
                                                  <a:pos x="connsiteX167" y="connsiteY167"/>
                                                </a:cxn>
                                                <a:cxn ang="0">
                                                  <a:pos x="connsiteX168" y="connsiteY168"/>
                                                </a:cxn>
                                                <a:cxn ang="0">
                                                  <a:pos x="connsiteX169" y="connsiteY169"/>
                                                </a:cxn>
                                                <a:cxn ang="0">
                                                  <a:pos x="connsiteX170" y="connsiteY170"/>
                                                </a:cxn>
                                                <a:cxn ang="0">
                                                  <a:pos x="connsiteX171" y="connsiteY171"/>
                                                </a:cxn>
                                                <a:cxn ang="0">
                                                  <a:pos x="connsiteX172" y="connsiteY172"/>
                                                </a:cxn>
                                                <a:cxn ang="0">
                                                  <a:pos x="connsiteX173" y="connsiteY173"/>
                                                </a:cxn>
                                                <a:cxn ang="0">
                                                  <a:pos x="connsiteX174" y="connsiteY174"/>
                                                </a:cxn>
                                                <a:cxn ang="0">
                                                  <a:pos x="connsiteX175" y="connsiteY175"/>
                                                </a:cxn>
                                                <a:cxn ang="0">
                                                  <a:pos x="connsiteX176" y="connsiteY176"/>
                                                </a:cxn>
                                                <a:cxn ang="0">
                                                  <a:pos x="connsiteX177" y="connsiteY177"/>
                                                </a:cxn>
                                                <a:cxn ang="0">
                                                  <a:pos x="connsiteX178" y="connsiteY178"/>
                                                </a:cxn>
                                                <a:cxn ang="0">
                                                  <a:pos x="connsiteX179" y="connsiteY179"/>
                                                </a:cxn>
                                                <a:cxn ang="0">
                                                  <a:pos x="connsiteX180" y="connsiteY180"/>
                                                </a:cxn>
                                                <a:cxn ang="0">
                                                  <a:pos x="connsiteX181" y="connsiteY181"/>
                                                </a:cxn>
                                                <a:cxn ang="0">
                                                  <a:pos x="connsiteX182" y="connsiteY182"/>
                                                </a:cxn>
                                                <a:cxn ang="0">
                                                  <a:pos x="connsiteX183" y="connsiteY183"/>
                                                </a:cxn>
                                                <a:cxn ang="0">
                                                  <a:pos x="connsiteX184" y="connsiteY184"/>
                                                </a:cxn>
                                                <a:cxn ang="0">
                                                  <a:pos x="connsiteX185" y="connsiteY185"/>
                                                </a:cxn>
                                                <a:cxn ang="0">
                                                  <a:pos x="connsiteX186" y="connsiteY186"/>
                                                </a:cxn>
                                                <a:cxn ang="0">
                                                  <a:pos x="connsiteX187" y="connsiteY187"/>
                                                </a:cxn>
                                                <a:cxn ang="0">
                                                  <a:pos x="connsiteX188" y="connsiteY188"/>
                                                </a:cxn>
                                                <a:cxn ang="0">
                                                  <a:pos x="connsiteX189" y="connsiteY189"/>
                                                </a:cxn>
                                                <a:cxn ang="0">
                                                  <a:pos x="connsiteX190" y="connsiteY190"/>
                                                </a:cxn>
                                                <a:cxn ang="0">
                                                  <a:pos x="connsiteX191" y="connsiteY191"/>
                                                </a:cxn>
                                                <a:cxn ang="0">
                                                  <a:pos x="connsiteX192" y="connsiteY192"/>
                                                </a:cxn>
                                                <a:cxn ang="0">
                                                  <a:pos x="connsiteX193" y="connsiteY193"/>
                                                </a:cxn>
                                                <a:cxn ang="0">
                                                  <a:pos x="connsiteX194" y="connsiteY194"/>
                                                </a:cxn>
                                                <a:cxn ang="0">
                                                  <a:pos x="connsiteX195" y="connsiteY195"/>
                                                </a:cxn>
                                                <a:cxn ang="0">
                                                  <a:pos x="connsiteX196" y="connsiteY196"/>
                                                </a:cxn>
                                                <a:cxn ang="0">
                                                  <a:pos x="connsiteX197" y="connsiteY197"/>
                                                </a:cxn>
                                                <a:cxn ang="0">
                                                  <a:pos x="connsiteX198" y="connsiteY198"/>
                                                </a:cxn>
                                                <a:cxn ang="0">
                                                  <a:pos x="connsiteX199" y="connsiteY199"/>
                                                </a:cxn>
                                                <a:cxn ang="0">
                                                  <a:pos x="connsiteX200" y="connsiteY200"/>
                                                </a:cxn>
                                                <a:cxn ang="0">
                                                  <a:pos x="connsiteX201" y="connsiteY201"/>
                                                </a:cxn>
                                                <a:cxn ang="0">
                                                  <a:pos x="connsiteX202" y="connsiteY202"/>
                                                </a:cxn>
                                                <a:cxn ang="0">
                                                  <a:pos x="connsiteX203" y="connsiteY203"/>
                                                </a:cxn>
                                                <a:cxn ang="0">
                                                  <a:pos x="connsiteX204" y="connsiteY204"/>
                                                </a:cxn>
                                                <a:cxn ang="0">
                                                  <a:pos x="connsiteX205" y="connsiteY205"/>
                                                </a:cxn>
                                                <a:cxn ang="0">
                                                  <a:pos x="connsiteX206" y="connsiteY206"/>
                                                </a:cxn>
                                                <a:cxn ang="0">
                                                  <a:pos x="connsiteX207" y="connsiteY207"/>
                                                </a:cxn>
                                                <a:cxn ang="0">
                                                  <a:pos x="connsiteX208" y="connsiteY208"/>
                                                </a:cxn>
                                                <a:cxn ang="0">
                                                  <a:pos x="connsiteX209" y="connsiteY209"/>
                                                </a:cxn>
                                                <a:cxn ang="0">
                                                  <a:pos x="connsiteX210" y="connsiteY210"/>
                                                </a:cxn>
                                                <a:cxn ang="0">
                                                  <a:pos x="connsiteX211" y="connsiteY211"/>
                                                </a:cxn>
                                                <a:cxn ang="0">
                                                  <a:pos x="connsiteX212" y="connsiteY212"/>
                                                </a:cxn>
                                                <a:cxn ang="0">
                                                  <a:pos x="connsiteX213" y="connsiteY213"/>
                                                </a:cxn>
                                                <a:cxn ang="0">
                                                  <a:pos x="connsiteX214" y="connsiteY214"/>
                                                </a:cxn>
                                                <a:cxn ang="0">
                                                  <a:pos x="connsiteX215" y="connsiteY215"/>
                                                </a:cxn>
                                                <a:cxn ang="0">
                                                  <a:pos x="connsiteX216" y="connsiteY216"/>
                                                </a:cxn>
                                                <a:cxn ang="0">
                                                  <a:pos x="connsiteX217" y="connsiteY217"/>
                                                </a:cxn>
                                                <a:cxn ang="0">
                                                  <a:pos x="connsiteX218" y="connsiteY218"/>
                                                </a:cxn>
                                                <a:cxn ang="0">
                                                  <a:pos x="connsiteX219" y="connsiteY219"/>
                                                </a:cxn>
                                                <a:cxn ang="0">
                                                  <a:pos x="connsiteX220" y="connsiteY220"/>
                                                </a:cxn>
                                                <a:cxn ang="0">
                                                  <a:pos x="connsiteX221" y="connsiteY22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17070" h="505210">
                                                  <a:moveTo>
                                                    <a:pt x="999968" y="213505"/>
                                                  </a:moveTo>
                                                  <a:cubicBezTo>
                                                    <a:pt x="988242" y="211496"/>
                                                    <a:pt x="973146" y="216355"/>
                                                    <a:pt x="966473" y="206508"/>
                                                  </a:cubicBezTo>
                                                  <a:cubicBezTo>
                                                    <a:pt x="964271" y="203204"/>
                                                    <a:pt x="963752" y="198993"/>
                                                    <a:pt x="961161" y="196077"/>
                                                  </a:cubicBezTo>
                                                  <a:cubicBezTo>
                                                    <a:pt x="958181" y="192708"/>
                                                    <a:pt x="953322" y="191931"/>
                                                    <a:pt x="949629" y="189469"/>
                                                  </a:cubicBezTo>
                                                  <a:cubicBezTo>
                                                    <a:pt x="940948" y="183573"/>
                                                    <a:pt x="940430" y="169580"/>
                                                    <a:pt x="931295" y="164462"/>
                                                  </a:cubicBezTo>
                                                  <a:cubicBezTo>
                                                    <a:pt x="923845" y="160251"/>
                                                    <a:pt x="914645" y="164138"/>
                                                    <a:pt x="906676" y="167312"/>
                                                  </a:cubicBezTo>
                                                  <a:cubicBezTo>
                                                    <a:pt x="899550" y="170098"/>
                                                    <a:pt x="891776" y="172366"/>
                                                    <a:pt x="884390" y="170422"/>
                                                  </a:cubicBezTo>
                                                  <a:cubicBezTo>
                                                    <a:pt x="877004" y="168478"/>
                                                    <a:pt x="870720" y="160769"/>
                                                    <a:pt x="872858" y="153448"/>
                                                  </a:cubicBezTo>
                                                  <a:cubicBezTo>
                                                    <a:pt x="870008" y="148913"/>
                                                    <a:pt x="862687" y="152152"/>
                                                    <a:pt x="859707" y="156623"/>
                                                  </a:cubicBezTo>
                                                  <a:cubicBezTo>
                                                    <a:pt x="856791" y="161158"/>
                                                    <a:pt x="854459" y="167118"/>
                                                    <a:pt x="849211" y="168219"/>
                                                  </a:cubicBezTo>
                                                  <a:cubicBezTo>
                                                    <a:pt x="843186" y="169515"/>
                                                    <a:pt x="838392" y="163490"/>
                                                    <a:pt x="835218" y="158177"/>
                                                  </a:cubicBezTo>
                                                  <a:cubicBezTo>
                                                    <a:pt x="827379" y="145156"/>
                                                    <a:pt x="819474" y="132069"/>
                                                    <a:pt x="811571" y="119047"/>
                                                  </a:cubicBezTo>
                                                  <a:cubicBezTo>
                                                    <a:pt x="809368" y="115289"/>
                                                    <a:pt x="807101" y="111532"/>
                                                    <a:pt x="806193" y="107256"/>
                                                  </a:cubicBezTo>
                                                  <a:cubicBezTo>
                                                    <a:pt x="805611" y="104470"/>
                                                    <a:pt x="805546" y="101490"/>
                                                    <a:pt x="804120" y="99028"/>
                                                  </a:cubicBezTo>
                                                  <a:cubicBezTo>
                                                    <a:pt x="801723" y="95011"/>
                                                    <a:pt x="796281" y="93781"/>
                                                    <a:pt x="793366" y="90152"/>
                                                  </a:cubicBezTo>
                                                  <a:cubicBezTo>
                                                    <a:pt x="789414" y="85294"/>
                                                    <a:pt x="790969" y="77519"/>
                                                    <a:pt x="786887" y="72790"/>
                                                  </a:cubicBezTo>
                                                  <a:cubicBezTo>
                                                    <a:pt x="781575" y="66765"/>
                                                    <a:pt x="769914" y="69032"/>
                                                    <a:pt x="766026" y="61971"/>
                                                  </a:cubicBezTo>
                                                  <a:cubicBezTo>
                                                    <a:pt x="762787" y="56010"/>
                                                    <a:pt x="767517" y="46681"/>
                                                    <a:pt x="762074" y="42600"/>
                                                  </a:cubicBezTo>
                                                  <a:cubicBezTo>
                                                    <a:pt x="757864" y="39425"/>
                                                    <a:pt x="752098" y="42924"/>
                                                    <a:pt x="747886" y="46098"/>
                                                  </a:cubicBezTo>
                                                  <a:cubicBezTo>
                                                    <a:pt x="731431" y="58537"/>
                                                    <a:pt x="712319" y="67477"/>
                                                    <a:pt x="692236" y="72142"/>
                                                  </a:cubicBezTo>
                                                  <a:cubicBezTo>
                                                    <a:pt x="690810" y="67737"/>
                                                    <a:pt x="689320" y="63266"/>
                                                    <a:pt x="687830" y="58861"/>
                                                  </a:cubicBezTo>
                                                  <a:cubicBezTo>
                                                    <a:pt x="678566" y="61841"/>
                                                    <a:pt x="667487" y="57112"/>
                                                    <a:pt x="663147" y="48431"/>
                                                  </a:cubicBezTo>
                                                  <a:cubicBezTo>
                                                    <a:pt x="654854" y="43960"/>
                                                    <a:pt x="644877" y="56982"/>
                                                    <a:pt x="636455" y="52771"/>
                                                  </a:cubicBezTo>
                                                  <a:cubicBezTo>
                                                    <a:pt x="628940" y="49014"/>
                                                    <a:pt x="632568" y="37870"/>
                                                    <a:pt x="632309" y="29513"/>
                                                  </a:cubicBezTo>
                                                  <a:cubicBezTo>
                                                    <a:pt x="631985" y="19860"/>
                                                    <a:pt x="624729" y="11567"/>
                                                    <a:pt x="616112" y="7162"/>
                                                  </a:cubicBezTo>
                                                  <a:cubicBezTo>
                                                    <a:pt x="607496" y="2821"/>
                                                    <a:pt x="597713" y="1655"/>
                                                    <a:pt x="588125" y="554"/>
                                                  </a:cubicBezTo>
                                                  <a:cubicBezTo>
                                                    <a:pt x="582877" y="-94"/>
                                                    <a:pt x="577305" y="-612"/>
                                                    <a:pt x="572576" y="1655"/>
                                                  </a:cubicBezTo>
                                                  <a:cubicBezTo>
                                                    <a:pt x="567393" y="4052"/>
                                                    <a:pt x="564219" y="9365"/>
                                                    <a:pt x="560008" y="13252"/>
                                                  </a:cubicBezTo>
                                                  <a:cubicBezTo>
                                                    <a:pt x="550873" y="21804"/>
                                                    <a:pt x="537527" y="23682"/>
                                                    <a:pt x="525153" y="25561"/>
                                                  </a:cubicBezTo>
                                                  <a:cubicBezTo>
                                                    <a:pt x="504227" y="28736"/>
                                                    <a:pt x="483431" y="33076"/>
                                                    <a:pt x="462635" y="37417"/>
                                                  </a:cubicBezTo>
                                                  <a:cubicBezTo>
                                                    <a:pt x="451233" y="39814"/>
                                                    <a:pt x="438599" y="47329"/>
                                                    <a:pt x="427132" y="49726"/>
                                                  </a:cubicBezTo>
                                                  <a:cubicBezTo>
                                                    <a:pt x="421561" y="57112"/>
                                                    <a:pt x="410094" y="54715"/>
                                                    <a:pt x="401283" y="51864"/>
                                                  </a:cubicBezTo>
                                                  <a:cubicBezTo>
                                                    <a:pt x="392407" y="49014"/>
                                                    <a:pt x="380551" y="47588"/>
                                                    <a:pt x="375952" y="55622"/>
                                                  </a:cubicBezTo>
                                                  <a:cubicBezTo>
                                                    <a:pt x="372712" y="61776"/>
                                                    <a:pt x="378543" y="68644"/>
                                                    <a:pt x="383985" y="72920"/>
                                                  </a:cubicBezTo>
                                                  <a:cubicBezTo>
                                                    <a:pt x="389427" y="77195"/>
                                                    <a:pt x="395776" y="83091"/>
                                                    <a:pt x="393833" y="89699"/>
                                                  </a:cubicBezTo>
                                                  <a:cubicBezTo>
                                                    <a:pt x="389233" y="87820"/>
                                                    <a:pt x="384374" y="85941"/>
                                                    <a:pt x="379385" y="86330"/>
                                                  </a:cubicBezTo>
                                                  <a:cubicBezTo>
                                                    <a:pt x="374397" y="86719"/>
                                                    <a:pt x="369279" y="90152"/>
                                                    <a:pt x="368761" y="95141"/>
                                                  </a:cubicBezTo>
                                                  <a:cubicBezTo>
                                                    <a:pt x="368501" y="97473"/>
                                                    <a:pt x="369343" y="99935"/>
                                                    <a:pt x="368761" y="102267"/>
                                                  </a:cubicBezTo>
                                                  <a:cubicBezTo>
                                                    <a:pt x="368112" y="104859"/>
                                                    <a:pt x="365974" y="106738"/>
                                                    <a:pt x="364614" y="108940"/>
                                                  </a:cubicBezTo>
                                                  <a:cubicBezTo>
                                                    <a:pt x="362087" y="113151"/>
                                                    <a:pt x="362411" y="118853"/>
                                                    <a:pt x="365456" y="122675"/>
                                                  </a:cubicBezTo>
                                                  <a:cubicBezTo>
                                                    <a:pt x="360662" y="124942"/>
                                                    <a:pt x="355868" y="127210"/>
                                                    <a:pt x="351074" y="129413"/>
                                                  </a:cubicBezTo>
                                                  <a:cubicBezTo>
                                                    <a:pt x="351074" y="132652"/>
                                                    <a:pt x="351074" y="135956"/>
                                                    <a:pt x="351074" y="139195"/>
                                                  </a:cubicBezTo>
                                                  <a:cubicBezTo>
                                                    <a:pt x="357941" y="145933"/>
                                                    <a:pt x="369602" y="145544"/>
                                                    <a:pt x="376729" y="152023"/>
                                                  </a:cubicBezTo>
                                                  <a:cubicBezTo>
                                                    <a:pt x="385216" y="159732"/>
                                                    <a:pt x="382430" y="175994"/>
                                                    <a:pt x="371870" y="180399"/>
                                                  </a:cubicBezTo>
                                                  <a:cubicBezTo>
                                                    <a:pt x="366363" y="180788"/>
                                                    <a:pt x="360986" y="175929"/>
                                                    <a:pt x="360727" y="170422"/>
                                                  </a:cubicBezTo>
                                                  <a:cubicBezTo>
                                                    <a:pt x="350815" y="173726"/>
                                                    <a:pt x="340902" y="177030"/>
                                                    <a:pt x="330990" y="180334"/>
                                                  </a:cubicBezTo>
                                                  <a:cubicBezTo>
                                                    <a:pt x="328270" y="176253"/>
                                                    <a:pt x="326455" y="171588"/>
                                                    <a:pt x="325808" y="166729"/>
                                                  </a:cubicBezTo>
                                                  <a:cubicBezTo>
                                                    <a:pt x="317904" y="170422"/>
                                                    <a:pt x="307279" y="166211"/>
                                                    <a:pt x="304039" y="158048"/>
                                                  </a:cubicBezTo>
                                                  <a:cubicBezTo>
                                                    <a:pt x="294646" y="160769"/>
                                                    <a:pt x="285187" y="163555"/>
                                                    <a:pt x="275728" y="166341"/>
                                                  </a:cubicBezTo>
                                                  <a:cubicBezTo>
                                                    <a:pt x="274886" y="163814"/>
                                                    <a:pt x="273979" y="161352"/>
                                                    <a:pt x="273072" y="158825"/>
                                                  </a:cubicBezTo>
                                                  <a:cubicBezTo>
                                                    <a:pt x="262642" y="157141"/>
                                                    <a:pt x="251433" y="160639"/>
                                                    <a:pt x="243789" y="168025"/>
                                                  </a:cubicBezTo>
                                                  <a:cubicBezTo>
                                                    <a:pt x="240614" y="171135"/>
                                                    <a:pt x="237893" y="174892"/>
                                                    <a:pt x="233877" y="176771"/>
                                                  </a:cubicBezTo>
                                                  <a:cubicBezTo>
                                                    <a:pt x="229860" y="178650"/>
                                                    <a:pt x="223899" y="177354"/>
                                                    <a:pt x="222863" y="173013"/>
                                                  </a:cubicBezTo>
                                                  <a:cubicBezTo>
                                                    <a:pt x="219170" y="174892"/>
                                                    <a:pt x="214830" y="175540"/>
                                                    <a:pt x="210683" y="174763"/>
                                                  </a:cubicBezTo>
                                                  <a:lnTo>
                                                    <a:pt x="210683" y="161935"/>
                                                  </a:lnTo>
                                                  <a:cubicBezTo>
                                                    <a:pt x="202326" y="162129"/>
                                                    <a:pt x="195199" y="156558"/>
                                                    <a:pt x="188202" y="151893"/>
                                                  </a:cubicBezTo>
                                                  <a:cubicBezTo>
                                                    <a:pt x="171488" y="140815"/>
                                                    <a:pt x="149914" y="134142"/>
                                                    <a:pt x="131256" y="141528"/>
                                                  </a:cubicBezTo>
                                                  <a:cubicBezTo>
                                                    <a:pt x="125814" y="143666"/>
                                                    <a:pt x="120631" y="147034"/>
                                                    <a:pt x="114800" y="147617"/>
                                                  </a:cubicBezTo>
                                                  <a:cubicBezTo>
                                                    <a:pt x="109293" y="148201"/>
                                                    <a:pt x="103268" y="146387"/>
                                                    <a:pt x="98539" y="149237"/>
                                                  </a:cubicBezTo>
                                                  <a:cubicBezTo>
                                                    <a:pt x="92384" y="152865"/>
                                                    <a:pt x="91607" y="162389"/>
                                                    <a:pt x="85193" y="165498"/>
                                                  </a:cubicBezTo>
                                                  <a:cubicBezTo>
                                                    <a:pt x="79622" y="168219"/>
                                                    <a:pt x="72301" y="164591"/>
                                                    <a:pt x="66924" y="167831"/>
                                                  </a:cubicBezTo>
                                                  <a:cubicBezTo>
                                                    <a:pt x="62842" y="170357"/>
                                                    <a:pt x="61806" y="175799"/>
                                                    <a:pt x="62000" y="180593"/>
                                                  </a:cubicBezTo>
                                                  <a:cubicBezTo>
                                                    <a:pt x="62195" y="185388"/>
                                                    <a:pt x="63101" y="190376"/>
                                                    <a:pt x="61417" y="194911"/>
                                                  </a:cubicBezTo>
                                                  <a:cubicBezTo>
                                                    <a:pt x="59733" y="199381"/>
                                                    <a:pt x="53902" y="202750"/>
                                                    <a:pt x="50080" y="199835"/>
                                                  </a:cubicBezTo>
                                                  <a:cubicBezTo>
                                                    <a:pt x="46646" y="197243"/>
                                                    <a:pt x="47293" y="191931"/>
                                                    <a:pt x="45545" y="187979"/>
                                                  </a:cubicBezTo>
                                                  <a:cubicBezTo>
                                                    <a:pt x="43018" y="182148"/>
                                                    <a:pt x="35308" y="180010"/>
                                                    <a:pt x="29089" y="181759"/>
                                                  </a:cubicBezTo>
                                                  <a:cubicBezTo>
                                                    <a:pt x="22934" y="183444"/>
                                                    <a:pt x="18011" y="187979"/>
                                                    <a:pt x="13346" y="192320"/>
                                                  </a:cubicBezTo>
                                                  <a:cubicBezTo>
                                                    <a:pt x="13346" y="199057"/>
                                                    <a:pt x="13152" y="205860"/>
                                                    <a:pt x="13087" y="212598"/>
                                                  </a:cubicBezTo>
                                                  <a:cubicBezTo>
                                                    <a:pt x="8746" y="212598"/>
                                                    <a:pt x="5701" y="217521"/>
                                                    <a:pt x="6090" y="221862"/>
                                                  </a:cubicBezTo>
                                                  <a:cubicBezTo>
                                                    <a:pt x="6414" y="226202"/>
                                                    <a:pt x="9135" y="230025"/>
                                                    <a:pt x="11661" y="233523"/>
                                                  </a:cubicBezTo>
                                                  <a:cubicBezTo>
                                                    <a:pt x="6738" y="235596"/>
                                                    <a:pt x="2592" y="239354"/>
                                                    <a:pt x="0" y="244083"/>
                                                  </a:cubicBezTo>
                                                  <a:cubicBezTo>
                                                    <a:pt x="7127" y="242593"/>
                                                    <a:pt x="12633" y="250173"/>
                                                    <a:pt x="15354" y="256976"/>
                                                  </a:cubicBezTo>
                                                  <a:cubicBezTo>
                                                    <a:pt x="18011" y="263713"/>
                                                    <a:pt x="21185" y="271876"/>
                                                    <a:pt x="28311" y="273367"/>
                                                  </a:cubicBezTo>
                                                  <a:cubicBezTo>
                                                    <a:pt x="31421" y="273950"/>
                                                    <a:pt x="34661" y="273172"/>
                                                    <a:pt x="37705" y="274014"/>
                                                  </a:cubicBezTo>
                                                  <a:cubicBezTo>
                                                    <a:pt x="43666" y="275634"/>
                                                    <a:pt x="45998" y="282566"/>
                                                    <a:pt x="48265" y="288332"/>
                                                  </a:cubicBezTo>
                                                  <a:cubicBezTo>
                                                    <a:pt x="50533" y="294098"/>
                                                    <a:pt x="55586" y="300447"/>
                                                    <a:pt x="61546" y="298698"/>
                                                  </a:cubicBezTo>
                                                  <a:cubicBezTo>
                                                    <a:pt x="59538" y="307444"/>
                                                    <a:pt x="58761" y="316514"/>
                                                    <a:pt x="59085" y="325454"/>
                                                  </a:cubicBezTo>
                                                  <a:cubicBezTo>
                                                    <a:pt x="60121" y="325130"/>
                                                    <a:pt x="61158" y="324677"/>
                                                    <a:pt x="62195" y="324418"/>
                                                  </a:cubicBezTo>
                                                  <a:cubicBezTo>
                                                    <a:pt x="66276" y="323316"/>
                                                    <a:pt x="70422" y="322668"/>
                                                    <a:pt x="74374" y="321308"/>
                                                  </a:cubicBezTo>
                                                  <a:cubicBezTo>
                                                    <a:pt x="83898" y="317939"/>
                                                    <a:pt x="91348" y="310424"/>
                                                    <a:pt x="97762" y="302650"/>
                                                  </a:cubicBezTo>
                                                  <a:cubicBezTo>
                                                    <a:pt x="99640" y="300382"/>
                                                    <a:pt x="101649" y="297985"/>
                                                    <a:pt x="104499" y="297013"/>
                                                  </a:cubicBezTo>
                                                  <a:cubicBezTo>
                                                    <a:pt x="107480" y="296042"/>
                                                    <a:pt x="110719" y="297013"/>
                                                    <a:pt x="113764" y="297791"/>
                                                  </a:cubicBezTo>
                                                  <a:cubicBezTo>
                                                    <a:pt x="127758" y="301484"/>
                                                    <a:pt x="142529" y="302261"/>
                                                    <a:pt x="156846" y="300058"/>
                                                  </a:cubicBezTo>
                                                  <a:cubicBezTo>
                                                    <a:pt x="158466" y="299799"/>
                                                    <a:pt x="160280" y="299605"/>
                                                    <a:pt x="161576" y="300641"/>
                                                  </a:cubicBezTo>
                                                  <a:cubicBezTo>
                                                    <a:pt x="162548" y="301419"/>
                                                    <a:pt x="162871" y="302844"/>
                                                    <a:pt x="163325" y="304075"/>
                                                  </a:cubicBezTo>
                                                  <a:cubicBezTo>
                                                    <a:pt x="165333" y="310165"/>
                                                    <a:pt x="170970" y="314117"/>
                                                    <a:pt x="175310" y="318781"/>
                                                  </a:cubicBezTo>
                                                  <a:cubicBezTo>
                                                    <a:pt x="179651" y="323446"/>
                                                    <a:pt x="182890" y="330767"/>
                                                    <a:pt x="179262" y="336014"/>
                                                  </a:cubicBezTo>
                                                  <a:cubicBezTo>
                                                    <a:pt x="176541" y="339966"/>
                                                    <a:pt x="170840" y="341327"/>
                                                    <a:pt x="168896" y="345667"/>
                                                  </a:cubicBezTo>
                                                  <a:cubicBezTo>
                                                    <a:pt x="167406" y="348907"/>
                                                    <a:pt x="168508" y="352794"/>
                                                    <a:pt x="167342" y="356098"/>
                                                  </a:cubicBezTo>
                                                  <a:cubicBezTo>
                                                    <a:pt x="165463" y="361670"/>
                                                    <a:pt x="158596" y="363419"/>
                                                    <a:pt x="152830" y="364326"/>
                                                  </a:cubicBezTo>
                                                  <a:cubicBezTo>
                                                    <a:pt x="141557" y="366075"/>
                                                    <a:pt x="130284" y="367824"/>
                                                    <a:pt x="119076" y="369573"/>
                                                  </a:cubicBezTo>
                                                  <a:cubicBezTo>
                                                    <a:pt x="118234" y="375663"/>
                                                    <a:pt x="117457" y="381753"/>
                                                    <a:pt x="116614" y="387908"/>
                                                  </a:cubicBezTo>
                                                  <a:cubicBezTo>
                                                    <a:pt x="110136" y="384733"/>
                                                    <a:pt x="102491" y="384020"/>
                                                    <a:pt x="95559" y="385899"/>
                                                  </a:cubicBezTo>
                                                  <a:cubicBezTo>
                                                    <a:pt x="94004" y="392443"/>
                                                    <a:pt x="99900" y="398209"/>
                                                    <a:pt x="105536" y="401772"/>
                                                  </a:cubicBezTo>
                                                  <a:cubicBezTo>
                                                    <a:pt x="111237" y="405270"/>
                                                    <a:pt x="117910" y="409028"/>
                                                    <a:pt x="119206" y="415571"/>
                                                  </a:cubicBezTo>
                                                  <a:cubicBezTo>
                                                    <a:pt x="120113" y="419717"/>
                                                    <a:pt x="118752" y="424836"/>
                                                    <a:pt x="121927" y="427686"/>
                                                  </a:cubicBezTo>
                                                  <a:cubicBezTo>
                                                    <a:pt x="125101" y="427945"/>
                                                    <a:pt x="128276" y="428204"/>
                                                    <a:pt x="131450" y="428464"/>
                                                  </a:cubicBezTo>
                                                  <a:cubicBezTo>
                                                    <a:pt x="131709" y="431962"/>
                                                    <a:pt x="132033" y="435460"/>
                                                    <a:pt x="132293" y="438959"/>
                                                  </a:cubicBezTo>
                                                  <a:cubicBezTo>
                                                    <a:pt x="140520" y="437922"/>
                                                    <a:pt x="149007" y="438959"/>
                                                    <a:pt x="156782" y="441809"/>
                                                  </a:cubicBezTo>
                                                  <a:cubicBezTo>
                                                    <a:pt x="158077" y="442263"/>
                                                    <a:pt x="159438" y="442846"/>
                                                    <a:pt x="160345" y="443947"/>
                                                  </a:cubicBezTo>
                                                  <a:cubicBezTo>
                                                    <a:pt x="161899" y="445891"/>
                                                    <a:pt x="161511" y="448677"/>
                                                    <a:pt x="160604" y="450879"/>
                                                  </a:cubicBezTo>
                                                  <a:cubicBezTo>
                                                    <a:pt x="158531" y="456127"/>
                                                    <a:pt x="153996" y="460209"/>
                                                    <a:pt x="152376" y="465586"/>
                                                  </a:cubicBezTo>
                                                  <a:cubicBezTo>
                                                    <a:pt x="150692" y="470963"/>
                                                    <a:pt x="154643" y="478543"/>
                                                    <a:pt x="160021" y="476988"/>
                                                  </a:cubicBezTo>
                                                  <a:cubicBezTo>
                                                    <a:pt x="163973" y="475822"/>
                                                    <a:pt x="165139" y="470963"/>
                                                    <a:pt x="165657" y="466946"/>
                                                  </a:cubicBezTo>
                                                  <a:cubicBezTo>
                                                    <a:pt x="166305" y="462152"/>
                                                    <a:pt x="166953" y="457293"/>
                                                    <a:pt x="167601" y="452499"/>
                                                  </a:cubicBezTo>
                                                  <a:cubicBezTo>
                                                    <a:pt x="167860" y="450361"/>
                                                    <a:pt x="168832" y="447575"/>
                                                    <a:pt x="171034" y="447705"/>
                                                  </a:cubicBezTo>
                                                  <a:cubicBezTo>
                                                    <a:pt x="171877" y="447770"/>
                                                    <a:pt x="172589" y="448288"/>
                                                    <a:pt x="173302" y="448871"/>
                                                  </a:cubicBezTo>
                                                  <a:cubicBezTo>
                                                    <a:pt x="177448" y="452110"/>
                                                    <a:pt x="181918" y="455738"/>
                                                    <a:pt x="183214" y="460856"/>
                                                  </a:cubicBezTo>
                                                  <a:cubicBezTo>
                                                    <a:pt x="183279" y="461180"/>
                                                    <a:pt x="183344" y="461440"/>
                                                    <a:pt x="183408" y="461699"/>
                                                  </a:cubicBezTo>
                                                  <a:cubicBezTo>
                                                    <a:pt x="184445" y="459949"/>
                                                    <a:pt x="185546" y="458135"/>
                                                    <a:pt x="186648" y="456321"/>
                                                  </a:cubicBezTo>
                                                  <a:cubicBezTo>
                                                    <a:pt x="187490" y="454896"/>
                                                    <a:pt x="188397" y="453341"/>
                                                    <a:pt x="189822" y="452370"/>
                                                  </a:cubicBezTo>
                                                  <a:cubicBezTo>
                                                    <a:pt x="192220" y="450685"/>
                                                    <a:pt x="195588" y="450944"/>
                                                    <a:pt x="198245" y="452240"/>
                                                  </a:cubicBezTo>
                                                  <a:cubicBezTo>
                                                    <a:pt x="200901" y="453536"/>
                                                    <a:pt x="202974" y="455673"/>
                                                    <a:pt x="204982" y="457812"/>
                                                  </a:cubicBezTo>
                                                  <a:cubicBezTo>
                                                    <a:pt x="210100" y="463253"/>
                                                    <a:pt x="215218" y="468631"/>
                                                    <a:pt x="220336" y="474008"/>
                                                  </a:cubicBezTo>
                                                  <a:cubicBezTo>
                                                    <a:pt x="225908" y="479903"/>
                                                    <a:pt x="232646" y="486252"/>
                                                    <a:pt x="240679" y="485669"/>
                                                  </a:cubicBezTo>
                                                  <a:cubicBezTo>
                                                    <a:pt x="241651" y="485669"/>
                                                    <a:pt x="242558" y="485345"/>
                                                    <a:pt x="243465" y="485151"/>
                                                  </a:cubicBezTo>
                                                  <a:cubicBezTo>
                                                    <a:pt x="243141" y="484762"/>
                                                    <a:pt x="242882" y="484374"/>
                                                    <a:pt x="242687" y="483920"/>
                                                  </a:cubicBezTo>
                                                  <a:cubicBezTo>
                                                    <a:pt x="241197" y="481134"/>
                                                    <a:pt x="241068" y="477571"/>
                                                    <a:pt x="243270" y="475239"/>
                                                  </a:cubicBezTo>
                                                  <a:lnTo>
                                                    <a:pt x="243595" y="374043"/>
                                                  </a:lnTo>
                                                  <a:cubicBezTo>
                                                    <a:pt x="243659" y="373201"/>
                                                    <a:pt x="243659" y="372294"/>
                                                    <a:pt x="243724" y="371452"/>
                                                  </a:cubicBezTo>
                                                  <a:cubicBezTo>
                                                    <a:pt x="250850" y="364326"/>
                                                    <a:pt x="260050" y="359337"/>
                                                    <a:pt x="269768" y="356681"/>
                                                  </a:cubicBezTo>
                                                  <a:cubicBezTo>
                                                    <a:pt x="270740" y="356487"/>
                                                    <a:pt x="271711" y="356292"/>
                                                    <a:pt x="272683" y="356098"/>
                                                  </a:cubicBezTo>
                                                  <a:cubicBezTo>
                                                    <a:pt x="272683" y="353960"/>
                                                    <a:pt x="273590" y="351757"/>
                                                    <a:pt x="275080" y="350267"/>
                                                  </a:cubicBezTo>
                                                  <a:cubicBezTo>
                                                    <a:pt x="277542" y="347870"/>
                                                    <a:pt x="280976" y="346769"/>
                                                    <a:pt x="284280" y="345926"/>
                                                  </a:cubicBezTo>
                                                  <a:cubicBezTo>
                                                    <a:pt x="290629" y="344307"/>
                                                    <a:pt x="297043" y="343206"/>
                                                    <a:pt x="303586" y="342687"/>
                                                  </a:cubicBezTo>
                                                  <a:cubicBezTo>
                                                    <a:pt x="306436" y="342428"/>
                                                    <a:pt x="309352" y="342298"/>
                                                    <a:pt x="311814" y="340873"/>
                                                  </a:cubicBezTo>
                                                  <a:cubicBezTo>
                                                    <a:pt x="313822" y="339772"/>
                                                    <a:pt x="315312" y="337958"/>
                                                    <a:pt x="317321" y="336857"/>
                                                  </a:cubicBezTo>
                                                  <a:cubicBezTo>
                                                    <a:pt x="321532" y="334395"/>
                                                    <a:pt x="326779" y="335561"/>
                                                    <a:pt x="331703" y="335366"/>
                                                  </a:cubicBezTo>
                                                  <a:cubicBezTo>
                                                    <a:pt x="336562" y="335172"/>
                                                    <a:pt x="342393" y="331933"/>
                                                    <a:pt x="341615" y="327074"/>
                                                  </a:cubicBezTo>
                                                  <a:cubicBezTo>
                                                    <a:pt x="341291" y="325195"/>
                                                    <a:pt x="339996" y="323576"/>
                                                    <a:pt x="339477" y="321697"/>
                                                  </a:cubicBezTo>
                                                  <a:cubicBezTo>
                                                    <a:pt x="337793" y="315153"/>
                                                    <a:pt x="346150" y="310618"/>
                                                    <a:pt x="352888" y="310489"/>
                                                  </a:cubicBezTo>
                                                  <a:cubicBezTo>
                                                    <a:pt x="364161" y="310359"/>
                                                    <a:pt x="375433" y="315736"/>
                                                    <a:pt x="382365" y="324612"/>
                                                  </a:cubicBezTo>
                                                  <a:cubicBezTo>
                                                    <a:pt x="375304" y="325778"/>
                                                    <a:pt x="368307" y="327592"/>
                                                    <a:pt x="361569" y="329924"/>
                                                  </a:cubicBezTo>
                                                  <a:cubicBezTo>
                                                    <a:pt x="357617" y="331285"/>
                                                    <a:pt x="353730" y="332905"/>
                                                    <a:pt x="350685" y="335755"/>
                                                  </a:cubicBezTo>
                                                  <a:cubicBezTo>
                                                    <a:pt x="347705" y="338670"/>
                                                    <a:pt x="345891" y="343011"/>
                                                    <a:pt x="347057" y="347028"/>
                                                  </a:cubicBezTo>
                                                  <a:cubicBezTo>
                                                    <a:pt x="349065" y="353830"/>
                                                    <a:pt x="358136" y="355709"/>
                                                    <a:pt x="362411" y="361410"/>
                                                  </a:cubicBezTo>
                                                  <a:cubicBezTo>
                                                    <a:pt x="367724" y="368472"/>
                                                    <a:pt x="364031" y="378190"/>
                                                    <a:pt x="359367" y="385964"/>
                                                  </a:cubicBezTo>
                                                  <a:cubicBezTo>
                                                    <a:pt x="368501" y="397237"/>
                                                    <a:pt x="378996" y="406825"/>
                                                    <a:pt x="392472" y="411619"/>
                                                  </a:cubicBezTo>
                                                  <a:cubicBezTo>
                                                    <a:pt x="410158" y="417903"/>
                                                    <a:pt x="429594" y="414729"/>
                                                    <a:pt x="448317" y="413628"/>
                                                  </a:cubicBezTo>
                                                  <a:cubicBezTo>
                                                    <a:pt x="460108" y="412915"/>
                                                    <a:pt x="473519" y="413822"/>
                                                    <a:pt x="481358" y="422633"/>
                                                  </a:cubicBezTo>
                                                  <a:cubicBezTo>
                                                    <a:pt x="485764" y="427492"/>
                                                    <a:pt x="487642" y="434035"/>
                                                    <a:pt x="489910" y="440190"/>
                                                  </a:cubicBezTo>
                                                  <a:cubicBezTo>
                                                    <a:pt x="495352" y="454637"/>
                                                    <a:pt x="503774" y="467724"/>
                                                    <a:pt x="512067" y="480746"/>
                                                  </a:cubicBezTo>
                                                  <a:cubicBezTo>
                                                    <a:pt x="514982" y="485281"/>
                                                    <a:pt x="518156" y="490075"/>
                                                    <a:pt x="523080" y="492342"/>
                                                  </a:cubicBezTo>
                                                  <a:cubicBezTo>
                                                    <a:pt x="529299" y="495193"/>
                                                    <a:pt x="537462" y="493638"/>
                                                    <a:pt x="542386" y="498303"/>
                                                  </a:cubicBezTo>
                                                  <a:cubicBezTo>
                                                    <a:pt x="544330" y="500117"/>
                                                    <a:pt x="545496" y="502708"/>
                                                    <a:pt x="547699" y="504133"/>
                                                  </a:cubicBezTo>
                                                  <a:cubicBezTo>
                                                    <a:pt x="553400" y="507761"/>
                                                    <a:pt x="560137" y="501477"/>
                                                    <a:pt x="564608" y="496359"/>
                                                  </a:cubicBezTo>
                                                  <a:cubicBezTo>
                                                    <a:pt x="565968" y="494869"/>
                                                    <a:pt x="567329" y="493379"/>
                                                    <a:pt x="568819" y="492018"/>
                                                  </a:cubicBezTo>
                                                  <a:cubicBezTo>
                                                    <a:pt x="569207" y="491630"/>
                                                    <a:pt x="569596" y="491241"/>
                                                    <a:pt x="570049" y="490917"/>
                                                  </a:cubicBezTo>
                                                  <a:cubicBezTo>
                                                    <a:pt x="570892" y="490075"/>
                                                    <a:pt x="571799" y="489297"/>
                                                    <a:pt x="572706" y="488585"/>
                                                  </a:cubicBezTo>
                                                  <a:lnTo>
                                                    <a:pt x="572900" y="488390"/>
                                                  </a:lnTo>
                                                  <a:cubicBezTo>
                                                    <a:pt x="573548" y="487807"/>
                                                    <a:pt x="574196" y="487289"/>
                                                    <a:pt x="574908" y="486835"/>
                                                  </a:cubicBezTo>
                                                  <a:cubicBezTo>
                                                    <a:pt x="576334" y="485734"/>
                                                    <a:pt x="577824" y="484633"/>
                                                    <a:pt x="579314" y="483661"/>
                                                  </a:cubicBezTo>
                                                  <a:cubicBezTo>
                                                    <a:pt x="582877" y="481329"/>
                                                    <a:pt x="586635" y="479256"/>
                                                    <a:pt x="590587" y="477506"/>
                                                  </a:cubicBezTo>
                                                  <a:cubicBezTo>
                                                    <a:pt x="591429" y="477118"/>
                                                    <a:pt x="592271" y="476729"/>
                                                    <a:pt x="593178" y="476470"/>
                                                  </a:cubicBezTo>
                                                  <a:cubicBezTo>
                                                    <a:pt x="593437" y="476340"/>
                                                    <a:pt x="593632" y="476211"/>
                                                    <a:pt x="593891" y="476146"/>
                                                  </a:cubicBezTo>
                                                  <a:cubicBezTo>
                                                    <a:pt x="594798" y="475692"/>
                                                    <a:pt x="595770" y="475368"/>
                                                    <a:pt x="596677" y="475045"/>
                                                  </a:cubicBezTo>
                                                  <a:cubicBezTo>
                                                    <a:pt x="598685" y="474332"/>
                                                    <a:pt x="600758" y="473684"/>
                                                    <a:pt x="602767" y="473101"/>
                                                  </a:cubicBezTo>
                                                  <a:lnTo>
                                                    <a:pt x="602767" y="473101"/>
                                                  </a:lnTo>
                                                  <a:cubicBezTo>
                                                    <a:pt x="604839" y="472518"/>
                                                    <a:pt x="606913" y="472000"/>
                                                    <a:pt x="608986" y="471611"/>
                                                  </a:cubicBezTo>
                                                  <a:lnTo>
                                                    <a:pt x="609115" y="471611"/>
                                                  </a:lnTo>
                                                  <a:cubicBezTo>
                                                    <a:pt x="608921" y="470574"/>
                                                    <a:pt x="608856" y="469538"/>
                                                    <a:pt x="609115" y="468436"/>
                                                  </a:cubicBezTo>
                                                  <a:cubicBezTo>
                                                    <a:pt x="609763" y="465910"/>
                                                    <a:pt x="611707" y="463966"/>
                                                    <a:pt x="613586" y="462152"/>
                                                  </a:cubicBezTo>
                                                  <a:cubicBezTo>
                                                    <a:pt x="618315" y="457552"/>
                                                    <a:pt x="622980" y="452953"/>
                                                    <a:pt x="627709" y="448353"/>
                                                  </a:cubicBezTo>
                                                  <a:cubicBezTo>
                                                    <a:pt x="630365" y="445761"/>
                                                    <a:pt x="633216" y="443040"/>
                                                    <a:pt x="636779" y="442133"/>
                                                  </a:cubicBezTo>
                                                  <a:cubicBezTo>
                                                    <a:pt x="645330" y="439995"/>
                                                    <a:pt x="652846" y="448612"/>
                                                    <a:pt x="661592" y="449972"/>
                                                  </a:cubicBezTo>
                                                  <a:cubicBezTo>
                                                    <a:pt x="670143" y="451268"/>
                                                    <a:pt x="678048" y="445437"/>
                                                    <a:pt x="684461" y="439607"/>
                                                  </a:cubicBezTo>
                                                  <a:cubicBezTo>
                                                    <a:pt x="690875" y="433776"/>
                                                    <a:pt x="697807" y="427233"/>
                                                    <a:pt x="706424" y="426714"/>
                                                  </a:cubicBezTo>
                                                  <a:cubicBezTo>
                                                    <a:pt x="710246" y="426520"/>
                                                    <a:pt x="714457" y="427881"/>
                                                    <a:pt x="716206" y="431249"/>
                                                  </a:cubicBezTo>
                                                  <a:cubicBezTo>
                                                    <a:pt x="716919" y="432480"/>
                                                    <a:pt x="717178" y="433970"/>
                                                    <a:pt x="717891" y="435137"/>
                                                  </a:cubicBezTo>
                                                  <a:cubicBezTo>
                                                    <a:pt x="720029" y="438635"/>
                                                    <a:pt x="724952" y="438765"/>
                                                    <a:pt x="729034" y="438570"/>
                                                  </a:cubicBezTo>
                                                  <a:cubicBezTo>
                                                    <a:pt x="756568" y="437210"/>
                                                    <a:pt x="784426" y="438505"/>
                                                    <a:pt x="811376" y="444530"/>
                                                  </a:cubicBezTo>
                                                  <a:cubicBezTo>
                                                    <a:pt x="822325" y="446927"/>
                                                    <a:pt x="833922" y="450685"/>
                                                    <a:pt x="840595" y="459626"/>
                                                  </a:cubicBezTo>
                                                  <a:cubicBezTo>
                                                    <a:pt x="841761" y="461180"/>
                                                    <a:pt x="842798" y="462929"/>
                                                    <a:pt x="843705" y="464679"/>
                                                  </a:cubicBezTo>
                                                  <a:cubicBezTo>
                                                    <a:pt x="844417" y="463707"/>
                                                    <a:pt x="845000" y="462606"/>
                                                    <a:pt x="845518" y="461569"/>
                                                  </a:cubicBezTo>
                                                  <a:cubicBezTo>
                                                    <a:pt x="849795" y="452758"/>
                                                    <a:pt x="854070" y="443882"/>
                                                    <a:pt x="858411" y="435072"/>
                                                  </a:cubicBezTo>
                                                  <a:cubicBezTo>
                                                    <a:pt x="863723" y="433646"/>
                                                    <a:pt x="866704" y="426779"/>
                                                    <a:pt x="864112" y="421920"/>
                                                  </a:cubicBezTo>
                                                  <a:cubicBezTo>
                                                    <a:pt x="862104" y="418227"/>
                                                    <a:pt x="857893" y="416349"/>
                                                    <a:pt x="855301" y="413045"/>
                                                  </a:cubicBezTo>
                                                  <a:cubicBezTo>
                                                    <a:pt x="848758" y="404817"/>
                                                    <a:pt x="854653" y="392378"/>
                                                    <a:pt x="851673" y="382336"/>
                                                  </a:cubicBezTo>
                                                  <a:cubicBezTo>
                                                    <a:pt x="850961" y="380004"/>
                                                    <a:pt x="849795" y="377736"/>
                                                    <a:pt x="850248" y="375404"/>
                                                  </a:cubicBezTo>
                                                  <a:cubicBezTo>
                                                    <a:pt x="850766" y="372489"/>
                                                    <a:pt x="853487" y="370545"/>
                                                    <a:pt x="856014" y="368926"/>
                                                  </a:cubicBezTo>
                                                  <a:cubicBezTo>
                                                    <a:pt x="865732" y="362706"/>
                                                    <a:pt x="877199" y="356227"/>
                                                    <a:pt x="888212" y="359791"/>
                                                  </a:cubicBezTo>
                                                  <a:cubicBezTo>
                                                    <a:pt x="894432" y="361864"/>
                                                    <a:pt x="900198" y="367047"/>
                                                    <a:pt x="906546" y="365427"/>
                                                  </a:cubicBezTo>
                                                  <a:cubicBezTo>
                                                    <a:pt x="908037" y="359078"/>
                                                    <a:pt x="908555" y="352470"/>
                                                    <a:pt x="908166" y="345991"/>
                                                  </a:cubicBezTo>
                                                  <a:cubicBezTo>
                                                    <a:pt x="907648" y="337893"/>
                                                    <a:pt x="909786" y="326556"/>
                                                    <a:pt x="909786" y="318457"/>
                                                  </a:cubicBezTo>
                                                  <a:cubicBezTo>
                                                    <a:pt x="913284" y="316255"/>
                                                    <a:pt x="916848" y="314052"/>
                                                    <a:pt x="920346" y="311849"/>
                                                  </a:cubicBezTo>
                                                  <a:cubicBezTo>
                                                    <a:pt x="919698" y="308156"/>
                                                    <a:pt x="920022" y="303557"/>
                                                    <a:pt x="923196" y="301548"/>
                                                  </a:cubicBezTo>
                                                  <a:cubicBezTo>
                                                    <a:pt x="926824" y="299216"/>
                                                    <a:pt x="931489" y="301548"/>
                                                    <a:pt x="935506" y="303168"/>
                                                  </a:cubicBezTo>
                                                  <a:cubicBezTo>
                                                    <a:pt x="943669" y="306407"/>
                                                    <a:pt x="952739" y="306083"/>
                                                    <a:pt x="961485" y="305695"/>
                                                  </a:cubicBezTo>
                                                  <a:cubicBezTo>
                                                    <a:pt x="966344" y="305500"/>
                                                    <a:pt x="972174" y="304658"/>
                                                    <a:pt x="973989" y="300253"/>
                                                  </a:cubicBezTo>
                                                  <a:cubicBezTo>
                                                    <a:pt x="975284" y="297208"/>
                                                    <a:pt x="974118" y="293580"/>
                                                    <a:pt x="975673" y="290729"/>
                                                  </a:cubicBezTo>
                                                  <a:cubicBezTo>
                                                    <a:pt x="976645" y="288915"/>
                                                    <a:pt x="978588" y="287749"/>
                                                    <a:pt x="979690" y="286065"/>
                                                  </a:cubicBezTo>
                                                  <a:cubicBezTo>
                                                    <a:pt x="981698" y="283020"/>
                                                    <a:pt x="980986" y="279068"/>
                                                    <a:pt x="980856" y="275440"/>
                                                  </a:cubicBezTo>
                                                  <a:cubicBezTo>
                                                    <a:pt x="980338" y="263843"/>
                                                    <a:pt x="987399" y="252246"/>
                                                    <a:pt x="997959" y="247323"/>
                                                  </a:cubicBezTo>
                                                  <a:cubicBezTo>
                                                    <a:pt x="1000227" y="246286"/>
                                                    <a:pt x="1002624" y="245509"/>
                                                    <a:pt x="1004502" y="243824"/>
                                                  </a:cubicBezTo>
                                                  <a:cubicBezTo>
                                                    <a:pt x="1007418" y="241233"/>
                                                    <a:pt x="1008260" y="237087"/>
                                                    <a:pt x="1009621" y="233394"/>
                                                  </a:cubicBezTo>
                                                  <a:cubicBezTo>
                                                    <a:pt x="1009945" y="232487"/>
                                                    <a:pt x="1010398" y="231580"/>
                                                    <a:pt x="1010917" y="230738"/>
                                                  </a:cubicBezTo>
                                                  <a:cubicBezTo>
                                                    <a:pt x="1011176" y="230284"/>
                                                    <a:pt x="1011435" y="229895"/>
                                                    <a:pt x="1011759" y="229507"/>
                                                  </a:cubicBezTo>
                                                  <a:cubicBezTo>
                                                    <a:pt x="1011888" y="229247"/>
                                                    <a:pt x="1012083" y="229053"/>
                                                    <a:pt x="1012277" y="228859"/>
                                                  </a:cubicBezTo>
                                                  <a:cubicBezTo>
                                                    <a:pt x="1012666" y="228405"/>
                                                    <a:pt x="1013054" y="228016"/>
                                                    <a:pt x="1013508" y="227628"/>
                                                  </a:cubicBezTo>
                                                  <a:cubicBezTo>
                                                    <a:pt x="1013832" y="227369"/>
                                                    <a:pt x="1014220" y="227109"/>
                                                    <a:pt x="1014609" y="226850"/>
                                                  </a:cubicBezTo>
                                                  <a:cubicBezTo>
                                                    <a:pt x="1014868" y="226721"/>
                                                    <a:pt x="1015127" y="226591"/>
                                                    <a:pt x="1015451" y="226462"/>
                                                  </a:cubicBezTo>
                                                  <a:cubicBezTo>
                                                    <a:pt x="1015451" y="226397"/>
                                                    <a:pt x="1015646" y="226397"/>
                                                    <a:pt x="1015711" y="226332"/>
                                                  </a:cubicBezTo>
                                                  <a:lnTo>
                                                    <a:pt x="1015840" y="226332"/>
                                                  </a:lnTo>
                                                  <a:cubicBezTo>
                                                    <a:pt x="1016229" y="226138"/>
                                                    <a:pt x="1016618" y="226073"/>
                                                    <a:pt x="1017071" y="226073"/>
                                                  </a:cubicBezTo>
                                                  <a:cubicBezTo>
                                                    <a:pt x="1013314" y="219659"/>
                                                    <a:pt x="1007159" y="214735"/>
                                                    <a:pt x="999838" y="213505"/>
                                                  </a:cubicBezTo>
                                                  <a:close/>
                                                  <a:moveTo>
                                                    <a:pt x="812024" y="322604"/>
                                                  </a:moveTo>
                                                  <a:cubicBezTo>
                                                    <a:pt x="808267" y="324742"/>
                                                    <a:pt x="805675" y="331026"/>
                                                    <a:pt x="809692" y="332840"/>
                                                  </a:cubicBezTo>
                                                  <a:cubicBezTo>
                                                    <a:pt x="799845" y="332192"/>
                                                    <a:pt x="790062" y="331544"/>
                                                    <a:pt x="780279" y="330831"/>
                                                  </a:cubicBezTo>
                                                  <a:cubicBezTo>
                                                    <a:pt x="771339" y="330248"/>
                                                    <a:pt x="762334" y="329601"/>
                                                    <a:pt x="753393" y="330054"/>
                                                  </a:cubicBezTo>
                                                  <a:cubicBezTo>
                                                    <a:pt x="739918" y="330702"/>
                                                    <a:pt x="726442" y="333617"/>
                                                    <a:pt x="712967" y="332516"/>
                                                  </a:cubicBezTo>
                                                  <a:cubicBezTo>
                                                    <a:pt x="713550" y="336597"/>
                                                    <a:pt x="713939" y="341132"/>
                                                    <a:pt x="711606" y="344566"/>
                                                  </a:cubicBezTo>
                                                  <a:cubicBezTo>
                                                    <a:pt x="710376" y="346315"/>
                                                    <a:pt x="708561" y="347481"/>
                                                    <a:pt x="707266" y="349166"/>
                                                  </a:cubicBezTo>
                                                  <a:cubicBezTo>
                                                    <a:pt x="701889" y="356098"/>
                                                    <a:pt x="707460" y="366723"/>
                                                    <a:pt x="704156" y="374886"/>
                                                  </a:cubicBezTo>
                                                  <a:cubicBezTo>
                                                    <a:pt x="696706" y="377153"/>
                                                    <a:pt x="687895" y="371193"/>
                                                    <a:pt x="687312" y="363419"/>
                                                  </a:cubicBezTo>
                                                  <a:cubicBezTo>
                                                    <a:pt x="686729" y="355968"/>
                                                    <a:pt x="692495" y="348388"/>
                                                    <a:pt x="689709" y="341456"/>
                                                  </a:cubicBezTo>
                                                  <a:cubicBezTo>
                                                    <a:pt x="687636" y="336014"/>
                                                    <a:pt x="680639" y="331738"/>
                                                    <a:pt x="682582" y="326296"/>
                                                  </a:cubicBezTo>
                                                  <a:cubicBezTo>
                                                    <a:pt x="687247" y="327981"/>
                                                    <a:pt x="692365" y="325519"/>
                                                    <a:pt x="696123" y="322409"/>
                                                  </a:cubicBezTo>
                                                  <a:cubicBezTo>
                                                    <a:pt x="699945" y="319300"/>
                                                    <a:pt x="703249" y="315412"/>
                                                    <a:pt x="707719" y="313339"/>
                                                  </a:cubicBezTo>
                                                  <a:cubicBezTo>
                                                    <a:pt x="711865" y="311461"/>
                                                    <a:pt x="716595" y="311396"/>
                                                    <a:pt x="721130" y="311331"/>
                                                  </a:cubicBezTo>
                                                  <a:cubicBezTo>
                                                    <a:pt x="745878" y="311137"/>
                                                    <a:pt x="770626" y="310877"/>
                                                    <a:pt x="795374" y="310683"/>
                                                  </a:cubicBezTo>
                                                  <a:cubicBezTo>
                                                    <a:pt x="804380" y="310554"/>
                                                    <a:pt x="813838" y="310618"/>
                                                    <a:pt x="821936" y="314765"/>
                                                  </a:cubicBezTo>
                                                  <a:cubicBezTo>
                                                    <a:pt x="820900" y="318976"/>
                                                    <a:pt x="815782" y="320466"/>
                                                    <a:pt x="812024" y="32260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39" name="Freeform: Shape 203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4209DBD-4D14-4183-BED4-75C90BFE38D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73997" y="2819814"/>
                                              <a:ext cx="438082" cy="27732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32978 w 438082"/>
                                                <a:gd name="connsiteY0" fmla="*/ 99962 h 277326"/>
                                                <a:gd name="connsiteX1" fmla="*/ 407259 w 438082"/>
                                                <a:gd name="connsiteY1" fmla="*/ 95687 h 277326"/>
                                                <a:gd name="connsiteX2" fmla="*/ 404084 w 438082"/>
                                                <a:gd name="connsiteY2" fmla="*/ 90309 h 277326"/>
                                                <a:gd name="connsiteX3" fmla="*/ 392552 w 438082"/>
                                                <a:gd name="connsiteY3" fmla="*/ 86034 h 277326"/>
                                                <a:gd name="connsiteX4" fmla="*/ 380114 w 438082"/>
                                                <a:gd name="connsiteY4" fmla="*/ 84220 h 277326"/>
                                                <a:gd name="connsiteX5" fmla="*/ 376680 w 438082"/>
                                                <a:gd name="connsiteY5" fmla="*/ 73724 h 277326"/>
                                                <a:gd name="connsiteX6" fmla="*/ 351349 w 438082"/>
                                                <a:gd name="connsiteY6" fmla="*/ 75862 h 277326"/>
                                                <a:gd name="connsiteX7" fmla="*/ 328674 w 438082"/>
                                                <a:gd name="connsiteY7" fmla="*/ 67570 h 277326"/>
                                                <a:gd name="connsiteX8" fmla="*/ 325758 w 438082"/>
                                                <a:gd name="connsiteY8" fmla="*/ 60832 h 277326"/>
                                                <a:gd name="connsiteX9" fmla="*/ 292588 w 438082"/>
                                                <a:gd name="connsiteY9" fmla="*/ 39129 h 277326"/>
                                                <a:gd name="connsiteX10" fmla="*/ 280862 w 438082"/>
                                                <a:gd name="connsiteY10" fmla="*/ 3497 h 277326"/>
                                                <a:gd name="connsiteX11" fmla="*/ 251514 w 438082"/>
                                                <a:gd name="connsiteY11" fmla="*/ 2201 h 277326"/>
                                                <a:gd name="connsiteX12" fmla="*/ 245812 w 438082"/>
                                                <a:gd name="connsiteY12" fmla="*/ 3497 h 277326"/>
                                                <a:gd name="connsiteX13" fmla="*/ 234411 w 438082"/>
                                                <a:gd name="connsiteY13" fmla="*/ 6541 h 277326"/>
                                                <a:gd name="connsiteX14" fmla="*/ 228774 w 438082"/>
                                                <a:gd name="connsiteY14" fmla="*/ 8420 h 277326"/>
                                                <a:gd name="connsiteX15" fmla="*/ 223980 w 438082"/>
                                                <a:gd name="connsiteY15" fmla="*/ 10234 h 277326"/>
                                                <a:gd name="connsiteX16" fmla="*/ 219445 w 438082"/>
                                                <a:gd name="connsiteY16" fmla="*/ 12307 h 277326"/>
                                                <a:gd name="connsiteX17" fmla="*/ 212772 w 438082"/>
                                                <a:gd name="connsiteY17" fmla="*/ 16065 h 277326"/>
                                                <a:gd name="connsiteX18" fmla="*/ 210699 w 438082"/>
                                                <a:gd name="connsiteY18" fmla="*/ 17425 h 277326"/>
                                                <a:gd name="connsiteX19" fmla="*/ 210051 w 438082"/>
                                                <a:gd name="connsiteY19" fmla="*/ 17879 h 277326"/>
                                                <a:gd name="connsiteX20" fmla="*/ 207330 w 438082"/>
                                                <a:gd name="connsiteY20" fmla="*/ 20017 h 277326"/>
                                                <a:gd name="connsiteX21" fmla="*/ 206099 w 438082"/>
                                                <a:gd name="connsiteY21" fmla="*/ 21183 h 277326"/>
                                                <a:gd name="connsiteX22" fmla="*/ 204674 w 438082"/>
                                                <a:gd name="connsiteY22" fmla="*/ 22544 h 277326"/>
                                                <a:gd name="connsiteX23" fmla="*/ 203767 w 438082"/>
                                                <a:gd name="connsiteY23" fmla="*/ 23451 h 277326"/>
                                                <a:gd name="connsiteX24" fmla="*/ 203119 w 438082"/>
                                                <a:gd name="connsiteY24" fmla="*/ 24163 h 277326"/>
                                                <a:gd name="connsiteX25" fmla="*/ 200916 w 438082"/>
                                                <a:gd name="connsiteY25" fmla="*/ 26819 h 277326"/>
                                                <a:gd name="connsiteX26" fmla="*/ 200203 w 438082"/>
                                                <a:gd name="connsiteY26" fmla="*/ 27921 h 277326"/>
                                                <a:gd name="connsiteX27" fmla="*/ 199750 w 438082"/>
                                                <a:gd name="connsiteY27" fmla="*/ 28633 h 277326"/>
                                                <a:gd name="connsiteX28" fmla="*/ 197936 w 438082"/>
                                                <a:gd name="connsiteY28" fmla="*/ 31419 h 277326"/>
                                                <a:gd name="connsiteX29" fmla="*/ 194049 w 438082"/>
                                                <a:gd name="connsiteY29" fmla="*/ 36991 h 277326"/>
                                                <a:gd name="connsiteX30" fmla="*/ 184137 w 438082"/>
                                                <a:gd name="connsiteY30" fmla="*/ 38287 h 277326"/>
                                                <a:gd name="connsiteX31" fmla="*/ 116241 w 438082"/>
                                                <a:gd name="connsiteY31" fmla="*/ 26042 h 277326"/>
                                                <a:gd name="connsiteX32" fmla="*/ 80609 w 438082"/>
                                                <a:gd name="connsiteY32" fmla="*/ 18786 h 277326"/>
                                                <a:gd name="connsiteX33" fmla="*/ 46208 w 438082"/>
                                                <a:gd name="connsiteY33" fmla="*/ 20794 h 277326"/>
                                                <a:gd name="connsiteX34" fmla="*/ 43487 w 438082"/>
                                                <a:gd name="connsiteY34" fmla="*/ 22867 h 277326"/>
                                                <a:gd name="connsiteX35" fmla="*/ 43357 w 438082"/>
                                                <a:gd name="connsiteY35" fmla="*/ 22997 h 277326"/>
                                                <a:gd name="connsiteX36" fmla="*/ 40895 w 438082"/>
                                                <a:gd name="connsiteY36" fmla="*/ 25459 h 277326"/>
                                                <a:gd name="connsiteX37" fmla="*/ 37786 w 438082"/>
                                                <a:gd name="connsiteY37" fmla="*/ 29735 h 277326"/>
                                                <a:gd name="connsiteX38" fmla="*/ 36749 w 438082"/>
                                                <a:gd name="connsiteY38" fmla="*/ 31160 h 277326"/>
                                                <a:gd name="connsiteX39" fmla="*/ 34935 w 438082"/>
                                                <a:gd name="connsiteY39" fmla="*/ 34464 h 277326"/>
                                                <a:gd name="connsiteX40" fmla="*/ 33251 w 438082"/>
                                                <a:gd name="connsiteY40" fmla="*/ 37768 h 277326"/>
                                                <a:gd name="connsiteX41" fmla="*/ 31955 w 438082"/>
                                                <a:gd name="connsiteY41" fmla="*/ 41655 h 277326"/>
                                                <a:gd name="connsiteX42" fmla="*/ 46337 w 438082"/>
                                                <a:gd name="connsiteY42" fmla="*/ 58824 h 277326"/>
                                                <a:gd name="connsiteX43" fmla="*/ 36555 w 438082"/>
                                                <a:gd name="connsiteY43" fmla="*/ 70031 h 277326"/>
                                                <a:gd name="connsiteX44" fmla="*/ 21265 w 438082"/>
                                                <a:gd name="connsiteY44" fmla="*/ 86228 h 277326"/>
                                                <a:gd name="connsiteX45" fmla="*/ 5976 w 438082"/>
                                                <a:gd name="connsiteY45" fmla="*/ 100481 h 277326"/>
                                                <a:gd name="connsiteX46" fmla="*/ 5976 w 438082"/>
                                                <a:gd name="connsiteY46" fmla="*/ 118945 h 277326"/>
                                                <a:gd name="connsiteX47" fmla="*/ 5846 w 438082"/>
                                                <a:gd name="connsiteY47" fmla="*/ 120564 h 277326"/>
                                                <a:gd name="connsiteX48" fmla="*/ 5717 w 438082"/>
                                                <a:gd name="connsiteY48" fmla="*/ 121536 h 277326"/>
                                                <a:gd name="connsiteX49" fmla="*/ 5393 w 438082"/>
                                                <a:gd name="connsiteY49" fmla="*/ 123026 h 277326"/>
                                                <a:gd name="connsiteX50" fmla="*/ 4551 w 438082"/>
                                                <a:gd name="connsiteY50" fmla="*/ 125229 h 277326"/>
                                                <a:gd name="connsiteX51" fmla="*/ 80 w 438082"/>
                                                <a:gd name="connsiteY51" fmla="*/ 134623 h 277326"/>
                                                <a:gd name="connsiteX52" fmla="*/ 340 w 438082"/>
                                                <a:gd name="connsiteY52" fmla="*/ 135530 h 277326"/>
                                                <a:gd name="connsiteX53" fmla="*/ 728 w 438082"/>
                                                <a:gd name="connsiteY53" fmla="*/ 136372 h 277326"/>
                                                <a:gd name="connsiteX54" fmla="*/ 1571 w 438082"/>
                                                <a:gd name="connsiteY54" fmla="*/ 137733 h 277326"/>
                                                <a:gd name="connsiteX55" fmla="*/ 15759 w 438082"/>
                                                <a:gd name="connsiteY55" fmla="*/ 149394 h 277326"/>
                                                <a:gd name="connsiteX56" fmla="*/ 21849 w 438082"/>
                                                <a:gd name="connsiteY56" fmla="*/ 151532 h 277326"/>
                                                <a:gd name="connsiteX57" fmla="*/ 34028 w 438082"/>
                                                <a:gd name="connsiteY57" fmla="*/ 154059 h 277326"/>
                                                <a:gd name="connsiteX58" fmla="*/ 53270 w 438082"/>
                                                <a:gd name="connsiteY58" fmla="*/ 163129 h 277326"/>
                                                <a:gd name="connsiteX59" fmla="*/ 73483 w 438082"/>
                                                <a:gd name="connsiteY59" fmla="*/ 159565 h 277326"/>
                                                <a:gd name="connsiteX60" fmla="*/ 98036 w 438082"/>
                                                <a:gd name="connsiteY60" fmla="*/ 148357 h 277326"/>
                                                <a:gd name="connsiteX61" fmla="*/ 105940 w 438082"/>
                                                <a:gd name="connsiteY61" fmla="*/ 143175 h 277326"/>
                                                <a:gd name="connsiteX62" fmla="*/ 106912 w 438082"/>
                                                <a:gd name="connsiteY62" fmla="*/ 142591 h 277326"/>
                                                <a:gd name="connsiteX63" fmla="*/ 154076 w 438082"/>
                                                <a:gd name="connsiteY63" fmla="*/ 148228 h 277326"/>
                                                <a:gd name="connsiteX64" fmla="*/ 174484 w 438082"/>
                                                <a:gd name="connsiteY64" fmla="*/ 169866 h 277326"/>
                                                <a:gd name="connsiteX65" fmla="*/ 183424 w 438082"/>
                                                <a:gd name="connsiteY65" fmla="*/ 176150 h 277326"/>
                                                <a:gd name="connsiteX66" fmla="*/ 187376 w 438082"/>
                                                <a:gd name="connsiteY66" fmla="*/ 186581 h 277326"/>
                                                <a:gd name="connsiteX67" fmla="*/ 191393 w 438082"/>
                                                <a:gd name="connsiteY67" fmla="*/ 192217 h 277326"/>
                                                <a:gd name="connsiteX68" fmla="*/ 188542 w 438082"/>
                                                <a:gd name="connsiteY68" fmla="*/ 200380 h 277326"/>
                                                <a:gd name="connsiteX69" fmla="*/ 187246 w 438082"/>
                                                <a:gd name="connsiteY69" fmla="*/ 207377 h 277326"/>
                                                <a:gd name="connsiteX70" fmla="*/ 173577 w 438082"/>
                                                <a:gd name="connsiteY70" fmla="*/ 215994 h 277326"/>
                                                <a:gd name="connsiteX71" fmla="*/ 170596 w 438082"/>
                                                <a:gd name="connsiteY71" fmla="*/ 219686 h 277326"/>
                                                <a:gd name="connsiteX72" fmla="*/ 164118 w 438082"/>
                                                <a:gd name="connsiteY72" fmla="*/ 223314 h 277326"/>
                                                <a:gd name="connsiteX73" fmla="*/ 154011 w 438082"/>
                                                <a:gd name="connsiteY73" fmla="*/ 232190 h 277326"/>
                                                <a:gd name="connsiteX74" fmla="*/ 153364 w 438082"/>
                                                <a:gd name="connsiteY74" fmla="*/ 233356 h 277326"/>
                                                <a:gd name="connsiteX75" fmla="*/ 152910 w 438082"/>
                                                <a:gd name="connsiteY75" fmla="*/ 234263 h 277326"/>
                                                <a:gd name="connsiteX76" fmla="*/ 152392 w 438082"/>
                                                <a:gd name="connsiteY76" fmla="*/ 235883 h 277326"/>
                                                <a:gd name="connsiteX77" fmla="*/ 152133 w 438082"/>
                                                <a:gd name="connsiteY77" fmla="*/ 237179 h 277326"/>
                                                <a:gd name="connsiteX78" fmla="*/ 153623 w 438082"/>
                                                <a:gd name="connsiteY78" fmla="*/ 241584 h 277326"/>
                                                <a:gd name="connsiteX79" fmla="*/ 157186 w 438082"/>
                                                <a:gd name="connsiteY79" fmla="*/ 243074 h 277326"/>
                                                <a:gd name="connsiteX80" fmla="*/ 167875 w 438082"/>
                                                <a:gd name="connsiteY80" fmla="*/ 245601 h 277326"/>
                                                <a:gd name="connsiteX81" fmla="*/ 168329 w 438082"/>
                                                <a:gd name="connsiteY81" fmla="*/ 242297 h 277326"/>
                                                <a:gd name="connsiteX82" fmla="*/ 182128 w 438082"/>
                                                <a:gd name="connsiteY82" fmla="*/ 233551 h 277326"/>
                                                <a:gd name="connsiteX83" fmla="*/ 202730 w 438082"/>
                                                <a:gd name="connsiteY83" fmla="*/ 212625 h 277326"/>
                                                <a:gd name="connsiteX84" fmla="*/ 216206 w 438082"/>
                                                <a:gd name="connsiteY84" fmla="*/ 197206 h 277326"/>
                                                <a:gd name="connsiteX85" fmla="*/ 236743 w 438082"/>
                                                <a:gd name="connsiteY85" fmla="*/ 198372 h 277326"/>
                                                <a:gd name="connsiteX86" fmla="*/ 243156 w 438082"/>
                                                <a:gd name="connsiteY86" fmla="*/ 202842 h 277326"/>
                                                <a:gd name="connsiteX87" fmla="*/ 243869 w 438082"/>
                                                <a:gd name="connsiteY87" fmla="*/ 210033 h 277326"/>
                                                <a:gd name="connsiteX88" fmla="*/ 250931 w 438082"/>
                                                <a:gd name="connsiteY88" fmla="*/ 215022 h 277326"/>
                                                <a:gd name="connsiteX89" fmla="*/ 281121 w 438082"/>
                                                <a:gd name="connsiteY89" fmla="*/ 215281 h 277326"/>
                                                <a:gd name="connsiteX90" fmla="*/ 286887 w 438082"/>
                                                <a:gd name="connsiteY90" fmla="*/ 227849 h 277326"/>
                                                <a:gd name="connsiteX91" fmla="*/ 258057 w 438082"/>
                                                <a:gd name="connsiteY91" fmla="*/ 237438 h 277326"/>
                                                <a:gd name="connsiteX92" fmla="*/ 254494 w 438082"/>
                                                <a:gd name="connsiteY92" fmla="*/ 242102 h 277326"/>
                                                <a:gd name="connsiteX93" fmla="*/ 259936 w 438082"/>
                                                <a:gd name="connsiteY93" fmla="*/ 250330 h 277326"/>
                                                <a:gd name="connsiteX94" fmla="*/ 270755 w 438082"/>
                                                <a:gd name="connsiteY94" fmla="*/ 250136 h 277326"/>
                                                <a:gd name="connsiteX95" fmla="*/ 273087 w 438082"/>
                                                <a:gd name="connsiteY95" fmla="*/ 276309 h 277326"/>
                                                <a:gd name="connsiteX96" fmla="*/ 309627 w 438082"/>
                                                <a:gd name="connsiteY96" fmla="*/ 263158 h 277326"/>
                                                <a:gd name="connsiteX97" fmla="*/ 319798 w 438082"/>
                                                <a:gd name="connsiteY97" fmla="*/ 257262 h 277326"/>
                                                <a:gd name="connsiteX98" fmla="*/ 331848 w 438082"/>
                                                <a:gd name="connsiteY98" fmla="*/ 260048 h 277326"/>
                                                <a:gd name="connsiteX99" fmla="*/ 346490 w 438082"/>
                                                <a:gd name="connsiteY99" fmla="*/ 256938 h 277326"/>
                                                <a:gd name="connsiteX100" fmla="*/ 346749 w 438082"/>
                                                <a:gd name="connsiteY100" fmla="*/ 243074 h 277326"/>
                                                <a:gd name="connsiteX101" fmla="*/ 329192 w 438082"/>
                                                <a:gd name="connsiteY101" fmla="*/ 244175 h 277326"/>
                                                <a:gd name="connsiteX102" fmla="*/ 318502 w 438082"/>
                                                <a:gd name="connsiteY102" fmla="*/ 231802 h 277326"/>
                                                <a:gd name="connsiteX103" fmla="*/ 303342 w 438082"/>
                                                <a:gd name="connsiteY103" fmla="*/ 224481 h 277326"/>
                                                <a:gd name="connsiteX104" fmla="*/ 329645 w 438082"/>
                                                <a:gd name="connsiteY104" fmla="*/ 202583 h 277326"/>
                                                <a:gd name="connsiteX105" fmla="*/ 338327 w 438082"/>
                                                <a:gd name="connsiteY105" fmla="*/ 203296 h 277326"/>
                                                <a:gd name="connsiteX106" fmla="*/ 390026 w 438082"/>
                                                <a:gd name="connsiteY106" fmla="*/ 178288 h 277326"/>
                                                <a:gd name="connsiteX107" fmla="*/ 397606 w 438082"/>
                                                <a:gd name="connsiteY107" fmla="*/ 170255 h 277326"/>
                                                <a:gd name="connsiteX108" fmla="*/ 402983 w 438082"/>
                                                <a:gd name="connsiteY108" fmla="*/ 167988 h 277326"/>
                                                <a:gd name="connsiteX109" fmla="*/ 404862 w 438082"/>
                                                <a:gd name="connsiteY109" fmla="*/ 162999 h 277326"/>
                                                <a:gd name="connsiteX110" fmla="*/ 417106 w 438082"/>
                                                <a:gd name="connsiteY110" fmla="*/ 159695 h 277326"/>
                                                <a:gd name="connsiteX111" fmla="*/ 429999 w 438082"/>
                                                <a:gd name="connsiteY111" fmla="*/ 155354 h 277326"/>
                                                <a:gd name="connsiteX112" fmla="*/ 432525 w 438082"/>
                                                <a:gd name="connsiteY112" fmla="*/ 142656 h 277326"/>
                                                <a:gd name="connsiteX113" fmla="*/ 428897 w 438082"/>
                                                <a:gd name="connsiteY113" fmla="*/ 137279 h 277326"/>
                                                <a:gd name="connsiteX114" fmla="*/ 435246 w 438082"/>
                                                <a:gd name="connsiteY114" fmla="*/ 119981 h 277326"/>
                                                <a:gd name="connsiteX115" fmla="*/ 432978 w 438082"/>
                                                <a:gd name="connsiteY115" fmla="*/ 99962 h 27732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  <a:cxn ang="0">
                                                  <a:pos x="connsiteX104" y="connsiteY104"/>
                                                </a:cxn>
                                                <a:cxn ang="0">
                                                  <a:pos x="connsiteX105" y="connsiteY105"/>
                                                </a:cxn>
                                                <a:cxn ang="0">
                                                  <a:pos x="connsiteX106" y="connsiteY106"/>
                                                </a:cxn>
                                                <a:cxn ang="0">
                                                  <a:pos x="connsiteX107" y="connsiteY107"/>
                                                </a:cxn>
                                                <a:cxn ang="0">
                                                  <a:pos x="connsiteX108" y="connsiteY108"/>
                                                </a:cxn>
                                                <a:cxn ang="0">
                                                  <a:pos x="connsiteX109" y="connsiteY109"/>
                                                </a:cxn>
                                                <a:cxn ang="0">
                                                  <a:pos x="connsiteX110" y="connsiteY110"/>
                                                </a:cxn>
                                                <a:cxn ang="0">
                                                  <a:pos x="connsiteX111" y="connsiteY111"/>
                                                </a:cxn>
                                                <a:cxn ang="0">
                                                  <a:pos x="connsiteX112" y="connsiteY112"/>
                                                </a:cxn>
                                                <a:cxn ang="0">
                                                  <a:pos x="connsiteX113" y="connsiteY113"/>
                                                </a:cxn>
                                                <a:cxn ang="0">
                                                  <a:pos x="connsiteX114" y="connsiteY114"/>
                                                </a:cxn>
                                                <a:cxn ang="0">
                                                  <a:pos x="connsiteX115" y="connsiteY1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38082" h="277326">
                                                  <a:moveTo>
                                                    <a:pt x="432978" y="99962"/>
                                                  </a:moveTo>
                                                  <a:cubicBezTo>
                                                    <a:pt x="425204" y="95492"/>
                                                    <a:pt x="412960" y="102619"/>
                                                    <a:pt x="407259" y="95687"/>
                                                  </a:cubicBezTo>
                                                  <a:cubicBezTo>
                                                    <a:pt x="405963" y="94067"/>
                                                    <a:pt x="405315" y="91994"/>
                                                    <a:pt x="404084" y="90309"/>
                                                  </a:cubicBezTo>
                                                  <a:cubicBezTo>
                                                    <a:pt x="401493" y="87005"/>
                                                    <a:pt x="396828" y="86163"/>
                                                    <a:pt x="392552" y="86034"/>
                                                  </a:cubicBezTo>
                                                  <a:cubicBezTo>
                                                    <a:pt x="388341" y="85904"/>
                                                    <a:pt x="383871" y="86163"/>
                                                    <a:pt x="380114" y="84220"/>
                                                  </a:cubicBezTo>
                                                  <a:cubicBezTo>
                                                    <a:pt x="376356" y="82276"/>
                                                    <a:pt x="373959" y="76964"/>
                                                    <a:pt x="376680" y="73724"/>
                                                  </a:cubicBezTo>
                                                  <a:cubicBezTo>
                                                    <a:pt x="368258" y="72299"/>
                                                    <a:pt x="359836" y="74955"/>
                                                    <a:pt x="351349" y="75862"/>
                                                  </a:cubicBezTo>
                                                  <a:cubicBezTo>
                                                    <a:pt x="342862" y="76704"/>
                                                    <a:pt x="332949" y="74955"/>
                                                    <a:pt x="328674" y="67570"/>
                                                  </a:cubicBezTo>
                                                  <a:cubicBezTo>
                                                    <a:pt x="327378" y="65432"/>
                                                    <a:pt x="326730" y="63035"/>
                                                    <a:pt x="325758" y="60832"/>
                                                  </a:cubicBezTo>
                                                  <a:cubicBezTo>
                                                    <a:pt x="320187" y="48328"/>
                                                    <a:pt x="305610" y="43081"/>
                                                    <a:pt x="292588" y="39129"/>
                                                  </a:cubicBezTo>
                                                  <a:cubicBezTo>
                                                    <a:pt x="292847" y="26042"/>
                                                    <a:pt x="291875" y="10558"/>
                                                    <a:pt x="280862" y="3497"/>
                                                  </a:cubicBezTo>
                                                  <a:cubicBezTo>
                                                    <a:pt x="272375" y="-1945"/>
                                                    <a:pt x="261296" y="63"/>
                                                    <a:pt x="251514" y="2201"/>
                                                  </a:cubicBezTo>
                                                  <a:cubicBezTo>
                                                    <a:pt x="249635" y="2654"/>
                                                    <a:pt x="247756" y="3043"/>
                                                    <a:pt x="245812" y="3497"/>
                                                  </a:cubicBezTo>
                                                  <a:cubicBezTo>
                                                    <a:pt x="241990" y="4404"/>
                                                    <a:pt x="238168" y="5440"/>
                                                    <a:pt x="234411" y="6541"/>
                                                  </a:cubicBezTo>
                                                  <a:cubicBezTo>
                                                    <a:pt x="232467" y="7125"/>
                                                    <a:pt x="230588" y="7772"/>
                                                    <a:pt x="228774" y="8420"/>
                                                  </a:cubicBezTo>
                                                  <a:cubicBezTo>
                                                    <a:pt x="227154" y="9003"/>
                                                    <a:pt x="225599" y="9586"/>
                                                    <a:pt x="223980" y="10234"/>
                                                  </a:cubicBezTo>
                                                  <a:cubicBezTo>
                                                    <a:pt x="222425" y="10882"/>
                                                    <a:pt x="220935" y="11530"/>
                                                    <a:pt x="219445" y="12307"/>
                                                  </a:cubicBezTo>
                                                  <a:cubicBezTo>
                                                    <a:pt x="217112" y="13409"/>
                                                    <a:pt x="214845" y="14640"/>
                                                    <a:pt x="212772" y="16065"/>
                                                  </a:cubicBezTo>
                                                  <a:cubicBezTo>
                                                    <a:pt x="212059" y="16454"/>
                                                    <a:pt x="211411" y="16907"/>
                                                    <a:pt x="210699" y="17425"/>
                                                  </a:cubicBezTo>
                                                  <a:cubicBezTo>
                                                    <a:pt x="210505" y="17555"/>
                                                    <a:pt x="210245" y="17749"/>
                                                    <a:pt x="210051" y="17879"/>
                                                  </a:cubicBezTo>
                                                  <a:cubicBezTo>
                                                    <a:pt x="209079" y="18592"/>
                                                    <a:pt x="208172" y="19304"/>
                                                    <a:pt x="207330" y="20017"/>
                                                  </a:cubicBezTo>
                                                  <a:cubicBezTo>
                                                    <a:pt x="206877" y="20406"/>
                                                    <a:pt x="206488" y="20730"/>
                                                    <a:pt x="206099" y="21183"/>
                                                  </a:cubicBezTo>
                                                  <a:cubicBezTo>
                                                    <a:pt x="205646" y="21572"/>
                                                    <a:pt x="205127" y="22025"/>
                                                    <a:pt x="204674" y="22544"/>
                                                  </a:cubicBezTo>
                                                  <a:cubicBezTo>
                                                    <a:pt x="204350" y="22803"/>
                                                    <a:pt x="204090" y="23127"/>
                                                    <a:pt x="203767" y="23451"/>
                                                  </a:cubicBezTo>
                                                  <a:cubicBezTo>
                                                    <a:pt x="203572" y="23645"/>
                                                    <a:pt x="203313" y="23904"/>
                                                    <a:pt x="203119" y="24163"/>
                                                  </a:cubicBezTo>
                                                  <a:cubicBezTo>
                                                    <a:pt x="202342" y="25005"/>
                                                    <a:pt x="201629" y="25912"/>
                                                    <a:pt x="200916" y="26819"/>
                                                  </a:cubicBezTo>
                                                  <a:cubicBezTo>
                                                    <a:pt x="200657" y="27143"/>
                                                    <a:pt x="200462" y="27532"/>
                                                    <a:pt x="200203" y="27921"/>
                                                  </a:cubicBezTo>
                                                  <a:cubicBezTo>
                                                    <a:pt x="199944" y="28115"/>
                                                    <a:pt x="199815" y="28374"/>
                                                    <a:pt x="199750" y="28633"/>
                                                  </a:cubicBezTo>
                                                  <a:cubicBezTo>
                                                    <a:pt x="199037" y="29540"/>
                                                    <a:pt x="198454" y="30447"/>
                                                    <a:pt x="197936" y="31419"/>
                                                  </a:cubicBezTo>
                                                  <a:cubicBezTo>
                                                    <a:pt x="196834" y="33428"/>
                                                    <a:pt x="195863" y="35630"/>
                                                    <a:pt x="194049" y="36991"/>
                                                  </a:cubicBezTo>
                                                  <a:cubicBezTo>
                                                    <a:pt x="191328" y="39064"/>
                                                    <a:pt x="187570" y="38740"/>
                                                    <a:pt x="184137" y="38287"/>
                                                  </a:cubicBezTo>
                                                  <a:cubicBezTo>
                                                    <a:pt x="161332" y="35242"/>
                                                    <a:pt x="138787" y="30642"/>
                                                    <a:pt x="116241" y="26042"/>
                                                  </a:cubicBezTo>
                                                  <a:cubicBezTo>
                                                    <a:pt x="104386" y="23645"/>
                                                    <a:pt x="92465" y="21183"/>
                                                    <a:pt x="80609" y="18786"/>
                                                  </a:cubicBezTo>
                                                  <a:cubicBezTo>
                                                    <a:pt x="69012" y="16454"/>
                                                    <a:pt x="56120" y="14316"/>
                                                    <a:pt x="46208" y="20794"/>
                                                  </a:cubicBezTo>
                                                  <a:cubicBezTo>
                                                    <a:pt x="45236" y="21442"/>
                                                    <a:pt x="44329" y="22090"/>
                                                    <a:pt x="43487" y="22867"/>
                                                  </a:cubicBezTo>
                                                  <a:cubicBezTo>
                                                    <a:pt x="43422" y="22867"/>
                                                    <a:pt x="43422" y="22932"/>
                                                    <a:pt x="43357" y="22997"/>
                                                  </a:cubicBezTo>
                                                  <a:cubicBezTo>
                                                    <a:pt x="42515" y="23774"/>
                                                    <a:pt x="41673" y="24552"/>
                                                    <a:pt x="40895" y="25459"/>
                                                  </a:cubicBezTo>
                                                  <a:cubicBezTo>
                                                    <a:pt x="39794" y="26755"/>
                                                    <a:pt x="38758" y="28245"/>
                                                    <a:pt x="37786" y="29735"/>
                                                  </a:cubicBezTo>
                                                  <a:cubicBezTo>
                                                    <a:pt x="37462" y="30253"/>
                                                    <a:pt x="37073" y="30642"/>
                                                    <a:pt x="36749" y="31160"/>
                                                  </a:cubicBezTo>
                                                  <a:cubicBezTo>
                                                    <a:pt x="36101" y="32197"/>
                                                    <a:pt x="35453" y="33363"/>
                                                    <a:pt x="34935" y="34464"/>
                                                  </a:cubicBezTo>
                                                  <a:cubicBezTo>
                                                    <a:pt x="34352" y="35566"/>
                                                    <a:pt x="33769" y="36667"/>
                                                    <a:pt x="33251" y="37768"/>
                                                  </a:cubicBezTo>
                                                  <a:cubicBezTo>
                                                    <a:pt x="32668" y="38999"/>
                                                    <a:pt x="32084" y="40295"/>
                                                    <a:pt x="31955" y="41655"/>
                                                  </a:cubicBezTo>
                                                  <a:cubicBezTo>
                                                    <a:pt x="31437" y="49430"/>
                                                    <a:pt x="45236" y="51114"/>
                                                    <a:pt x="46337" y="58824"/>
                                                  </a:cubicBezTo>
                                                  <a:cubicBezTo>
                                                    <a:pt x="47050" y="64136"/>
                                                    <a:pt x="41349" y="67764"/>
                                                    <a:pt x="36555" y="70031"/>
                                                  </a:cubicBezTo>
                                                  <a:cubicBezTo>
                                                    <a:pt x="29040" y="73465"/>
                                                    <a:pt x="26902" y="80203"/>
                                                    <a:pt x="21265" y="86228"/>
                                                  </a:cubicBezTo>
                                                  <a:cubicBezTo>
                                                    <a:pt x="16471" y="91411"/>
                                                    <a:pt x="8697" y="94002"/>
                                                    <a:pt x="5976" y="100481"/>
                                                  </a:cubicBezTo>
                                                  <a:cubicBezTo>
                                                    <a:pt x="3643" y="106182"/>
                                                    <a:pt x="5976" y="112855"/>
                                                    <a:pt x="5976" y="118945"/>
                                                  </a:cubicBezTo>
                                                  <a:cubicBezTo>
                                                    <a:pt x="5976" y="119528"/>
                                                    <a:pt x="5976" y="120046"/>
                                                    <a:pt x="5846" y="120564"/>
                                                  </a:cubicBezTo>
                                                  <a:cubicBezTo>
                                                    <a:pt x="5846" y="120888"/>
                                                    <a:pt x="5846" y="121212"/>
                                                    <a:pt x="5717" y="121536"/>
                                                  </a:cubicBezTo>
                                                  <a:cubicBezTo>
                                                    <a:pt x="5717" y="122054"/>
                                                    <a:pt x="5522" y="122508"/>
                                                    <a:pt x="5393" y="123026"/>
                                                  </a:cubicBezTo>
                                                  <a:cubicBezTo>
                                                    <a:pt x="5199" y="123739"/>
                                                    <a:pt x="4939" y="124516"/>
                                                    <a:pt x="4551" y="125229"/>
                                                  </a:cubicBezTo>
                                                  <a:cubicBezTo>
                                                    <a:pt x="2866" y="128339"/>
                                                    <a:pt x="-567" y="131124"/>
                                                    <a:pt x="80" y="134623"/>
                                                  </a:cubicBezTo>
                                                  <a:cubicBezTo>
                                                    <a:pt x="80" y="134947"/>
                                                    <a:pt x="210" y="135271"/>
                                                    <a:pt x="340" y="135530"/>
                                                  </a:cubicBezTo>
                                                  <a:cubicBezTo>
                                                    <a:pt x="469" y="135854"/>
                                                    <a:pt x="599" y="136113"/>
                                                    <a:pt x="728" y="136372"/>
                                                  </a:cubicBezTo>
                                                  <a:cubicBezTo>
                                                    <a:pt x="987" y="136826"/>
                                                    <a:pt x="1246" y="137279"/>
                                                    <a:pt x="1571" y="137733"/>
                                                  </a:cubicBezTo>
                                                  <a:cubicBezTo>
                                                    <a:pt x="5199" y="142786"/>
                                                    <a:pt x="10122" y="146803"/>
                                                    <a:pt x="15759" y="149394"/>
                                                  </a:cubicBezTo>
                                                  <a:cubicBezTo>
                                                    <a:pt x="17767" y="150301"/>
                                                    <a:pt x="19775" y="151014"/>
                                                    <a:pt x="21849" y="151532"/>
                                                  </a:cubicBezTo>
                                                  <a:cubicBezTo>
                                                    <a:pt x="25930" y="152504"/>
                                                    <a:pt x="30141" y="152763"/>
                                                    <a:pt x="34028" y="154059"/>
                                                  </a:cubicBezTo>
                                                  <a:cubicBezTo>
                                                    <a:pt x="40766" y="156391"/>
                                                    <a:pt x="46337" y="161638"/>
                                                    <a:pt x="53270" y="163129"/>
                                                  </a:cubicBezTo>
                                                  <a:cubicBezTo>
                                                    <a:pt x="60072" y="164554"/>
                                                    <a:pt x="67004" y="162027"/>
                                                    <a:pt x="73483" y="159565"/>
                                                  </a:cubicBezTo>
                                                  <a:cubicBezTo>
                                                    <a:pt x="81905" y="156391"/>
                                                    <a:pt x="90392" y="153216"/>
                                                    <a:pt x="98036" y="148357"/>
                                                  </a:cubicBezTo>
                                                  <a:cubicBezTo>
                                                    <a:pt x="100693" y="146673"/>
                                                    <a:pt x="103219" y="144794"/>
                                                    <a:pt x="105940" y="143175"/>
                                                  </a:cubicBezTo>
                                                  <a:cubicBezTo>
                                                    <a:pt x="106264" y="142980"/>
                                                    <a:pt x="106588" y="142786"/>
                                                    <a:pt x="106912" y="142591"/>
                                                  </a:cubicBezTo>
                                                  <a:cubicBezTo>
                                                    <a:pt x="121618" y="134234"/>
                                                    <a:pt x="141702" y="136631"/>
                                                    <a:pt x="154076" y="148228"/>
                                                  </a:cubicBezTo>
                                                  <a:cubicBezTo>
                                                    <a:pt x="161332" y="155030"/>
                                                    <a:pt x="166061" y="164619"/>
                                                    <a:pt x="174484" y="169866"/>
                                                  </a:cubicBezTo>
                                                  <a:cubicBezTo>
                                                    <a:pt x="177593" y="171810"/>
                                                    <a:pt x="181221" y="173170"/>
                                                    <a:pt x="183424" y="176150"/>
                                                  </a:cubicBezTo>
                                                  <a:cubicBezTo>
                                                    <a:pt x="185627" y="179131"/>
                                                    <a:pt x="185821" y="183147"/>
                                                    <a:pt x="187376" y="186581"/>
                                                  </a:cubicBezTo>
                                                  <a:cubicBezTo>
                                                    <a:pt x="188348" y="188719"/>
                                                    <a:pt x="189838" y="190468"/>
                                                    <a:pt x="191393" y="192217"/>
                                                  </a:cubicBezTo>
                                                  <a:cubicBezTo>
                                                    <a:pt x="190032" y="194809"/>
                                                    <a:pt x="188931" y="197465"/>
                                                    <a:pt x="188542" y="200380"/>
                                                  </a:cubicBezTo>
                                                  <a:cubicBezTo>
                                                    <a:pt x="188218" y="202777"/>
                                                    <a:pt x="188348" y="205304"/>
                                                    <a:pt x="187246" y="207377"/>
                                                  </a:cubicBezTo>
                                                  <a:cubicBezTo>
                                                    <a:pt x="184655" y="212236"/>
                                                    <a:pt x="177399" y="212042"/>
                                                    <a:pt x="173577" y="215994"/>
                                                  </a:cubicBezTo>
                                                  <a:cubicBezTo>
                                                    <a:pt x="172475" y="217095"/>
                                                    <a:pt x="171698" y="218520"/>
                                                    <a:pt x="170596" y="219686"/>
                                                  </a:cubicBezTo>
                                                  <a:cubicBezTo>
                                                    <a:pt x="168783" y="221436"/>
                                                    <a:pt x="166386" y="222213"/>
                                                    <a:pt x="164118" y="223314"/>
                                                  </a:cubicBezTo>
                                                  <a:cubicBezTo>
                                                    <a:pt x="160036" y="225258"/>
                                                    <a:pt x="156473" y="228433"/>
                                                    <a:pt x="154011" y="232190"/>
                                                  </a:cubicBezTo>
                                                  <a:cubicBezTo>
                                                    <a:pt x="153752" y="232579"/>
                                                    <a:pt x="153558" y="232968"/>
                                                    <a:pt x="153364" y="233356"/>
                                                  </a:cubicBezTo>
                                                  <a:cubicBezTo>
                                                    <a:pt x="153234" y="233615"/>
                                                    <a:pt x="153040" y="233939"/>
                                                    <a:pt x="152910" y="234263"/>
                                                  </a:cubicBezTo>
                                                  <a:cubicBezTo>
                                                    <a:pt x="152715" y="234782"/>
                                                    <a:pt x="152521" y="235365"/>
                                                    <a:pt x="152392" y="235883"/>
                                                  </a:cubicBezTo>
                                                  <a:cubicBezTo>
                                                    <a:pt x="152262" y="236272"/>
                                                    <a:pt x="152197" y="236725"/>
                                                    <a:pt x="152133" y="237179"/>
                                                  </a:cubicBezTo>
                                                  <a:cubicBezTo>
                                                    <a:pt x="152003" y="238863"/>
                                                    <a:pt x="152327" y="240483"/>
                                                    <a:pt x="153623" y="241584"/>
                                                  </a:cubicBezTo>
                                                  <a:cubicBezTo>
                                                    <a:pt x="154594" y="242426"/>
                                                    <a:pt x="155890" y="242750"/>
                                                    <a:pt x="157186" y="243074"/>
                                                  </a:cubicBezTo>
                                                  <a:cubicBezTo>
                                                    <a:pt x="160684" y="243981"/>
                                                    <a:pt x="164312" y="244823"/>
                                                    <a:pt x="167875" y="245601"/>
                                                  </a:cubicBezTo>
                                                  <a:cubicBezTo>
                                                    <a:pt x="167487" y="244435"/>
                                                    <a:pt x="167487" y="243269"/>
                                                    <a:pt x="168329" y="242297"/>
                                                  </a:cubicBezTo>
                                                  <a:cubicBezTo>
                                                    <a:pt x="174224" y="244564"/>
                                                    <a:pt x="181675" y="239900"/>
                                                    <a:pt x="182128" y="233551"/>
                                                  </a:cubicBezTo>
                                                  <a:cubicBezTo>
                                                    <a:pt x="189320" y="226943"/>
                                                    <a:pt x="196122" y="219881"/>
                                                    <a:pt x="202730" y="212625"/>
                                                  </a:cubicBezTo>
                                                  <a:cubicBezTo>
                                                    <a:pt x="207330" y="207636"/>
                                                    <a:pt x="211865" y="202518"/>
                                                    <a:pt x="216206" y="197206"/>
                                                  </a:cubicBezTo>
                                                  <a:cubicBezTo>
                                                    <a:pt x="223008" y="196169"/>
                                                    <a:pt x="230070" y="196623"/>
                                                    <a:pt x="236743" y="198372"/>
                                                  </a:cubicBezTo>
                                                  <a:cubicBezTo>
                                                    <a:pt x="239334" y="199085"/>
                                                    <a:pt x="242184" y="200316"/>
                                                    <a:pt x="243156" y="202842"/>
                                                  </a:cubicBezTo>
                                                  <a:cubicBezTo>
                                                    <a:pt x="243999" y="205110"/>
                                                    <a:pt x="243092" y="207766"/>
                                                    <a:pt x="243869" y="210033"/>
                                                  </a:cubicBezTo>
                                                  <a:cubicBezTo>
                                                    <a:pt x="244841" y="212884"/>
                                                    <a:pt x="248015" y="214244"/>
                                                    <a:pt x="250931" y="215022"/>
                                                  </a:cubicBezTo>
                                                  <a:cubicBezTo>
                                                    <a:pt x="260778" y="217613"/>
                                                    <a:pt x="271274" y="217743"/>
                                                    <a:pt x="281121" y="215281"/>
                                                  </a:cubicBezTo>
                                                  <a:cubicBezTo>
                                                    <a:pt x="283064" y="219492"/>
                                                    <a:pt x="284943" y="223703"/>
                                                    <a:pt x="286887" y="227849"/>
                                                  </a:cubicBezTo>
                                                  <a:cubicBezTo>
                                                    <a:pt x="276521" y="227266"/>
                                                    <a:pt x="266026" y="230765"/>
                                                    <a:pt x="258057" y="237438"/>
                                                  </a:cubicBezTo>
                                                  <a:cubicBezTo>
                                                    <a:pt x="256502" y="238669"/>
                                                    <a:pt x="255012" y="240159"/>
                                                    <a:pt x="254494" y="242102"/>
                                                  </a:cubicBezTo>
                                                  <a:cubicBezTo>
                                                    <a:pt x="253587" y="245601"/>
                                                    <a:pt x="256502" y="249164"/>
                                                    <a:pt x="259936" y="250330"/>
                                                  </a:cubicBezTo>
                                                  <a:cubicBezTo>
                                                    <a:pt x="263434" y="251432"/>
                                                    <a:pt x="267192" y="250784"/>
                                                    <a:pt x="270755" y="250136"/>
                                                  </a:cubicBezTo>
                                                  <a:cubicBezTo>
                                                    <a:pt x="276262" y="257521"/>
                                                    <a:pt x="277234" y="268081"/>
                                                    <a:pt x="273087" y="276309"/>
                                                  </a:cubicBezTo>
                                                  <a:cubicBezTo>
                                                    <a:pt x="286045" y="280261"/>
                                                    <a:pt x="299390" y="272033"/>
                                                    <a:pt x="309627" y="263158"/>
                                                  </a:cubicBezTo>
                                                  <a:cubicBezTo>
                                                    <a:pt x="312607" y="260566"/>
                                                    <a:pt x="315846" y="257716"/>
                                                    <a:pt x="319798" y="257262"/>
                                                  </a:cubicBezTo>
                                                  <a:cubicBezTo>
                                                    <a:pt x="323944" y="256744"/>
                                                    <a:pt x="327831" y="259011"/>
                                                    <a:pt x="331848" y="260048"/>
                                                  </a:cubicBezTo>
                                                  <a:cubicBezTo>
                                                    <a:pt x="336901" y="261344"/>
                                                    <a:pt x="342797" y="260631"/>
                                                    <a:pt x="346490" y="256938"/>
                                                  </a:cubicBezTo>
                                                  <a:cubicBezTo>
                                                    <a:pt x="350183" y="253310"/>
                                                    <a:pt x="350701" y="246443"/>
                                                    <a:pt x="346749" y="243074"/>
                                                  </a:cubicBezTo>
                                                  <a:cubicBezTo>
                                                    <a:pt x="340918" y="244370"/>
                                                    <a:pt x="334958" y="245601"/>
                                                    <a:pt x="329192" y="244175"/>
                                                  </a:cubicBezTo>
                                                  <a:cubicBezTo>
                                                    <a:pt x="323426" y="242750"/>
                                                    <a:pt x="318178" y="237762"/>
                                                    <a:pt x="318502" y="231802"/>
                                                  </a:cubicBezTo>
                                                  <a:cubicBezTo>
                                                    <a:pt x="312801" y="231283"/>
                                                    <a:pt x="307294" y="228627"/>
                                                    <a:pt x="303342" y="224481"/>
                                                  </a:cubicBezTo>
                                                  <a:cubicBezTo>
                                                    <a:pt x="309497" y="214309"/>
                                                    <a:pt x="317725" y="202842"/>
                                                    <a:pt x="329645" y="202583"/>
                                                  </a:cubicBezTo>
                                                  <a:cubicBezTo>
                                                    <a:pt x="332561" y="202518"/>
                                                    <a:pt x="335411" y="203166"/>
                                                    <a:pt x="338327" y="203296"/>
                                                  </a:cubicBezTo>
                                                  <a:cubicBezTo>
                                                    <a:pt x="357762" y="204397"/>
                                                    <a:pt x="371950" y="184249"/>
                                                    <a:pt x="390026" y="178288"/>
                                                  </a:cubicBezTo>
                                                  <a:cubicBezTo>
                                                    <a:pt x="391386" y="174596"/>
                                                    <a:pt x="393977" y="171421"/>
                                                    <a:pt x="397606" y="170255"/>
                                                  </a:cubicBezTo>
                                                  <a:cubicBezTo>
                                                    <a:pt x="399484" y="169672"/>
                                                    <a:pt x="401687" y="169542"/>
                                                    <a:pt x="402983" y="167988"/>
                                                  </a:cubicBezTo>
                                                  <a:cubicBezTo>
                                                    <a:pt x="404149" y="166627"/>
                                                    <a:pt x="404084" y="164619"/>
                                                    <a:pt x="404862" y="162999"/>
                                                  </a:cubicBezTo>
                                                  <a:cubicBezTo>
                                                    <a:pt x="406935" y="158982"/>
                                                    <a:pt x="412636" y="159630"/>
                                                    <a:pt x="417106" y="159695"/>
                                                  </a:cubicBezTo>
                                                  <a:cubicBezTo>
                                                    <a:pt x="421771" y="159824"/>
                                                    <a:pt x="426630" y="158529"/>
                                                    <a:pt x="429999" y="155354"/>
                                                  </a:cubicBezTo>
                                                  <a:cubicBezTo>
                                                    <a:pt x="433367" y="152115"/>
                                                    <a:pt x="434793" y="146738"/>
                                                    <a:pt x="432525" y="142656"/>
                                                  </a:cubicBezTo>
                                                  <a:cubicBezTo>
                                                    <a:pt x="431489" y="140713"/>
                                                    <a:pt x="429804" y="139223"/>
                                                    <a:pt x="428897" y="137279"/>
                                                  </a:cubicBezTo>
                                                  <a:cubicBezTo>
                                                    <a:pt x="426306" y="131384"/>
                                                    <a:pt x="431877" y="125488"/>
                                                    <a:pt x="435246" y="119981"/>
                                                  </a:cubicBezTo>
                                                  <a:cubicBezTo>
                                                    <a:pt x="439198" y="113632"/>
                                                    <a:pt x="439522" y="103720"/>
                                                    <a:pt x="432978" y="9996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0" name="Freeform: Shape 203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0ADDC6E-4241-4E2E-906D-BF84000915A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35886" y="2962794"/>
                                              <a:ext cx="216355" cy="15697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9899 w 216355"/>
                                                <a:gd name="connsiteY0" fmla="*/ 36539 h 156971"/>
                                                <a:gd name="connsiteX1" fmla="*/ 25558 w 216355"/>
                                                <a:gd name="connsiteY1" fmla="*/ 44767 h 156971"/>
                                                <a:gd name="connsiteX2" fmla="*/ 16877 w 216355"/>
                                                <a:gd name="connsiteY2" fmla="*/ 51829 h 156971"/>
                                                <a:gd name="connsiteX3" fmla="*/ 10204 w 216355"/>
                                                <a:gd name="connsiteY3" fmla="*/ 66146 h 156971"/>
                                                <a:gd name="connsiteX4" fmla="*/ 2819 w 216355"/>
                                                <a:gd name="connsiteY4" fmla="*/ 72107 h 156971"/>
                                                <a:gd name="connsiteX5" fmla="*/ 1004 w 216355"/>
                                                <a:gd name="connsiteY5" fmla="*/ 85582 h 156971"/>
                                                <a:gd name="connsiteX6" fmla="*/ 9427 w 216355"/>
                                                <a:gd name="connsiteY6" fmla="*/ 96984 h 156971"/>
                                                <a:gd name="connsiteX7" fmla="*/ 14804 w 216355"/>
                                                <a:gd name="connsiteY7" fmla="*/ 105212 h 156971"/>
                                                <a:gd name="connsiteX8" fmla="*/ 14934 w 216355"/>
                                                <a:gd name="connsiteY8" fmla="*/ 113634 h 156971"/>
                                                <a:gd name="connsiteX9" fmla="*/ 17719 w 216355"/>
                                                <a:gd name="connsiteY9" fmla="*/ 116096 h 156971"/>
                                                <a:gd name="connsiteX10" fmla="*/ 42921 w 216355"/>
                                                <a:gd name="connsiteY10" fmla="*/ 132033 h 156971"/>
                                                <a:gd name="connsiteX11" fmla="*/ 48622 w 216355"/>
                                                <a:gd name="connsiteY11" fmla="*/ 147129 h 156971"/>
                                                <a:gd name="connsiteX12" fmla="*/ 58405 w 216355"/>
                                                <a:gd name="connsiteY12" fmla="*/ 151793 h 156971"/>
                                                <a:gd name="connsiteX13" fmla="*/ 65013 w 216355"/>
                                                <a:gd name="connsiteY13" fmla="*/ 155551 h 156971"/>
                                                <a:gd name="connsiteX14" fmla="*/ 76804 w 216355"/>
                                                <a:gd name="connsiteY14" fmla="*/ 156911 h 156971"/>
                                                <a:gd name="connsiteX15" fmla="*/ 105698 w 216355"/>
                                                <a:gd name="connsiteY15" fmla="*/ 156134 h 156971"/>
                                                <a:gd name="connsiteX16" fmla="*/ 128114 w 216355"/>
                                                <a:gd name="connsiteY16" fmla="*/ 150238 h 156971"/>
                                                <a:gd name="connsiteX17" fmla="*/ 134593 w 216355"/>
                                                <a:gd name="connsiteY17" fmla="*/ 144990 h 156971"/>
                                                <a:gd name="connsiteX18" fmla="*/ 139775 w 216355"/>
                                                <a:gd name="connsiteY18" fmla="*/ 144407 h 156971"/>
                                                <a:gd name="connsiteX19" fmla="*/ 151243 w 216355"/>
                                                <a:gd name="connsiteY19" fmla="*/ 144602 h 156971"/>
                                                <a:gd name="connsiteX20" fmla="*/ 155259 w 216355"/>
                                                <a:gd name="connsiteY20" fmla="*/ 143954 h 156971"/>
                                                <a:gd name="connsiteX21" fmla="*/ 157656 w 216355"/>
                                                <a:gd name="connsiteY21" fmla="*/ 142075 h 156971"/>
                                                <a:gd name="connsiteX22" fmla="*/ 164912 w 216355"/>
                                                <a:gd name="connsiteY22" fmla="*/ 142853 h 156971"/>
                                                <a:gd name="connsiteX23" fmla="*/ 188300 w 216355"/>
                                                <a:gd name="connsiteY23" fmla="*/ 153607 h 156971"/>
                                                <a:gd name="connsiteX24" fmla="*/ 193807 w 216355"/>
                                                <a:gd name="connsiteY24" fmla="*/ 135726 h 156971"/>
                                                <a:gd name="connsiteX25" fmla="*/ 197240 w 216355"/>
                                                <a:gd name="connsiteY25" fmla="*/ 126008 h 156971"/>
                                                <a:gd name="connsiteX26" fmla="*/ 209161 w 216355"/>
                                                <a:gd name="connsiteY26" fmla="*/ 121149 h 156971"/>
                                                <a:gd name="connsiteX27" fmla="*/ 216028 w 216355"/>
                                                <a:gd name="connsiteY27" fmla="*/ 111755 h 156971"/>
                                                <a:gd name="connsiteX28" fmla="*/ 209291 w 216355"/>
                                                <a:gd name="connsiteY28" fmla="*/ 106378 h 156971"/>
                                                <a:gd name="connsiteX29" fmla="*/ 205987 w 216355"/>
                                                <a:gd name="connsiteY29" fmla="*/ 102491 h 156971"/>
                                                <a:gd name="connsiteX30" fmla="*/ 195232 w 216355"/>
                                                <a:gd name="connsiteY30" fmla="*/ 99964 h 156971"/>
                                                <a:gd name="connsiteX31" fmla="*/ 191734 w 216355"/>
                                                <a:gd name="connsiteY31" fmla="*/ 98474 h 156971"/>
                                                <a:gd name="connsiteX32" fmla="*/ 190244 w 216355"/>
                                                <a:gd name="connsiteY32" fmla="*/ 94004 h 156971"/>
                                                <a:gd name="connsiteX33" fmla="*/ 190179 w 216355"/>
                                                <a:gd name="connsiteY33" fmla="*/ 94004 h 156971"/>
                                                <a:gd name="connsiteX34" fmla="*/ 182469 w 216355"/>
                                                <a:gd name="connsiteY34" fmla="*/ 92644 h 156971"/>
                                                <a:gd name="connsiteX35" fmla="*/ 178064 w 216355"/>
                                                <a:gd name="connsiteY35" fmla="*/ 80075 h 156971"/>
                                                <a:gd name="connsiteX36" fmla="*/ 178064 w 216355"/>
                                                <a:gd name="connsiteY36" fmla="*/ 51829 h 156971"/>
                                                <a:gd name="connsiteX37" fmla="*/ 177287 w 216355"/>
                                                <a:gd name="connsiteY37" fmla="*/ 45868 h 156971"/>
                                                <a:gd name="connsiteX38" fmla="*/ 174306 w 216355"/>
                                                <a:gd name="connsiteY38" fmla="*/ 41528 h 156971"/>
                                                <a:gd name="connsiteX39" fmla="*/ 163487 w 216355"/>
                                                <a:gd name="connsiteY39" fmla="*/ 28830 h 156971"/>
                                                <a:gd name="connsiteX40" fmla="*/ 160701 w 216355"/>
                                                <a:gd name="connsiteY40" fmla="*/ 24165 h 156971"/>
                                                <a:gd name="connsiteX41" fmla="*/ 160896 w 216355"/>
                                                <a:gd name="connsiteY41" fmla="*/ 18723 h 156971"/>
                                                <a:gd name="connsiteX42" fmla="*/ 146772 w 216355"/>
                                                <a:gd name="connsiteY42" fmla="*/ 1555 h 156971"/>
                                                <a:gd name="connsiteX43" fmla="*/ 144116 w 216355"/>
                                                <a:gd name="connsiteY43" fmla="*/ 0 h 156971"/>
                                                <a:gd name="connsiteX44" fmla="*/ 136147 w 216355"/>
                                                <a:gd name="connsiteY44" fmla="*/ 5183 h 156971"/>
                                                <a:gd name="connsiteX45" fmla="*/ 111659 w 216355"/>
                                                <a:gd name="connsiteY45" fmla="*/ 16391 h 156971"/>
                                                <a:gd name="connsiteX46" fmla="*/ 91446 w 216355"/>
                                                <a:gd name="connsiteY46" fmla="*/ 19889 h 156971"/>
                                                <a:gd name="connsiteX47" fmla="*/ 72204 w 216355"/>
                                                <a:gd name="connsiteY47" fmla="*/ 10884 h 156971"/>
                                                <a:gd name="connsiteX48" fmla="*/ 60024 w 216355"/>
                                                <a:gd name="connsiteY48" fmla="*/ 8293 h 156971"/>
                                                <a:gd name="connsiteX49" fmla="*/ 53934 w 216355"/>
                                                <a:gd name="connsiteY49" fmla="*/ 6155 h 156971"/>
                                                <a:gd name="connsiteX50" fmla="*/ 29964 w 216355"/>
                                                <a:gd name="connsiteY50" fmla="*/ 36280 h 15697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16355" h="156971">
                                                  <a:moveTo>
                                                    <a:pt x="29899" y="36539"/>
                                                  </a:moveTo>
                                                  <a:cubicBezTo>
                                                    <a:pt x="28668" y="39390"/>
                                                    <a:pt x="27631" y="42499"/>
                                                    <a:pt x="25558" y="44767"/>
                                                  </a:cubicBezTo>
                                                  <a:cubicBezTo>
                                                    <a:pt x="23032" y="47553"/>
                                                    <a:pt x="19274" y="48913"/>
                                                    <a:pt x="16877" y="51829"/>
                                                  </a:cubicBezTo>
                                                  <a:cubicBezTo>
                                                    <a:pt x="13508" y="55910"/>
                                                    <a:pt x="13703" y="62129"/>
                                                    <a:pt x="10204" y="66146"/>
                                                  </a:cubicBezTo>
                                                  <a:cubicBezTo>
                                                    <a:pt x="8131" y="68543"/>
                                                    <a:pt x="4956" y="69774"/>
                                                    <a:pt x="2819" y="72107"/>
                                                  </a:cubicBezTo>
                                                  <a:cubicBezTo>
                                                    <a:pt x="-356" y="75670"/>
                                                    <a:pt x="-680" y="81112"/>
                                                    <a:pt x="1004" y="85582"/>
                                                  </a:cubicBezTo>
                                                  <a:cubicBezTo>
                                                    <a:pt x="2689" y="90052"/>
                                                    <a:pt x="5993" y="93680"/>
                                                    <a:pt x="9427" y="96984"/>
                                                  </a:cubicBezTo>
                                                  <a:cubicBezTo>
                                                    <a:pt x="11824" y="99317"/>
                                                    <a:pt x="14480" y="101843"/>
                                                    <a:pt x="14804" y="105212"/>
                                                  </a:cubicBezTo>
                                                  <a:cubicBezTo>
                                                    <a:pt x="15063" y="108063"/>
                                                    <a:pt x="13443" y="111172"/>
                                                    <a:pt x="14934" y="113634"/>
                                                  </a:cubicBezTo>
                                                  <a:cubicBezTo>
                                                    <a:pt x="15581" y="114736"/>
                                                    <a:pt x="16683" y="115448"/>
                                                    <a:pt x="17719" y="116096"/>
                                                  </a:cubicBezTo>
                                                  <a:cubicBezTo>
                                                    <a:pt x="26141" y="121409"/>
                                                    <a:pt x="34563" y="126721"/>
                                                    <a:pt x="42921" y="132033"/>
                                                  </a:cubicBezTo>
                                                  <a:cubicBezTo>
                                                    <a:pt x="43504" y="137540"/>
                                                    <a:pt x="44346" y="143630"/>
                                                    <a:pt x="48622" y="147129"/>
                                                  </a:cubicBezTo>
                                                  <a:cubicBezTo>
                                                    <a:pt x="51408" y="149396"/>
                                                    <a:pt x="55165" y="150109"/>
                                                    <a:pt x="58405" y="151793"/>
                                                  </a:cubicBezTo>
                                                  <a:cubicBezTo>
                                                    <a:pt x="60672" y="152959"/>
                                                    <a:pt x="62681" y="154579"/>
                                                    <a:pt x="65013" y="155551"/>
                                                  </a:cubicBezTo>
                                                  <a:cubicBezTo>
                                                    <a:pt x="68706" y="157105"/>
                                                    <a:pt x="72787" y="157041"/>
                                                    <a:pt x="76804" y="156911"/>
                                                  </a:cubicBezTo>
                                                  <a:cubicBezTo>
                                                    <a:pt x="86457" y="156652"/>
                                                    <a:pt x="96110" y="156393"/>
                                                    <a:pt x="105698" y="156134"/>
                                                  </a:cubicBezTo>
                                                  <a:cubicBezTo>
                                                    <a:pt x="113602" y="155939"/>
                                                    <a:pt x="122154" y="155421"/>
                                                    <a:pt x="128114" y="150238"/>
                                                  </a:cubicBezTo>
                                                  <a:cubicBezTo>
                                                    <a:pt x="130187" y="148424"/>
                                                    <a:pt x="131937" y="145962"/>
                                                    <a:pt x="134593" y="144990"/>
                                                  </a:cubicBezTo>
                                                  <a:cubicBezTo>
                                                    <a:pt x="136212" y="144343"/>
                                                    <a:pt x="138026" y="144407"/>
                                                    <a:pt x="139775" y="144407"/>
                                                  </a:cubicBezTo>
                                                  <a:cubicBezTo>
                                                    <a:pt x="143598" y="144472"/>
                                                    <a:pt x="147420" y="144537"/>
                                                    <a:pt x="151243" y="144602"/>
                                                  </a:cubicBezTo>
                                                  <a:cubicBezTo>
                                                    <a:pt x="152603" y="144602"/>
                                                    <a:pt x="154093" y="144602"/>
                                                    <a:pt x="155259" y="143954"/>
                                                  </a:cubicBezTo>
                                                  <a:cubicBezTo>
                                                    <a:pt x="156166" y="143436"/>
                                                    <a:pt x="156814" y="142593"/>
                                                    <a:pt x="157656" y="142075"/>
                                                  </a:cubicBezTo>
                                                  <a:cubicBezTo>
                                                    <a:pt x="159859" y="140779"/>
                                                    <a:pt x="162645" y="141816"/>
                                                    <a:pt x="164912" y="142853"/>
                                                  </a:cubicBezTo>
                                                  <a:cubicBezTo>
                                                    <a:pt x="172687" y="146416"/>
                                                    <a:pt x="180526" y="150044"/>
                                                    <a:pt x="188300" y="153607"/>
                                                  </a:cubicBezTo>
                                                  <a:cubicBezTo>
                                                    <a:pt x="190827" y="147906"/>
                                                    <a:pt x="192706" y="141881"/>
                                                    <a:pt x="193807" y="135726"/>
                                                  </a:cubicBezTo>
                                                  <a:cubicBezTo>
                                                    <a:pt x="194390" y="132293"/>
                                                    <a:pt x="194908" y="128600"/>
                                                    <a:pt x="197240" y="126008"/>
                                                  </a:cubicBezTo>
                                                  <a:cubicBezTo>
                                                    <a:pt x="200221" y="122834"/>
                                                    <a:pt x="205015" y="122445"/>
                                                    <a:pt x="209161" y="121149"/>
                                                  </a:cubicBezTo>
                                                  <a:cubicBezTo>
                                                    <a:pt x="213307" y="119789"/>
                                                    <a:pt x="217583" y="115837"/>
                                                    <a:pt x="216028" y="111755"/>
                                                  </a:cubicBezTo>
                                                  <a:cubicBezTo>
                                                    <a:pt x="214927" y="109034"/>
                                                    <a:pt x="211817" y="107868"/>
                                                    <a:pt x="209291" y="106378"/>
                                                  </a:cubicBezTo>
                                                  <a:cubicBezTo>
                                                    <a:pt x="207865" y="105536"/>
                                                    <a:pt x="206569" y="104046"/>
                                                    <a:pt x="205987" y="102491"/>
                                                  </a:cubicBezTo>
                                                  <a:cubicBezTo>
                                                    <a:pt x="202359" y="101714"/>
                                                    <a:pt x="198795" y="100871"/>
                                                    <a:pt x="195232" y="99964"/>
                                                  </a:cubicBezTo>
                                                  <a:cubicBezTo>
                                                    <a:pt x="194001" y="99640"/>
                                                    <a:pt x="192706" y="99317"/>
                                                    <a:pt x="191734" y="98474"/>
                                                  </a:cubicBezTo>
                                                  <a:cubicBezTo>
                                                    <a:pt x="190438" y="97373"/>
                                                    <a:pt x="190049" y="95753"/>
                                                    <a:pt x="190244" y="94004"/>
                                                  </a:cubicBezTo>
                                                  <a:cubicBezTo>
                                                    <a:pt x="190244" y="94004"/>
                                                    <a:pt x="190244" y="94004"/>
                                                    <a:pt x="190179" y="94004"/>
                                                  </a:cubicBezTo>
                                                  <a:cubicBezTo>
                                                    <a:pt x="187522" y="94004"/>
                                                    <a:pt x="184672" y="94004"/>
                                                    <a:pt x="182469" y="92644"/>
                                                  </a:cubicBezTo>
                                                  <a:cubicBezTo>
                                                    <a:pt x="178518" y="90182"/>
                                                    <a:pt x="178129" y="84740"/>
                                                    <a:pt x="178064" y="80075"/>
                                                  </a:cubicBezTo>
                                                  <a:cubicBezTo>
                                                    <a:pt x="178064" y="70681"/>
                                                    <a:pt x="178064" y="61287"/>
                                                    <a:pt x="178064" y="51829"/>
                                                  </a:cubicBezTo>
                                                  <a:cubicBezTo>
                                                    <a:pt x="178064" y="49820"/>
                                                    <a:pt x="178064" y="47747"/>
                                                    <a:pt x="177287" y="45868"/>
                                                  </a:cubicBezTo>
                                                  <a:cubicBezTo>
                                                    <a:pt x="176638" y="44249"/>
                                                    <a:pt x="175472" y="42823"/>
                                                    <a:pt x="174306" y="41528"/>
                                                  </a:cubicBezTo>
                                                  <a:cubicBezTo>
                                                    <a:pt x="170678" y="37317"/>
                                                    <a:pt x="167115" y="33041"/>
                                                    <a:pt x="163487" y="28830"/>
                                                  </a:cubicBezTo>
                                                  <a:cubicBezTo>
                                                    <a:pt x="162321" y="27469"/>
                                                    <a:pt x="161090" y="25979"/>
                                                    <a:pt x="160701" y="24165"/>
                                                  </a:cubicBezTo>
                                                  <a:cubicBezTo>
                                                    <a:pt x="160313" y="22416"/>
                                                    <a:pt x="160831" y="20537"/>
                                                    <a:pt x="160896" y="18723"/>
                                                  </a:cubicBezTo>
                                                  <a:cubicBezTo>
                                                    <a:pt x="161090" y="10949"/>
                                                    <a:pt x="153510" y="5507"/>
                                                    <a:pt x="146772" y="1555"/>
                                                  </a:cubicBezTo>
                                                  <a:cubicBezTo>
                                                    <a:pt x="145865" y="1037"/>
                                                    <a:pt x="144959" y="518"/>
                                                    <a:pt x="144116" y="0"/>
                                                  </a:cubicBezTo>
                                                  <a:cubicBezTo>
                                                    <a:pt x="141395" y="1620"/>
                                                    <a:pt x="138804" y="3498"/>
                                                    <a:pt x="136147" y="5183"/>
                                                  </a:cubicBezTo>
                                                  <a:cubicBezTo>
                                                    <a:pt x="128568" y="10042"/>
                                                    <a:pt x="120081" y="13216"/>
                                                    <a:pt x="111659" y="16391"/>
                                                  </a:cubicBezTo>
                                                  <a:cubicBezTo>
                                                    <a:pt x="105180" y="18853"/>
                                                    <a:pt x="98248" y="21315"/>
                                                    <a:pt x="91446" y="19889"/>
                                                  </a:cubicBezTo>
                                                  <a:cubicBezTo>
                                                    <a:pt x="84513" y="18464"/>
                                                    <a:pt x="78942" y="13151"/>
                                                    <a:pt x="72204" y="10884"/>
                                                  </a:cubicBezTo>
                                                  <a:cubicBezTo>
                                                    <a:pt x="68252" y="9524"/>
                                                    <a:pt x="64041" y="9329"/>
                                                    <a:pt x="60024" y="8293"/>
                                                  </a:cubicBezTo>
                                                  <a:cubicBezTo>
                                                    <a:pt x="57951" y="7774"/>
                                                    <a:pt x="55878" y="7062"/>
                                                    <a:pt x="53934" y="6155"/>
                                                  </a:cubicBezTo>
                                                  <a:cubicBezTo>
                                                    <a:pt x="44411" y="15030"/>
                                                    <a:pt x="35082" y="24424"/>
                                                    <a:pt x="29964" y="3628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1" name="Freeform: Shape 204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35AB031-7929-4C40-8FB6-C39EF7FCBD4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49330" y="2923069"/>
                                              <a:ext cx="130772" cy="5579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96177 w 130772"/>
                                                <a:gd name="connsiteY0" fmla="*/ 4546 h 55794"/>
                                                <a:gd name="connsiteX1" fmla="*/ 66440 w 130772"/>
                                                <a:gd name="connsiteY1" fmla="*/ 465 h 55794"/>
                                                <a:gd name="connsiteX2" fmla="*/ 37093 w 130772"/>
                                                <a:gd name="connsiteY2" fmla="*/ 4352 h 55794"/>
                                                <a:gd name="connsiteX3" fmla="*/ 19471 w 130772"/>
                                                <a:gd name="connsiteY3" fmla="*/ 15365 h 55794"/>
                                                <a:gd name="connsiteX4" fmla="*/ 10466 w 130772"/>
                                                <a:gd name="connsiteY4" fmla="*/ 19836 h 55794"/>
                                                <a:gd name="connsiteX5" fmla="*/ 748 w 130772"/>
                                                <a:gd name="connsiteY5" fmla="*/ 34218 h 55794"/>
                                                <a:gd name="connsiteX6" fmla="*/ 35 w 130772"/>
                                                <a:gd name="connsiteY6" fmla="*/ 36356 h 55794"/>
                                                <a:gd name="connsiteX7" fmla="*/ 2173 w 130772"/>
                                                <a:gd name="connsiteY7" fmla="*/ 41668 h 55794"/>
                                                <a:gd name="connsiteX8" fmla="*/ 14547 w 130772"/>
                                                <a:gd name="connsiteY8" fmla="*/ 53848 h 55794"/>
                                                <a:gd name="connsiteX9" fmla="*/ 34242 w 130772"/>
                                                <a:gd name="connsiteY9" fmla="*/ 54237 h 55794"/>
                                                <a:gd name="connsiteX10" fmla="*/ 48430 w 130772"/>
                                                <a:gd name="connsiteY10" fmla="*/ 48471 h 55794"/>
                                                <a:gd name="connsiteX11" fmla="*/ 60545 w 130772"/>
                                                <a:gd name="connsiteY11" fmla="*/ 43353 h 55794"/>
                                                <a:gd name="connsiteX12" fmla="*/ 65793 w 130772"/>
                                                <a:gd name="connsiteY12" fmla="*/ 43094 h 55794"/>
                                                <a:gd name="connsiteX13" fmla="*/ 79074 w 130772"/>
                                                <a:gd name="connsiteY13" fmla="*/ 34283 h 55794"/>
                                                <a:gd name="connsiteX14" fmla="*/ 108422 w 130772"/>
                                                <a:gd name="connsiteY14" fmla="*/ 30525 h 55794"/>
                                                <a:gd name="connsiteX15" fmla="*/ 125590 w 130772"/>
                                                <a:gd name="connsiteY15" fmla="*/ 32922 h 55794"/>
                                                <a:gd name="connsiteX16" fmla="*/ 124942 w 130772"/>
                                                <a:gd name="connsiteY16" fmla="*/ 31173 h 55794"/>
                                                <a:gd name="connsiteX17" fmla="*/ 129347 w 130772"/>
                                                <a:gd name="connsiteY17" fmla="*/ 21779 h 55794"/>
                                                <a:gd name="connsiteX18" fmla="*/ 130772 w 130772"/>
                                                <a:gd name="connsiteY18" fmla="*/ 15495 h 55794"/>
                                                <a:gd name="connsiteX19" fmla="*/ 115742 w 130772"/>
                                                <a:gd name="connsiteY19" fmla="*/ 10571 h 55794"/>
                                                <a:gd name="connsiteX20" fmla="*/ 96242 w 130772"/>
                                                <a:gd name="connsiteY20" fmla="*/ 4482 h 5579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30772" h="55794">
                                                  <a:moveTo>
                                                    <a:pt x="96177" y="4546"/>
                                                  </a:moveTo>
                                                  <a:cubicBezTo>
                                                    <a:pt x="86200" y="3834"/>
                                                    <a:pt x="76417" y="1501"/>
                                                    <a:pt x="66440" y="465"/>
                                                  </a:cubicBezTo>
                                                  <a:cubicBezTo>
                                                    <a:pt x="56463" y="-572"/>
                                                    <a:pt x="46033" y="-118"/>
                                                    <a:pt x="37093" y="4352"/>
                                                  </a:cubicBezTo>
                                                  <a:cubicBezTo>
                                                    <a:pt x="30873" y="7462"/>
                                                    <a:pt x="25755" y="12321"/>
                                                    <a:pt x="19471" y="15365"/>
                                                  </a:cubicBezTo>
                                                  <a:cubicBezTo>
                                                    <a:pt x="16426" y="16856"/>
                                                    <a:pt x="13187" y="17892"/>
                                                    <a:pt x="10466" y="19836"/>
                                                  </a:cubicBezTo>
                                                  <a:cubicBezTo>
                                                    <a:pt x="5671" y="23205"/>
                                                    <a:pt x="3080" y="28841"/>
                                                    <a:pt x="748" y="34218"/>
                                                  </a:cubicBezTo>
                                                  <a:cubicBezTo>
                                                    <a:pt x="424" y="34931"/>
                                                    <a:pt x="165" y="35643"/>
                                                    <a:pt x="35" y="36356"/>
                                                  </a:cubicBezTo>
                                                  <a:cubicBezTo>
                                                    <a:pt x="-224" y="38300"/>
                                                    <a:pt x="1007" y="40114"/>
                                                    <a:pt x="2173" y="41668"/>
                                                  </a:cubicBezTo>
                                                  <a:cubicBezTo>
                                                    <a:pt x="5607" y="46398"/>
                                                    <a:pt x="9299" y="51322"/>
                                                    <a:pt x="14547" y="53848"/>
                                                  </a:cubicBezTo>
                                                  <a:cubicBezTo>
                                                    <a:pt x="20572" y="56764"/>
                                                    <a:pt x="27763" y="55986"/>
                                                    <a:pt x="34242" y="54237"/>
                                                  </a:cubicBezTo>
                                                  <a:cubicBezTo>
                                                    <a:pt x="39166" y="52876"/>
                                                    <a:pt x="43960" y="50933"/>
                                                    <a:pt x="48430" y="48471"/>
                                                  </a:cubicBezTo>
                                                  <a:cubicBezTo>
                                                    <a:pt x="52317" y="46333"/>
                                                    <a:pt x="56140" y="43806"/>
                                                    <a:pt x="60545" y="43353"/>
                                                  </a:cubicBezTo>
                                                  <a:cubicBezTo>
                                                    <a:pt x="62294" y="43223"/>
                                                    <a:pt x="64043" y="43353"/>
                                                    <a:pt x="65793" y="43094"/>
                                                  </a:cubicBezTo>
                                                  <a:cubicBezTo>
                                                    <a:pt x="71105" y="42252"/>
                                                    <a:pt x="74668" y="37393"/>
                                                    <a:pt x="79074" y="34283"/>
                                                  </a:cubicBezTo>
                                                  <a:cubicBezTo>
                                                    <a:pt x="87366" y="28387"/>
                                                    <a:pt x="98444" y="28906"/>
                                                    <a:pt x="108422" y="30525"/>
                                                  </a:cubicBezTo>
                                                  <a:cubicBezTo>
                                                    <a:pt x="114058" y="31432"/>
                                                    <a:pt x="119824" y="32599"/>
                                                    <a:pt x="125590" y="32922"/>
                                                  </a:cubicBezTo>
                                                  <a:cubicBezTo>
                                                    <a:pt x="125266" y="32339"/>
                                                    <a:pt x="125007" y="31756"/>
                                                    <a:pt x="124942" y="31173"/>
                                                  </a:cubicBezTo>
                                                  <a:cubicBezTo>
                                                    <a:pt x="124294" y="27675"/>
                                                    <a:pt x="127663" y="24889"/>
                                                    <a:pt x="129347" y="21779"/>
                                                  </a:cubicBezTo>
                                                  <a:cubicBezTo>
                                                    <a:pt x="130384" y="19836"/>
                                                    <a:pt x="130772" y="17698"/>
                                                    <a:pt x="130772" y="15495"/>
                                                  </a:cubicBezTo>
                                                  <a:cubicBezTo>
                                                    <a:pt x="125978" y="13228"/>
                                                    <a:pt x="120925" y="11543"/>
                                                    <a:pt x="115742" y="10571"/>
                                                  </a:cubicBezTo>
                                                  <a:cubicBezTo>
                                                    <a:pt x="111337" y="5129"/>
                                                    <a:pt x="103238" y="4935"/>
                                                    <a:pt x="96242" y="448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2" name="Freeform: Shape 204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D712440-97EA-4314-9C23-406FB228C42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33247" y="2952711"/>
                                              <a:ext cx="156444" cy="9857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542 w 156444"/>
                                                <a:gd name="connsiteY0" fmla="*/ 40986 h 98574"/>
                                                <a:gd name="connsiteX1" fmla="*/ 3485 w 156444"/>
                                                <a:gd name="connsiteY1" fmla="*/ 62624 h 98574"/>
                                                <a:gd name="connsiteX2" fmla="*/ 4068 w 156444"/>
                                                <a:gd name="connsiteY2" fmla="*/ 69751 h 98574"/>
                                                <a:gd name="connsiteX3" fmla="*/ 9964 w 156444"/>
                                                <a:gd name="connsiteY3" fmla="*/ 75776 h 98574"/>
                                                <a:gd name="connsiteX4" fmla="*/ 21366 w 156444"/>
                                                <a:gd name="connsiteY4" fmla="*/ 88020 h 98574"/>
                                                <a:gd name="connsiteX5" fmla="*/ 34647 w 156444"/>
                                                <a:gd name="connsiteY5" fmla="*/ 97868 h 98574"/>
                                                <a:gd name="connsiteX6" fmla="*/ 49742 w 156444"/>
                                                <a:gd name="connsiteY6" fmla="*/ 93657 h 98574"/>
                                                <a:gd name="connsiteX7" fmla="*/ 51815 w 156444"/>
                                                <a:gd name="connsiteY7" fmla="*/ 90806 h 98574"/>
                                                <a:gd name="connsiteX8" fmla="*/ 54796 w 156444"/>
                                                <a:gd name="connsiteY8" fmla="*/ 89640 h 98574"/>
                                                <a:gd name="connsiteX9" fmla="*/ 69761 w 156444"/>
                                                <a:gd name="connsiteY9" fmla="*/ 86595 h 98574"/>
                                                <a:gd name="connsiteX10" fmla="*/ 72028 w 156444"/>
                                                <a:gd name="connsiteY10" fmla="*/ 84133 h 98574"/>
                                                <a:gd name="connsiteX11" fmla="*/ 85698 w 156444"/>
                                                <a:gd name="connsiteY11" fmla="*/ 81671 h 98574"/>
                                                <a:gd name="connsiteX12" fmla="*/ 105847 w 156444"/>
                                                <a:gd name="connsiteY12" fmla="*/ 81801 h 98574"/>
                                                <a:gd name="connsiteX13" fmla="*/ 112779 w 156444"/>
                                                <a:gd name="connsiteY13" fmla="*/ 76229 h 98574"/>
                                                <a:gd name="connsiteX14" fmla="*/ 119452 w 156444"/>
                                                <a:gd name="connsiteY14" fmla="*/ 61912 h 98574"/>
                                                <a:gd name="connsiteX15" fmla="*/ 128133 w 156444"/>
                                                <a:gd name="connsiteY15" fmla="*/ 54850 h 98574"/>
                                                <a:gd name="connsiteX16" fmla="*/ 132474 w 156444"/>
                                                <a:gd name="connsiteY16" fmla="*/ 46622 h 98574"/>
                                                <a:gd name="connsiteX17" fmla="*/ 156444 w 156444"/>
                                                <a:gd name="connsiteY17" fmla="*/ 16497 h 98574"/>
                                                <a:gd name="connsiteX18" fmla="*/ 142256 w 156444"/>
                                                <a:gd name="connsiteY18" fmla="*/ 4835 h 98574"/>
                                                <a:gd name="connsiteX19" fmla="*/ 141414 w 156444"/>
                                                <a:gd name="connsiteY19" fmla="*/ 3475 h 98574"/>
                                                <a:gd name="connsiteX20" fmla="*/ 124246 w 156444"/>
                                                <a:gd name="connsiteY20" fmla="*/ 1078 h 98574"/>
                                                <a:gd name="connsiteX21" fmla="*/ 94898 w 156444"/>
                                                <a:gd name="connsiteY21" fmla="*/ 4835 h 98574"/>
                                                <a:gd name="connsiteX22" fmla="*/ 81617 w 156444"/>
                                                <a:gd name="connsiteY22" fmla="*/ 13646 h 98574"/>
                                                <a:gd name="connsiteX23" fmla="*/ 76369 w 156444"/>
                                                <a:gd name="connsiteY23" fmla="*/ 13905 h 98574"/>
                                                <a:gd name="connsiteX24" fmla="*/ 64254 w 156444"/>
                                                <a:gd name="connsiteY24" fmla="*/ 19023 h 98574"/>
                                                <a:gd name="connsiteX25" fmla="*/ 50066 w 156444"/>
                                                <a:gd name="connsiteY25" fmla="*/ 24790 h 98574"/>
                                                <a:gd name="connsiteX26" fmla="*/ 30371 w 156444"/>
                                                <a:gd name="connsiteY26" fmla="*/ 24401 h 98574"/>
                                                <a:gd name="connsiteX27" fmla="*/ 27521 w 156444"/>
                                                <a:gd name="connsiteY27" fmla="*/ 22587 h 98574"/>
                                                <a:gd name="connsiteX28" fmla="*/ 7178 w 156444"/>
                                                <a:gd name="connsiteY28" fmla="*/ 36386 h 98574"/>
                                                <a:gd name="connsiteX29" fmla="*/ 1347 w 156444"/>
                                                <a:gd name="connsiteY29" fmla="*/ 40986 h 9857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56444" h="98574">
                                                  <a:moveTo>
                                                    <a:pt x="1542" y="40986"/>
                                                  </a:moveTo>
                                                  <a:cubicBezTo>
                                                    <a:pt x="-2669" y="47140"/>
                                                    <a:pt x="3032" y="55174"/>
                                                    <a:pt x="3485" y="62624"/>
                                                  </a:cubicBezTo>
                                                  <a:cubicBezTo>
                                                    <a:pt x="3615" y="65021"/>
                                                    <a:pt x="3226" y="67483"/>
                                                    <a:pt x="4068" y="69751"/>
                                                  </a:cubicBezTo>
                                                  <a:cubicBezTo>
                                                    <a:pt x="5105" y="72407"/>
                                                    <a:pt x="7696" y="74026"/>
                                                    <a:pt x="9964" y="75776"/>
                                                  </a:cubicBezTo>
                                                  <a:cubicBezTo>
                                                    <a:pt x="14369" y="79274"/>
                                                    <a:pt x="17673" y="83809"/>
                                                    <a:pt x="21366" y="88020"/>
                                                  </a:cubicBezTo>
                                                  <a:cubicBezTo>
                                                    <a:pt x="25059" y="92231"/>
                                                    <a:pt x="29335" y="96183"/>
                                                    <a:pt x="34647" y="97868"/>
                                                  </a:cubicBezTo>
                                                  <a:cubicBezTo>
                                                    <a:pt x="39959" y="99552"/>
                                                    <a:pt x="46568" y="98256"/>
                                                    <a:pt x="49742" y="93657"/>
                                                  </a:cubicBezTo>
                                                  <a:cubicBezTo>
                                                    <a:pt x="50390" y="92685"/>
                                                    <a:pt x="50908" y="91584"/>
                                                    <a:pt x="51815" y="90806"/>
                                                  </a:cubicBezTo>
                                                  <a:cubicBezTo>
                                                    <a:pt x="52658" y="90158"/>
                                                    <a:pt x="53694" y="89834"/>
                                                    <a:pt x="54796" y="89640"/>
                                                  </a:cubicBezTo>
                                                  <a:cubicBezTo>
                                                    <a:pt x="59914" y="88798"/>
                                                    <a:pt x="65939" y="90093"/>
                                                    <a:pt x="69761" y="86595"/>
                                                  </a:cubicBezTo>
                                                  <a:cubicBezTo>
                                                    <a:pt x="70603" y="85818"/>
                                                    <a:pt x="71251" y="84911"/>
                                                    <a:pt x="72028" y="84133"/>
                                                  </a:cubicBezTo>
                                                  <a:cubicBezTo>
                                                    <a:pt x="75527" y="80829"/>
                                                    <a:pt x="80969" y="81283"/>
                                                    <a:pt x="85698" y="81671"/>
                                                  </a:cubicBezTo>
                                                  <a:cubicBezTo>
                                                    <a:pt x="92371" y="82254"/>
                                                    <a:pt x="99109" y="82254"/>
                                                    <a:pt x="105847" y="81801"/>
                                                  </a:cubicBezTo>
                                                  <a:cubicBezTo>
                                                    <a:pt x="107984" y="79728"/>
                                                    <a:pt x="110835" y="78432"/>
                                                    <a:pt x="112779" y="76229"/>
                                                  </a:cubicBezTo>
                                                  <a:cubicBezTo>
                                                    <a:pt x="116277" y="72277"/>
                                                    <a:pt x="116083" y="65993"/>
                                                    <a:pt x="119452" y="61912"/>
                                                  </a:cubicBezTo>
                                                  <a:cubicBezTo>
                                                    <a:pt x="121849" y="58996"/>
                                                    <a:pt x="125606" y="57636"/>
                                                    <a:pt x="128133" y="54850"/>
                                                  </a:cubicBezTo>
                                                  <a:cubicBezTo>
                                                    <a:pt x="130206" y="52518"/>
                                                    <a:pt x="131243" y="49473"/>
                                                    <a:pt x="132474" y="46622"/>
                                                  </a:cubicBezTo>
                                                  <a:cubicBezTo>
                                                    <a:pt x="137592" y="34702"/>
                                                    <a:pt x="146921" y="25308"/>
                                                    <a:pt x="156444" y="16497"/>
                                                  </a:cubicBezTo>
                                                  <a:cubicBezTo>
                                                    <a:pt x="150808" y="13905"/>
                                                    <a:pt x="145820" y="9889"/>
                                                    <a:pt x="142256" y="4835"/>
                                                  </a:cubicBezTo>
                                                  <a:cubicBezTo>
                                                    <a:pt x="141933" y="4382"/>
                                                    <a:pt x="141673" y="3993"/>
                                                    <a:pt x="141414" y="3475"/>
                                                  </a:cubicBezTo>
                                                  <a:cubicBezTo>
                                                    <a:pt x="135713" y="3151"/>
                                                    <a:pt x="129947" y="1985"/>
                                                    <a:pt x="124246" y="1078"/>
                                                  </a:cubicBezTo>
                                                  <a:cubicBezTo>
                                                    <a:pt x="114269" y="-542"/>
                                                    <a:pt x="103126" y="-1060"/>
                                                    <a:pt x="94898" y="4835"/>
                                                  </a:cubicBezTo>
                                                  <a:cubicBezTo>
                                                    <a:pt x="90493" y="7945"/>
                                                    <a:pt x="86929" y="12804"/>
                                                    <a:pt x="81617" y="13646"/>
                                                  </a:cubicBezTo>
                                                  <a:cubicBezTo>
                                                    <a:pt x="79868" y="13905"/>
                                                    <a:pt x="78118" y="13711"/>
                                                    <a:pt x="76369" y="13905"/>
                                                  </a:cubicBezTo>
                                                  <a:cubicBezTo>
                                                    <a:pt x="71964" y="14294"/>
                                                    <a:pt x="68141" y="16886"/>
                                                    <a:pt x="64254" y="19023"/>
                                                  </a:cubicBezTo>
                                                  <a:cubicBezTo>
                                                    <a:pt x="59784" y="21485"/>
                                                    <a:pt x="54990" y="23429"/>
                                                    <a:pt x="50066" y="24790"/>
                                                  </a:cubicBezTo>
                                                  <a:cubicBezTo>
                                                    <a:pt x="43587" y="26604"/>
                                                    <a:pt x="36461" y="27316"/>
                                                    <a:pt x="30371" y="24401"/>
                                                  </a:cubicBezTo>
                                                  <a:cubicBezTo>
                                                    <a:pt x="29335" y="23882"/>
                                                    <a:pt x="28428" y="23235"/>
                                                    <a:pt x="27521" y="22587"/>
                                                  </a:cubicBezTo>
                                                  <a:cubicBezTo>
                                                    <a:pt x="21042" y="27640"/>
                                                    <a:pt x="14240" y="32304"/>
                                                    <a:pt x="7178" y="36386"/>
                                                  </a:cubicBezTo>
                                                  <a:cubicBezTo>
                                                    <a:pt x="5040" y="37617"/>
                                                    <a:pt x="2773" y="38913"/>
                                                    <a:pt x="1347" y="4098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3" name="Freeform: Shape 204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C62F53F-8190-47C1-BBD3-DC802BA760B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341608" y="2871841"/>
                                              <a:ext cx="147081" cy="8353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37105 w 147081"/>
                                                <a:gd name="connsiteY0" fmla="*/ 39384 h 83535"/>
                                                <a:gd name="connsiteX1" fmla="*/ 111191 w 147081"/>
                                                <a:gd name="connsiteY1" fmla="*/ 28240 h 83535"/>
                                                <a:gd name="connsiteX2" fmla="*/ 107822 w 147081"/>
                                                <a:gd name="connsiteY2" fmla="*/ 24094 h 83535"/>
                                                <a:gd name="connsiteX3" fmla="*/ 100177 w 147081"/>
                                                <a:gd name="connsiteY3" fmla="*/ 21503 h 83535"/>
                                                <a:gd name="connsiteX4" fmla="*/ 71736 w 147081"/>
                                                <a:gd name="connsiteY4" fmla="*/ 4788 h 83535"/>
                                                <a:gd name="connsiteX5" fmla="*/ 54957 w 147081"/>
                                                <a:gd name="connsiteY5" fmla="*/ 642 h 83535"/>
                                                <a:gd name="connsiteX6" fmla="*/ 47441 w 147081"/>
                                                <a:gd name="connsiteY6" fmla="*/ 5242 h 83535"/>
                                                <a:gd name="connsiteX7" fmla="*/ 33318 w 147081"/>
                                                <a:gd name="connsiteY7" fmla="*/ 10748 h 83535"/>
                                                <a:gd name="connsiteX8" fmla="*/ 23211 w 147081"/>
                                                <a:gd name="connsiteY8" fmla="*/ 11979 h 83535"/>
                                                <a:gd name="connsiteX9" fmla="*/ 5072 w 147081"/>
                                                <a:gd name="connsiteY9" fmla="*/ 22410 h 83535"/>
                                                <a:gd name="connsiteX10" fmla="*/ 83 w 147081"/>
                                                <a:gd name="connsiteY10" fmla="*/ 28888 h 83535"/>
                                                <a:gd name="connsiteX11" fmla="*/ 1962 w 147081"/>
                                                <a:gd name="connsiteY11" fmla="*/ 35626 h 83535"/>
                                                <a:gd name="connsiteX12" fmla="*/ 10513 w 147081"/>
                                                <a:gd name="connsiteY12" fmla="*/ 53831 h 83535"/>
                                                <a:gd name="connsiteX13" fmla="*/ 10643 w 147081"/>
                                                <a:gd name="connsiteY13" fmla="*/ 60828 h 83535"/>
                                                <a:gd name="connsiteX14" fmla="*/ 14660 w 147081"/>
                                                <a:gd name="connsiteY14" fmla="*/ 67889 h 83535"/>
                                                <a:gd name="connsiteX15" fmla="*/ 28589 w 147081"/>
                                                <a:gd name="connsiteY15" fmla="*/ 80976 h 83535"/>
                                                <a:gd name="connsiteX16" fmla="*/ 58066 w 147081"/>
                                                <a:gd name="connsiteY16" fmla="*/ 75016 h 83535"/>
                                                <a:gd name="connsiteX17" fmla="*/ 62277 w 147081"/>
                                                <a:gd name="connsiteY17" fmla="*/ 70675 h 83535"/>
                                                <a:gd name="connsiteX18" fmla="*/ 71218 w 147081"/>
                                                <a:gd name="connsiteY18" fmla="*/ 71776 h 83535"/>
                                                <a:gd name="connsiteX19" fmla="*/ 78538 w 147081"/>
                                                <a:gd name="connsiteY19" fmla="*/ 77737 h 83535"/>
                                                <a:gd name="connsiteX20" fmla="*/ 109571 w 147081"/>
                                                <a:gd name="connsiteY20" fmla="*/ 82984 h 83535"/>
                                                <a:gd name="connsiteX21" fmla="*/ 118123 w 147081"/>
                                                <a:gd name="connsiteY21" fmla="*/ 71129 h 83535"/>
                                                <a:gd name="connsiteX22" fmla="*/ 127128 w 147081"/>
                                                <a:gd name="connsiteY22" fmla="*/ 66658 h 83535"/>
                                                <a:gd name="connsiteX23" fmla="*/ 144750 w 147081"/>
                                                <a:gd name="connsiteY23" fmla="*/ 55645 h 83535"/>
                                                <a:gd name="connsiteX24" fmla="*/ 147082 w 147081"/>
                                                <a:gd name="connsiteY24" fmla="*/ 54608 h 83535"/>
                                                <a:gd name="connsiteX25" fmla="*/ 137040 w 147081"/>
                                                <a:gd name="connsiteY25" fmla="*/ 39448 h 8353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47081" h="83535">
                                                  <a:moveTo>
                                                    <a:pt x="137105" y="39384"/>
                                                  </a:moveTo>
                                                  <a:cubicBezTo>
                                                    <a:pt x="129460" y="33682"/>
                                                    <a:pt x="117280" y="35561"/>
                                                    <a:pt x="111191" y="28240"/>
                                                  </a:cubicBezTo>
                                                  <a:cubicBezTo>
                                                    <a:pt x="110024" y="26880"/>
                                                    <a:pt x="109182" y="25260"/>
                                                    <a:pt x="107822" y="24094"/>
                                                  </a:cubicBezTo>
                                                  <a:cubicBezTo>
                                                    <a:pt x="105748" y="22345"/>
                                                    <a:pt x="102833" y="22086"/>
                                                    <a:pt x="100177" y="21503"/>
                                                  </a:cubicBezTo>
                                                  <a:cubicBezTo>
                                                    <a:pt x="89358" y="19106"/>
                                                    <a:pt x="80936" y="10878"/>
                                                    <a:pt x="71736" y="4788"/>
                                                  </a:cubicBezTo>
                                                  <a:cubicBezTo>
                                                    <a:pt x="66748" y="1484"/>
                                                    <a:pt x="60658" y="-1302"/>
                                                    <a:pt x="54957" y="642"/>
                                                  </a:cubicBezTo>
                                                  <a:cubicBezTo>
                                                    <a:pt x="52171" y="1614"/>
                                                    <a:pt x="49903" y="3622"/>
                                                    <a:pt x="47441" y="5242"/>
                                                  </a:cubicBezTo>
                                                  <a:cubicBezTo>
                                                    <a:pt x="43230" y="8092"/>
                                                    <a:pt x="38372" y="10036"/>
                                                    <a:pt x="33318" y="10748"/>
                                                  </a:cubicBezTo>
                                                  <a:cubicBezTo>
                                                    <a:pt x="29949" y="11267"/>
                                                    <a:pt x="26516" y="11202"/>
                                                    <a:pt x="23211" y="11979"/>
                                                  </a:cubicBezTo>
                                                  <a:cubicBezTo>
                                                    <a:pt x="16344" y="13469"/>
                                                    <a:pt x="10578" y="18004"/>
                                                    <a:pt x="5072" y="22410"/>
                                                  </a:cubicBezTo>
                                                  <a:cubicBezTo>
                                                    <a:pt x="2869" y="24159"/>
                                                    <a:pt x="536" y="26167"/>
                                                    <a:pt x="83" y="28888"/>
                                                  </a:cubicBezTo>
                                                  <a:cubicBezTo>
                                                    <a:pt x="-306" y="31221"/>
                                                    <a:pt x="731" y="33553"/>
                                                    <a:pt x="1962" y="35626"/>
                                                  </a:cubicBezTo>
                                                  <a:cubicBezTo>
                                                    <a:pt x="5395" y="41457"/>
                                                    <a:pt x="10189" y="47028"/>
                                                    <a:pt x="10513" y="53831"/>
                                                  </a:cubicBezTo>
                                                  <a:cubicBezTo>
                                                    <a:pt x="10643" y="56163"/>
                                                    <a:pt x="10189" y="58560"/>
                                                    <a:pt x="10643" y="60828"/>
                                                  </a:cubicBezTo>
                                                  <a:cubicBezTo>
                                                    <a:pt x="11226" y="63484"/>
                                                    <a:pt x="12975" y="65751"/>
                                                    <a:pt x="14660" y="67889"/>
                                                  </a:cubicBezTo>
                                                  <a:cubicBezTo>
                                                    <a:pt x="18676" y="72878"/>
                                                    <a:pt x="22888" y="77996"/>
                                                    <a:pt x="28589" y="80976"/>
                                                  </a:cubicBezTo>
                                                  <a:cubicBezTo>
                                                    <a:pt x="38177" y="86029"/>
                                                    <a:pt x="51199" y="83373"/>
                                                    <a:pt x="58066" y="75016"/>
                                                  </a:cubicBezTo>
                                                  <a:cubicBezTo>
                                                    <a:pt x="59362" y="73461"/>
                                                    <a:pt x="60528" y="71647"/>
                                                    <a:pt x="62277" y="70675"/>
                                                  </a:cubicBezTo>
                                                  <a:cubicBezTo>
                                                    <a:pt x="65063" y="69185"/>
                                                    <a:pt x="68561" y="70092"/>
                                                    <a:pt x="71218" y="71776"/>
                                                  </a:cubicBezTo>
                                                  <a:cubicBezTo>
                                                    <a:pt x="73874" y="73461"/>
                                                    <a:pt x="76012" y="75858"/>
                                                    <a:pt x="78538" y="77737"/>
                                                  </a:cubicBezTo>
                                                  <a:cubicBezTo>
                                                    <a:pt x="87155" y="83891"/>
                                                    <a:pt x="98687" y="82531"/>
                                                    <a:pt x="109571" y="82984"/>
                                                  </a:cubicBezTo>
                                                  <a:cubicBezTo>
                                                    <a:pt x="111644" y="78449"/>
                                                    <a:pt x="114106" y="73979"/>
                                                    <a:pt x="118123" y="71129"/>
                                                  </a:cubicBezTo>
                                                  <a:cubicBezTo>
                                                    <a:pt x="120844" y="69185"/>
                                                    <a:pt x="124148" y="68148"/>
                                                    <a:pt x="127128" y="66658"/>
                                                  </a:cubicBezTo>
                                                  <a:cubicBezTo>
                                                    <a:pt x="133347" y="63614"/>
                                                    <a:pt x="138530" y="58755"/>
                                                    <a:pt x="144750" y="55645"/>
                                                  </a:cubicBezTo>
                                                  <a:cubicBezTo>
                                                    <a:pt x="145527" y="55256"/>
                                                    <a:pt x="146304" y="54932"/>
                                                    <a:pt x="147082" y="54608"/>
                                                  </a:cubicBezTo>
                                                  <a:cubicBezTo>
                                                    <a:pt x="144296" y="49101"/>
                                                    <a:pt x="141964" y="43012"/>
                                                    <a:pt x="137040" y="3944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4" name="Freeform: Shape 204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F62B2923-1F4E-43C8-B517-3EF07897074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382516" y="2727192"/>
                                              <a:ext cx="238020" cy="21163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17800 w 238020"/>
                                                <a:gd name="connsiteY0" fmla="*/ 105966 h 211631"/>
                                                <a:gd name="connsiteX1" fmla="*/ 222335 w 238020"/>
                                                <a:gd name="connsiteY1" fmla="*/ 83485 h 211631"/>
                                                <a:gd name="connsiteX2" fmla="*/ 219355 w 238020"/>
                                                <a:gd name="connsiteY2" fmla="*/ 76618 h 211631"/>
                                                <a:gd name="connsiteX3" fmla="*/ 227324 w 238020"/>
                                                <a:gd name="connsiteY3" fmla="*/ 68908 h 211631"/>
                                                <a:gd name="connsiteX4" fmla="*/ 227324 w 238020"/>
                                                <a:gd name="connsiteY4" fmla="*/ 55821 h 211631"/>
                                                <a:gd name="connsiteX5" fmla="*/ 220780 w 238020"/>
                                                <a:gd name="connsiteY5" fmla="*/ 49667 h 211631"/>
                                                <a:gd name="connsiteX6" fmla="*/ 220910 w 238020"/>
                                                <a:gd name="connsiteY6" fmla="*/ 46363 h 211631"/>
                                                <a:gd name="connsiteX7" fmla="*/ 217800 w 238020"/>
                                                <a:gd name="connsiteY7" fmla="*/ 32499 h 211631"/>
                                                <a:gd name="connsiteX8" fmla="*/ 211451 w 238020"/>
                                                <a:gd name="connsiteY8" fmla="*/ 31009 h 211631"/>
                                                <a:gd name="connsiteX9" fmla="*/ 204325 w 238020"/>
                                                <a:gd name="connsiteY9" fmla="*/ 25761 h 211631"/>
                                                <a:gd name="connsiteX10" fmla="*/ 183658 w 238020"/>
                                                <a:gd name="connsiteY10" fmla="*/ 20837 h 211631"/>
                                                <a:gd name="connsiteX11" fmla="*/ 168757 w 238020"/>
                                                <a:gd name="connsiteY11" fmla="*/ 20449 h 211631"/>
                                                <a:gd name="connsiteX12" fmla="*/ 162797 w 238020"/>
                                                <a:gd name="connsiteY12" fmla="*/ 19412 h 211631"/>
                                                <a:gd name="connsiteX13" fmla="*/ 159558 w 238020"/>
                                                <a:gd name="connsiteY13" fmla="*/ 16626 h 211631"/>
                                                <a:gd name="connsiteX14" fmla="*/ 157290 w 238020"/>
                                                <a:gd name="connsiteY14" fmla="*/ 13776 h 211631"/>
                                                <a:gd name="connsiteX15" fmla="*/ 156966 w 238020"/>
                                                <a:gd name="connsiteY15" fmla="*/ 13970 h 211631"/>
                                                <a:gd name="connsiteX16" fmla="*/ 154828 w 238020"/>
                                                <a:gd name="connsiteY16" fmla="*/ 13581 h 211631"/>
                                                <a:gd name="connsiteX17" fmla="*/ 143491 w 238020"/>
                                                <a:gd name="connsiteY17" fmla="*/ 3863 h 211631"/>
                                                <a:gd name="connsiteX18" fmla="*/ 129886 w 238020"/>
                                                <a:gd name="connsiteY18" fmla="*/ 1466 h 211631"/>
                                                <a:gd name="connsiteX19" fmla="*/ 126517 w 238020"/>
                                                <a:gd name="connsiteY19" fmla="*/ 6390 h 211631"/>
                                                <a:gd name="connsiteX20" fmla="*/ 119520 w 238020"/>
                                                <a:gd name="connsiteY20" fmla="*/ 26927 h 211631"/>
                                                <a:gd name="connsiteX21" fmla="*/ 109867 w 238020"/>
                                                <a:gd name="connsiteY21" fmla="*/ 25891 h 211631"/>
                                                <a:gd name="connsiteX22" fmla="*/ 106239 w 238020"/>
                                                <a:gd name="connsiteY22" fmla="*/ 15395 h 211631"/>
                                                <a:gd name="connsiteX23" fmla="*/ 100279 w 238020"/>
                                                <a:gd name="connsiteY23" fmla="*/ 6390 h 211631"/>
                                                <a:gd name="connsiteX24" fmla="*/ 85961 w 238020"/>
                                                <a:gd name="connsiteY24" fmla="*/ 9241 h 211631"/>
                                                <a:gd name="connsiteX25" fmla="*/ 69052 w 238020"/>
                                                <a:gd name="connsiteY25" fmla="*/ 9888 h 211631"/>
                                                <a:gd name="connsiteX26" fmla="*/ 44887 w 238020"/>
                                                <a:gd name="connsiteY26" fmla="*/ 23623 h 211631"/>
                                                <a:gd name="connsiteX27" fmla="*/ 40611 w 238020"/>
                                                <a:gd name="connsiteY27" fmla="*/ 29519 h 211631"/>
                                                <a:gd name="connsiteX28" fmla="*/ 10356 w 238020"/>
                                                <a:gd name="connsiteY28" fmla="*/ 33924 h 211631"/>
                                                <a:gd name="connsiteX29" fmla="*/ 7506 w 238020"/>
                                                <a:gd name="connsiteY29" fmla="*/ 42929 h 211631"/>
                                                <a:gd name="connsiteX30" fmla="*/ 2064 w 238020"/>
                                                <a:gd name="connsiteY30" fmla="*/ 43707 h 211631"/>
                                                <a:gd name="connsiteX31" fmla="*/ 833 w 238020"/>
                                                <a:gd name="connsiteY31" fmla="*/ 60357 h 211631"/>
                                                <a:gd name="connsiteX32" fmla="*/ 3489 w 238020"/>
                                                <a:gd name="connsiteY32" fmla="*/ 70204 h 211631"/>
                                                <a:gd name="connsiteX33" fmla="*/ 1546 w 238020"/>
                                                <a:gd name="connsiteY33" fmla="*/ 75840 h 211631"/>
                                                <a:gd name="connsiteX34" fmla="*/ 7376 w 238020"/>
                                                <a:gd name="connsiteY34" fmla="*/ 91389 h 211631"/>
                                                <a:gd name="connsiteX35" fmla="*/ 10939 w 238020"/>
                                                <a:gd name="connsiteY35" fmla="*/ 105253 h 211631"/>
                                                <a:gd name="connsiteX36" fmla="*/ 15474 w 238020"/>
                                                <a:gd name="connsiteY36" fmla="*/ 135897 h 211631"/>
                                                <a:gd name="connsiteX37" fmla="*/ 17029 w 238020"/>
                                                <a:gd name="connsiteY37" fmla="*/ 144902 h 211631"/>
                                                <a:gd name="connsiteX38" fmla="*/ 30958 w 238020"/>
                                                <a:gd name="connsiteY38" fmla="*/ 149631 h 211631"/>
                                                <a:gd name="connsiteX39" fmla="*/ 59399 w 238020"/>
                                                <a:gd name="connsiteY39" fmla="*/ 166346 h 211631"/>
                                                <a:gd name="connsiteX40" fmla="*/ 67044 w 238020"/>
                                                <a:gd name="connsiteY40" fmla="*/ 168937 h 211631"/>
                                                <a:gd name="connsiteX41" fmla="*/ 70412 w 238020"/>
                                                <a:gd name="connsiteY41" fmla="*/ 173084 h 211631"/>
                                                <a:gd name="connsiteX42" fmla="*/ 96327 w 238020"/>
                                                <a:gd name="connsiteY42" fmla="*/ 184227 h 211631"/>
                                                <a:gd name="connsiteX43" fmla="*/ 106369 w 238020"/>
                                                <a:gd name="connsiteY43" fmla="*/ 199387 h 211631"/>
                                                <a:gd name="connsiteX44" fmla="*/ 133384 w 238020"/>
                                                <a:gd name="connsiteY44" fmla="*/ 196536 h 211631"/>
                                                <a:gd name="connsiteX45" fmla="*/ 163121 w 238020"/>
                                                <a:gd name="connsiteY45" fmla="*/ 200618 h 211631"/>
                                                <a:gd name="connsiteX46" fmla="*/ 182621 w 238020"/>
                                                <a:gd name="connsiteY46" fmla="*/ 206707 h 211631"/>
                                                <a:gd name="connsiteX47" fmla="*/ 197652 w 238020"/>
                                                <a:gd name="connsiteY47" fmla="*/ 211631 h 211631"/>
                                                <a:gd name="connsiteX48" fmla="*/ 197652 w 238020"/>
                                                <a:gd name="connsiteY48" fmla="*/ 193232 h 211631"/>
                                                <a:gd name="connsiteX49" fmla="*/ 212941 w 238020"/>
                                                <a:gd name="connsiteY49" fmla="*/ 178914 h 211631"/>
                                                <a:gd name="connsiteX50" fmla="*/ 228166 w 238020"/>
                                                <a:gd name="connsiteY50" fmla="*/ 162783 h 211631"/>
                                                <a:gd name="connsiteX51" fmla="*/ 237949 w 238020"/>
                                                <a:gd name="connsiteY51" fmla="*/ 151575 h 211631"/>
                                                <a:gd name="connsiteX52" fmla="*/ 223631 w 238020"/>
                                                <a:gd name="connsiteY52" fmla="*/ 134407 h 211631"/>
                                                <a:gd name="connsiteX53" fmla="*/ 224862 w 238020"/>
                                                <a:gd name="connsiteY53" fmla="*/ 130520 h 211631"/>
                                                <a:gd name="connsiteX54" fmla="*/ 228425 w 238020"/>
                                                <a:gd name="connsiteY54" fmla="*/ 123976 h 211631"/>
                                                <a:gd name="connsiteX55" fmla="*/ 217930 w 238020"/>
                                                <a:gd name="connsiteY55" fmla="*/ 106160 h 21163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38020" h="211631">
                                                  <a:moveTo>
                                                    <a:pt x="217800" y="105966"/>
                                                  </a:moveTo>
                                                  <a:cubicBezTo>
                                                    <a:pt x="218318" y="98127"/>
                                                    <a:pt x="225574" y="90611"/>
                                                    <a:pt x="222335" y="83485"/>
                                                  </a:cubicBezTo>
                                                  <a:cubicBezTo>
                                                    <a:pt x="221299" y="81218"/>
                                                    <a:pt x="219161" y="79144"/>
                                                    <a:pt x="219355" y="76618"/>
                                                  </a:cubicBezTo>
                                                  <a:cubicBezTo>
                                                    <a:pt x="219614" y="72795"/>
                                                    <a:pt x="224473" y="71500"/>
                                                    <a:pt x="227324" y="68908"/>
                                                  </a:cubicBezTo>
                                                  <a:cubicBezTo>
                                                    <a:pt x="231016" y="65604"/>
                                                    <a:pt x="230952" y="59061"/>
                                                    <a:pt x="227324" y="55821"/>
                                                  </a:cubicBezTo>
                                                  <a:cubicBezTo>
                                                    <a:pt x="225056" y="53748"/>
                                                    <a:pt x="221493" y="52647"/>
                                                    <a:pt x="220780" y="49667"/>
                                                  </a:cubicBezTo>
                                                  <a:cubicBezTo>
                                                    <a:pt x="220521" y="48566"/>
                                                    <a:pt x="220715" y="47464"/>
                                                    <a:pt x="220910" y="46363"/>
                                                  </a:cubicBezTo>
                                                  <a:cubicBezTo>
                                                    <a:pt x="221817" y="41374"/>
                                                    <a:pt x="222335" y="34831"/>
                                                    <a:pt x="217800" y="32499"/>
                                                  </a:cubicBezTo>
                                                  <a:cubicBezTo>
                                                    <a:pt x="215856" y="31527"/>
                                                    <a:pt x="213524" y="31721"/>
                                                    <a:pt x="211451" y="31009"/>
                                                  </a:cubicBezTo>
                                                  <a:cubicBezTo>
                                                    <a:pt x="208665" y="30037"/>
                                                    <a:pt x="206657" y="27575"/>
                                                    <a:pt x="204325" y="25761"/>
                                                  </a:cubicBezTo>
                                                  <a:cubicBezTo>
                                                    <a:pt x="198624" y="21356"/>
                                                    <a:pt x="190849" y="21032"/>
                                                    <a:pt x="183658" y="20837"/>
                                                  </a:cubicBezTo>
                                                  <a:cubicBezTo>
                                                    <a:pt x="178669" y="20708"/>
                                                    <a:pt x="173681" y="20578"/>
                                                    <a:pt x="168757" y="20449"/>
                                                  </a:cubicBezTo>
                                                  <a:cubicBezTo>
                                                    <a:pt x="166749" y="20449"/>
                                                    <a:pt x="164611" y="20319"/>
                                                    <a:pt x="162797" y="19412"/>
                                                  </a:cubicBezTo>
                                                  <a:cubicBezTo>
                                                    <a:pt x="161566" y="18764"/>
                                                    <a:pt x="160530" y="17728"/>
                                                    <a:pt x="159558" y="16626"/>
                                                  </a:cubicBezTo>
                                                  <a:cubicBezTo>
                                                    <a:pt x="158715" y="15719"/>
                                                    <a:pt x="158068" y="14747"/>
                                                    <a:pt x="157290" y="13776"/>
                                                  </a:cubicBezTo>
                                                  <a:cubicBezTo>
                                                    <a:pt x="157161" y="13776"/>
                                                    <a:pt x="157096" y="13905"/>
                                                    <a:pt x="156966" y="13970"/>
                                                  </a:cubicBezTo>
                                                  <a:cubicBezTo>
                                                    <a:pt x="156253" y="14100"/>
                                                    <a:pt x="155476" y="13840"/>
                                                    <a:pt x="154828" y="13581"/>
                                                  </a:cubicBezTo>
                                                  <a:cubicBezTo>
                                                    <a:pt x="150228" y="11573"/>
                                                    <a:pt x="147249" y="7167"/>
                                                    <a:pt x="143491" y="3863"/>
                                                  </a:cubicBezTo>
                                                  <a:cubicBezTo>
                                                    <a:pt x="139733" y="559"/>
                                                    <a:pt x="133838" y="-1579"/>
                                                    <a:pt x="129886" y="1466"/>
                                                  </a:cubicBezTo>
                                                  <a:cubicBezTo>
                                                    <a:pt x="128331" y="2697"/>
                                                    <a:pt x="127359" y="4576"/>
                                                    <a:pt x="126517" y="6390"/>
                                                  </a:cubicBezTo>
                                                  <a:cubicBezTo>
                                                    <a:pt x="123472" y="12933"/>
                                                    <a:pt x="121140" y="19866"/>
                                                    <a:pt x="119520" y="26927"/>
                                                  </a:cubicBezTo>
                                                  <a:cubicBezTo>
                                                    <a:pt x="117318" y="29907"/>
                                                    <a:pt x="112199" y="28806"/>
                                                    <a:pt x="109867" y="25891"/>
                                                  </a:cubicBezTo>
                                                  <a:cubicBezTo>
                                                    <a:pt x="107535" y="22975"/>
                                                    <a:pt x="107081" y="19023"/>
                                                    <a:pt x="106239" y="15395"/>
                                                  </a:cubicBezTo>
                                                  <a:cubicBezTo>
                                                    <a:pt x="105397" y="11767"/>
                                                    <a:pt x="103712" y="7815"/>
                                                    <a:pt x="100279" y="6390"/>
                                                  </a:cubicBezTo>
                                                  <a:cubicBezTo>
                                                    <a:pt x="95679" y="4446"/>
                                                    <a:pt x="90755" y="7880"/>
                                                    <a:pt x="85961" y="9241"/>
                                                  </a:cubicBezTo>
                                                  <a:cubicBezTo>
                                                    <a:pt x="80519" y="10795"/>
                                                    <a:pt x="74688" y="9565"/>
                                                    <a:pt x="69052" y="9888"/>
                                                  </a:cubicBezTo>
                                                  <a:cubicBezTo>
                                                    <a:pt x="59464" y="10407"/>
                                                    <a:pt x="50264" y="15654"/>
                                                    <a:pt x="44887" y="23623"/>
                                                  </a:cubicBezTo>
                                                  <a:cubicBezTo>
                                                    <a:pt x="43527" y="25631"/>
                                                    <a:pt x="42360" y="27834"/>
                                                    <a:pt x="40611" y="29519"/>
                                                  </a:cubicBezTo>
                                                  <a:cubicBezTo>
                                                    <a:pt x="33031" y="36710"/>
                                                    <a:pt x="20268" y="30555"/>
                                                    <a:pt x="10356" y="33924"/>
                                                  </a:cubicBezTo>
                                                  <a:cubicBezTo>
                                                    <a:pt x="11652" y="37098"/>
                                                    <a:pt x="10356" y="41115"/>
                                                    <a:pt x="7506" y="42929"/>
                                                  </a:cubicBezTo>
                                                  <a:cubicBezTo>
                                                    <a:pt x="5886" y="43901"/>
                                                    <a:pt x="3878" y="44095"/>
                                                    <a:pt x="2064" y="43707"/>
                                                  </a:cubicBezTo>
                                                  <a:cubicBezTo>
                                                    <a:pt x="379" y="49343"/>
                                                    <a:pt x="-916" y="54915"/>
                                                    <a:pt x="833" y="60357"/>
                                                  </a:cubicBezTo>
                                                  <a:cubicBezTo>
                                                    <a:pt x="1869" y="63596"/>
                                                    <a:pt x="4007" y="66770"/>
                                                    <a:pt x="3489" y="70204"/>
                                                  </a:cubicBezTo>
                                                  <a:cubicBezTo>
                                                    <a:pt x="3165" y="72212"/>
                                                    <a:pt x="1999" y="73897"/>
                                                    <a:pt x="1546" y="75840"/>
                                                  </a:cubicBezTo>
                                                  <a:cubicBezTo>
                                                    <a:pt x="250" y="81347"/>
                                                    <a:pt x="4849" y="86271"/>
                                                    <a:pt x="7376" y="91389"/>
                                                  </a:cubicBezTo>
                                                  <a:cubicBezTo>
                                                    <a:pt x="9514" y="95665"/>
                                                    <a:pt x="10227" y="100524"/>
                                                    <a:pt x="10939" y="105253"/>
                                                  </a:cubicBezTo>
                                                  <a:cubicBezTo>
                                                    <a:pt x="12429" y="115489"/>
                                                    <a:pt x="13984" y="125725"/>
                                                    <a:pt x="15474" y="135897"/>
                                                  </a:cubicBezTo>
                                                  <a:cubicBezTo>
                                                    <a:pt x="15928" y="138877"/>
                                                    <a:pt x="16446" y="141922"/>
                                                    <a:pt x="17029" y="144902"/>
                                                  </a:cubicBezTo>
                                                  <a:cubicBezTo>
                                                    <a:pt x="21823" y="144513"/>
                                                    <a:pt x="26812" y="146845"/>
                                                    <a:pt x="30958" y="149631"/>
                                                  </a:cubicBezTo>
                                                  <a:cubicBezTo>
                                                    <a:pt x="40222" y="155721"/>
                                                    <a:pt x="48580" y="164014"/>
                                                    <a:pt x="59399" y="166346"/>
                                                  </a:cubicBezTo>
                                                  <a:cubicBezTo>
                                                    <a:pt x="62055" y="166929"/>
                                                    <a:pt x="64906" y="167188"/>
                                                    <a:pt x="67044" y="168937"/>
                                                  </a:cubicBezTo>
                                                  <a:cubicBezTo>
                                                    <a:pt x="68404" y="170104"/>
                                                    <a:pt x="69246" y="171723"/>
                                                    <a:pt x="70412" y="173084"/>
                                                  </a:cubicBezTo>
                                                  <a:cubicBezTo>
                                                    <a:pt x="76502" y="180405"/>
                                                    <a:pt x="88682" y="178526"/>
                                                    <a:pt x="96327" y="184227"/>
                                                  </a:cubicBezTo>
                                                  <a:cubicBezTo>
                                                    <a:pt x="101186" y="187855"/>
                                                    <a:pt x="103518" y="193880"/>
                                                    <a:pt x="106369" y="199387"/>
                                                  </a:cubicBezTo>
                                                  <a:cubicBezTo>
                                                    <a:pt x="114791" y="195888"/>
                                                    <a:pt x="124250" y="195629"/>
                                                    <a:pt x="133384" y="196536"/>
                                                  </a:cubicBezTo>
                                                  <a:cubicBezTo>
                                                    <a:pt x="143361" y="197573"/>
                                                    <a:pt x="153144" y="199905"/>
                                                    <a:pt x="163121" y="200618"/>
                                                  </a:cubicBezTo>
                                                  <a:cubicBezTo>
                                                    <a:pt x="170118" y="201136"/>
                                                    <a:pt x="178216" y="201266"/>
                                                    <a:pt x="182621" y="206707"/>
                                                  </a:cubicBezTo>
                                                  <a:cubicBezTo>
                                                    <a:pt x="187804" y="207679"/>
                                                    <a:pt x="192858" y="209428"/>
                                                    <a:pt x="197652" y="211631"/>
                                                  </a:cubicBezTo>
                                                  <a:cubicBezTo>
                                                    <a:pt x="197716" y="205541"/>
                                                    <a:pt x="195319" y="198933"/>
                                                    <a:pt x="197652" y="193232"/>
                                                  </a:cubicBezTo>
                                                  <a:cubicBezTo>
                                                    <a:pt x="200373" y="186689"/>
                                                    <a:pt x="208147" y="184097"/>
                                                    <a:pt x="212941" y="178914"/>
                                                  </a:cubicBezTo>
                                                  <a:cubicBezTo>
                                                    <a:pt x="218513" y="172889"/>
                                                    <a:pt x="220715" y="166216"/>
                                                    <a:pt x="228166" y="162783"/>
                                                  </a:cubicBezTo>
                                                  <a:cubicBezTo>
                                                    <a:pt x="233025" y="160515"/>
                                                    <a:pt x="238726" y="156887"/>
                                                    <a:pt x="237949" y="151575"/>
                                                  </a:cubicBezTo>
                                                  <a:cubicBezTo>
                                                    <a:pt x="236847" y="143865"/>
                                                    <a:pt x="223048" y="142181"/>
                                                    <a:pt x="223631" y="134407"/>
                                                  </a:cubicBezTo>
                                                  <a:cubicBezTo>
                                                    <a:pt x="223696" y="133046"/>
                                                    <a:pt x="224278" y="131750"/>
                                                    <a:pt x="224862" y="130520"/>
                                                  </a:cubicBezTo>
                                                  <a:cubicBezTo>
                                                    <a:pt x="225898" y="128317"/>
                                                    <a:pt x="227129" y="126114"/>
                                                    <a:pt x="228425" y="123976"/>
                                                  </a:cubicBezTo>
                                                  <a:cubicBezTo>
                                                    <a:pt x="222530" y="119247"/>
                                                    <a:pt x="217411" y="113416"/>
                                                    <a:pt x="217930" y="10616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5" name="Freeform: Shape 204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8E14D05-294F-4426-9C8E-D3E3B1E106B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600085" y="2679580"/>
                                              <a:ext cx="228384" cy="17879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4305 w 228384"/>
                                                <a:gd name="connsiteY0" fmla="*/ 114123 h 178792"/>
                                                <a:gd name="connsiteX1" fmla="*/ 221085 w 228384"/>
                                                <a:gd name="connsiteY1" fmla="*/ 112763 h 178792"/>
                                                <a:gd name="connsiteX2" fmla="*/ 228147 w 228384"/>
                                                <a:gd name="connsiteY2" fmla="*/ 98963 h 178792"/>
                                                <a:gd name="connsiteX3" fmla="*/ 218493 w 228384"/>
                                                <a:gd name="connsiteY3" fmla="*/ 85488 h 178792"/>
                                                <a:gd name="connsiteX4" fmla="*/ 204305 w 228384"/>
                                                <a:gd name="connsiteY4" fmla="*/ 76223 h 178792"/>
                                                <a:gd name="connsiteX5" fmla="*/ 187526 w 228384"/>
                                                <a:gd name="connsiteY5" fmla="*/ 48560 h 178792"/>
                                                <a:gd name="connsiteX6" fmla="*/ 187396 w 228384"/>
                                                <a:gd name="connsiteY6" fmla="*/ 25950 h 178792"/>
                                                <a:gd name="connsiteX7" fmla="*/ 173662 w 228384"/>
                                                <a:gd name="connsiteY7" fmla="*/ 10336 h 178792"/>
                                                <a:gd name="connsiteX8" fmla="*/ 161677 w 228384"/>
                                                <a:gd name="connsiteY8" fmla="*/ 14159 h 178792"/>
                                                <a:gd name="connsiteX9" fmla="*/ 149627 w 228384"/>
                                                <a:gd name="connsiteY9" fmla="*/ 13900 h 178792"/>
                                                <a:gd name="connsiteX10" fmla="*/ 144897 w 228384"/>
                                                <a:gd name="connsiteY10" fmla="*/ 7745 h 178792"/>
                                                <a:gd name="connsiteX11" fmla="*/ 127146 w 228384"/>
                                                <a:gd name="connsiteY11" fmla="*/ 3404 h 178792"/>
                                                <a:gd name="connsiteX12" fmla="*/ 114642 w 228384"/>
                                                <a:gd name="connsiteY12" fmla="*/ 683 h 178792"/>
                                                <a:gd name="connsiteX13" fmla="*/ 109783 w 228384"/>
                                                <a:gd name="connsiteY13" fmla="*/ 5866 h 178792"/>
                                                <a:gd name="connsiteX14" fmla="*/ 106090 w 228384"/>
                                                <a:gd name="connsiteY14" fmla="*/ 8004 h 178792"/>
                                                <a:gd name="connsiteX15" fmla="*/ 90866 w 228384"/>
                                                <a:gd name="connsiteY15" fmla="*/ 10919 h 178792"/>
                                                <a:gd name="connsiteX16" fmla="*/ 78945 w 228384"/>
                                                <a:gd name="connsiteY16" fmla="*/ 19730 h 178792"/>
                                                <a:gd name="connsiteX17" fmla="*/ 78492 w 228384"/>
                                                <a:gd name="connsiteY17" fmla="*/ 35668 h 178792"/>
                                                <a:gd name="connsiteX18" fmla="*/ 56724 w 228384"/>
                                                <a:gd name="connsiteY18" fmla="*/ 55881 h 178792"/>
                                                <a:gd name="connsiteX19" fmla="*/ 54392 w 228384"/>
                                                <a:gd name="connsiteY19" fmla="*/ 65469 h 178792"/>
                                                <a:gd name="connsiteX20" fmla="*/ 48172 w 228384"/>
                                                <a:gd name="connsiteY20" fmla="*/ 69227 h 178792"/>
                                                <a:gd name="connsiteX21" fmla="*/ 47524 w 228384"/>
                                                <a:gd name="connsiteY21" fmla="*/ 74928 h 178792"/>
                                                <a:gd name="connsiteX22" fmla="*/ 35539 w 228384"/>
                                                <a:gd name="connsiteY22" fmla="*/ 77130 h 178792"/>
                                                <a:gd name="connsiteX23" fmla="*/ 28283 w 228384"/>
                                                <a:gd name="connsiteY23" fmla="*/ 87431 h 178792"/>
                                                <a:gd name="connsiteX24" fmla="*/ 15326 w 228384"/>
                                                <a:gd name="connsiteY24" fmla="*/ 85229 h 178792"/>
                                                <a:gd name="connsiteX25" fmla="*/ 3664 w 228384"/>
                                                <a:gd name="connsiteY25" fmla="*/ 86265 h 178792"/>
                                                <a:gd name="connsiteX26" fmla="*/ 3146 w 228384"/>
                                                <a:gd name="connsiteY26" fmla="*/ 93910 h 178792"/>
                                                <a:gd name="connsiteX27" fmla="*/ 3017 w 228384"/>
                                                <a:gd name="connsiteY27" fmla="*/ 97214 h 178792"/>
                                                <a:gd name="connsiteX28" fmla="*/ 9560 w 228384"/>
                                                <a:gd name="connsiteY28" fmla="*/ 103369 h 178792"/>
                                                <a:gd name="connsiteX29" fmla="*/ 9560 w 228384"/>
                                                <a:gd name="connsiteY29" fmla="*/ 116455 h 178792"/>
                                                <a:gd name="connsiteX30" fmla="*/ 1591 w 228384"/>
                                                <a:gd name="connsiteY30" fmla="*/ 124165 h 178792"/>
                                                <a:gd name="connsiteX31" fmla="*/ 4571 w 228384"/>
                                                <a:gd name="connsiteY31" fmla="*/ 131032 h 178792"/>
                                                <a:gd name="connsiteX32" fmla="*/ 36 w 228384"/>
                                                <a:gd name="connsiteY32" fmla="*/ 153513 h 178792"/>
                                                <a:gd name="connsiteX33" fmla="*/ 10531 w 228384"/>
                                                <a:gd name="connsiteY33" fmla="*/ 171329 h 178792"/>
                                                <a:gd name="connsiteX34" fmla="*/ 19926 w 228384"/>
                                                <a:gd name="connsiteY34" fmla="*/ 160898 h 178792"/>
                                                <a:gd name="connsiteX35" fmla="*/ 54327 w 228384"/>
                                                <a:gd name="connsiteY35" fmla="*/ 158955 h 178792"/>
                                                <a:gd name="connsiteX36" fmla="*/ 89959 w 228384"/>
                                                <a:gd name="connsiteY36" fmla="*/ 166211 h 178792"/>
                                                <a:gd name="connsiteX37" fmla="*/ 157854 w 228384"/>
                                                <a:gd name="connsiteY37" fmla="*/ 178455 h 178792"/>
                                                <a:gd name="connsiteX38" fmla="*/ 167767 w 228384"/>
                                                <a:gd name="connsiteY38" fmla="*/ 177160 h 178792"/>
                                                <a:gd name="connsiteX39" fmla="*/ 171654 w 228384"/>
                                                <a:gd name="connsiteY39" fmla="*/ 171588 h 178792"/>
                                                <a:gd name="connsiteX40" fmla="*/ 202427 w 228384"/>
                                                <a:gd name="connsiteY40" fmla="*/ 148524 h 178792"/>
                                                <a:gd name="connsiteX41" fmla="*/ 200548 w 228384"/>
                                                <a:gd name="connsiteY41" fmla="*/ 130579 h 178792"/>
                                                <a:gd name="connsiteX42" fmla="*/ 204111 w 228384"/>
                                                <a:gd name="connsiteY42" fmla="*/ 114058 h 17879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28384" h="178792">
                                                  <a:moveTo>
                                                    <a:pt x="204305" y="114123"/>
                                                  </a:moveTo>
                                                  <a:cubicBezTo>
                                                    <a:pt x="209164" y="111143"/>
                                                    <a:pt x="215708" y="114447"/>
                                                    <a:pt x="221085" y="112763"/>
                                                  </a:cubicBezTo>
                                                  <a:cubicBezTo>
                                                    <a:pt x="226462" y="111078"/>
                                                    <a:pt x="229248" y="104535"/>
                                                    <a:pt x="228147" y="98963"/>
                                                  </a:cubicBezTo>
                                                  <a:cubicBezTo>
                                                    <a:pt x="227045" y="93392"/>
                                                    <a:pt x="223029" y="88857"/>
                                                    <a:pt x="218493" y="85488"/>
                                                  </a:cubicBezTo>
                                                  <a:cubicBezTo>
                                                    <a:pt x="213959" y="82119"/>
                                                    <a:pt x="208840" y="79592"/>
                                                    <a:pt x="204305" y="76223"/>
                                                  </a:cubicBezTo>
                                                  <a:cubicBezTo>
                                                    <a:pt x="195365" y="69680"/>
                                                    <a:pt x="188692" y="59638"/>
                                                    <a:pt x="187526" y="48560"/>
                                                  </a:cubicBezTo>
                                                  <a:cubicBezTo>
                                                    <a:pt x="186749" y="41045"/>
                                                    <a:pt x="188433" y="33465"/>
                                                    <a:pt x="187396" y="25950"/>
                                                  </a:cubicBezTo>
                                                  <a:cubicBezTo>
                                                    <a:pt x="186360" y="18499"/>
                                                    <a:pt x="181242" y="10531"/>
                                                    <a:pt x="173662" y="10336"/>
                                                  </a:cubicBezTo>
                                                  <a:cubicBezTo>
                                                    <a:pt x="169451" y="10207"/>
                                                    <a:pt x="165564" y="12539"/>
                                                    <a:pt x="161677" y="14159"/>
                                                  </a:cubicBezTo>
                                                  <a:cubicBezTo>
                                                    <a:pt x="157789" y="15778"/>
                                                    <a:pt x="152866" y="16621"/>
                                                    <a:pt x="149627" y="13900"/>
                                                  </a:cubicBezTo>
                                                  <a:cubicBezTo>
                                                    <a:pt x="147618" y="12215"/>
                                                    <a:pt x="146711" y="9559"/>
                                                    <a:pt x="144897" y="7745"/>
                                                  </a:cubicBezTo>
                                                  <a:cubicBezTo>
                                                    <a:pt x="140492" y="3404"/>
                                                    <a:pt x="133041" y="5348"/>
                                                    <a:pt x="127146" y="3404"/>
                                                  </a:cubicBezTo>
                                                  <a:cubicBezTo>
                                                    <a:pt x="122935" y="1979"/>
                                                    <a:pt x="118529" y="-1455"/>
                                                    <a:pt x="114642" y="683"/>
                                                  </a:cubicBezTo>
                                                  <a:cubicBezTo>
                                                    <a:pt x="112569" y="1849"/>
                                                    <a:pt x="111533" y="4246"/>
                                                    <a:pt x="109783" y="5866"/>
                                                  </a:cubicBezTo>
                                                  <a:cubicBezTo>
                                                    <a:pt x="108746" y="6838"/>
                                                    <a:pt x="107451" y="7486"/>
                                                    <a:pt x="106090" y="8004"/>
                                                  </a:cubicBezTo>
                                                  <a:cubicBezTo>
                                                    <a:pt x="101232" y="9818"/>
                                                    <a:pt x="95919" y="9818"/>
                                                    <a:pt x="90866" y="10919"/>
                                                  </a:cubicBezTo>
                                                  <a:cubicBezTo>
                                                    <a:pt x="85812" y="12021"/>
                                                    <a:pt x="80565" y="14807"/>
                                                    <a:pt x="78945" y="19730"/>
                                                  </a:cubicBezTo>
                                                  <a:cubicBezTo>
                                                    <a:pt x="77326" y="24848"/>
                                                    <a:pt x="80111" y="30614"/>
                                                    <a:pt x="78492" y="35668"/>
                                                  </a:cubicBezTo>
                                                  <a:cubicBezTo>
                                                    <a:pt x="75317" y="45385"/>
                                                    <a:pt x="58862" y="45904"/>
                                                    <a:pt x="56724" y="55881"/>
                                                  </a:cubicBezTo>
                                                  <a:cubicBezTo>
                                                    <a:pt x="56011" y="59185"/>
                                                    <a:pt x="56983" y="63266"/>
                                                    <a:pt x="54392" y="65469"/>
                                                  </a:cubicBezTo>
                                                  <a:cubicBezTo>
                                                    <a:pt x="52513" y="67089"/>
                                                    <a:pt x="49273" y="67024"/>
                                                    <a:pt x="48172" y="69227"/>
                                                  </a:cubicBezTo>
                                                  <a:cubicBezTo>
                                                    <a:pt x="47330" y="70976"/>
                                                    <a:pt x="48302" y="73178"/>
                                                    <a:pt x="47524" y="74928"/>
                                                  </a:cubicBezTo>
                                                  <a:cubicBezTo>
                                                    <a:pt x="45775" y="78815"/>
                                                    <a:pt x="39491" y="75316"/>
                                                    <a:pt x="35539" y="77130"/>
                                                  </a:cubicBezTo>
                                                  <a:cubicBezTo>
                                                    <a:pt x="31652" y="78880"/>
                                                    <a:pt x="31846" y="85099"/>
                                                    <a:pt x="28283" y="87431"/>
                                                  </a:cubicBezTo>
                                                  <a:cubicBezTo>
                                                    <a:pt x="24461" y="89958"/>
                                                    <a:pt x="19731" y="86589"/>
                                                    <a:pt x="15326" y="85229"/>
                                                  </a:cubicBezTo>
                                                  <a:cubicBezTo>
                                                    <a:pt x="11503" y="84062"/>
                                                    <a:pt x="7357" y="84646"/>
                                                    <a:pt x="3664" y="86265"/>
                                                  </a:cubicBezTo>
                                                  <a:cubicBezTo>
                                                    <a:pt x="3923" y="88727"/>
                                                    <a:pt x="3664" y="91448"/>
                                                    <a:pt x="3146" y="93910"/>
                                                  </a:cubicBezTo>
                                                  <a:cubicBezTo>
                                                    <a:pt x="2952" y="95011"/>
                                                    <a:pt x="2757" y="96113"/>
                                                    <a:pt x="3017" y="97214"/>
                                                  </a:cubicBezTo>
                                                  <a:cubicBezTo>
                                                    <a:pt x="3729" y="100194"/>
                                                    <a:pt x="7292" y="101360"/>
                                                    <a:pt x="9560" y="103369"/>
                                                  </a:cubicBezTo>
                                                  <a:cubicBezTo>
                                                    <a:pt x="13252" y="106673"/>
                                                    <a:pt x="13252" y="113216"/>
                                                    <a:pt x="9560" y="116455"/>
                                                  </a:cubicBezTo>
                                                  <a:cubicBezTo>
                                                    <a:pt x="6709" y="119047"/>
                                                    <a:pt x="1850" y="120342"/>
                                                    <a:pt x="1591" y="124165"/>
                                                  </a:cubicBezTo>
                                                  <a:cubicBezTo>
                                                    <a:pt x="1397" y="126692"/>
                                                    <a:pt x="3535" y="128700"/>
                                                    <a:pt x="4571" y="131032"/>
                                                  </a:cubicBezTo>
                                                  <a:cubicBezTo>
                                                    <a:pt x="7811" y="138159"/>
                                                    <a:pt x="619" y="145739"/>
                                                    <a:pt x="36" y="153513"/>
                                                  </a:cubicBezTo>
                                                  <a:cubicBezTo>
                                                    <a:pt x="-482" y="160769"/>
                                                    <a:pt x="4636" y="166599"/>
                                                    <a:pt x="10531" y="171329"/>
                                                  </a:cubicBezTo>
                                                  <a:cubicBezTo>
                                                    <a:pt x="12993" y="167247"/>
                                                    <a:pt x="15974" y="163490"/>
                                                    <a:pt x="19926" y="160898"/>
                                                  </a:cubicBezTo>
                                                  <a:cubicBezTo>
                                                    <a:pt x="29838" y="154485"/>
                                                    <a:pt x="42795" y="156558"/>
                                                    <a:pt x="54327" y="158955"/>
                                                  </a:cubicBezTo>
                                                  <a:cubicBezTo>
                                                    <a:pt x="66183" y="161352"/>
                                                    <a:pt x="78103" y="163814"/>
                                                    <a:pt x="89959" y="166211"/>
                                                  </a:cubicBezTo>
                                                  <a:cubicBezTo>
                                                    <a:pt x="112504" y="170811"/>
                                                    <a:pt x="135050" y="175410"/>
                                                    <a:pt x="157854" y="178455"/>
                                                  </a:cubicBezTo>
                                                  <a:cubicBezTo>
                                                    <a:pt x="161223" y="178909"/>
                                                    <a:pt x="165045" y="179233"/>
                                                    <a:pt x="167767" y="177160"/>
                                                  </a:cubicBezTo>
                                                  <a:cubicBezTo>
                                                    <a:pt x="169580" y="175799"/>
                                                    <a:pt x="170552" y="173596"/>
                                                    <a:pt x="171654" y="171588"/>
                                                  </a:cubicBezTo>
                                                  <a:cubicBezTo>
                                                    <a:pt x="178002" y="159862"/>
                                                    <a:pt x="189599" y="153124"/>
                                                    <a:pt x="202427" y="148524"/>
                                                  </a:cubicBezTo>
                                                  <a:cubicBezTo>
                                                    <a:pt x="202038" y="142499"/>
                                                    <a:pt x="201455" y="136539"/>
                                                    <a:pt x="200548" y="130579"/>
                                                  </a:cubicBezTo>
                                                  <a:cubicBezTo>
                                                    <a:pt x="199576" y="124683"/>
                                                    <a:pt x="198993" y="117233"/>
                                                    <a:pt x="204111" y="11405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6" name="Freeform: Shape 204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ED8501B-42EB-449B-99EE-465454DD762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37667" y="2670286"/>
                                              <a:ext cx="141474" cy="9754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33071 w 141474"/>
                                                <a:gd name="connsiteY0" fmla="*/ 23323 h 97546"/>
                                                <a:gd name="connsiteX1" fmla="*/ 128730 w 141474"/>
                                                <a:gd name="connsiteY1" fmla="*/ 13540 h 97546"/>
                                                <a:gd name="connsiteX2" fmla="*/ 115449 w 141474"/>
                                                <a:gd name="connsiteY2" fmla="*/ 11014 h 97546"/>
                                                <a:gd name="connsiteX3" fmla="*/ 104954 w 141474"/>
                                                <a:gd name="connsiteY3" fmla="*/ 4146 h 97546"/>
                                                <a:gd name="connsiteX4" fmla="*/ 60511 w 141474"/>
                                                <a:gd name="connsiteY4" fmla="*/ 389 h 97546"/>
                                                <a:gd name="connsiteX5" fmla="*/ 36734 w 141474"/>
                                                <a:gd name="connsiteY5" fmla="*/ 2786 h 97546"/>
                                                <a:gd name="connsiteX6" fmla="*/ 649 w 141474"/>
                                                <a:gd name="connsiteY6" fmla="*/ 0 h 97546"/>
                                                <a:gd name="connsiteX7" fmla="*/ 325 w 141474"/>
                                                <a:gd name="connsiteY7" fmla="*/ 4989 h 97546"/>
                                                <a:gd name="connsiteX8" fmla="*/ 8358 w 141474"/>
                                                <a:gd name="connsiteY8" fmla="*/ 13411 h 97546"/>
                                                <a:gd name="connsiteX9" fmla="*/ 10237 w 141474"/>
                                                <a:gd name="connsiteY9" fmla="*/ 28376 h 97546"/>
                                                <a:gd name="connsiteX10" fmla="*/ 8941 w 141474"/>
                                                <a:gd name="connsiteY10" fmla="*/ 31162 h 97546"/>
                                                <a:gd name="connsiteX11" fmla="*/ 14837 w 141474"/>
                                                <a:gd name="connsiteY11" fmla="*/ 34790 h 97546"/>
                                                <a:gd name="connsiteX12" fmla="*/ 20020 w 141474"/>
                                                <a:gd name="connsiteY12" fmla="*/ 42888 h 97546"/>
                                                <a:gd name="connsiteX13" fmla="*/ 45092 w 141474"/>
                                                <a:gd name="connsiteY13" fmla="*/ 52282 h 97546"/>
                                                <a:gd name="connsiteX14" fmla="*/ 53060 w 141474"/>
                                                <a:gd name="connsiteY14" fmla="*/ 66470 h 97546"/>
                                                <a:gd name="connsiteX15" fmla="*/ 54810 w 141474"/>
                                                <a:gd name="connsiteY15" fmla="*/ 73661 h 97546"/>
                                                <a:gd name="connsiteX16" fmla="*/ 55004 w 141474"/>
                                                <a:gd name="connsiteY16" fmla="*/ 81695 h 97546"/>
                                                <a:gd name="connsiteX17" fmla="*/ 55911 w 141474"/>
                                                <a:gd name="connsiteY17" fmla="*/ 87655 h 97546"/>
                                                <a:gd name="connsiteX18" fmla="*/ 56105 w 141474"/>
                                                <a:gd name="connsiteY18" fmla="*/ 87785 h 97546"/>
                                                <a:gd name="connsiteX19" fmla="*/ 62454 w 141474"/>
                                                <a:gd name="connsiteY19" fmla="*/ 89275 h 97546"/>
                                                <a:gd name="connsiteX20" fmla="*/ 66082 w 141474"/>
                                                <a:gd name="connsiteY20" fmla="*/ 95494 h 97546"/>
                                                <a:gd name="connsiteX21" fmla="*/ 77744 w 141474"/>
                                                <a:gd name="connsiteY21" fmla="*/ 94458 h 97546"/>
                                                <a:gd name="connsiteX22" fmla="*/ 90701 w 141474"/>
                                                <a:gd name="connsiteY22" fmla="*/ 96660 h 97546"/>
                                                <a:gd name="connsiteX23" fmla="*/ 97957 w 141474"/>
                                                <a:gd name="connsiteY23" fmla="*/ 86359 h 97546"/>
                                                <a:gd name="connsiteX24" fmla="*/ 109942 w 141474"/>
                                                <a:gd name="connsiteY24" fmla="*/ 84157 h 97546"/>
                                                <a:gd name="connsiteX25" fmla="*/ 110590 w 141474"/>
                                                <a:gd name="connsiteY25" fmla="*/ 78456 h 97546"/>
                                                <a:gd name="connsiteX26" fmla="*/ 116810 w 141474"/>
                                                <a:gd name="connsiteY26" fmla="*/ 74698 h 97546"/>
                                                <a:gd name="connsiteX27" fmla="*/ 119142 w 141474"/>
                                                <a:gd name="connsiteY27" fmla="*/ 65110 h 97546"/>
                                                <a:gd name="connsiteX28" fmla="*/ 140910 w 141474"/>
                                                <a:gd name="connsiteY28" fmla="*/ 44897 h 97546"/>
                                                <a:gd name="connsiteX29" fmla="*/ 140910 w 141474"/>
                                                <a:gd name="connsiteY29" fmla="*/ 33883 h 97546"/>
                                                <a:gd name="connsiteX30" fmla="*/ 133006 w 141474"/>
                                                <a:gd name="connsiteY30" fmla="*/ 23129 h 9754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41474" h="97546">
                                                  <a:moveTo>
                                                    <a:pt x="133071" y="23323"/>
                                                  </a:moveTo>
                                                  <a:cubicBezTo>
                                                    <a:pt x="131904" y="19889"/>
                                                    <a:pt x="131386" y="16002"/>
                                                    <a:pt x="128730" y="13540"/>
                                                  </a:cubicBezTo>
                                                  <a:cubicBezTo>
                                                    <a:pt x="125361" y="10431"/>
                                                    <a:pt x="120114" y="11078"/>
                                                    <a:pt x="115449" y="11014"/>
                                                  </a:cubicBezTo>
                                                  <a:cubicBezTo>
                                                    <a:pt x="110849" y="11014"/>
                                                    <a:pt x="105148" y="8811"/>
                                                    <a:pt x="104954" y="4146"/>
                                                  </a:cubicBezTo>
                                                  <a:cubicBezTo>
                                                    <a:pt x="90442" y="583"/>
                                                    <a:pt x="75412" y="-713"/>
                                                    <a:pt x="60511" y="389"/>
                                                  </a:cubicBezTo>
                                                  <a:cubicBezTo>
                                                    <a:pt x="52542" y="972"/>
                                                    <a:pt x="44703" y="2268"/>
                                                    <a:pt x="36734" y="2786"/>
                                                  </a:cubicBezTo>
                                                  <a:cubicBezTo>
                                                    <a:pt x="24619" y="3563"/>
                                                    <a:pt x="12440" y="2656"/>
                                                    <a:pt x="649" y="0"/>
                                                  </a:cubicBezTo>
                                                  <a:cubicBezTo>
                                                    <a:pt x="1" y="1620"/>
                                                    <a:pt x="-258" y="3239"/>
                                                    <a:pt x="325" y="4989"/>
                                                  </a:cubicBezTo>
                                                  <a:cubicBezTo>
                                                    <a:pt x="1491" y="8746"/>
                                                    <a:pt x="5767" y="10431"/>
                                                    <a:pt x="8358" y="13411"/>
                                                  </a:cubicBezTo>
                                                  <a:cubicBezTo>
                                                    <a:pt x="11857" y="17363"/>
                                                    <a:pt x="12051" y="23452"/>
                                                    <a:pt x="10237" y="28376"/>
                                                  </a:cubicBezTo>
                                                  <a:cubicBezTo>
                                                    <a:pt x="9848" y="29348"/>
                                                    <a:pt x="9395" y="30255"/>
                                                    <a:pt x="8941" y="31162"/>
                                                  </a:cubicBezTo>
                                                  <a:cubicBezTo>
                                                    <a:pt x="11209" y="31875"/>
                                                    <a:pt x="13217" y="32976"/>
                                                    <a:pt x="14837" y="34790"/>
                                                  </a:cubicBezTo>
                                                  <a:cubicBezTo>
                                                    <a:pt x="16975" y="37187"/>
                                                    <a:pt x="17947" y="40491"/>
                                                    <a:pt x="20020" y="42888"/>
                                                  </a:cubicBezTo>
                                                  <a:cubicBezTo>
                                                    <a:pt x="25980" y="49691"/>
                                                    <a:pt x="37771" y="46905"/>
                                                    <a:pt x="45092" y="52282"/>
                                                  </a:cubicBezTo>
                                                  <a:cubicBezTo>
                                                    <a:pt x="49497" y="55586"/>
                                                    <a:pt x="51441" y="61158"/>
                                                    <a:pt x="53060" y="66470"/>
                                                  </a:cubicBezTo>
                                                  <a:cubicBezTo>
                                                    <a:pt x="53773" y="68802"/>
                                                    <a:pt x="54550" y="71200"/>
                                                    <a:pt x="54810" y="73661"/>
                                                  </a:cubicBezTo>
                                                  <a:cubicBezTo>
                                                    <a:pt x="55134" y="76318"/>
                                                    <a:pt x="54939" y="79039"/>
                                                    <a:pt x="55004" y="81695"/>
                                                  </a:cubicBezTo>
                                                  <a:cubicBezTo>
                                                    <a:pt x="55069" y="83703"/>
                                                    <a:pt x="55457" y="85711"/>
                                                    <a:pt x="55911" y="87655"/>
                                                  </a:cubicBezTo>
                                                  <a:cubicBezTo>
                                                    <a:pt x="55976" y="87655"/>
                                                    <a:pt x="56041" y="87720"/>
                                                    <a:pt x="56105" y="87785"/>
                                                  </a:cubicBezTo>
                                                  <a:cubicBezTo>
                                                    <a:pt x="58179" y="88497"/>
                                                    <a:pt x="60511" y="88303"/>
                                                    <a:pt x="62454" y="89275"/>
                                                  </a:cubicBezTo>
                                                  <a:cubicBezTo>
                                                    <a:pt x="64851" y="90506"/>
                                                    <a:pt x="65823" y="92838"/>
                                                    <a:pt x="66082" y="95494"/>
                                                  </a:cubicBezTo>
                                                  <a:cubicBezTo>
                                                    <a:pt x="69775" y="93810"/>
                                                    <a:pt x="73857" y="93291"/>
                                                    <a:pt x="77744" y="94458"/>
                                                  </a:cubicBezTo>
                                                  <a:cubicBezTo>
                                                    <a:pt x="82084" y="95818"/>
                                                    <a:pt x="86879" y="99122"/>
                                                    <a:pt x="90701" y="96660"/>
                                                  </a:cubicBezTo>
                                                  <a:cubicBezTo>
                                                    <a:pt x="94264" y="94328"/>
                                                    <a:pt x="94070" y="88109"/>
                                                    <a:pt x="97957" y="86359"/>
                                                  </a:cubicBezTo>
                                                  <a:cubicBezTo>
                                                    <a:pt x="101844" y="84610"/>
                                                    <a:pt x="108128" y="88109"/>
                                                    <a:pt x="109942" y="84157"/>
                                                  </a:cubicBezTo>
                                                  <a:cubicBezTo>
                                                    <a:pt x="110720" y="82407"/>
                                                    <a:pt x="109748" y="80205"/>
                                                    <a:pt x="110590" y="78456"/>
                                                  </a:cubicBezTo>
                                                  <a:cubicBezTo>
                                                    <a:pt x="111691" y="76253"/>
                                                    <a:pt x="114931" y="76318"/>
                                                    <a:pt x="116810" y="74698"/>
                                                  </a:cubicBezTo>
                                                  <a:cubicBezTo>
                                                    <a:pt x="119401" y="72495"/>
                                                    <a:pt x="118429" y="68414"/>
                                                    <a:pt x="119142" y="65110"/>
                                                  </a:cubicBezTo>
                                                  <a:cubicBezTo>
                                                    <a:pt x="121280" y="55133"/>
                                                    <a:pt x="137735" y="54614"/>
                                                    <a:pt x="140910" y="44897"/>
                                                  </a:cubicBezTo>
                                                  <a:cubicBezTo>
                                                    <a:pt x="142076" y="41398"/>
                                                    <a:pt x="141104" y="37576"/>
                                                    <a:pt x="140910" y="33883"/>
                                                  </a:cubicBezTo>
                                                  <a:cubicBezTo>
                                                    <a:pt x="137347" y="31162"/>
                                                    <a:pt x="134496" y="27404"/>
                                                    <a:pt x="133006" y="2312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47" name="Freeform: Shape 204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D18E20B-3392-4FD4-8FEA-CE8AE2C260F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38380" y="2610764"/>
                                              <a:ext cx="181853" cy="9366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81271 w 181853"/>
                                                <a:gd name="connsiteY0" fmla="*/ 62956 h 93664"/>
                                                <a:gd name="connsiteX1" fmla="*/ 171099 w 181853"/>
                                                <a:gd name="connsiteY1" fmla="*/ 49610 h 93664"/>
                                                <a:gd name="connsiteX2" fmla="*/ 167990 w 181853"/>
                                                <a:gd name="connsiteY2" fmla="*/ 21364 h 93664"/>
                                                <a:gd name="connsiteX3" fmla="*/ 131774 w 181853"/>
                                                <a:gd name="connsiteY3" fmla="*/ 12294 h 93664"/>
                                                <a:gd name="connsiteX4" fmla="*/ 127563 w 181853"/>
                                                <a:gd name="connsiteY4" fmla="*/ 7888 h 93664"/>
                                                <a:gd name="connsiteX5" fmla="*/ 119595 w 181853"/>
                                                <a:gd name="connsiteY5" fmla="*/ 7175 h 93664"/>
                                                <a:gd name="connsiteX6" fmla="*/ 111561 w 181853"/>
                                                <a:gd name="connsiteY6" fmla="*/ 1021 h 93664"/>
                                                <a:gd name="connsiteX7" fmla="*/ 105083 w 181853"/>
                                                <a:gd name="connsiteY7" fmla="*/ 49 h 93664"/>
                                                <a:gd name="connsiteX8" fmla="*/ 87655 w 181853"/>
                                                <a:gd name="connsiteY8" fmla="*/ 1863 h 93664"/>
                                                <a:gd name="connsiteX9" fmla="*/ 85517 w 181853"/>
                                                <a:gd name="connsiteY9" fmla="*/ 16181 h 93664"/>
                                                <a:gd name="connsiteX10" fmla="*/ 88692 w 181853"/>
                                                <a:gd name="connsiteY10" fmla="*/ 22465 h 93664"/>
                                                <a:gd name="connsiteX11" fmla="*/ 74957 w 181853"/>
                                                <a:gd name="connsiteY11" fmla="*/ 34904 h 93664"/>
                                                <a:gd name="connsiteX12" fmla="*/ 59733 w 181853"/>
                                                <a:gd name="connsiteY12" fmla="*/ 33349 h 93664"/>
                                                <a:gd name="connsiteX13" fmla="*/ 53902 w 181853"/>
                                                <a:gd name="connsiteY13" fmla="*/ 18060 h 93664"/>
                                                <a:gd name="connsiteX14" fmla="*/ 36345 w 181853"/>
                                                <a:gd name="connsiteY14" fmla="*/ 10285 h 93664"/>
                                                <a:gd name="connsiteX15" fmla="*/ 20214 w 181853"/>
                                                <a:gd name="connsiteY15" fmla="*/ 18254 h 93664"/>
                                                <a:gd name="connsiteX16" fmla="*/ 16326 w 181853"/>
                                                <a:gd name="connsiteY16" fmla="*/ 29980 h 93664"/>
                                                <a:gd name="connsiteX17" fmla="*/ 7321 w 181853"/>
                                                <a:gd name="connsiteY17" fmla="*/ 35940 h 93664"/>
                                                <a:gd name="connsiteX18" fmla="*/ 6867 w 181853"/>
                                                <a:gd name="connsiteY18" fmla="*/ 46306 h 93664"/>
                                                <a:gd name="connsiteX19" fmla="*/ 0 w 181853"/>
                                                <a:gd name="connsiteY19" fmla="*/ 59587 h 93664"/>
                                                <a:gd name="connsiteX20" fmla="*/ 36086 w 181853"/>
                                                <a:gd name="connsiteY20" fmla="*/ 62373 h 93664"/>
                                                <a:gd name="connsiteX21" fmla="*/ 59862 w 181853"/>
                                                <a:gd name="connsiteY21" fmla="*/ 59976 h 93664"/>
                                                <a:gd name="connsiteX22" fmla="*/ 104305 w 181853"/>
                                                <a:gd name="connsiteY22" fmla="*/ 63733 h 93664"/>
                                                <a:gd name="connsiteX23" fmla="*/ 114800 w 181853"/>
                                                <a:gd name="connsiteY23" fmla="*/ 70601 h 93664"/>
                                                <a:gd name="connsiteX24" fmla="*/ 128081 w 181853"/>
                                                <a:gd name="connsiteY24" fmla="*/ 73127 h 93664"/>
                                                <a:gd name="connsiteX25" fmla="*/ 132422 w 181853"/>
                                                <a:gd name="connsiteY25" fmla="*/ 82910 h 93664"/>
                                                <a:gd name="connsiteX26" fmla="*/ 140326 w 181853"/>
                                                <a:gd name="connsiteY26" fmla="*/ 93664 h 93664"/>
                                                <a:gd name="connsiteX27" fmla="*/ 140780 w 181853"/>
                                                <a:gd name="connsiteY27" fmla="*/ 88676 h 93664"/>
                                                <a:gd name="connsiteX28" fmla="*/ 152700 w 181853"/>
                                                <a:gd name="connsiteY28" fmla="*/ 79865 h 93664"/>
                                                <a:gd name="connsiteX29" fmla="*/ 167925 w 181853"/>
                                                <a:gd name="connsiteY29" fmla="*/ 76950 h 93664"/>
                                                <a:gd name="connsiteX30" fmla="*/ 171618 w 181853"/>
                                                <a:gd name="connsiteY30" fmla="*/ 74812 h 93664"/>
                                                <a:gd name="connsiteX31" fmla="*/ 176477 w 181853"/>
                                                <a:gd name="connsiteY31" fmla="*/ 69629 h 93664"/>
                                                <a:gd name="connsiteX32" fmla="*/ 181854 w 181853"/>
                                                <a:gd name="connsiteY32" fmla="*/ 69435 h 93664"/>
                                                <a:gd name="connsiteX33" fmla="*/ 181400 w 181853"/>
                                                <a:gd name="connsiteY33" fmla="*/ 63021 h 9366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81853" h="93664">
                                                  <a:moveTo>
                                                    <a:pt x="181271" y="62956"/>
                                                  </a:moveTo>
                                                  <a:cubicBezTo>
                                                    <a:pt x="180493" y="56866"/>
                                                    <a:pt x="177189" y="49740"/>
                                                    <a:pt x="171099" y="49610"/>
                                                  </a:cubicBezTo>
                                                  <a:cubicBezTo>
                                                    <a:pt x="168896" y="40151"/>
                                                    <a:pt x="174403" y="28620"/>
                                                    <a:pt x="167990" y="21364"/>
                                                  </a:cubicBezTo>
                                                  <a:cubicBezTo>
                                                    <a:pt x="159438" y="11710"/>
                                                    <a:pt x="140326" y="21947"/>
                                                    <a:pt x="131774" y="12294"/>
                                                  </a:cubicBezTo>
                                                  <a:cubicBezTo>
                                                    <a:pt x="130414" y="10739"/>
                                                    <a:pt x="129442" y="8795"/>
                                                    <a:pt x="127563" y="7888"/>
                                                  </a:cubicBezTo>
                                                  <a:cubicBezTo>
                                                    <a:pt x="125166" y="6722"/>
                                                    <a:pt x="122186" y="7888"/>
                                                    <a:pt x="119595" y="7175"/>
                                                  </a:cubicBezTo>
                                                  <a:cubicBezTo>
                                                    <a:pt x="116290" y="6268"/>
                                                    <a:pt x="114541" y="2641"/>
                                                    <a:pt x="111561" y="1021"/>
                                                  </a:cubicBezTo>
                                                  <a:cubicBezTo>
                                                    <a:pt x="109618" y="-16"/>
                                                    <a:pt x="107285" y="-80"/>
                                                    <a:pt x="105083" y="49"/>
                                                  </a:cubicBezTo>
                                                  <a:cubicBezTo>
                                                    <a:pt x="99317" y="373"/>
                                                    <a:pt x="93356" y="1734"/>
                                                    <a:pt x="87655" y="1863"/>
                                                  </a:cubicBezTo>
                                                  <a:cubicBezTo>
                                                    <a:pt x="84092" y="5621"/>
                                                    <a:pt x="82667" y="11710"/>
                                                    <a:pt x="85517" y="16181"/>
                                                  </a:cubicBezTo>
                                                  <a:cubicBezTo>
                                                    <a:pt x="86813" y="18189"/>
                                                    <a:pt x="88821" y="20068"/>
                                                    <a:pt x="88692" y="22465"/>
                                                  </a:cubicBezTo>
                                                  <a:cubicBezTo>
                                                    <a:pt x="88433" y="29138"/>
                                                    <a:pt x="74309" y="28231"/>
                                                    <a:pt x="74957" y="34904"/>
                                                  </a:cubicBezTo>
                                                  <a:cubicBezTo>
                                                    <a:pt x="70617" y="38402"/>
                                                    <a:pt x="63749" y="37236"/>
                                                    <a:pt x="59733" y="33349"/>
                                                  </a:cubicBezTo>
                                                  <a:cubicBezTo>
                                                    <a:pt x="55716" y="29462"/>
                                                    <a:pt x="54161" y="23631"/>
                                                    <a:pt x="53902" y="18060"/>
                                                  </a:cubicBezTo>
                                                  <a:cubicBezTo>
                                                    <a:pt x="48460" y="14626"/>
                                                    <a:pt x="42759" y="11063"/>
                                                    <a:pt x="36345" y="10285"/>
                                                  </a:cubicBezTo>
                                                  <a:cubicBezTo>
                                                    <a:pt x="29931" y="9508"/>
                                                    <a:pt x="22611" y="12294"/>
                                                    <a:pt x="20214" y="18254"/>
                                                  </a:cubicBezTo>
                                                  <a:cubicBezTo>
                                                    <a:pt x="18658" y="22141"/>
                                                    <a:pt x="19242" y="27000"/>
                                                    <a:pt x="16326" y="29980"/>
                                                  </a:cubicBezTo>
                                                  <a:cubicBezTo>
                                                    <a:pt x="13735" y="32571"/>
                                                    <a:pt x="9200" y="32831"/>
                                                    <a:pt x="7321" y="35940"/>
                                                  </a:cubicBezTo>
                                                  <a:cubicBezTo>
                                                    <a:pt x="5507" y="38985"/>
                                                    <a:pt x="7321" y="42808"/>
                                                    <a:pt x="6867" y="46306"/>
                                                  </a:cubicBezTo>
                                                  <a:cubicBezTo>
                                                    <a:pt x="6349" y="51165"/>
                                                    <a:pt x="1684" y="55246"/>
                                                    <a:pt x="0" y="59587"/>
                                                  </a:cubicBezTo>
                                                  <a:cubicBezTo>
                                                    <a:pt x="11856" y="62179"/>
                                                    <a:pt x="24036" y="63150"/>
                                                    <a:pt x="36086" y="62373"/>
                                                  </a:cubicBezTo>
                                                  <a:cubicBezTo>
                                                    <a:pt x="44055" y="61855"/>
                                                    <a:pt x="51893" y="60559"/>
                                                    <a:pt x="59862" y="59976"/>
                                                  </a:cubicBezTo>
                                                  <a:cubicBezTo>
                                                    <a:pt x="74763" y="58874"/>
                                                    <a:pt x="89793" y="60105"/>
                                                    <a:pt x="104305" y="63733"/>
                                                  </a:cubicBezTo>
                                                  <a:cubicBezTo>
                                                    <a:pt x="104435" y="68333"/>
                                                    <a:pt x="110136" y="70536"/>
                                                    <a:pt x="114800" y="70601"/>
                                                  </a:cubicBezTo>
                                                  <a:cubicBezTo>
                                                    <a:pt x="119400" y="70601"/>
                                                    <a:pt x="124648" y="70018"/>
                                                    <a:pt x="128081" y="73127"/>
                                                  </a:cubicBezTo>
                                                  <a:cubicBezTo>
                                                    <a:pt x="130738" y="75589"/>
                                                    <a:pt x="131256" y="79476"/>
                                                    <a:pt x="132422" y="82910"/>
                                                  </a:cubicBezTo>
                                                  <a:cubicBezTo>
                                                    <a:pt x="133912" y="87186"/>
                                                    <a:pt x="136698" y="90943"/>
                                                    <a:pt x="140326" y="93664"/>
                                                  </a:cubicBezTo>
                                                  <a:cubicBezTo>
                                                    <a:pt x="140261" y="91980"/>
                                                    <a:pt x="140326" y="90296"/>
                                                    <a:pt x="140780" y="88676"/>
                                                  </a:cubicBezTo>
                                                  <a:cubicBezTo>
                                                    <a:pt x="142334" y="83752"/>
                                                    <a:pt x="147647" y="80966"/>
                                                    <a:pt x="152700" y="79865"/>
                                                  </a:cubicBezTo>
                                                  <a:cubicBezTo>
                                                    <a:pt x="157753" y="78764"/>
                                                    <a:pt x="163066" y="78764"/>
                                                    <a:pt x="167925" y="76950"/>
                                                  </a:cubicBezTo>
                                                  <a:cubicBezTo>
                                                    <a:pt x="169285" y="76431"/>
                                                    <a:pt x="170581" y="75784"/>
                                                    <a:pt x="171618" y="74812"/>
                                                  </a:cubicBezTo>
                                                  <a:cubicBezTo>
                                                    <a:pt x="173367" y="73192"/>
                                                    <a:pt x="174339" y="70795"/>
                                                    <a:pt x="176477" y="69629"/>
                                                  </a:cubicBezTo>
                                                  <a:cubicBezTo>
                                                    <a:pt x="178161" y="68722"/>
                                                    <a:pt x="179975" y="68852"/>
                                                    <a:pt x="181854" y="69435"/>
                                                  </a:cubicBezTo>
                                                  <a:cubicBezTo>
                                                    <a:pt x="181854" y="67297"/>
                                                    <a:pt x="181724" y="65159"/>
                                                    <a:pt x="181400" y="6302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768" name="Freeform: Shape 76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68F9681-66BE-4A36-B506-9A65B74FD80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62657" y="2570761"/>
                                              <a:ext cx="32414" cy="3802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0166 w 32414"/>
                                                <a:gd name="connsiteY0" fmla="*/ 209 h 38020"/>
                                                <a:gd name="connsiteX1" fmla="*/ 24248 w 32414"/>
                                                <a:gd name="connsiteY1" fmla="*/ 986 h 38020"/>
                                                <a:gd name="connsiteX2" fmla="*/ 27422 w 32414"/>
                                                <a:gd name="connsiteY2" fmla="*/ 3901 h 38020"/>
                                                <a:gd name="connsiteX3" fmla="*/ 29560 w 32414"/>
                                                <a:gd name="connsiteY3" fmla="*/ 6363 h 38020"/>
                                                <a:gd name="connsiteX4" fmla="*/ 29755 w 32414"/>
                                                <a:gd name="connsiteY4" fmla="*/ 8436 h 38020"/>
                                                <a:gd name="connsiteX5" fmla="*/ 31828 w 32414"/>
                                                <a:gd name="connsiteY5" fmla="*/ 19515 h 38020"/>
                                                <a:gd name="connsiteX6" fmla="*/ 32411 w 32414"/>
                                                <a:gd name="connsiteY6" fmla="*/ 21394 h 38020"/>
                                                <a:gd name="connsiteX7" fmla="*/ 26969 w 32414"/>
                                                <a:gd name="connsiteY7" fmla="*/ 25540 h 38020"/>
                                                <a:gd name="connsiteX8" fmla="*/ 25220 w 32414"/>
                                                <a:gd name="connsiteY8" fmla="*/ 26188 h 38020"/>
                                                <a:gd name="connsiteX9" fmla="*/ 24572 w 32414"/>
                                                <a:gd name="connsiteY9" fmla="*/ 27548 h 38020"/>
                                                <a:gd name="connsiteX10" fmla="*/ 22499 w 32414"/>
                                                <a:gd name="connsiteY10" fmla="*/ 32407 h 38020"/>
                                                <a:gd name="connsiteX11" fmla="*/ 16992 w 32414"/>
                                                <a:gd name="connsiteY11" fmla="*/ 36813 h 38020"/>
                                                <a:gd name="connsiteX12" fmla="*/ 6043 w 32414"/>
                                                <a:gd name="connsiteY12" fmla="*/ 37266 h 38020"/>
                                                <a:gd name="connsiteX13" fmla="*/ 1119 w 32414"/>
                                                <a:gd name="connsiteY13" fmla="*/ 34156 h 38020"/>
                                                <a:gd name="connsiteX14" fmla="*/ 601 w 32414"/>
                                                <a:gd name="connsiteY14" fmla="*/ 28650 h 38020"/>
                                                <a:gd name="connsiteX15" fmla="*/ 9606 w 32414"/>
                                                <a:gd name="connsiteY15" fmla="*/ 26188 h 38020"/>
                                                <a:gd name="connsiteX16" fmla="*/ 13429 w 32414"/>
                                                <a:gd name="connsiteY16" fmla="*/ 25022 h 38020"/>
                                                <a:gd name="connsiteX17" fmla="*/ 14983 w 32414"/>
                                                <a:gd name="connsiteY17" fmla="*/ 21523 h 38020"/>
                                                <a:gd name="connsiteX18" fmla="*/ 13558 w 32414"/>
                                                <a:gd name="connsiteY18" fmla="*/ 18932 h 38020"/>
                                                <a:gd name="connsiteX19" fmla="*/ 13558 w 32414"/>
                                                <a:gd name="connsiteY19" fmla="*/ 16146 h 38020"/>
                                                <a:gd name="connsiteX20" fmla="*/ 14983 w 32414"/>
                                                <a:gd name="connsiteY20" fmla="*/ 15433 h 38020"/>
                                                <a:gd name="connsiteX21" fmla="*/ 18871 w 32414"/>
                                                <a:gd name="connsiteY21" fmla="*/ 14332 h 38020"/>
                                                <a:gd name="connsiteX22" fmla="*/ 22304 w 32414"/>
                                                <a:gd name="connsiteY22" fmla="*/ 12518 h 38020"/>
                                                <a:gd name="connsiteX23" fmla="*/ 21462 w 32414"/>
                                                <a:gd name="connsiteY23" fmla="*/ 6363 h 38020"/>
                                                <a:gd name="connsiteX24" fmla="*/ 20102 w 32414"/>
                                                <a:gd name="connsiteY24" fmla="*/ 209 h 3802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2414" h="38020">
                                                  <a:moveTo>
                                                    <a:pt x="20166" y="209"/>
                                                  </a:moveTo>
                                                  <a:cubicBezTo>
                                                    <a:pt x="21527" y="-310"/>
                                                    <a:pt x="23082" y="209"/>
                                                    <a:pt x="24248" y="986"/>
                                                  </a:cubicBezTo>
                                                  <a:cubicBezTo>
                                                    <a:pt x="25414" y="1764"/>
                                                    <a:pt x="26386" y="2930"/>
                                                    <a:pt x="27422" y="3901"/>
                                                  </a:cubicBezTo>
                                                  <a:cubicBezTo>
                                                    <a:pt x="28265" y="4614"/>
                                                    <a:pt x="29236" y="5327"/>
                                                    <a:pt x="29560" y="6363"/>
                                                  </a:cubicBezTo>
                                                  <a:cubicBezTo>
                                                    <a:pt x="29820" y="7011"/>
                                                    <a:pt x="29755" y="7724"/>
                                                    <a:pt x="29755" y="8436"/>
                                                  </a:cubicBezTo>
                                                  <a:cubicBezTo>
                                                    <a:pt x="29625" y="12194"/>
                                                    <a:pt x="30338" y="16016"/>
                                                    <a:pt x="31828" y="19515"/>
                                                  </a:cubicBezTo>
                                                  <a:cubicBezTo>
                                                    <a:pt x="32087" y="20098"/>
                                                    <a:pt x="32346" y="20746"/>
                                                    <a:pt x="32411" y="21394"/>
                                                  </a:cubicBezTo>
                                                  <a:cubicBezTo>
                                                    <a:pt x="32540" y="23920"/>
                                                    <a:pt x="29431" y="25151"/>
                                                    <a:pt x="26969" y="25540"/>
                                                  </a:cubicBezTo>
                                                  <a:cubicBezTo>
                                                    <a:pt x="26321" y="25605"/>
                                                    <a:pt x="25673" y="25734"/>
                                                    <a:pt x="25220" y="26188"/>
                                                  </a:cubicBezTo>
                                                  <a:cubicBezTo>
                                                    <a:pt x="24831" y="26576"/>
                                                    <a:pt x="24701" y="27030"/>
                                                    <a:pt x="24572" y="27548"/>
                                                  </a:cubicBezTo>
                                                  <a:cubicBezTo>
                                                    <a:pt x="24053" y="29233"/>
                                                    <a:pt x="23471" y="30917"/>
                                                    <a:pt x="22499" y="32407"/>
                                                  </a:cubicBezTo>
                                                  <a:cubicBezTo>
                                                    <a:pt x="21138" y="34351"/>
                                                    <a:pt x="19195" y="35906"/>
                                                    <a:pt x="16992" y="36813"/>
                                                  </a:cubicBezTo>
                                                  <a:cubicBezTo>
                                                    <a:pt x="13558" y="38303"/>
                                                    <a:pt x="9606" y="38367"/>
                                                    <a:pt x="6043" y="37266"/>
                                                  </a:cubicBezTo>
                                                  <a:cubicBezTo>
                                                    <a:pt x="4164" y="36683"/>
                                                    <a:pt x="2350" y="35776"/>
                                                    <a:pt x="1119" y="34156"/>
                                                  </a:cubicBezTo>
                                                  <a:cubicBezTo>
                                                    <a:pt x="-47" y="32601"/>
                                                    <a:pt x="-435" y="30334"/>
                                                    <a:pt x="601" y="28650"/>
                                                  </a:cubicBezTo>
                                                  <a:cubicBezTo>
                                                    <a:pt x="2350" y="25929"/>
                                                    <a:pt x="6367" y="26382"/>
                                                    <a:pt x="9606" y="26188"/>
                                                  </a:cubicBezTo>
                                                  <a:cubicBezTo>
                                                    <a:pt x="10967" y="26123"/>
                                                    <a:pt x="12327" y="25799"/>
                                                    <a:pt x="13429" y="25022"/>
                                                  </a:cubicBezTo>
                                                  <a:cubicBezTo>
                                                    <a:pt x="14530" y="24244"/>
                                                    <a:pt x="15308" y="22819"/>
                                                    <a:pt x="14983" y="21523"/>
                                                  </a:cubicBezTo>
                                                  <a:cubicBezTo>
                                                    <a:pt x="14789" y="20551"/>
                                                    <a:pt x="14077" y="19774"/>
                                                    <a:pt x="13558" y="18932"/>
                                                  </a:cubicBezTo>
                                                  <a:cubicBezTo>
                                                    <a:pt x="13040" y="18090"/>
                                                    <a:pt x="12846" y="16859"/>
                                                    <a:pt x="13558" y="16146"/>
                                                  </a:cubicBezTo>
                                                  <a:cubicBezTo>
                                                    <a:pt x="13947" y="15757"/>
                                                    <a:pt x="14465" y="15563"/>
                                                    <a:pt x="14983" y="15433"/>
                                                  </a:cubicBezTo>
                                                  <a:cubicBezTo>
                                                    <a:pt x="16279" y="15045"/>
                                                    <a:pt x="17575" y="14721"/>
                                                    <a:pt x="18871" y="14332"/>
                                                  </a:cubicBezTo>
                                                  <a:cubicBezTo>
                                                    <a:pt x="20166" y="14008"/>
                                                    <a:pt x="21527" y="13554"/>
                                                    <a:pt x="22304" y="12518"/>
                                                  </a:cubicBezTo>
                                                  <a:cubicBezTo>
                                                    <a:pt x="23600" y="10769"/>
                                                    <a:pt x="22564" y="8307"/>
                                                    <a:pt x="21462" y="6363"/>
                                                  </a:cubicBezTo>
                                                  <a:cubicBezTo>
                                                    <a:pt x="20361" y="4485"/>
                                                    <a:pt x="19130" y="2217"/>
                                                    <a:pt x="20102" y="20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769" name="Freeform: Shape 76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3D71154-AB7D-4D0C-A5DA-F8DCD1DF9B6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600876" y="2548683"/>
                                              <a:ext cx="116571" cy="7936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07049 w 116571"/>
                                                <a:gd name="connsiteY0" fmla="*/ 55845 h 79362"/>
                                                <a:gd name="connsiteX1" fmla="*/ 100894 w 116571"/>
                                                <a:gd name="connsiteY1" fmla="*/ 33948 h 79362"/>
                                                <a:gd name="connsiteX2" fmla="*/ 109705 w 116571"/>
                                                <a:gd name="connsiteY2" fmla="*/ 18140 h 79362"/>
                                                <a:gd name="connsiteX3" fmla="*/ 116572 w 116571"/>
                                                <a:gd name="connsiteY3" fmla="*/ 4276 h 79362"/>
                                                <a:gd name="connsiteX4" fmla="*/ 107696 w 116571"/>
                                                <a:gd name="connsiteY4" fmla="*/ 5960 h 79362"/>
                                                <a:gd name="connsiteX5" fmla="*/ 80681 w 116571"/>
                                                <a:gd name="connsiteY5" fmla="*/ 2008 h 79362"/>
                                                <a:gd name="connsiteX6" fmla="*/ 69343 w 116571"/>
                                                <a:gd name="connsiteY6" fmla="*/ 0 h 79362"/>
                                                <a:gd name="connsiteX7" fmla="*/ 58718 w 116571"/>
                                                <a:gd name="connsiteY7" fmla="*/ 1490 h 79362"/>
                                                <a:gd name="connsiteX8" fmla="*/ 27492 w 116571"/>
                                                <a:gd name="connsiteY8" fmla="*/ 2786 h 79362"/>
                                                <a:gd name="connsiteX9" fmla="*/ 7084 w 116571"/>
                                                <a:gd name="connsiteY9" fmla="*/ 8033 h 79362"/>
                                                <a:gd name="connsiteX10" fmla="*/ 7084 w 116571"/>
                                                <a:gd name="connsiteY10" fmla="*/ 17881 h 79362"/>
                                                <a:gd name="connsiteX11" fmla="*/ 3456 w 116571"/>
                                                <a:gd name="connsiteY11" fmla="*/ 33948 h 79362"/>
                                                <a:gd name="connsiteX12" fmla="*/ 7797 w 116571"/>
                                                <a:gd name="connsiteY12" fmla="*/ 36993 h 79362"/>
                                                <a:gd name="connsiteX13" fmla="*/ 8315 w 116571"/>
                                                <a:gd name="connsiteY13" fmla="*/ 42629 h 79362"/>
                                                <a:gd name="connsiteX14" fmla="*/ 17061 w 116571"/>
                                                <a:gd name="connsiteY14" fmla="*/ 49172 h 79362"/>
                                                <a:gd name="connsiteX15" fmla="*/ 28658 w 116571"/>
                                                <a:gd name="connsiteY15" fmla="*/ 50857 h 79362"/>
                                                <a:gd name="connsiteX16" fmla="*/ 32091 w 116571"/>
                                                <a:gd name="connsiteY16" fmla="*/ 60316 h 79362"/>
                                                <a:gd name="connsiteX17" fmla="*/ 25159 w 116571"/>
                                                <a:gd name="connsiteY17" fmla="*/ 63814 h 79362"/>
                                                <a:gd name="connsiteX18" fmla="*/ 42587 w 116571"/>
                                                <a:gd name="connsiteY18" fmla="*/ 62000 h 79362"/>
                                                <a:gd name="connsiteX19" fmla="*/ 49065 w 116571"/>
                                                <a:gd name="connsiteY19" fmla="*/ 62972 h 79362"/>
                                                <a:gd name="connsiteX20" fmla="*/ 57099 w 116571"/>
                                                <a:gd name="connsiteY20" fmla="*/ 69126 h 79362"/>
                                                <a:gd name="connsiteX21" fmla="*/ 65067 w 116571"/>
                                                <a:gd name="connsiteY21" fmla="*/ 69839 h 79362"/>
                                                <a:gd name="connsiteX22" fmla="*/ 69278 w 116571"/>
                                                <a:gd name="connsiteY22" fmla="*/ 74244 h 79362"/>
                                                <a:gd name="connsiteX23" fmla="*/ 98173 w 116571"/>
                                                <a:gd name="connsiteY23" fmla="*/ 79363 h 79362"/>
                                                <a:gd name="connsiteX24" fmla="*/ 103809 w 116571"/>
                                                <a:gd name="connsiteY24" fmla="*/ 68284 h 79362"/>
                                                <a:gd name="connsiteX25" fmla="*/ 106984 w 116571"/>
                                                <a:gd name="connsiteY25" fmla="*/ 55781 h 7936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16571" h="79362">
                                                  <a:moveTo>
                                                    <a:pt x="107049" y="55845"/>
                                                  </a:moveTo>
                                                  <a:cubicBezTo>
                                                    <a:pt x="106660" y="48201"/>
                                                    <a:pt x="100440" y="41592"/>
                                                    <a:pt x="100894" y="33948"/>
                                                  </a:cubicBezTo>
                                                  <a:cubicBezTo>
                                                    <a:pt x="101218" y="27793"/>
                                                    <a:pt x="105753" y="22805"/>
                                                    <a:pt x="109705" y="18140"/>
                                                  </a:cubicBezTo>
                                                  <a:cubicBezTo>
                                                    <a:pt x="113074" y="14123"/>
                                                    <a:pt x="116443" y="9329"/>
                                                    <a:pt x="116572" y="4276"/>
                                                  </a:cubicBezTo>
                                                  <a:cubicBezTo>
                                                    <a:pt x="114240" y="5896"/>
                                                    <a:pt x="110741" y="6155"/>
                                                    <a:pt x="107696" y="5960"/>
                                                  </a:cubicBezTo>
                                                  <a:cubicBezTo>
                                                    <a:pt x="98627" y="5507"/>
                                                    <a:pt x="89556" y="4146"/>
                                                    <a:pt x="80681" y="2008"/>
                                                  </a:cubicBezTo>
                                                  <a:cubicBezTo>
                                                    <a:pt x="76923" y="1101"/>
                                                    <a:pt x="73165" y="65"/>
                                                    <a:pt x="69343" y="0"/>
                                                  </a:cubicBezTo>
                                                  <a:cubicBezTo>
                                                    <a:pt x="65780" y="0"/>
                                                    <a:pt x="62217" y="842"/>
                                                    <a:pt x="58718" y="1490"/>
                                                  </a:cubicBezTo>
                                                  <a:cubicBezTo>
                                                    <a:pt x="48482" y="3434"/>
                                                    <a:pt x="37598" y="194"/>
                                                    <a:pt x="27492" y="2786"/>
                                                  </a:cubicBezTo>
                                                  <a:cubicBezTo>
                                                    <a:pt x="20689" y="4535"/>
                                                    <a:pt x="13887" y="6284"/>
                                                    <a:pt x="7084" y="8033"/>
                                                  </a:cubicBezTo>
                                                  <a:cubicBezTo>
                                                    <a:pt x="7084" y="11338"/>
                                                    <a:pt x="7084" y="14642"/>
                                                    <a:pt x="7084" y="17881"/>
                                                  </a:cubicBezTo>
                                                  <a:cubicBezTo>
                                                    <a:pt x="-107" y="18658"/>
                                                    <a:pt x="-2698" y="30190"/>
                                                    <a:pt x="3456" y="33948"/>
                                                  </a:cubicBezTo>
                                                  <a:cubicBezTo>
                                                    <a:pt x="5011" y="34855"/>
                                                    <a:pt x="6890" y="35438"/>
                                                    <a:pt x="7797" y="36993"/>
                                                  </a:cubicBezTo>
                                                  <a:cubicBezTo>
                                                    <a:pt x="8704" y="38677"/>
                                                    <a:pt x="8056" y="40750"/>
                                                    <a:pt x="8315" y="42629"/>
                                                  </a:cubicBezTo>
                                                  <a:cubicBezTo>
                                                    <a:pt x="8898" y="46516"/>
                                                    <a:pt x="13174" y="48654"/>
                                                    <a:pt x="17061" y="49172"/>
                                                  </a:cubicBezTo>
                                                  <a:cubicBezTo>
                                                    <a:pt x="20948" y="49691"/>
                                                    <a:pt x="25095" y="49172"/>
                                                    <a:pt x="28658" y="50857"/>
                                                  </a:cubicBezTo>
                                                  <a:cubicBezTo>
                                                    <a:pt x="32221" y="52476"/>
                                                    <a:pt x="34748" y="57400"/>
                                                    <a:pt x="32091" y="60316"/>
                                                  </a:cubicBezTo>
                                                  <a:cubicBezTo>
                                                    <a:pt x="29371" y="60510"/>
                                                    <a:pt x="26973" y="61870"/>
                                                    <a:pt x="25159" y="63814"/>
                                                  </a:cubicBezTo>
                                                  <a:cubicBezTo>
                                                    <a:pt x="30861" y="63684"/>
                                                    <a:pt x="36821" y="62324"/>
                                                    <a:pt x="42587" y="62000"/>
                                                  </a:cubicBezTo>
                                                  <a:cubicBezTo>
                                                    <a:pt x="44789" y="61870"/>
                                                    <a:pt x="47122" y="62000"/>
                                                    <a:pt x="49065" y="62972"/>
                                                  </a:cubicBezTo>
                                                  <a:cubicBezTo>
                                                    <a:pt x="52110" y="64527"/>
                                                    <a:pt x="53859" y="68219"/>
                                                    <a:pt x="57099" y="69126"/>
                                                  </a:cubicBezTo>
                                                  <a:cubicBezTo>
                                                    <a:pt x="59690" y="69839"/>
                                                    <a:pt x="62605" y="68673"/>
                                                    <a:pt x="65067" y="69839"/>
                                                  </a:cubicBezTo>
                                                  <a:cubicBezTo>
                                                    <a:pt x="66946" y="70746"/>
                                                    <a:pt x="67918" y="72690"/>
                                                    <a:pt x="69278" y="74244"/>
                                                  </a:cubicBezTo>
                                                  <a:cubicBezTo>
                                                    <a:pt x="75887" y="81695"/>
                                                    <a:pt x="88714" y="77354"/>
                                                    <a:pt x="98173" y="79363"/>
                                                  </a:cubicBezTo>
                                                  <a:cubicBezTo>
                                                    <a:pt x="100440" y="75929"/>
                                                    <a:pt x="102255" y="72042"/>
                                                    <a:pt x="103809" y="68284"/>
                                                  </a:cubicBezTo>
                                                  <a:cubicBezTo>
                                                    <a:pt x="105494" y="64267"/>
                                                    <a:pt x="107178" y="60121"/>
                                                    <a:pt x="106984" y="5578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770" name="Freeform: Shape 76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2CDBFB7-6C8E-4707-B43F-F6FFD8D6ABCA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68817" y="2613670"/>
                                              <a:ext cx="29857" cy="3750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9138 w 29857"/>
                                                <a:gd name="connsiteY0" fmla="*/ 4334 h 37504"/>
                                                <a:gd name="connsiteX1" fmla="*/ 26287 w 29857"/>
                                                <a:gd name="connsiteY1" fmla="*/ 123 h 37504"/>
                                                <a:gd name="connsiteX2" fmla="*/ 24020 w 29857"/>
                                                <a:gd name="connsiteY2" fmla="*/ 123 h 37504"/>
                                                <a:gd name="connsiteX3" fmla="*/ 16504 w 29857"/>
                                                <a:gd name="connsiteY3" fmla="*/ 3880 h 37504"/>
                                                <a:gd name="connsiteX4" fmla="*/ 16245 w 29857"/>
                                                <a:gd name="connsiteY4" fmla="*/ 4334 h 37504"/>
                                                <a:gd name="connsiteX5" fmla="*/ 16440 w 29857"/>
                                                <a:gd name="connsiteY5" fmla="*/ 4852 h 37504"/>
                                                <a:gd name="connsiteX6" fmla="*/ 15209 w 29857"/>
                                                <a:gd name="connsiteY6" fmla="*/ 9128 h 37504"/>
                                                <a:gd name="connsiteX7" fmla="*/ 12488 w 29857"/>
                                                <a:gd name="connsiteY7" fmla="*/ 9970 h 37504"/>
                                                <a:gd name="connsiteX8" fmla="*/ 8924 w 29857"/>
                                                <a:gd name="connsiteY8" fmla="*/ 11201 h 37504"/>
                                                <a:gd name="connsiteX9" fmla="*/ 6981 w 29857"/>
                                                <a:gd name="connsiteY9" fmla="*/ 16837 h 37504"/>
                                                <a:gd name="connsiteX10" fmla="*/ 7629 w 29857"/>
                                                <a:gd name="connsiteY10" fmla="*/ 18198 h 37504"/>
                                                <a:gd name="connsiteX11" fmla="*/ 8082 w 29857"/>
                                                <a:gd name="connsiteY11" fmla="*/ 19299 h 37504"/>
                                                <a:gd name="connsiteX12" fmla="*/ 6204 w 29857"/>
                                                <a:gd name="connsiteY12" fmla="*/ 24093 h 37504"/>
                                                <a:gd name="connsiteX13" fmla="*/ 4454 w 29857"/>
                                                <a:gd name="connsiteY13" fmla="*/ 25713 h 37504"/>
                                                <a:gd name="connsiteX14" fmla="*/ 1410 w 29857"/>
                                                <a:gd name="connsiteY14" fmla="*/ 28693 h 37504"/>
                                                <a:gd name="connsiteX15" fmla="*/ 1150 w 29857"/>
                                                <a:gd name="connsiteY15" fmla="*/ 35884 h 37504"/>
                                                <a:gd name="connsiteX16" fmla="*/ 5361 w 29857"/>
                                                <a:gd name="connsiteY16" fmla="*/ 37504 h 37504"/>
                                                <a:gd name="connsiteX17" fmla="*/ 8277 w 29857"/>
                                                <a:gd name="connsiteY17" fmla="*/ 37180 h 37504"/>
                                                <a:gd name="connsiteX18" fmla="*/ 15662 w 29857"/>
                                                <a:gd name="connsiteY18" fmla="*/ 34977 h 37504"/>
                                                <a:gd name="connsiteX19" fmla="*/ 21234 w 29857"/>
                                                <a:gd name="connsiteY19" fmla="*/ 29147 h 37504"/>
                                                <a:gd name="connsiteX20" fmla="*/ 21428 w 29857"/>
                                                <a:gd name="connsiteY20" fmla="*/ 22215 h 37504"/>
                                                <a:gd name="connsiteX21" fmla="*/ 21687 w 29857"/>
                                                <a:gd name="connsiteY21" fmla="*/ 18846 h 37504"/>
                                                <a:gd name="connsiteX22" fmla="*/ 22789 w 29857"/>
                                                <a:gd name="connsiteY22" fmla="*/ 18327 h 37504"/>
                                                <a:gd name="connsiteX23" fmla="*/ 29786 w 29857"/>
                                                <a:gd name="connsiteY23" fmla="*/ 16060 h 37504"/>
                                                <a:gd name="connsiteX24" fmla="*/ 29786 w 29857"/>
                                                <a:gd name="connsiteY24" fmla="*/ 15347 h 37504"/>
                                                <a:gd name="connsiteX25" fmla="*/ 29138 w 29857"/>
                                                <a:gd name="connsiteY25" fmla="*/ 4334 h 37504"/>
                                                <a:gd name="connsiteX26" fmla="*/ 19485 w 29857"/>
                                                <a:gd name="connsiteY26" fmla="*/ 22539 h 37504"/>
                                                <a:gd name="connsiteX27" fmla="*/ 19485 w 29857"/>
                                                <a:gd name="connsiteY27" fmla="*/ 28499 h 37504"/>
                                                <a:gd name="connsiteX28" fmla="*/ 14885 w 29857"/>
                                                <a:gd name="connsiteY28" fmla="*/ 33228 h 37504"/>
                                                <a:gd name="connsiteX29" fmla="*/ 7953 w 29857"/>
                                                <a:gd name="connsiteY29" fmla="*/ 35237 h 37504"/>
                                                <a:gd name="connsiteX30" fmla="*/ 5426 w 29857"/>
                                                <a:gd name="connsiteY30" fmla="*/ 35560 h 37504"/>
                                                <a:gd name="connsiteX31" fmla="*/ 2640 w 29857"/>
                                                <a:gd name="connsiteY31" fmla="*/ 34589 h 37504"/>
                                                <a:gd name="connsiteX32" fmla="*/ 3029 w 29857"/>
                                                <a:gd name="connsiteY32" fmla="*/ 29859 h 37504"/>
                                                <a:gd name="connsiteX33" fmla="*/ 5750 w 29857"/>
                                                <a:gd name="connsiteY33" fmla="*/ 27203 h 37504"/>
                                                <a:gd name="connsiteX34" fmla="*/ 7629 w 29857"/>
                                                <a:gd name="connsiteY34" fmla="*/ 25454 h 37504"/>
                                                <a:gd name="connsiteX35" fmla="*/ 10026 w 29857"/>
                                                <a:gd name="connsiteY35" fmla="*/ 18716 h 37504"/>
                                                <a:gd name="connsiteX36" fmla="*/ 9378 w 29857"/>
                                                <a:gd name="connsiteY36" fmla="*/ 17291 h 37504"/>
                                                <a:gd name="connsiteX37" fmla="*/ 8924 w 29857"/>
                                                <a:gd name="connsiteY37" fmla="*/ 16254 h 37504"/>
                                                <a:gd name="connsiteX38" fmla="*/ 10091 w 29857"/>
                                                <a:gd name="connsiteY38" fmla="*/ 12821 h 37504"/>
                                                <a:gd name="connsiteX39" fmla="*/ 12941 w 29857"/>
                                                <a:gd name="connsiteY39" fmla="*/ 11914 h 37504"/>
                                                <a:gd name="connsiteX40" fmla="*/ 16245 w 29857"/>
                                                <a:gd name="connsiteY40" fmla="*/ 10812 h 37504"/>
                                                <a:gd name="connsiteX41" fmla="*/ 18513 w 29857"/>
                                                <a:gd name="connsiteY41" fmla="*/ 4528 h 37504"/>
                                                <a:gd name="connsiteX42" fmla="*/ 24408 w 29857"/>
                                                <a:gd name="connsiteY42" fmla="*/ 2002 h 37504"/>
                                                <a:gd name="connsiteX43" fmla="*/ 25769 w 29857"/>
                                                <a:gd name="connsiteY43" fmla="*/ 2002 h 37504"/>
                                                <a:gd name="connsiteX44" fmla="*/ 27259 w 29857"/>
                                                <a:gd name="connsiteY44" fmla="*/ 4658 h 37504"/>
                                                <a:gd name="connsiteX45" fmla="*/ 27971 w 29857"/>
                                                <a:gd name="connsiteY45" fmla="*/ 14635 h 37504"/>
                                                <a:gd name="connsiteX46" fmla="*/ 22270 w 29857"/>
                                                <a:gd name="connsiteY46" fmla="*/ 16449 h 37504"/>
                                                <a:gd name="connsiteX47" fmla="*/ 20521 w 29857"/>
                                                <a:gd name="connsiteY47" fmla="*/ 17356 h 37504"/>
                                                <a:gd name="connsiteX48" fmla="*/ 19549 w 29857"/>
                                                <a:gd name="connsiteY48" fmla="*/ 22539 h 3750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9857" h="37504">
                                                  <a:moveTo>
                                                    <a:pt x="29138" y="4334"/>
                                                  </a:moveTo>
                                                  <a:cubicBezTo>
                                                    <a:pt x="28943" y="3427"/>
                                                    <a:pt x="28490" y="771"/>
                                                    <a:pt x="26287" y="123"/>
                                                  </a:cubicBezTo>
                                                  <a:cubicBezTo>
                                                    <a:pt x="25639" y="-72"/>
                                                    <a:pt x="24797" y="-7"/>
                                                    <a:pt x="24020" y="123"/>
                                                  </a:cubicBezTo>
                                                  <a:cubicBezTo>
                                                    <a:pt x="21039" y="576"/>
                                                    <a:pt x="18059" y="1354"/>
                                                    <a:pt x="16504" y="3880"/>
                                                  </a:cubicBezTo>
                                                  <a:lnTo>
                                                    <a:pt x="16245" y="4334"/>
                                                  </a:lnTo>
                                                  <a:lnTo>
                                                    <a:pt x="16440" y="4852"/>
                                                  </a:lnTo>
                                                  <a:cubicBezTo>
                                                    <a:pt x="17152" y="6277"/>
                                                    <a:pt x="16569" y="8286"/>
                                                    <a:pt x="15209" y="9128"/>
                                                  </a:cubicBezTo>
                                                  <a:cubicBezTo>
                                                    <a:pt x="14432" y="9646"/>
                                                    <a:pt x="13524" y="9776"/>
                                                    <a:pt x="12488" y="9970"/>
                                                  </a:cubicBezTo>
                                                  <a:cubicBezTo>
                                                    <a:pt x="11257" y="10229"/>
                                                    <a:pt x="10026" y="10424"/>
                                                    <a:pt x="8924" y="11201"/>
                                                  </a:cubicBezTo>
                                                  <a:cubicBezTo>
                                                    <a:pt x="7176" y="12432"/>
                                                    <a:pt x="6333" y="14764"/>
                                                    <a:pt x="6981" y="16837"/>
                                                  </a:cubicBezTo>
                                                  <a:cubicBezTo>
                                                    <a:pt x="7176" y="17291"/>
                                                    <a:pt x="7370" y="17744"/>
                                                    <a:pt x="7629" y="18198"/>
                                                  </a:cubicBezTo>
                                                  <a:cubicBezTo>
                                                    <a:pt x="7758" y="18522"/>
                                                    <a:pt x="7953" y="18911"/>
                                                    <a:pt x="8082" y="19299"/>
                                                  </a:cubicBezTo>
                                                  <a:cubicBezTo>
                                                    <a:pt x="8730" y="21372"/>
                                                    <a:pt x="6786" y="23510"/>
                                                    <a:pt x="6204" y="24093"/>
                                                  </a:cubicBezTo>
                                                  <a:cubicBezTo>
                                                    <a:pt x="5620" y="24677"/>
                                                    <a:pt x="5037" y="25195"/>
                                                    <a:pt x="4454" y="25713"/>
                                                  </a:cubicBezTo>
                                                  <a:cubicBezTo>
                                                    <a:pt x="3353" y="26555"/>
                                                    <a:pt x="2252" y="27527"/>
                                                    <a:pt x="1410" y="28693"/>
                                                  </a:cubicBezTo>
                                                  <a:cubicBezTo>
                                                    <a:pt x="-145" y="30766"/>
                                                    <a:pt x="-664" y="33876"/>
                                                    <a:pt x="1150" y="35884"/>
                                                  </a:cubicBezTo>
                                                  <a:cubicBezTo>
                                                    <a:pt x="2122" y="36921"/>
                                                    <a:pt x="3547" y="37504"/>
                                                    <a:pt x="5361" y="37504"/>
                                                  </a:cubicBezTo>
                                                  <a:cubicBezTo>
                                                    <a:pt x="6463" y="37504"/>
                                                    <a:pt x="7499" y="37310"/>
                                                    <a:pt x="8277" y="37180"/>
                                                  </a:cubicBezTo>
                                                  <a:cubicBezTo>
                                                    <a:pt x="10998" y="36662"/>
                                                    <a:pt x="13395" y="36144"/>
                                                    <a:pt x="15662" y="34977"/>
                                                  </a:cubicBezTo>
                                                  <a:cubicBezTo>
                                                    <a:pt x="18448" y="33617"/>
                                                    <a:pt x="20392" y="31544"/>
                                                    <a:pt x="21234" y="29147"/>
                                                  </a:cubicBezTo>
                                                  <a:cubicBezTo>
                                                    <a:pt x="22076" y="26750"/>
                                                    <a:pt x="21752" y="24158"/>
                                                    <a:pt x="21428" y="22215"/>
                                                  </a:cubicBezTo>
                                                  <a:cubicBezTo>
                                                    <a:pt x="21169" y="20919"/>
                                                    <a:pt x="20975" y="19429"/>
                                                    <a:pt x="21687" y="18846"/>
                                                  </a:cubicBezTo>
                                                  <a:cubicBezTo>
                                                    <a:pt x="21946" y="18587"/>
                                                    <a:pt x="22400" y="18457"/>
                                                    <a:pt x="22789" y="18327"/>
                                                  </a:cubicBezTo>
                                                  <a:lnTo>
                                                    <a:pt x="29786" y="16060"/>
                                                  </a:lnTo>
                                                  <a:lnTo>
                                                    <a:pt x="29786" y="15347"/>
                                                  </a:lnTo>
                                                  <a:cubicBezTo>
                                                    <a:pt x="29980" y="11655"/>
                                                    <a:pt x="29786" y="7962"/>
                                                    <a:pt x="29138" y="4334"/>
                                                  </a:cubicBezTo>
                                                  <a:close/>
                                                  <a:moveTo>
                                                    <a:pt x="19485" y="22539"/>
                                                  </a:moveTo>
                                                  <a:cubicBezTo>
                                                    <a:pt x="19808" y="24288"/>
                                                    <a:pt x="20133" y="26555"/>
                                                    <a:pt x="19485" y="28499"/>
                                                  </a:cubicBezTo>
                                                  <a:cubicBezTo>
                                                    <a:pt x="18837" y="30442"/>
                                                    <a:pt x="17152" y="32127"/>
                                                    <a:pt x="14885" y="33228"/>
                                                  </a:cubicBezTo>
                                                  <a:cubicBezTo>
                                                    <a:pt x="12812" y="34265"/>
                                                    <a:pt x="10544" y="34783"/>
                                                    <a:pt x="7953" y="35237"/>
                                                  </a:cubicBezTo>
                                                  <a:cubicBezTo>
                                                    <a:pt x="7305" y="35366"/>
                                                    <a:pt x="6333" y="35560"/>
                                                    <a:pt x="5426" y="35560"/>
                                                  </a:cubicBezTo>
                                                  <a:cubicBezTo>
                                                    <a:pt x="4130" y="35560"/>
                                                    <a:pt x="3223" y="35237"/>
                                                    <a:pt x="2640" y="34589"/>
                                                  </a:cubicBezTo>
                                                  <a:cubicBezTo>
                                                    <a:pt x="1539" y="33358"/>
                                                    <a:pt x="1992" y="31220"/>
                                                    <a:pt x="3029" y="29859"/>
                                                  </a:cubicBezTo>
                                                  <a:cubicBezTo>
                                                    <a:pt x="3742" y="28823"/>
                                                    <a:pt x="4714" y="28045"/>
                                                    <a:pt x="5750" y="27203"/>
                                                  </a:cubicBezTo>
                                                  <a:cubicBezTo>
                                                    <a:pt x="6398" y="26620"/>
                                                    <a:pt x="7046" y="26102"/>
                                                    <a:pt x="7629" y="25454"/>
                                                  </a:cubicBezTo>
                                                  <a:cubicBezTo>
                                                    <a:pt x="9767" y="23381"/>
                                                    <a:pt x="10609" y="20854"/>
                                                    <a:pt x="10026" y="18716"/>
                                                  </a:cubicBezTo>
                                                  <a:cubicBezTo>
                                                    <a:pt x="9832" y="18198"/>
                                                    <a:pt x="9637" y="17744"/>
                                                    <a:pt x="9378" y="17291"/>
                                                  </a:cubicBezTo>
                                                  <a:cubicBezTo>
                                                    <a:pt x="9184" y="16967"/>
                                                    <a:pt x="9054" y="16578"/>
                                                    <a:pt x="8924" y="16254"/>
                                                  </a:cubicBezTo>
                                                  <a:cubicBezTo>
                                                    <a:pt x="8536" y="15023"/>
                                                    <a:pt x="9054" y="13533"/>
                                                    <a:pt x="10091" y="12821"/>
                                                  </a:cubicBezTo>
                                                  <a:cubicBezTo>
                                                    <a:pt x="10868" y="12302"/>
                                                    <a:pt x="11840" y="12108"/>
                                                    <a:pt x="12941" y="11914"/>
                                                  </a:cubicBezTo>
                                                  <a:cubicBezTo>
                                                    <a:pt x="14043" y="11655"/>
                                                    <a:pt x="15209" y="11460"/>
                                                    <a:pt x="16245" y="10812"/>
                                                  </a:cubicBezTo>
                                                  <a:cubicBezTo>
                                                    <a:pt x="18318" y="9581"/>
                                                    <a:pt x="19290" y="6796"/>
                                                    <a:pt x="18513" y="4528"/>
                                                  </a:cubicBezTo>
                                                  <a:cubicBezTo>
                                                    <a:pt x="19744" y="2973"/>
                                                    <a:pt x="22076" y="2390"/>
                                                    <a:pt x="24408" y="2002"/>
                                                  </a:cubicBezTo>
                                                  <a:cubicBezTo>
                                                    <a:pt x="24927" y="2002"/>
                                                    <a:pt x="25445" y="1872"/>
                                                    <a:pt x="25769" y="2002"/>
                                                  </a:cubicBezTo>
                                                  <a:cubicBezTo>
                                                    <a:pt x="26482" y="2196"/>
                                                    <a:pt x="27000" y="3103"/>
                                                    <a:pt x="27259" y="4658"/>
                                                  </a:cubicBezTo>
                                                  <a:cubicBezTo>
                                                    <a:pt x="27842" y="7897"/>
                                                    <a:pt x="28101" y="11266"/>
                                                    <a:pt x="27971" y="14635"/>
                                                  </a:cubicBezTo>
                                                  <a:lnTo>
                                                    <a:pt x="22270" y="16449"/>
                                                  </a:lnTo>
                                                  <a:cubicBezTo>
                                                    <a:pt x="21752" y="16643"/>
                                                    <a:pt x="21039" y="16837"/>
                                                    <a:pt x="20521" y="17356"/>
                                                  </a:cubicBezTo>
                                                  <a:cubicBezTo>
                                                    <a:pt x="18837" y="18716"/>
                                                    <a:pt x="19290" y="21113"/>
                                                    <a:pt x="19549" y="2253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grpSp>
                                          <p:nvGrpSpPr>
                                            <p:cNvPr id="771" name="Graphic 41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A710D47-80D8-4DCE-B0FE-CE2F86D14E6A}"/>
                                                </a:ext>
                                              </a:extLst>
                                            </p:cNvPr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2840632" y="1314629"/>
                                              <a:ext cx="8882290" cy="4743195"/>
                                              <a:chOff x="2840632" y="1314629"/>
                                              <a:chExt cx="8882290" cy="4743195"/>
                                            </a:xfrm>
                                          </p:grpSpPr>
                                          <p:sp>
                                            <p:nvSpPr>
                                              <p:cNvPr id="772" name="Freeform: Shape 771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5138C299-9167-44F6-B3F8-0124993FD34C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2908232" y="2731954"/>
                                                <a:ext cx="45531" cy="36029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39563 w 45531"/>
                                                  <a:gd name="connsiteY0" fmla="*/ 138 h 36029"/>
                                                  <a:gd name="connsiteX1" fmla="*/ 30946 w 45531"/>
                                                  <a:gd name="connsiteY1" fmla="*/ 1693 h 36029"/>
                                                  <a:gd name="connsiteX2" fmla="*/ 26476 w 45531"/>
                                                  <a:gd name="connsiteY2" fmla="*/ 3636 h 36029"/>
                                                  <a:gd name="connsiteX3" fmla="*/ 9826 w 45531"/>
                                                  <a:gd name="connsiteY3" fmla="*/ 8236 h 36029"/>
                                                  <a:gd name="connsiteX4" fmla="*/ 8854 w 45531"/>
                                                  <a:gd name="connsiteY4" fmla="*/ 8236 h 36029"/>
                                                  <a:gd name="connsiteX5" fmla="*/ 6651 w 45531"/>
                                                  <a:gd name="connsiteY5" fmla="*/ 8042 h 36029"/>
                                                  <a:gd name="connsiteX6" fmla="*/ 2505 w 45531"/>
                                                  <a:gd name="connsiteY6" fmla="*/ 9337 h 36029"/>
                                                  <a:gd name="connsiteX7" fmla="*/ 367 w 45531"/>
                                                  <a:gd name="connsiteY7" fmla="*/ 14650 h 36029"/>
                                                  <a:gd name="connsiteX8" fmla="*/ 626 w 45531"/>
                                                  <a:gd name="connsiteY8" fmla="*/ 30328 h 36029"/>
                                                  <a:gd name="connsiteX9" fmla="*/ 5161 w 45531"/>
                                                  <a:gd name="connsiteY9" fmla="*/ 36029 h 36029"/>
                                                  <a:gd name="connsiteX10" fmla="*/ 6457 w 45531"/>
                                                  <a:gd name="connsiteY10" fmla="*/ 35770 h 36029"/>
                                                  <a:gd name="connsiteX11" fmla="*/ 7105 w 45531"/>
                                                  <a:gd name="connsiteY11" fmla="*/ 35446 h 36029"/>
                                                  <a:gd name="connsiteX12" fmla="*/ 7105 w 45531"/>
                                                  <a:gd name="connsiteY12" fmla="*/ 34733 h 36029"/>
                                                  <a:gd name="connsiteX13" fmla="*/ 10409 w 45531"/>
                                                  <a:gd name="connsiteY13" fmla="*/ 28190 h 36029"/>
                                                  <a:gd name="connsiteX14" fmla="*/ 18442 w 45531"/>
                                                  <a:gd name="connsiteY14" fmla="*/ 26117 h 36029"/>
                                                  <a:gd name="connsiteX15" fmla="*/ 22265 w 45531"/>
                                                  <a:gd name="connsiteY15" fmla="*/ 26311 h 36029"/>
                                                  <a:gd name="connsiteX16" fmla="*/ 26346 w 45531"/>
                                                  <a:gd name="connsiteY16" fmla="*/ 26441 h 36029"/>
                                                  <a:gd name="connsiteX17" fmla="*/ 35416 w 45531"/>
                                                  <a:gd name="connsiteY17" fmla="*/ 23720 h 36029"/>
                                                  <a:gd name="connsiteX18" fmla="*/ 38656 w 45531"/>
                                                  <a:gd name="connsiteY18" fmla="*/ 19509 h 36029"/>
                                                  <a:gd name="connsiteX19" fmla="*/ 43774 w 45531"/>
                                                  <a:gd name="connsiteY19" fmla="*/ 11151 h 36029"/>
                                                  <a:gd name="connsiteX20" fmla="*/ 45523 w 45531"/>
                                                  <a:gd name="connsiteY20" fmla="*/ 6746 h 36029"/>
                                                  <a:gd name="connsiteX21" fmla="*/ 39563 w 45531"/>
                                                  <a:gd name="connsiteY21" fmla="*/ 138 h 36029"/>
                                                  <a:gd name="connsiteX22" fmla="*/ 22394 w 45531"/>
                                                  <a:gd name="connsiteY22" fmla="*/ 24368 h 36029"/>
                                                  <a:gd name="connsiteX23" fmla="*/ 18313 w 45531"/>
                                                  <a:gd name="connsiteY23" fmla="*/ 24173 h 36029"/>
                                                  <a:gd name="connsiteX24" fmla="*/ 9308 w 45531"/>
                                                  <a:gd name="connsiteY24" fmla="*/ 26570 h 36029"/>
                                                  <a:gd name="connsiteX25" fmla="*/ 5032 w 45531"/>
                                                  <a:gd name="connsiteY25" fmla="*/ 34086 h 36029"/>
                                                  <a:gd name="connsiteX26" fmla="*/ 2505 w 45531"/>
                                                  <a:gd name="connsiteY26" fmla="*/ 30069 h 36029"/>
                                                  <a:gd name="connsiteX27" fmla="*/ 2311 w 45531"/>
                                                  <a:gd name="connsiteY27" fmla="*/ 14844 h 36029"/>
                                                  <a:gd name="connsiteX28" fmla="*/ 3736 w 45531"/>
                                                  <a:gd name="connsiteY28" fmla="*/ 10827 h 36029"/>
                                                  <a:gd name="connsiteX29" fmla="*/ 6651 w 45531"/>
                                                  <a:gd name="connsiteY29" fmla="*/ 9985 h 36029"/>
                                                  <a:gd name="connsiteX30" fmla="*/ 8660 w 45531"/>
                                                  <a:gd name="connsiteY30" fmla="*/ 10115 h 36029"/>
                                                  <a:gd name="connsiteX31" fmla="*/ 9696 w 45531"/>
                                                  <a:gd name="connsiteY31" fmla="*/ 10115 h 36029"/>
                                                  <a:gd name="connsiteX32" fmla="*/ 27318 w 45531"/>
                                                  <a:gd name="connsiteY32" fmla="*/ 5450 h 36029"/>
                                                  <a:gd name="connsiteX33" fmla="*/ 31723 w 45531"/>
                                                  <a:gd name="connsiteY33" fmla="*/ 3507 h 36029"/>
                                                  <a:gd name="connsiteX34" fmla="*/ 39239 w 45531"/>
                                                  <a:gd name="connsiteY34" fmla="*/ 2081 h 36029"/>
                                                  <a:gd name="connsiteX35" fmla="*/ 43579 w 45531"/>
                                                  <a:gd name="connsiteY35" fmla="*/ 6616 h 36029"/>
                                                  <a:gd name="connsiteX36" fmla="*/ 42089 w 45531"/>
                                                  <a:gd name="connsiteY36" fmla="*/ 10115 h 36029"/>
                                                  <a:gd name="connsiteX37" fmla="*/ 36971 w 45531"/>
                                                  <a:gd name="connsiteY37" fmla="*/ 18537 h 36029"/>
                                                  <a:gd name="connsiteX38" fmla="*/ 34185 w 45531"/>
                                                  <a:gd name="connsiteY38" fmla="*/ 22230 h 36029"/>
                                                  <a:gd name="connsiteX39" fmla="*/ 26346 w 45531"/>
                                                  <a:gd name="connsiteY39" fmla="*/ 24497 h 36029"/>
                                                  <a:gd name="connsiteX40" fmla="*/ 22394 w 45531"/>
                                                  <a:gd name="connsiteY40" fmla="*/ 24368 h 36029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  <a:cxn ang="0">
                                                    <a:pos x="connsiteX6" y="connsiteY6"/>
                                                  </a:cxn>
                                                  <a:cxn ang="0">
                                                    <a:pos x="connsiteX7" y="connsiteY7"/>
                                                  </a:cxn>
                                                  <a:cxn ang="0">
                                                    <a:pos x="connsiteX8" y="connsiteY8"/>
                                                  </a:cxn>
                                                  <a:cxn ang="0">
                                                    <a:pos x="connsiteX9" y="connsiteY9"/>
                                                  </a:cxn>
                                                  <a:cxn ang="0">
                                                    <a:pos x="connsiteX10" y="connsiteY10"/>
                                                  </a:cxn>
                                                  <a:cxn ang="0">
                                                    <a:pos x="connsiteX11" y="connsiteY11"/>
                                                  </a:cxn>
                                                  <a:cxn ang="0">
                                                    <a:pos x="connsiteX12" y="connsiteY12"/>
                                                  </a:cxn>
                                                  <a:cxn ang="0">
                                                    <a:pos x="connsiteX13" y="connsiteY13"/>
                                                  </a:cxn>
                                                  <a:cxn ang="0">
                                                    <a:pos x="connsiteX14" y="connsiteY14"/>
                                                  </a:cxn>
                                                  <a:cxn ang="0">
                                                    <a:pos x="connsiteX15" y="connsiteY15"/>
                                                  </a:cxn>
                                                  <a:cxn ang="0">
                                                    <a:pos x="connsiteX16" y="connsiteY16"/>
                                                  </a:cxn>
                                                  <a:cxn ang="0">
                                                    <a:pos x="connsiteX17" y="connsiteY17"/>
                                                  </a:cxn>
                                                  <a:cxn ang="0">
                                                    <a:pos x="connsiteX18" y="connsiteY18"/>
                                                  </a:cxn>
                                                  <a:cxn ang="0">
                                                    <a:pos x="connsiteX19" y="connsiteY19"/>
                                                  </a:cxn>
                                                  <a:cxn ang="0">
                                                    <a:pos x="connsiteX20" y="connsiteY20"/>
                                                  </a:cxn>
                                                  <a:cxn ang="0">
                                                    <a:pos x="connsiteX21" y="connsiteY21"/>
                                                  </a:cxn>
                                                  <a:cxn ang="0">
                                                    <a:pos x="connsiteX22" y="connsiteY22"/>
                                                  </a:cxn>
                                                  <a:cxn ang="0">
                                                    <a:pos x="connsiteX23" y="connsiteY23"/>
                                                  </a:cxn>
                                                  <a:cxn ang="0">
                                                    <a:pos x="connsiteX24" y="connsiteY24"/>
                                                  </a:cxn>
                                                  <a:cxn ang="0">
                                                    <a:pos x="connsiteX25" y="connsiteY25"/>
                                                  </a:cxn>
                                                  <a:cxn ang="0">
                                                    <a:pos x="connsiteX26" y="connsiteY26"/>
                                                  </a:cxn>
                                                  <a:cxn ang="0">
                                                    <a:pos x="connsiteX27" y="connsiteY27"/>
                                                  </a:cxn>
                                                  <a:cxn ang="0">
                                                    <a:pos x="connsiteX28" y="connsiteY28"/>
                                                  </a:cxn>
                                                  <a:cxn ang="0">
                                                    <a:pos x="connsiteX29" y="connsiteY29"/>
                                                  </a:cxn>
                                                  <a:cxn ang="0">
                                                    <a:pos x="connsiteX30" y="connsiteY30"/>
                                                  </a:cxn>
                                                  <a:cxn ang="0">
                                                    <a:pos x="connsiteX31" y="connsiteY31"/>
                                                  </a:cxn>
                                                  <a:cxn ang="0">
                                                    <a:pos x="connsiteX32" y="connsiteY32"/>
                                                  </a:cxn>
                                                  <a:cxn ang="0">
                                                    <a:pos x="connsiteX33" y="connsiteY33"/>
                                                  </a:cxn>
                                                  <a:cxn ang="0">
                                                    <a:pos x="connsiteX34" y="connsiteY34"/>
                                                  </a:cxn>
                                                  <a:cxn ang="0">
                                                    <a:pos x="connsiteX35" y="connsiteY35"/>
                                                  </a:cxn>
                                                  <a:cxn ang="0">
                                                    <a:pos x="connsiteX36" y="connsiteY36"/>
                                                  </a:cxn>
                                                  <a:cxn ang="0">
                                                    <a:pos x="connsiteX37" y="connsiteY37"/>
                                                  </a:cxn>
                                                  <a:cxn ang="0">
                                                    <a:pos x="connsiteX38" y="connsiteY38"/>
                                                  </a:cxn>
                                                  <a:cxn ang="0">
                                                    <a:pos x="connsiteX39" y="connsiteY39"/>
                                                  </a:cxn>
                                                  <a:cxn ang="0">
                                                    <a:pos x="connsiteX40" y="connsiteY40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45531" h="36029">
                                                    <a:moveTo>
                                                      <a:pt x="39563" y="138"/>
                                                    </a:moveTo>
                                                    <a:cubicBezTo>
                                                      <a:pt x="36518" y="-380"/>
                                                      <a:pt x="33473" y="656"/>
                                                      <a:pt x="30946" y="1693"/>
                                                    </a:cubicBezTo>
                                                    <a:cubicBezTo>
                                                      <a:pt x="29456" y="2276"/>
                                                      <a:pt x="27966" y="2988"/>
                                                      <a:pt x="26476" y="3636"/>
                                                    </a:cubicBezTo>
                                                    <a:cubicBezTo>
                                                      <a:pt x="21099" y="6098"/>
                                                      <a:pt x="15592" y="8560"/>
                                                      <a:pt x="9826" y="8236"/>
                                                    </a:cubicBezTo>
                                                    <a:lnTo>
                                                      <a:pt x="8854" y="8236"/>
                                                    </a:lnTo>
                                                    <a:cubicBezTo>
                                                      <a:pt x="8141" y="8106"/>
                                                      <a:pt x="7364" y="8042"/>
                                                      <a:pt x="6651" y="8042"/>
                                                    </a:cubicBezTo>
                                                    <a:cubicBezTo>
                                                      <a:pt x="5550" y="8042"/>
                                                      <a:pt x="3866" y="8171"/>
                                                      <a:pt x="2505" y="9337"/>
                                                    </a:cubicBezTo>
                                                    <a:cubicBezTo>
                                                      <a:pt x="950" y="10633"/>
                                                      <a:pt x="562" y="12641"/>
                                                      <a:pt x="367" y="14650"/>
                                                    </a:cubicBezTo>
                                                    <a:cubicBezTo>
                                                      <a:pt x="-216" y="19833"/>
                                                      <a:pt x="-86" y="25080"/>
                                                      <a:pt x="626" y="30328"/>
                                                    </a:cubicBezTo>
                                                    <a:cubicBezTo>
                                                      <a:pt x="950" y="32725"/>
                                                      <a:pt x="2570" y="36029"/>
                                                      <a:pt x="5161" y="36029"/>
                                                    </a:cubicBezTo>
                                                    <a:cubicBezTo>
                                                      <a:pt x="5615" y="36029"/>
                                                      <a:pt x="6068" y="35964"/>
                                                      <a:pt x="6457" y="35770"/>
                                                    </a:cubicBezTo>
                                                    <a:lnTo>
                                                      <a:pt x="7105" y="35446"/>
                                                    </a:lnTo>
                                                    <a:lnTo>
                                                      <a:pt x="7105" y="34733"/>
                                                    </a:lnTo>
                                                    <a:cubicBezTo>
                                                      <a:pt x="6716" y="32401"/>
                                                      <a:pt x="8077" y="29745"/>
                                                      <a:pt x="10409" y="28190"/>
                                                    </a:cubicBezTo>
                                                    <a:cubicBezTo>
                                                      <a:pt x="12417" y="26830"/>
                                                      <a:pt x="15074" y="26182"/>
                                                      <a:pt x="18442" y="26117"/>
                                                    </a:cubicBezTo>
                                                    <a:cubicBezTo>
                                                      <a:pt x="19673" y="26117"/>
                                                      <a:pt x="20969" y="26182"/>
                                                      <a:pt x="22265" y="26311"/>
                                                    </a:cubicBezTo>
                                                    <a:cubicBezTo>
                                                      <a:pt x="23625" y="26376"/>
                                                      <a:pt x="24986" y="26441"/>
                                                      <a:pt x="26346" y="26441"/>
                                                    </a:cubicBezTo>
                                                    <a:cubicBezTo>
                                                      <a:pt x="29132" y="26441"/>
                                                      <a:pt x="32630" y="26117"/>
                                                      <a:pt x="35416" y="23720"/>
                                                    </a:cubicBezTo>
                                                    <a:cubicBezTo>
                                                      <a:pt x="36842" y="22489"/>
                                                      <a:pt x="37813" y="20934"/>
                                                      <a:pt x="38656" y="19509"/>
                                                    </a:cubicBezTo>
                                                    <a:lnTo>
                                                      <a:pt x="43774" y="11151"/>
                                                    </a:lnTo>
                                                    <a:cubicBezTo>
                                                      <a:pt x="44486" y="9985"/>
                                                      <a:pt x="45393" y="8430"/>
                                                      <a:pt x="45523" y="6746"/>
                                                    </a:cubicBezTo>
                                                    <a:cubicBezTo>
                                                      <a:pt x="45717" y="3312"/>
                                                      <a:pt x="42607" y="721"/>
                                                      <a:pt x="39563" y="138"/>
                                                    </a:cubicBezTo>
                                                    <a:close/>
                                                    <a:moveTo>
                                                      <a:pt x="22394" y="24368"/>
                                                    </a:moveTo>
                                                    <a:cubicBezTo>
                                                      <a:pt x="21034" y="24238"/>
                                                      <a:pt x="19738" y="24173"/>
                                                      <a:pt x="18313" y="24173"/>
                                                    </a:cubicBezTo>
                                                    <a:cubicBezTo>
                                                      <a:pt x="14620" y="24238"/>
                                                      <a:pt x="11640" y="25016"/>
                                                      <a:pt x="9308" y="26570"/>
                                                    </a:cubicBezTo>
                                                    <a:cubicBezTo>
                                                      <a:pt x="6651" y="28384"/>
                                                      <a:pt x="5032" y="31300"/>
                                                      <a:pt x="5032" y="34086"/>
                                                    </a:cubicBezTo>
                                                    <a:cubicBezTo>
                                                      <a:pt x="3930" y="33956"/>
                                                      <a:pt x="2764" y="31883"/>
                                                      <a:pt x="2505" y="30069"/>
                                                    </a:cubicBezTo>
                                                    <a:cubicBezTo>
                                                      <a:pt x="1857" y="25016"/>
                                                      <a:pt x="1728" y="19897"/>
                                                      <a:pt x="2311" y="14844"/>
                                                    </a:cubicBezTo>
                                                    <a:cubicBezTo>
                                                      <a:pt x="2440" y="13225"/>
                                                      <a:pt x="2764" y="11670"/>
                                                      <a:pt x="3736" y="10827"/>
                                                    </a:cubicBezTo>
                                                    <a:cubicBezTo>
                                                      <a:pt x="4449" y="10244"/>
                                                      <a:pt x="5356" y="9985"/>
                                                      <a:pt x="6651" y="9985"/>
                                                    </a:cubicBezTo>
                                                    <a:cubicBezTo>
                                                      <a:pt x="7364" y="9985"/>
                                                      <a:pt x="8012" y="9985"/>
                                                      <a:pt x="8660" y="10115"/>
                                                    </a:cubicBezTo>
                                                    <a:lnTo>
                                                      <a:pt x="9696" y="10115"/>
                                                    </a:lnTo>
                                                    <a:cubicBezTo>
                                                      <a:pt x="15916" y="10568"/>
                                                      <a:pt x="21746" y="7977"/>
                                                      <a:pt x="27318" y="5450"/>
                                                    </a:cubicBezTo>
                                                    <a:cubicBezTo>
                                                      <a:pt x="28743" y="4738"/>
                                                      <a:pt x="30233" y="4090"/>
                                                      <a:pt x="31723" y="3507"/>
                                                    </a:cubicBezTo>
                                                    <a:cubicBezTo>
                                                      <a:pt x="33926" y="2535"/>
                                                      <a:pt x="36647" y="1628"/>
                                                      <a:pt x="39239" y="2081"/>
                                                    </a:cubicBezTo>
                                                    <a:cubicBezTo>
                                                      <a:pt x="41441" y="2470"/>
                                                      <a:pt x="43709" y="4284"/>
                                                      <a:pt x="43579" y="6616"/>
                                                    </a:cubicBezTo>
                                                    <a:cubicBezTo>
                                                      <a:pt x="43579" y="7847"/>
                                                      <a:pt x="42737" y="9078"/>
                                                      <a:pt x="42089" y="10115"/>
                                                    </a:cubicBezTo>
                                                    <a:lnTo>
                                                      <a:pt x="36971" y="18537"/>
                                                    </a:lnTo>
                                                    <a:cubicBezTo>
                                                      <a:pt x="36194" y="19833"/>
                                                      <a:pt x="35287" y="21258"/>
                                                      <a:pt x="34185" y="22230"/>
                                                    </a:cubicBezTo>
                                                    <a:cubicBezTo>
                                                      <a:pt x="32371" y="23849"/>
                                                      <a:pt x="29974" y="24497"/>
                                                      <a:pt x="26346" y="24497"/>
                                                    </a:cubicBezTo>
                                                    <a:cubicBezTo>
                                                      <a:pt x="25051" y="24497"/>
                                                      <a:pt x="23690" y="24433"/>
                                                      <a:pt x="22394" y="24368"/>
                                                    </a:cubicBez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rgbClr val="666666"/>
                                              </a:solidFill>
                                              <a:ln w="6472" cap="flat">
                                                <a:solidFill>
                                                  <a:srgbClr val="FFFFFF"/>
                                                </a:solidFill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da-DK"/>
                                              </a:p>
                                            </p:txBody>
                                          </p:sp>
                                          <p:sp>
                                            <p:nvSpPr>
                                              <p:cNvPr id="773" name="Freeform: Shape 772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FBE5C1EC-8AAA-416B-92BB-3FA68F2061AE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2855799" y="2523469"/>
                                                <a:ext cx="39621" cy="29295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38871 w 39621"/>
                                                  <a:gd name="connsiteY0" fmla="*/ 15691 h 29295"/>
                                                  <a:gd name="connsiteX1" fmla="*/ 38677 w 39621"/>
                                                  <a:gd name="connsiteY1" fmla="*/ 14978 h 29295"/>
                                                  <a:gd name="connsiteX2" fmla="*/ 38029 w 39621"/>
                                                  <a:gd name="connsiteY2" fmla="*/ 14978 h 29295"/>
                                                  <a:gd name="connsiteX3" fmla="*/ 27340 w 39621"/>
                                                  <a:gd name="connsiteY3" fmla="*/ 11220 h 29295"/>
                                                  <a:gd name="connsiteX4" fmla="*/ 24943 w 39621"/>
                                                  <a:gd name="connsiteY4" fmla="*/ 7722 h 29295"/>
                                                  <a:gd name="connsiteX5" fmla="*/ 21509 w 39621"/>
                                                  <a:gd name="connsiteY5" fmla="*/ 1438 h 29295"/>
                                                  <a:gd name="connsiteX6" fmla="*/ 21055 w 39621"/>
                                                  <a:gd name="connsiteY6" fmla="*/ 1308 h 29295"/>
                                                  <a:gd name="connsiteX7" fmla="*/ 4665 w 39621"/>
                                                  <a:gd name="connsiteY7" fmla="*/ 77 h 29295"/>
                                                  <a:gd name="connsiteX8" fmla="*/ 4081 w 39621"/>
                                                  <a:gd name="connsiteY8" fmla="*/ 77 h 29295"/>
                                                  <a:gd name="connsiteX9" fmla="*/ 3822 w 39621"/>
                                                  <a:gd name="connsiteY9" fmla="*/ 660 h 29295"/>
                                                  <a:gd name="connsiteX10" fmla="*/ 0 w 39621"/>
                                                  <a:gd name="connsiteY10" fmla="*/ 17116 h 29295"/>
                                                  <a:gd name="connsiteX11" fmla="*/ 1037 w 39621"/>
                                                  <a:gd name="connsiteY11" fmla="*/ 21262 h 29295"/>
                                                  <a:gd name="connsiteX12" fmla="*/ 4276 w 39621"/>
                                                  <a:gd name="connsiteY12" fmla="*/ 23141 h 29295"/>
                                                  <a:gd name="connsiteX13" fmla="*/ 26692 w 39621"/>
                                                  <a:gd name="connsiteY13" fmla="*/ 28777 h 29295"/>
                                                  <a:gd name="connsiteX14" fmla="*/ 31227 w 39621"/>
                                                  <a:gd name="connsiteY14" fmla="*/ 29296 h 29295"/>
                                                  <a:gd name="connsiteX15" fmla="*/ 37576 w 39621"/>
                                                  <a:gd name="connsiteY15" fmla="*/ 26963 h 29295"/>
                                                  <a:gd name="connsiteX16" fmla="*/ 38871 w 39621"/>
                                                  <a:gd name="connsiteY16" fmla="*/ 15691 h 29295"/>
                                                  <a:gd name="connsiteX17" fmla="*/ 27080 w 39621"/>
                                                  <a:gd name="connsiteY17" fmla="*/ 26899 h 29295"/>
                                                  <a:gd name="connsiteX18" fmla="*/ 4924 w 39621"/>
                                                  <a:gd name="connsiteY18" fmla="*/ 21262 h 29295"/>
                                                  <a:gd name="connsiteX19" fmla="*/ 2527 w 39621"/>
                                                  <a:gd name="connsiteY19" fmla="*/ 20031 h 29295"/>
                                                  <a:gd name="connsiteX20" fmla="*/ 1944 w 39621"/>
                                                  <a:gd name="connsiteY20" fmla="*/ 17116 h 29295"/>
                                                  <a:gd name="connsiteX21" fmla="*/ 5312 w 39621"/>
                                                  <a:gd name="connsiteY21" fmla="*/ 2021 h 29295"/>
                                                  <a:gd name="connsiteX22" fmla="*/ 20213 w 39621"/>
                                                  <a:gd name="connsiteY22" fmla="*/ 3122 h 29295"/>
                                                  <a:gd name="connsiteX23" fmla="*/ 23258 w 39621"/>
                                                  <a:gd name="connsiteY23" fmla="*/ 8629 h 29295"/>
                                                  <a:gd name="connsiteX24" fmla="*/ 25914 w 39621"/>
                                                  <a:gd name="connsiteY24" fmla="*/ 12581 h 29295"/>
                                                  <a:gd name="connsiteX25" fmla="*/ 37122 w 39621"/>
                                                  <a:gd name="connsiteY25" fmla="*/ 16792 h 29295"/>
                                                  <a:gd name="connsiteX26" fmla="*/ 36215 w 39621"/>
                                                  <a:gd name="connsiteY26" fmla="*/ 25668 h 29295"/>
                                                  <a:gd name="connsiteX27" fmla="*/ 31227 w 39621"/>
                                                  <a:gd name="connsiteY27" fmla="*/ 27352 h 29295"/>
                                                  <a:gd name="connsiteX28" fmla="*/ 27080 w 39621"/>
                                                  <a:gd name="connsiteY28" fmla="*/ 26899 h 29295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  <a:cxn ang="0">
                                                    <a:pos x="connsiteX6" y="connsiteY6"/>
                                                  </a:cxn>
                                                  <a:cxn ang="0">
                                                    <a:pos x="connsiteX7" y="connsiteY7"/>
                                                  </a:cxn>
                                                  <a:cxn ang="0">
                                                    <a:pos x="connsiteX8" y="connsiteY8"/>
                                                  </a:cxn>
                                                  <a:cxn ang="0">
                                                    <a:pos x="connsiteX9" y="connsiteY9"/>
                                                  </a:cxn>
                                                  <a:cxn ang="0">
                                                    <a:pos x="connsiteX10" y="connsiteY10"/>
                                                  </a:cxn>
                                                  <a:cxn ang="0">
                                                    <a:pos x="connsiteX11" y="connsiteY11"/>
                                                  </a:cxn>
                                                  <a:cxn ang="0">
                                                    <a:pos x="connsiteX12" y="connsiteY12"/>
                                                  </a:cxn>
                                                  <a:cxn ang="0">
                                                    <a:pos x="connsiteX13" y="connsiteY13"/>
                                                  </a:cxn>
                                                  <a:cxn ang="0">
                                                    <a:pos x="connsiteX14" y="connsiteY14"/>
                                                  </a:cxn>
                                                  <a:cxn ang="0">
                                                    <a:pos x="connsiteX15" y="connsiteY15"/>
                                                  </a:cxn>
                                                  <a:cxn ang="0">
                                                    <a:pos x="connsiteX16" y="connsiteY16"/>
                                                  </a:cxn>
                                                  <a:cxn ang="0">
                                                    <a:pos x="connsiteX17" y="connsiteY17"/>
                                                  </a:cxn>
                                                  <a:cxn ang="0">
                                                    <a:pos x="connsiteX18" y="connsiteY18"/>
                                                  </a:cxn>
                                                  <a:cxn ang="0">
                                                    <a:pos x="connsiteX19" y="connsiteY19"/>
                                                  </a:cxn>
                                                  <a:cxn ang="0">
                                                    <a:pos x="connsiteX20" y="connsiteY20"/>
                                                  </a:cxn>
                                                  <a:cxn ang="0">
                                                    <a:pos x="connsiteX21" y="connsiteY21"/>
                                                  </a:cxn>
                                                  <a:cxn ang="0">
                                                    <a:pos x="connsiteX22" y="connsiteY22"/>
                                                  </a:cxn>
                                                  <a:cxn ang="0">
                                                    <a:pos x="connsiteX23" y="connsiteY23"/>
                                                  </a:cxn>
                                                  <a:cxn ang="0">
                                                    <a:pos x="connsiteX24" y="connsiteY24"/>
                                                  </a:cxn>
                                                  <a:cxn ang="0">
                                                    <a:pos x="connsiteX25" y="connsiteY25"/>
                                                  </a:cxn>
                                                  <a:cxn ang="0">
                                                    <a:pos x="connsiteX26" y="connsiteY26"/>
                                                  </a:cxn>
                                                  <a:cxn ang="0">
                                                    <a:pos x="connsiteX27" y="connsiteY27"/>
                                                  </a:cxn>
                                                  <a:cxn ang="0">
                                                    <a:pos x="connsiteX28" y="connsiteY28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39621" h="29295">
                                                    <a:moveTo>
                                                      <a:pt x="38871" y="15691"/>
                                                    </a:moveTo>
                                                    <a:lnTo>
                                                      <a:pt x="38677" y="14978"/>
                                                    </a:lnTo>
                                                    <a:lnTo>
                                                      <a:pt x="38029" y="14978"/>
                                                    </a:lnTo>
                                                    <a:cubicBezTo>
                                                      <a:pt x="33818" y="14460"/>
                                                      <a:pt x="29801" y="13877"/>
                                                      <a:pt x="27340" y="11220"/>
                                                    </a:cubicBezTo>
                                                    <a:cubicBezTo>
                                                      <a:pt x="26368" y="10249"/>
                                                      <a:pt x="25655" y="8953"/>
                                                      <a:pt x="24943" y="7722"/>
                                                    </a:cubicBezTo>
                                                    <a:lnTo>
                                                      <a:pt x="21509" y="1438"/>
                                                    </a:lnTo>
                                                    <a:lnTo>
                                                      <a:pt x="21055" y="1308"/>
                                                    </a:lnTo>
                                                    <a:cubicBezTo>
                                                      <a:pt x="15678" y="207"/>
                                                      <a:pt x="10107" y="-182"/>
                                                      <a:pt x="4665" y="77"/>
                                                    </a:cubicBezTo>
                                                    <a:lnTo>
                                                      <a:pt x="4081" y="77"/>
                                                    </a:lnTo>
                                                    <a:cubicBezTo>
                                                      <a:pt x="4081" y="77"/>
                                                      <a:pt x="3822" y="660"/>
                                                      <a:pt x="3822" y="660"/>
                                                    </a:cubicBezTo>
                                                    <a:cubicBezTo>
                                                      <a:pt x="1425" y="5778"/>
                                                      <a:pt x="65" y="11480"/>
                                                      <a:pt x="0" y="17116"/>
                                                    </a:cubicBezTo>
                                                    <a:cubicBezTo>
                                                      <a:pt x="0" y="18541"/>
                                                      <a:pt x="130" y="20031"/>
                                                      <a:pt x="1037" y="21262"/>
                                                    </a:cubicBezTo>
                                                    <a:cubicBezTo>
                                                      <a:pt x="1879" y="22299"/>
                                                      <a:pt x="3110" y="22752"/>
                                                      <a:pt x="4276" y="23141"/>
                                                    </a:cubicBezTo>
                                                    <a:cubicBezTo>
                                                      <a:pt x="11597" y="25473"/>
                                                      <a:pt x="19177" y="27417"/>
                                                      <a:pt x="26692" y="28777"/>
                                                    </a:cubicBezTo>
                                                    <a:cubicBezTo>
                                                      <a:pt x="28506" y="29166"/>
                                                      <a:pt x="29931" y="29296"/>
                                                      <a:pt x="31227" y="29296"/>
                                                    </a:cubicBezTo>
                                                    <a:cubicBezTo>
                                                      <a:pt x="34013" y="29296"/>
                                                      <a:pt x="36086" y="28518"/>
                                                      <a:pt x="37576" y="26963"/>
                                                    </a:cubicBezTo>
                                                    <a:cubicBezTo>
                                                      <a:pt x="40361" y="24048"/>
                                                      <a:pt x="39778" y="19642"/>
                                                      <a:pt x="38871" y="15691"/>
                                                    </a:cubicBezTo>
                                                    <a:close/>
                                                    <a:moveTo>
                                                      <a:pt x="27080" y="26899"/>
                                                    </a:moveTo>
                                                    <a:cubicBezTo>
                                                      <a:pt x="19565" y="25473"/>
                                                      <a:pt x="12115" y="23594"/>
                                                      <a:pt x="4924" y="21262"/>
                                                    </a:cubicBezTo>
                                                    <a:cubicBezTo>
                                                      <a:pt x="3952" y="20938"/>
                                                      <a:pt x="3045" y="20614"/>
                                                      <a:pt x="2527" y="20031"/>
                                                    </a:cubicBezTo>
                                                    <a:cubicBezTo>
                                                      <a:pt x="2008" y="19319"/>
                                                      <a:pt x="1944" y="18217"/>
                                                      <a:pt x="1944" y="17116"/>
                                                    </a:cubicBezTo>
                                                    <a:cubicBezTo>
                                                      <a:pt x="1944" y="11933"/>
                                                      <a:pt x="3174" y="6750"/>
                                                      <a:pt x="5312" y="2021"/>
                                                    </a:cubicBezTo>
                                                    <a:cubicBezTo>
                                                      <a:pt x="10301" y="1762"/>
                                                      <a:pt x="15354" y="2150"/>
                                                      <a:pt x="20213" y="3122"/>
                                                    </a:cubicBezTo>
                                                    <a:lnTo>
                                                      <a:pt x="23258" y="8629"/>
                                                    </a:lnTo>
                                                    <a:cubicBezTo>
                                                      <a:pt x="23971" y="9989"/>
                                                      <a:pt x="24748" y="11415"/>
                                                      <a:pt x="25914" y="12581"/>
                                                    </a:cubicBezTo>
                                                    <a:cubicBezTo>
                                                      <a:pt x="28700" y="15496"/>
                                                      <a:pt x="32782" y="16274"/>
                                                      <a:pt x="37122" y="16792"/>
                                                    </a:cubicBezTo>
                                                    <a:cubicBezTo>
                                                      <a:pt x="37900" y="20226"/>
                                                      <a:pt x="38159" y="23530"/>
                                                      <a:pt x="36215" y="25668"/>
                                                    </a:cubicBezTo>
                                                    <a:cubicBezTo>
                                                      <a:pt x="35114" y="26769"/>
                                                      <a:pt x="33429" y="27352"/>
                                                      <a:pt x="31227" y="27352"/>
                                                    </a:cubicBezTo>
                                                    <a:cubicBezTo>
                                                      <a:pt x="30061" y="27352"/>
                                                      <a:pt x="28700" y="27222"/>
                                                      <a:pt x="27080" y="26899"/>
                                                    </a:cubicBez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rgbClr val="666666"/>
                                              </a:solidFill>
                                              <a:ln w="6472" cap="flat">
                                                <a:solidFill>
                                                  <a:srgbClr val="FFFFFF"/>
                                                </a:solidFill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da-DK"/>
                                              </a:p>
                                            </p:txBody>
                                          </p:sp>
                                          <p:sp>
                                            <p:nvSpPr>
                                              <p:cNvPr id="774" name="Freeform: Shape 77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DB486638-D28E-41E9-9E54-2F536A0D2B10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3166446" y="2596070"/>
                                                <a:ext cx="70033" cy="52318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68932 w 70033"/>
                                                  <a:gd name="connsiteY0" fmla="*/ 295 h 52318"/>
                                                  <a:gd name="connsiteX1" fmla="*/ 53254 w 70033"/>
                                                  <a:gd name="connsiteY1" fmla="*/ 1980 h 52318"/>
                                                  <a:gd name="connsiteX2" fmla="*/ 49561 w 70033"/>
                                                  <a:gd name="connsiteY2" fmla="*/ 3794 h 52318"/>
                                                  <a:gd name="connsiteX3" fmla="*/ 43925 w 70033"/>
                                                  <a:gd name="connsiteY3" fmla="*/ 9819 h 52318"/>
                                                  <a:gd name="connsiteX4" fmla="*/ 43601 w 70033"/>
                                                  <a:gd name="connsiteY4" fmla="*/ 10272 h 52318"/>
                                                  <a:gd name="connsiteX5" fmla="*/ 22221 w 70033"/>
                                                  <a:gd name="connsiteY5" fmla="*/ 33271 h 52318"/>
                                                  <a:gd name="connsiteX6" fmla="*/ 13151 w 70033"/>
                                                  <a:gd name="connsiteY6" fmla="*/ 38713 h 52318"/>
                                                  <a:gd name="connsiteX7" fmla="*/ 11467 w 70033"/>
                                                  <a:gd name="connsiteY7" fmla="*/ 38972 h 52318"/>
                                                  <a:gd name="connsiteX8" fmla="*/ 8616 w 70033"/>
                                                  <a:gd name="connsiteY8" fmla="*/ 39620 h 52318"/>
                                                  <a:gd name="connsiteX9" fmla="*/ 259 w 70033"/>
                                                  <a:gd name="connsiteY9" fmla="*/ 51152 h 52318"/>
                                                  <a:gd name="connsiteX10" fmla="*/ 0 w 70033"/>
                                                  <a:gd name="connsiteY10" fmla="*/ 52318 h 52318"/>
                                                  <a:gd name="connsiteX11" fmla="*/ 1296 w 70033"/>
                                                  <a:gd name="connsiteY11" fmla="*/ 52318 h 52318"/>
                                                  <a:gd name="connsiteX12" fmla="*/ 14642 w 70033"/>
                                                  <a:gd name="connsiteY12" fmla="*/ 46941 h 52318"/>
                                                  <a:gd name="connsiteX13" fmla="*/ 20861 w 70033"/>
                                                  <a:gd name="connsiteY13" fmla="*/ 43378 h 52318"/>
                                                  <a:gd name="connsiteX14" fmla="*/ 28765 w 70033"/>
                                                  <a:gd name="connsiteY14" fmla="*/ 40786 h 52318"/>
                                                  <a:gd name="connsiteX15" fmla="*/ 41528 w 70033"/>
                                                  <a:gd name="connsiteY15" fmla="*/ 35150 h 52318"/>
                                                  <a:gd name="connsiteX16" fmla="*/ 46581 w 70033"/>
                                                  <a:gd name="connsiteY16" fmla="*/ 28671 h 52318"/>
                                                  <a:gd name="connsiteX17" fmla="*/ 52282 w 70033"/>
                                                  <a:gd name="connsiteY17" fmla="*/ 19925 h 52318"/>
                                                  <a:gd name="connsiteX18" fmla="*/ 69774 w 70033"/>
                                                  <a:gd name="connsiteY18" fmla="*/ 1462 h 52318"/>
                                                  <a:gd name="connsiteX19" fmla="*/ 70033 w 70033"/>
                                                  <a:gd name="connsiteY19" fmla="*/ 425 h 52318"/>
                                                  <a:gd name="connsiteX20" fmla="*/ 68932 w 70033"/>
                                                  <a:gd name="connsiteY20" fmla="*/ 295 h 52318"/>
                                                  <a:gd name="connsiteX21" fmla="*/ 51051 w 70033"/>
                                                  <a:gd name="connsiteY21" fmla="*/ 18241 h 52318"/>
                                                  <a:gd name="connsiteX22" fmla="*/ 44832 w 70033"/>
                                                  <a:gd name="connsiteY22" fmla="*/ 27764 h 52318"/>
                                                  <a:gd name="connsiteX23" fmla="*/ 40232 w 70033"/>
                                                  <a:gd name="connsiteY23" fmla="*/ 33660 h 52318"/>
                                                  <a:gd name="connsiteX24" fmla="*/ 28247 w 70033"/>
                                                  <a:gd name="connsiteY24" fmla="*/ 38908 h 52318"/>
                                                  <a:gd name="connsiteX25" fmla="*/ 20019 w 70033"/>
                                                  <a:gd name="connsiteY25" fmla="*/ 41629 h 52318"/>
                                                  <a:gd name="connsiteX26" fmla="*/ 13605 w 70033"/>
                                                  <a:gd name="connsiteY26" fmla="*/ 45321 h 52318"/>
                                                  <a:gd name="connsiteX27" fmla="*/ 2462 w 70033"/>
                                                  <a:gd name="connsiteY27" fmla="*/ 50310 h 52318"/>
                                                  <a:gd name="connsiteX28" fmla="*/ 9264 w 70033"/>
                                                  <a:gd name="connsiteY28" fmla="*/ 41434 h 52318"/>
                                                  <a:gd name="connsiteX29" fmla="*/ 11791 w 70033"/>
                                                  <a:gd name="connsiteY29" fmla="*/ 40916 h 52318"/>
                                                  <a:gd name="connsiteX30" fmla="*/ 13605 w 70033"/>
                                                  <a:gd name="connsiteY30" fmla="*/ 40592 h 52318"/>
                                                  <a:gd name="connsiteX31" fmla="*/ 23517 w 70033"/>
                                                  <a:gd name="connsiteY31" fmla="*/ 34761 h 52318"/>
                                                  <a:gd name="connsiteX32" fmla="*/ 45156 w 70033"/>
                                                  <a:gd name="connsiteY32" fmla="*/ 11438 h 52318"/>
                                                  <a:gd name="connsiteX33" fmla="*/ 45480 w 70033"/>
                                                  <a:gd name="connsiteY33" fmla="*/ 10985 h 52318"/>
                                                  <a:gd name="connsiteX34" fmla="*/ 50662 w 70033"/>
                                                  <a:gd name="connsiteY34" fmla="*/ 5413 h 52318"/>
                                                  <a:gd name="connsiteX35" fmla="*/ 53966 w 70033"/>
                                                  <a:gd name="connsiteY35" fmla="*/ 3859 h 52318"/>
                                                  <a:gd name="connsiteX36" fmla="*/ 64656 w 70033"/>
                                                  <a:gd name="connsiteY36" fmla="*/ 1980 h 52318"/>
                                                  <a:gd name="connsiteX37" fmla="*/ 67571 w 70033"/>
                                                  <a:gd name="connsiteY37" fmla="*/ 2109 h 52318"/>
                                                  <a:gd name="connsiteX38" fmla="*/ 51375 w 70033"/>
                                                  <a:gd name="connsiteY38" fmla="*/ 18176 h 52318"/>
                                                  <a:gd name="connsiteX39" fmla="*/ 51051 w 70033"/>
                                                  <a:gd name="connsiteY39" fmla="*/ 18176 h 52318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  <a:cxn ang="0">
                                                    <a:pos x="connsiteX6" y="connsiteY6"/>
                                                  </a:cxn>
                                                  <a:cxn ang="0">
                                                    <a:pos x="connsiteX7" y="connsiteY7"/>
                                                  </a:cxn>
                                                  <a:cxn ang="0">
                                                    <a:pos x="connsiteX8" y="connsiteY8"/>
                                                  </a:cxn>
                                                  <a:cxn ang="0">
                                                    <a:pos x="connsiteX9" y="connsiteY9"/>
                                                  </a:cxn>
                                                  <a:cxn ang="0">
                                                    <a:pos x="connsiteX10" y="connsiteY10"/>
                                                  </a:cxn>
                                                  <a:cxn ang="0">
                                                    <a:pos x="connsiteX11" y="connsiteY11"/>
                                                  </a:cxn>
                                                  <a:cxn ang="0">
                                                    <a:pos x="connsiteX12" y="connsiteY12"/>
                                                  </a:cxn>
                                                  <a:cxn ang="0">
                                                    <a:pos x="connsiteX13" y="connsiteY13"/>
                                                  </a:cxn>
                                                  <a:cxn ang="0">
                                                    <a:pos x="connsiteX14" y="connsiteY14"/>
                                                  </a:cxn>
                                                  <a:cxn ang="0">
                                                    <a:pos x="connsiteX15" y="connsiteY15"/>
                                                  </a:cxn>
                                                  <a:cxn ang="0">
                                                    <a:pos x="connsiteX16" y="connsiteY16"/>
                                                  </a:cxn>
                                                  <a:cxn ang="0">
                                                    <a:pos x="connsiteX17" y="connsiteY17"/>
                                                  </a:cxn>
                                                  <a:cxn ang="0">
                                                    <a:pos x="connsiteX18" y="connsiteY18"/>
                                                  </a:cxn>
                                                  <a:cxn ang="0">
                                                    <a:pos x="connsiteX19" y="connsiteY19"/>
                                                  </a:cxn>
                                                  <a:cxn ang="0">
                                                    <a:pos x="connsiteX20" y="connsiteY20"/>
                                                  </a:cxn>
                                                  <a:cxn ang="0">
                                                    <a:pos x="connsiteX21" y="connsiteY21"/>
                                                  </a:cxn>
                                                  <a:cxn ang="0">
                                                    <a:pos x="connsiteX22" y="connsiteY22"/>
                                                  </a:cxn>
                                                  <a:cxn ang="0">
                                                    <a:pos x="connsiteX23" y="connsiteY23"/>
                                                  </a:cxn>
                                                  <a:cxn ang="0">
                                                    <a:pos x="connsiteX24" y="connsiteY24"/>
                                                  </a:cxn>
                                                  <a:cxn ang="0">
                                                    <a:pos x="connsiteX25" y="connsiteY25"/>
                                                  </a:cxn>
                                                  <a:cxn ang="0">
                                                    <a:pos x="connsiteX26" y="connsiteY26"/>
                                                  </a:cxn>
                                                  <a:cxn ang="0">
                                                    <a:pos x="connsiteX27" y="connsiteY27"/>
                                                  </a:cxn>
                                                  <a:cxn ang="0">
                                                    <a:pos x="connsiteX28" y="connsiteY28"/>
                                                  </a:cxn>
                                                  <a:cxn ang="0">
                                                    <a:pos x="connsiteX29" y="connsiteY29"/>
                                                  </a:cxn>
                                                  <a:cxn ang="0">
                                                    <a:pos x="connsiteX30" y="connsiteY30"/>
                                                  </a:cxn>
                                                  <a:cxn ang="0">
                                                    <a:pos x="connsiteX31" y="connsiteY31"/>
                                                  </a:cxn>
                                                  <a:cxn ang="0">
                                                    <a:pos x="connsiteX32" y="connsiteY32"/>
                                                  </a:cxn>
                                                  <a:cxn ang="0">
                                                    <a:pos x="connsiteX33" y="connsiteY33"/>
                                                  </a:cxn>
                                                  <a:cxn ang="0">
                                                    <a:pos x="connsiteX34" y="connsiteY34"/>
                                                  </a:cxn>
                                                  <a:cxn ang="0">
                                                    <a:pos x="connsiteX35" y="connsiteY35"/>
                                                  </a:cxn>
                                                  <a:cxn ang="0">
                                                    <a:pos x="connsiteX36" y="connsiteY36"/>
                                                  </a:cxn>
                                                  <a:cxn ang="0">
                                                    <a:pos x="connsiteX37" y="connsiteY37"/>
                                                  </a:cxn>
                                                  <a:cxn ang="0">
                                                    <a:pos x="connsiteX38" y="connsiteY38"/>
                                                  </a:cxn>
                                                  <a:cxn ang="0">
                                                    <a:pos x="connsiteX39" y="connsiteY39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70033" h="52318">
                                                    <a:moveTo>
                                                      <a:pt x="68932" y="295"/>
                                                    </a:moveTo>
                                                    <a:cubicBezTo>
                                                      <a:pt x="63684" y="-417"/>
                                                      <a:pt x="58242" y="166"/>
                                                      <a:pt x="53254" y="1980"/>
                                                    </a:cubicBezTo>
                                                    <a:cubicBezTo>
                                                      <a:pt x="51764" y="2563"/>
                                                      <a:pt x="50533" y="3146"/>
                                                      <a:pt x="49561" y="3794"/>
                                                    </a:cubicBezTo>
                                                    <a:cubicBezTo>
                                                      <a:pt x="47229" y="5349"/>
                                                      <a:pt x="45544" y="7616"/>
                                                      <a:pt x="43925" y="9819"/>
                                                    </a:cubicBezTo>
                                                    <a:lnTo>
                                                      <a:pt x="43601" y="10272"/>
                                                    </a:lnTo>
                                                    <a:cubicBezTo>
                                                      <a:pt x="37381" y="18759"/>
                                                      <a:pt x="30190" y="26469"/>
                                                      <a:pt x="22221" y="33271"/>
                                                    </a:cubicBezTo>
                                                    <a:cubicBezTo>
                                                      <a:pt x="19695" y="35474"/>
                                                      <a:pt x="16650" y="37871"/>
                                                      <a:pt x="13151" y="38713"/>
                                                    </a:cubicBezTo>
                                                    <a:cubicBezTo>
                                                      <a:pt x="12633" y="38843"/>
                                                      <a:pt x="12050" y="38908"/>
                                                      <a:pt x="11467" y="38972"/>
                                                    </a:cubicBezTo>
                                                    <a:cubicBezTo>
                                                      <a:pt x="10560" y="39167"/>
                                                      <a:pt x="9588" y="39296"/>
                                                      <a:pt x="8616" y="39620"/>
                                                    </a:cubicBezTo>
                                                    <a:cubicBezTo>
                                                      <a:pt x="2786" y="41564"/>
                                                      <a:pt x="842" y="48302"/>
                                                      <a:pt x="259" y="51152"/>
                                                    </a:cubicBezTo>
                                                    <a:lnTo>
                                                      <a:pt x="0" y="52318"/>
                                                    </a:lnTo>
                                                    <a:lnTo>
                                                      <a:pt x="1296" y="52318"/>
                                                    </a:lnTo>
                                                    <a:cubicBezTo>
                                                      <a:pt x="6284" y="52318"/>
                                                      <a:pt x="10495" y="49597"/>
                                                      <a:pt x="14642" y="46941"/>
                                                    </a:cubicBezTo>
                                                    <a:cubicBezTo>
                                                      <a:pt x="16650" y="45645"/>
                                                      <a:pt x="18723" y="44350"/>
                                                      <a:pt x="20861" y="43378"/>
                                                    </a:cubicBezTo>
                                                    <a:cubicBezTo>
                                                      <a:pt x="23323" y="42212"/>
                                                      <a:pt x="26044" y="41499"/>
                                                      <a:pt x="28765" y="40786"/>
                                                    </a:cubicBezTo>
                                                    <a:cubicBezTo>
                                                      <a:pt x="33300" y="39555"/>
                                                      <a:pt x="37964" y="38325"/>
                                                      <a:pt x="41528" y="35150"/>
                                                    </a:cubicBezTo>
                                                    <a:cubicBezTo>
                                                      <a:pt x="43601" y="33271"/>
                                                      <a:pt x="45091" y="31004"/>
                                                      <a:pt x="46581" y="28671"/>
                                                    </a:cubicBezTo>
                                                    <a:lnTo>
                                                      <a:pt x="52282" y="19925"/>
                                                    </a:lnTo>
                                                    <a:cubicBezTo>
                                                      <a:pt x="60769" y="17269"/>
                                                      <a:pt x="67571" y="10078"/>
                                                      <a:pt x="69774" y="1462"/>
                                                    </a:cubicBezTo>
                                                    <a:lnTo>
                                                      <a:pt x="70033" y="425"/>
                                                    </a:lnTo>
                                                    <a:lnTo>
                                                      <a:pt x="68932" y="295"/>
                                                    </a:lnTo>
                                                    <a:close/>
                                                    <a:moveTo>
                                                      <a:pt x="51051" y="18241"/>
                                                    </a:moveTo>
                                                    <a:lnTo>
                                                      <a:pt x="44832" y="27764"/>
                                                    </a:lnTo>
                                                    <a:cubicBezTo>
                                                      <a:pt x="43536" y="29838"/>
                                                      <a:pt x="42111" y="32040"/>
                                                      <a:pt x="40232" y="33660"/>
                                                    </a:cubicBezTo>
                                                    <a:cubicBezTo>
                                                      <a:pt x="36993" y="36575"/>
                                                      <a:pt x="32782" y="37741"/>
                                                      <a:pt x="28247" y="38908"/>
                                                    </a:cubicBezTo>
                                                    <a:cubicBezTo>
                                                      <a:pt x="25526" y="39620"/>
                                                      <a:pt x="22675" y="40398"/>
                                                      <a:pt x="20019" y="41629"/>
                                                    </a:cubicBezTo>
                                                    <a:cubicBezTo>
                                                      <a:pt x="17816" y="42600"/>
                                                      <a:pt x="15613" y="44026"/>
                                                      <a:pt x="13605" y="45321"/>
                                                    </a:cubicBezTo>
                                                    <a:cubicBezTo>
                                                      <a:pt x="9912" y="47719"/>
                                                      <a:pt x="6414" y="49921"/>
                                                      <a:pt x="2462" y="50310"/>
                                                    </a:cubicBezTo>
                                                    <a:cubicBezTo>
                                                      <a:pt x="3174" y="47459"/>
                                                      <a:pt x="5053" y="42860"/>
                                                      <a:pt x="9264" y="41434"/>
                                                    </a:cubicBezTo>
                                                    <a:cubicBezTo>
                                                      <a:pt x="10042" y="41175"/>
                                                      <a:pt x="10884" y="41046"/>
                                                      <a:pt x="11791" y="40916"/>
                                                    </a:cubicBezTo>
                                                    <a:cubicBezTo>
                                                      <a:pt x="12374" y="40851"/>
                                                      <a:pt x="13022" y="40722"/>
                                                      <a:pt x="13605" y="40592"/>
                                                    </a:cubicBezTo>
                                                    <a:cubicBezTo>
                                                      <a:pt x="17492" y="39685"/>
                                                      <a:pt x="20796" y="37094"/>
                                                      <a:pt x="23517" y="34761"/>
                                                    </a:cubicBezTo>
                                                    <a:cubicBezTo>
                                                      <a:pt x="31615" y="27894"/>
                                                      <a:pt x="38871" y="20055"/>
                                                      <a:pt x="45156" y="11438"/>
                                                    </a:cubicBezTo>
                                                    <a:lnTo>
                                                      <a:pt x="45480" y="10985"/>
                                                    </a:lnTo>
                                                    <a:cubicBezTo>
                                                      <a:pt x="47034" y="8912"/>
                                                      <a:pt x="48589" y="6774"/>
                                                      <a:pt x="50662" y="5413"/>
                                                    </a:cubicBezTo>
                                                    <a:cubicBezTo>
                                                      <a:pt x="51505" y="4830"/>
                                                      <a:pt x="52541" y="4312"/>
                                                      <a:pt x="53966" y="3859"/>
                                                    </a:cubicBezTo>
                                                    <a:cubicBezTo>
                                                      <a:pt x="57400" y="2563"/>
                                                      <a:pt x="60963" y="1980"/>
                                                      <a:pt x="64656" y="1980"/>
                                                    </a:cubicBezTo>
                                                    <a:cubicBezTo>
                                                      <a:pt x="65628" y="1980"/>
                                                      <a:pt x="66600" y="1980"/>
                                                      <a:pt x="67571" y="2109"/>
                                                    </a:cubicBezTo>
                                                    <a:cubicBezTo>
                                                      <a:pt x="65239" y="9689"/>
                                                      <a:pt x="59020" y="15909"/>
                                                      <a:pt x="51375" y="18176"/>
                                                    </a:cubicBezTo>
                                                    <a:lnTo>
                                                      <a:pt x="51051" y="18176"/>
                                                    </a:ln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rgbClr val="666666"/>
                                              </a:solidFill>
                                              <a:ln w="6472" cap="flat">
                                                <a:solidFill>
                                                  <a:srgbClr val="FFFFFF"/>
                                                </a:solidFill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da-DK"/>
                                              </a:p>
                                            </p:txBody>
                                          </p:sp>
                                          <p:sp>
                                            <p:nvSpPr>
                                              <p:cNvPr id="775" name="Freeform: Shape 774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20BA7D76-AB42-406E-BF8D-14D95422104E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3707943" y="2766623"/>
                                                <a:ext cx="34295" cy="46828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3610 w 34295"/>
                                                  <a:gd name="connsiteY0" fmla="*/ 777 h 46828"/>
                                                  <a:gd name="connsiteX1" fmla="*/ 889 w 34295"/>
                                                  <a:gd name="connsiteY1" fmla="*/ 5896 h 46828"/>
                                                  <a:gd name="connsiteX2" fmla="*/ 1213 w 34295"/>
                                                  <a:gd name="connsiteY2" fmla="*/ 17427 h 46828"/>
                                                  <a:gd name="connsiteX3" fmla="*/ 10154 w 34295"/>
                                                  <a:gd name="connsiteY3" fmla="*/ 26886 h 46828"/>
                                                  <a:gd name="connsiteX4" fmla="*/ 11579 w 34295"/>
                                                  <a:gd name="connsiteY4" fmla="*/ 42500 h 46828"/>
                                                  <a:gd name="connsiteX5" fmla="*/ 19289 w 34295"/>
                                                  <a:gd name="connsiteY5" fmla="*/ 46711 h 46828"/>
                                                  <a:gd name="connsiteX6" fmla="*/ 28423 w 34295"/>
                                                  <a:gd name="connsiteY6" fmla="*/ 46646 h 46828"/>
                                                  <a:gd name="connsiteX7" fmla="*/ 33865 w 34295"/>
                                                  <a:gd name="connsiteY7" fmla="*/ 21379 h 46828"/>
                                                  <a:gd name="connsiteX8" fmla="*/ 30626 w 34295"/>
                                                  <a:gd name="connsiteY8" fmla="*/ 12374 h 46828"/>
                                                  <a:gd name="connsiteX9" fmla="*/ 26804 w 34295"/>
                                                  <a:gd name="connsiteY9" fmla="*/ 3758 h 46828"/>
                                                  <a:gd name="connsiteX10" fmla="*/ 24860 w 34295"/>
                                                  <a:gd name="connsiteY10" fmla="*/ 972 h 46828"/>
                                                  <a:gd name="connsiteX11" fmla="*/ 21556 w 34295"/>
                                                  <a:gd name="connsiteY11" fmla="*/ 259 h 46828"/>
                                                  <a:gd name="connsiteX12" fmla="*/ 7757 w 34295"/>
                                                  <a:gd name="connsiteY12" fmla="*/ 0 h 46828"/>
                                                  <a:gd name="connsiteX13" fmla="*/ 3610 w 34295"/>
                                                  <a:gd name="connsiteY13" fmla="*/ 713 h 46828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  <a:cxn ang="0">
                                                    <a:pos x="connsiteX6" y="connsiteY6"/>
                                                  </a:cxn>
                                                  <a:cxn ang="0">
                                                    <a:pos x="connsiteX7" y="connsiteY7"/>
                                                  </a:cxn>
                                                  <a:cxn ang="0">
                                                    <a:pos x="connsiteX8" y="connsiteY8"/>
                                                  </a:cxn>
                                                  <a:cxn ang="0">
                                                    <a:pos x="connsiteX9" y="connsiteY9"/>
                                                  </a:cxn>
                                                  <a:cxn ang="0">
                                                    <a:pos x="connsiteX10" y="connsiteY10"/>
                                                  </a:cxn>
                                                  <a:cxn ang="0">
                                                    <a:pos x="connsiteX11" y="connsiteY11"/>
                                                  </a:cxn>
                                                  <a:cxn ang="0">
                                                    <a:pos x="connsiteX12" y="connsiteY12"/>
                                                  </a:cxn>
                                                  <a:cxn ang="0">
                                                    <a:pos x="connsiteX13" y="connsiteY13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34295" h="46828">
                                                    <a:moveTo>
                                                      <a:pt x="3610" y="777"/>
                                                    </a:moveTo>
                                                    <a:cubicBezTo>
                                                      <a:pt x="1926" y="1814"/>
                                                      <a:pt x="1343" y="3952"/>
                                                      <a:pt x="889" y="5896"/>
                                                    </a:cubicBezTo>
                                                    <a:cubicBezTo>
                                                      <a:pt x="47" y="9718"/>
                                                      <a:pt x="-730" y="13994"/>
                                                      <a:pt x="1213" y="17427"/>
                                                    </a:cubicBezTo>
                                                    <a:cubicBezTo>
                                                      <a:pt x="3351" y="21250"/>
                                                      <a:pt x="8340" y="22934"/>
                                                      <a:pt x="10154" y="26886"/>
                                                    </a:cubicBezTo>
                                                    <a:cubicBezTo>
                                                      <a:pt x="12357" y="31745"/>
                                                      <a:pt x="8923" y="37900"/>
                                                      <a:pt x="11579" y="42500"/>
                                                    </a:cubicBezTo>
                                                    <a:cubicBezTo>
                                                      <a:pt x="13134" y="45156"/>
                                                      <a:pt x="16244" y="46387"/>
                                                      <a:pt x="19289" y="46711"/>
                                                    </a:cubicBezTo>
                                                    <a:cubicBezTo>
                                                      <a:pt x="22334" y="47034"/>
                                                      <a:pt x="25378" y="46581"/>
                                                      <a:pt x="28423" y="46646"/>
                                                    </a:cubicBezTo>
                                                    <a:cubicBezTo>
                                                      <a:pt x="31987" y="38612"/>
                                                      <a:pt x="35550" y="29996"/>
                                                      <a:pt x="33865" y="21379"/>
                                                    </a:cubicBezTo>
                                                    <a:cubicBezTo>
                                                      <a:pt x="33217" y="18270"/>
                                                      <a:pt x="31922" y="15289"/>
                                                      <a:pt x="30626" y="12374"/>
                                                    </a:cubicBezTo>
                                                    <a:cubicBezTo>
                                                      <a:pt x="29330" y="9524"/>
                                                      <a:pt x="28035" y="6608"/>
                                                      <a:pt x="26804" y="3758"/>
                                                    </a:cubicBezTo>
                                                    <a:cubicBezTo>
                                                      <a:pt x="26350" y="2721"/>
                                                      <a:pt x="25832" y="1620"/>
                                                      <a:pt x="24860" y="972"/>
                                                    </a:cubicBezTo>
                                                    <a:cubicBezTo>
                                                      <a:pt x="23888" y="324"/>
                                                      <a:pt x="22657" y="259"/>
                                                      <a:pt x="21556" y="259"/>
                                                    </a:cubicBezTo>
                                                    <a:cubicBezTo>
                                                      <a:pt x="16956" y="194"/>
                                                      <a:pt x="12357" y="65"/>
                                                      <a:pt x="7757" y="0"/>
                                                    </a:cubicBezTo>
                                                    <a:cubicBezTo>
                                                      <a:pt x="6331" y="0"/>
                                                      <a:pt x="4841" y="0"/>
                                                      <a:pt x="3610" y="713"/>
                                                    </a:cubicBez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rgbClr val="DDDDDD"/>
                                              </a:solidFill>
                                              <a:ln w="6472" cap="flat">
                                                <a:solidFill>
                                                  <a:srgbClr val="FFFFFF"/>
                                                </a:solidFill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da-DK"/>
                                              </a:p>
                                            </p:txBody>
                                          </p:sp>
                                          <p:sp>
                                            <p:nvSpPr>
                                              <p:cNvPr id="776" name="Freeform: Shape 775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7A905143-4F01-4727-9A00-FFADEF9B77C2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2840632" y="2050695"/>
                                                <a:ext cx="954384" cy="696815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942704 w 954384"/>
                                                  <a:gd name="connsiteY0" fmla="*/ 693641 h 696815"/>
                                                  <a:gd name="connsiteX1" fmla="*/ 945166 w 954384"/>
                                                  <a:gd name="connsiteY1" fmla="*/ 682887 h 696815"/>
                                                  <a:gd name="connsiteX2" fmla="*/ 950997 w 954384"/>
                                                  <a:gd name="connsiteY2" fmla="*/ 678740 h 696815"/>
                                                  <a:gd name="connsiteX3" fmla="*/ 953912 w 954384"/>
                                                  <a:gd name="connsiteY3" fmla="*/ 674076 h 696815"/>
                                                  <a:gd name="connsiteX4" fmla="*/ 934800 w 954384"/>
                                                  <a:gd name="connsiteY4" fmla="*/ 653927 h 696815"/>
                                                  <a:gd name="connsiteX5" fmla="*/ 947369 w 954384"/>
                                                  <a:gd name="connsiteY5" fmla="*/ 642784 h 696815"/>
                                                  <a:gd name="connsiteX6" fmla="*/ 917697 w 954384"/>
                                                  <a:gd name="connsiteY6" fmla="*/ 626394 h 696815"/>
                                                  <a:gd name="connsiteX7" fmla="*/ 910247 w 954384"/>
                                                  <a:gd name="connsiteY7" fmla="*/ 624515 h 696815"/>
                                                  <a:gd name="connsiteX8" fmla="*/ 903833 w 954384"/>
                                                  <a:gd name="connsiteY8" fmla="*/ 617647 h 696815"/>
                                                  <a:gd name="connsiteX9" fmla="*/ 888932 w 954384"/>
                                                  <a:gd name="connsiteY9" fmla="*/ 595361 h 696815"/>
                                                  <a:gd name="connsiteX10" fmla="*/ 884203 w 954384"/>
                                                  <a:gd name="connsiteY10" fmla="*/ 587393 h 696815"/>
                                                  <a:gd name="connsiteX11" fmla="*/ 879668 w 954384"/>
                                                  <a:gd name="connsiteY11" fmla="*/ 575990 h 696815"/>
                                                  <a:gd name="connsiteX12" fmla="*/ 868849 w 954384"/>
                                                  <a:gd name="connsiteY12" fmla="*/ 559276 h 696815"/>
                                                  <a:gd name="connsiteX13" fmla="*/ 866516 w 954384"/>
                                                  <a:gd name="connsiteY13" fmla="*/ 551760 h 696815"/>
                                                  <a:gd name="connsiteX14" fmla="*/ 858029 w 954384"/>
                                                  <a:gd name="connsiteY14" fmla="*/ 548003 h 696815"/>
                                                  <a:gd name="connsiteX15" fmla="*/ 848895 w 954384"/>
                                                  <a:gd name="connsiteY15" fmla="*/ 539386 h 696815"/>
                                                  <a:gd name="connsiteX16" fmla="*/ 828422 w 954384"/>
                                                  <a:gd name="connsiteY16" fmla="*/ 511399 h 696815"/>
                                                  <a:gd name="connsiteX17" fmla="*/ 813068 w 954384"/>
                                                  <a:gd name="connsiteY17" fmla="*/ 496757 h 696815"/>
                                                  <a:gd name="connsiteX18" fmla="*/ 794799 w 954384"/>
                                                  <a:gd name="connsiteY18" fmla="*/ 502653 h 696815"/>
                                                  <a:gd name="connsiteX19" fmla="*/ 793373 w 954384"/>
                                                  <a:gd name="connsiteY19" fmla="*/ 505439 h 696815"/>
                                                  <a:gd name="connsiteX20" fmla="*/ 789033 w 954384"/>
                                                  <a:gd name="connsiteY20" fmla="*/ 506151 h 696815"/>
                                                  <a:gd name="connsiteX21" fmla="*/ 771411 w 954384"/>
                                                  <a:gd name="connsiteY21" fmla="*/ 517748 h 696815"/>
                                                  <a:gd name="connsiteX22" fmla="*/ 762406 w 954384"/>
                                                  <a:gd name="connsiteY22" fmla="*/ 518137 h 696815"/>
                                                  <a:gd name="connsiteX23" fmla="*/ 744719 w 954384"/>
                                                  <a:gd name="connsiteY23" fmla="*/ 509196 h 696815"/>
                                                  <a:gd name="connsiteX24" fmla="*/ 741221 w 954384"/>
                                                  <a:gd name="connsiteY24" fmla="*/ 497535 h 696815"/>
                                                  <a:gd name="connsiteX25" fmla="*/ 729430 w 954384"/>
                                                  <a:gd name="connsiteY25" fmla="*/ 497211 h 696815"/>
                                                  <a:gd name="connsiteX26" fmla="*/ 718222 w 954384"/>
                                                  <a:gd name="connsiteY26" fmla="*/ 494943 h 696815"/>
                                                  <a:gd name="connsiteX27" fmla="*/ 718999 w 954384"/>
                                                  <a:gd name="connsiteY27" fmla="*/ 486845 h 696815"/>
                                                  <a:gd name="connsiteX28" fmla="*/ 720748 w 954384"/>
                                                  <a:gd name="connsiteY28" fmla="*/ 473046 h 696815"/>
                                                  <a:gd name="connsiteX29" fmla="*/ 710771 w 954384"/>
                                                  <a:gd name="connsiteY29" fmla="*/ 464883 h 696815"/>
                                                  <a:gd name="connsiteX30" fmla="*/ 705135 w 954384"/>
                                                  <a:gd name="connsiteY30" fmla="*/ 466956 h 696815"/>
                                                  <a:gd name="connsiteX31" fmla="*/ 668726 w 954384"/>
                                                  <a:gd name="connsiteY31" fmla="*/ 468576 h 696815"/>
                                                  <a:gd name="connsiteX32" fmla="*/ 668402 w 954384"/>
                                                  <a:gd name="connsiteY32" fmla="*/ 63470 h 696815"/>
                                                  <a:gd name="connsiteX33" fmla="*/ 634972 w 954384"/>
                                                  <a:gd name="connsiteY33" fmla="*/ 44099 h 696815"/>
                                                  <a:gd name="connsiteX34" fmla="*/ 620331 w 954384"/>
                                                  <a:gd name="connsiteY34" fmla="*/ 39759 h 696815"/>
                                                  <a:gd name="connsiteX35" fmla="*/ 606207 w 954384"/>
                                                  <a:gd name="connsiteY35" fmla="*/ 46108 h 696815"/>
                                                  <a:gd name="connsiteX36" fmla="*/ 586966 w 954384"/>
                                                  <a:gd name="connsiteY36" fmla="*/ 71763 h 696815"/>
                                                  <a:gd name="connsiteX37" fmla="*/ 565263 w 954384"/>
                                                  <a:gd name="connsiteY37" fmla="*/ 61721 h 696815"/>
                                                  <a:gd name="connsiteX38" fmla="*/ 542976 w 954384"/>
                                                  <a:gd name="connsiteY38" fmla="*/ 55631 h 696815"/>
                                                  <a:gd name="connsiteX39" fmla="*/ 539932 w 954384"/>
                                                  <a:gd name="connsiteY39" fmla="*/ 68783 h 696815"/>
                                                  <a:gd name="connsiteX40" fmla="*/ 511037 w 954384"/>
                                                  <a:gd name="connsiteY40" fmla="*/ 81740 h 696815"/>
                                                  <a:gd name="connsiteX41" fmla="*/ 495618 w 954384"/>
                                                  <a:gd name="connsiteY41" fmla="*/ 73707 h 696815"/>
                                                  <a:gd name="connsiteX42" fmla="*/ 442299 w 954384"/>
                                                  <a:gd name="connsiteY42" fmla="*/ 48181 h 696815"/>
                                                  <a:gd name="connsiteX43" fmla="*/ 427204 w 954384"/>
                                                  <a:gd name="connsiteY43" fmla="*/ 51161 h 696815"/>
                                                  <a:gd name="connsiteX44" fmla="*/ 416061 w 954384"/>
                                                  <a:gd name="connsiteY44" fmla="*/ 42739 h 696815"/>
                                                  <a:gd name="connsiteX45" fmla="*/ 415802 w 954384"/>
                                                  <a:gd name="connsiteY45" fmla="*/ 35937 h 696815"/>
                                                  <a:gd name="connsiteX46" fmla="*/ 403039 w 954384"/>
                                                  <a:gd name="connsiteY46" fmla="*/ 30818 h 696815"/>
                                                  <a:gd name="connsiteX47" fmla="*/ 400837 w 954384"/>
                                                  <a:gd name="connsiteY47" fmla="*/ 23757 h 696815"/>
                                                  <a:gd name="connsiteX48" fmla="*/ 387815 w 954384"/>
                                                  <a:gd name="connsiteY48" fmla="*/ 15076 h 696815"/>
                                                  <a:gd name="connsiteX49" fmla="*/ 381142 w 954384"/>
                                                  <a:gd name="connsiteY49" fmla="*/ 2831 h 696815"/>
                                                  <a:gd name="connsiteX50" fmla="*/ 332358 w 954384"/>
                                                  <a:gd name="connsiteY50" fmla="*/ 7366 h 696815"/>
                                                  <a:gd name="connsiteX51" fmla="*/ 323936 w 954384"/>
                                                  <a:gd name="connsiteY51" fmla="*/ 2572 h 696815"/>
                                                  <a:gd name="connsiteX52" fmla="*/ 306444 w 954384"/>
                                                  <a:gd name="connsiteY52" fmla="*/ 3414 h 696815"/>
                                                  <a:gd name="connsiteX53" fmla="*/ 237836 w 954384"/>
                                                  <a:gd name="connsiteY53" fmla="*/ 40083 h 696815"/>
                                                  <a:gd name="connsiteX54" fmla="*/ 224425 w 954384"/>
                                                  <a:gd name="connsiteY54" fmla="*/ 48246 h 696815"/>
                                                  <a:gd name="connsiteX55" fmla="*/ 211598 w 954384"/>
                                                  <a:gd name="connsiteY55" fmla="*/ 48375 h 696815"/>
                                                  <a:gd name="connsiteX56" fmla="*/ 187497 w 954384"/>
                                                  <a:gd name="connsiteY56" fmla="*/ 54789 h 696815"/>
                                                  <a:gd name="connsiteX57" fmla="*/ 110726 w 954384"/>
                                                  <a:gd name="connsiteY57" fmla="*/ 86210 h 696815"/>
                                                  <a:gd name="connsiteX58" fmla="*/ 91744 w 954384"/>
                                                  <a:gd name="connsiteY58" fmla="*/ 102990 h 696815"/>
                                                  <a:gd name="connsiteX59" fmla="*/ 70624 w 954384"/>
                                                  <a:gd name="connsiteY59" fmla="*/ 116206 h 696815"/>
                                                  <a:gd name="connsiteX60" fmla="*/ 38425 w 954384"/>
                                                  <a:gd name="connsiteY60" fmla="*/ 119510 h 696815"/>
                                                  <a:gd name="connsiteX61" fmla="*/ 47171 w 954384"/>
                                                  <a:gd name="connsiteY61" fmla="*/ 131107 h 696815"/>
                                                  <a:gd name="connsiteX62" fmla="*/ 63109 w 954384"/>
                                                  <a:gd name="connsiteY62" fmla="*/ 131236 h 696815"/>
                                                  <a:gd name="connsiteX63" fmla="*/ 111244 w 954384"/>
                                                  <a:gd name="connsiteY63" fmla="*/ 154689 h 696815"/>
                                                  <a:gd name="connsiteX64" fmla="*/ 117464 w 954384"/>
                                                  <a:gd name="connsiteY64" fmla="*/ 165054 h 696815"/>
                                                  <a:gd name="connsiteX65" fmla="*/ 136381 w 954384"/>
                                                  <a:gd name="connsiteY65" fmla="*/ 165184 h 696815"/>
                                                  <a:gd name="connsiteX66" fmla="*/ 145451 w 954384"/>
                                                  <a:gd name="connsiteY66" fmla="*/ 178659 h 696815"/>
                                                  <a:gd name="connsiteX67" fmla="*/ 152772 w 954384"/>
                                                  <a:gd name="connsiteY67" fmla="*/ 185721 h 696815"/>
                                                  <a:gd name="connsiteX68" fmla="*/ 156465 w 954384"/>
                                                  <a:gd name="connsiteY68" fmla="*/ 196087 h 696815"/>
                                                  <a:gd name="connsiteX69" fmla="*/ 172661 w 954384"/>
                                                  <a:gd name="connsiteY69" fmla="*/ 199002 h 696815"/>
                                                  <a:gd name="connsiteX70" fmla="*/ 180889 w 954384"/>
                                                  <a:gd name="connsiteY70" fmla="*/ 209692 h 696815"/>
                                                  <a:gd name="connsiteX71" fmla="*/ 193198 w 954384"/>
                                                  <a:gd name="connsiteY71" fmla="*/ 217855 h 696815"/>
                                                  <a:gd name="connsiteX72" fmla="*/ 157631 w 954384"/>
                                                  <a:gd name="connsiteY72" fmla="*/ 220252 h 696815"/>
                                                  <a:gd name="connsiteX73" fmla="*/ 150181 w 954384"/>
                                                  <a:gd name="connsiteY73" fmla="*/ 222325 h 696815"/>
                                                  <a:gd name="connsiteX74" fmla="*/ 145127 w 954384"/>
                                                  <a:gd name="connsiteY74" fmla="*/ 231201 h 696815"/>
                                                  <a:gd name="connsiteX75" fmla="*/ 127117 w 954384"/>
                                                  <a:gd name="connsiteY75" fmla="*/ 231784 h 696815"/>
                                                  <a:gd name="connsiteX76" fmla="*/ 123100 w 954384"/>
                                                  <a:gd name="connsiteY76" fmla="*/ 225953 h 696815"/>
                                                  <a:gd name="connsiteX77" fmla="*/ 98482 w 954384"/>
                                                  <a:gd name="connsiteY77" fmla="*/ 228285 h 696815"/>
                                                  <a:gd name="connsiteX78" fmla="*/ 90189 w 954384"/>
                                                  <a:gd name="connsiteY78" fmla="*/ 212089 h 696815"/>
                                                  <a:gd name="connsiteX79" fmla="*/ 77297 w 954384"/>
                                                  <a:gd name="connsiteY79" fmla="*/ 202371 h 696815"/>
                                                  <a:gd name="connsiteX80" fmla="*/ 70883 w 954384"/>
                                                  <a:gd name="connsiteY80" fmla="*/ 214421 h 696815"/>
                                                  <a:gd name="connsiteX81" fmla="*/ 58444 w 954384"/>
                                                  <a:gd name="connsiteY81" fmla="*/ 220122 h 696815"/>
                                                  <a:gd name="connsiteX82" fmla="*/ 46912 w 954384"/>
                                                  <a:gd name="connsiteY82" fmla="*/ 232367 h 696815"/>
                                                  <a:gd name="connsiteX83" fmla="*/ 35639 w 954384"/>
                                                  <a:gd name="connsiteY83" fmla="*/ 232108 h 696815"/>
                                                  <a:gd name="connsiteX84" fmla="*/ 331 w 954384"/>
                                                  <a:gd name="connsiteY84" fmla="*/ 245130 h 696815"/>
                                                  <a:gd name="connsiteX85" fmla="*/ 15556 w 954384"/>
                                                  <a:gd name="connsiteY85" fmla="*/ 261585 h 696815"/>
                                                  <a:gd name="connsiteX86" fmla="*/ 39138 w 954384"/>
                                                  <a:gd name="connsiteY86" fmla="*/ 269165 h 696815"/>
                                                  <a:gd name="connsiteX87" fmla="*/ 41211 w 954384"/>
                                                  <a:gd name="connsiteY87" fmla="*/ 277198 h 696815"/>
                                                  <a:gd name="connsiteX88" fmla="*/ 36870 w 954384"/>
                                                  <a:gd name="connsiteY88" fmla="*/ 282122 h 696815"/>
                                                  <a:gd name="connsiteX89" fmla="*/ 47884 w 954384"/>
                                                  <a:gd name="connsiteY89" fmla="*/ 294626 h 696815"/>
                                                  <a:gd name="connsiteX90" fmla="*/ 52484 w 954384"/>
                                                  <a:gd name="connsiteY90" fmla="*/ 303825 h 696815"/>
                                                  <a:gd name="connsiteX91" fmla="*/ 68291 w 954384"/>
                                                  <a:gd name="connsiteY91" fmla="*/ 298707 h 696815"/>
                                                  <a:gd name="connsiteX92" fmla="*/ 102693 w 954384"/>
                                                  <a:gd name="connsiteY92" fmla="*/ 296440 h 696815"/>
                                                  <a:gd name="connsiteX93" fmla="*/ 119796 w 954384"/>
                                                  <a:gd name="connsiteY93" fmla="*/ 302335 h 696815"/>
                                                  <a:gd name="connsiteX94" fmla="*/ 125627 w 954384"/>
                                                  <a:gd name="connsiteY94" fmla="*/ 297023 h 696815"/>
                                                  <a:gd name="connsiteX95" fmla="*/ 156918 w 954384"/>
                                                  <a:gd name="connsiteY95" fmla="*/ 272987 h 696815"/>
                                                  <a:gd name="connsiteX96" fmla="*/ 177326 w 954384"/>
                                                  <a:gd name="connsiteY96" fmla="*/ 292034 h 696815"/>
                                                  <a:gd name="connsiteX97" fmla="*/ 166895 w 954384"/>
                                                  <a:gd name="connsiteY97" fmla="*/ 304732 h 696815"/>
                                                  <a:gd name="connsiteX98" fmla="*/ 173439 w 954384"/>
                                                  <a:gd name="connsiteY98" fmla="*/ 324103 h 696815"/>
                                                  <a:gd name="connsiteX99" fmla="*/ 160352 w 954384"/>
                                                  <a:gd name="connsiteY99" fmla="*/ 341984 h 696815"/>
                                                  <a:gd name="connsiteX100" fmla="*/ 137288 w 954384"/>
                                                  <a:gd name="connsiteY100" fmla="*/ 345418 h 696815"/>
                                                  <a:gd name="connsiteX101" fmla="*/ 125951 w 954384"/>
                                                  <a:gd name="connsiteY101" fmla="*/ 348398 h 696815"/>
                                                  <a:gd name="connsiteX102" fmla="*/ 125238 w 954384"/>
                                                  <a:gd name="connsiteY102" fmla="*/ 366473 h 696815"/>
                                                  <a:gd name="connsiteX103" fmla="*/ 107487 w 954384"/>
                                                  <a:gd name="connsiteY103" fmla="*/ 362910 h 696815"/>
                                                  <a:gd name="connsiteX104" fmla="*/ 89995 w 954384"/>
                                                  <a:gd name="connsiteY104" fmla="*/ 356172 h 696815"/>
                                                  <a:gd name="connsiteX105" fmla="*/ 82285 w 954384"/>
                                                  <a:gd name="connsiteY105" fmla="*/ 394655 h 696815"/>
                                                  <a:gd name="connsiteX106" fmla="*/ 67708 w 954384"/>
                                                  <a:gd name="connsiteY106" fmla="*/ 398931 h 696815"/>
                                                  <a:gd name="connsiteX107" fmla="*/ 62785 w 954384"/>
                                                  <a:gd name="connsiteY107" fmla="*/ 415386 h 696815"/>
                                                  <a:gd name="connsiteX108" fmla="*/ 52354 w 954384"/>
                                                  <a:gd name="connsiteY108" fmla="*/ 428020 h 696815"/>
                                                  <a:gd name="connsiteX109" fmla="*/ 57019 w 954384"/>
                                                  <a:gd name="connsiteY109" fmla="*/ 435729 h 696815"/>
                                                  <a:gd name="connsiteX110" fmla="*/ 67903 w 954384"/>
                                                  <a:gd name="connsiteY110" fmla="*/ 437090 h 696815"/>
                                                  <a:gd name="connsiteX111" fmla="*/ 71142 w 954384"/>
                                                  <a:gd name="connsiteY111" fmla="*/ 455230 h 696815"/>
                                                  <a:gd name="connsiteX112" fmla="*/ 58638 w 954384"/>
                                                  <a:gd name="connsiteY112" fmla="*/ 460089 h 696815"/>
                                                  <a:gd name="connsiteX113" fmla="*/ 75159 w 954384"/>
                                                  <a:gd name="connsiteY113" fmla="*/ 474601 h 696815"/>
                                                  <a:gd name="connsiteX114" fmla="*/ 80925 w 954384"/>
                                                  <a:gd name="connsiteY114" fmla="*/ 478423 h 696815"/>
                                                  <a:gd name="connsiteX115" fmla="*/ 88440 w 954384"/>
                                                  <a:gd name="connsiteY115" fmla="*/ 478876 h 696815"/>
                                                  <a:gd name="connsiteX116" fmla="*/ 124331 w 954384"/>
                                                  <a:gd name="connsiteY116" fmla="*/ 493388 h 696815"/>
                                                  <a:gd name="connsiteX117" fmla="*/ 137353 w 954384"/>
                                                  <a:gd name="connsiteY117" fmla="*/ 476026 h 696815"/>
                                                  <a:gd name="connsiteX118" fmla="*/ 151671 w 954384"/>
                                                  <a:gd name="connsiteY118" fmla="*/ 498377 h 696815"/>
                                                  <a:gd name="connsiteX119" fmla="*/ 157372 w 954384"/>
                                                  <a:gd name="connsiteY119" fmla="*/ 504856 h 696815"/>
                                                  <a:gd name="connsiteX120" fmla="*/ 151541 w 954384"/>
                                                  <a:gd name="connsiteY120" fmla="*/ 511528 h 696815"/>
                                                  <a:gd name="connsiteX121" fmla="*/ 143832 w 954384"/>
                                                  <a:gd name="connsiteY121" fmla="*/ 532260 h 696815"/>
                                                  <a:gd name="connsiteX122" fmla="*/ 163721 w 954384"/>
                                                  <a:gd name="connsiteY122" fmla="*/ 533815 h 696815"/>
                                                  <a:gd name="connsiteX123" fmla="*/ 166960 w 954384"/>
                                                  <a:gd name="connsiteY123" fmla="*/ 526364 h 696815"/>
                                                  <a:gd name="connsiteX124" fmla="*/ 192745 w 954384"/>
                                                  <a:gd name="connsiteY124" fmla="*/ 521570 h 696815"/>
                                                  <a:gd name="connsiteX125" fmla="*/ 217558 w 954384"/>
                                                  <a:gd name="connsiteY125" fmla="*/ 514897 h 696815"/>
                                                  <a:gd name="connsiteX126" fmla="*/ 219890 w 954384"/>
                                                  <a:gd name="connsiteY126" fmla="*/ 509520 h 696815"/>
                                                  <a:gd name="connsiteX127" fmla="*/ 224425 w 954384"/>
                                                  <a:gd name="connsiteY127" fmla="*/ 508484 h 696815"/>
                                                  <a:gd name="connsiteX128" fmla="*/ 243926 w 954384"/>
                                                  <a:gd name="connsiteY128" fmla="*/ 510103 h 696815"/>
                                                  <a:gd name="connsiteX129" fmla="*/ 244962 w 954384"/>
                                                  <a:gd name="connsiteY129" fmla="*/ 517035 h 696815"/>
                                                  <a:gd name="connsiteX130" fmla="*/ 253384 w 954384"/>
                                                  <a:gd name="connsiteY130" fmla="*/ 518914 h 696815"/>
                                                  <a:gd name="connsiteX131" fmla="*/ 261353 w 954384"/>
                                                  <a:gd name="connsiteY131" fmla="*/ 528502 h 696815"/>
                                                  <a:gd name="connsiteX132" fmla="*/ 271848 w 954384"/>
                                                  <a:gd name="connsiteY132" fmla="*/ 536795 h 696815"/>
                                                  <a:gd name="connsiteX133" fmla="*/ 264074 w 954384"/>
                                                  <a:gd name="connsiteY133" fmla="*/ 543273 h 696815"/>
                                                  <a:gd name="connsiteX134" fmla="*/ 256105 w 954384"/>
                                                  <a:gd name="connsiteY134" fmla="*/ 560636 h 696815"/>
                                                  <a:gd name="connsiteX135" fmla="*/ 251052 w 954384"/>
                                                  <a:gd name="connsiteY135" fmla="*/ 591992 h 696815"/>
                                                  <a:gd name="connsiteX136" fmla="*/ 240557 w 954384"/>
                                                  <a:gd name="connsiteY136" fmla="*/ 596851 h 696815"/>
                                                  <a:gd name="connsiteX137" fmla="*/ 234208 w 954384"/>
                                                  <a:gd name="connsiteY137" fmla="*/ 608059 h 696815"/>
                                                  <a:gd name="connsiteX138" fmla="*/ 212440 w 954384"/>
                                                  <a:gd name="connsiteY138" fmla="*/ 614214 h 696815"/>
                                                  <a:gd name="connsiteX139" fmla="*/ 205767 w 954384"/>
                                                  <a:gd name="connsiteY139" fmla="*/ 623673 h 696815"/>
                                                  <a:gd name="connsiteX140" fmla="*/ 154910 w 954384"/>
                                                  <a:gd name="connsiteY140" fmla="*/ 652243 h 696815"/>
                                                  <a:gd name="connsiteX141" fmla="*/ 148367 w 954384"/>
                                                  <a:gd name="connsiteY141" fmla="*/ 652632 h 696815"/>
                                                  <a:gd name="connsiteX142" fmla="*/ 142536 w 954384"/>
                                                  <a:gd name="connsiteY142" fmla="*/ 657102 h 696815"/>
                                                  <a:gd name="connsiteX143" fmla="*/ 125109 w 954384"/>
                                                  <a:gd name="connsiteY143" fmla="*/ 679712 h 696815"/>
                                                  <a:gd name="connsiteX144" fmla="*/ 124137 w 954384"/>
                                                  <a:gd name="connsiteY144" fmla="*/ 688782 h 696815"/>
                                                  <a:gd name="connsiteX145" fmla="*/ 144026 w 954384"/>
                                                  <a:gd name="connsiteY145" fmla="*/ 678546 h 696815"/>
                                                  <a:gd name="connsiteX146" fmla="*/ 149727 w 954384"/>
                                                  <a:gd name="connsiteY146" fmla="*/ 673298 h 696815"/>
                                                  <a:gd name="connsiteX147" fmla="*/ 155169 w 954384"/>
                                                  <a:gd name="connsiteY147" fmla="*/ 673428 h 696815"/>
                                                  <a:gd name="connsiteX148" fmla="*/ 178686 w 954384"/>
                                                  <a:gd name="connsiteY148" fmla="*/ 660406 h 696815"/>
                                                  <a:gd name="connsiteX149" fmla="*/ 213541 w 954384"/>
                                                  <a:gd name="connsiteY149" fmla="*/ 652437 h 696815"/>
                                                  <a:gd name="connsiteX150" fmla="*/ 230256 w 954384"/>
                                                  <a:gd name="connsiteY150" fmla="*/ 647902 h 696815"/>
                                                  <a:gd name="connsiteX151" fmla="*/ 238808 w 954384"/>
                                                  <a:gd name="connsiteY151" fmla="*/ 633714 h 696815"/>
                                                  <a:gd name="connsiteX152" fmla="*/ 239196 w 954384"/>
                                                  <a:gd name="connsiteY152" fmla="*/ 626329 h 696815"/>
                                                  <a:gd name="connsiteX153" fmla="*/ 243602 w 954384"/>
                                                  <a:gd name="connsiteY153" fmla="*/ 623673 h 696815"/>
                                                  <a:gd name="connsiteX154" fmla="*/ 263815 w 954384"/>
                                                  <a:gd name="connsiteY154" fmla="*/ 604107 h 696815"/>
                                                  <a:gd name="connsiteX155" fmla="*/ 284611 w 954384"/>
                                                  <a:gd name="connsiteY155" fmla="*/ 596527 h 696815"/>
                                                  <a:gd name="connsiteX156" fmla="*/ 301779 w 954384"/>
                                                  <a:gd name="connsiteY156" fmla="*/ 580590 h 696815"/>
                                                  <a:gd name="connsiteX157" fmla="*/ 314412 w 954384"/>
                                                  <a:gd name="connsiteY157" fmla="*/ 572103 h 696815"/>
                                                  <a:gd name="connsiteX158" fmla="*/ 314607 w 954384"/>
                                                  <a:gd name="connsiteY158" fmla="*/ 568346 h 696815"/>
                                                  <a:gd name="connsiteX159" fmla="*/ 324001 w 954384"/>
                                                  <a:gd name="connsiteY159" fmla="*/ 565689 h 696815"/>
                                                  <a:gd name="connsiteX160" fmla="*/ 343631 w 954384"/>
                                                  <a:gd name="connsiteY160" fmla="*/ 545606 h 696815"/>
                                                  <a:gd name="connsiteX161" fmla="*/ 357948 w 954384"/>
                                                  <a:gd name="connsiteY161" fmla="*/ 543597 h 696815"/>
                                                  <a:gd name="connsiteX162" fmla="*/ 352701 w 954384"/>
                                                  <a:gd name="connsiteY162" fmla="*/ 525587 h 696815"/>
                                                  <a:gd name="connsiteX163" fmla="*/ 334496 w 954384"/>
                                                  <a:gd name="connsiteY163" fmla="*/ 514444 h 696815"/>
                                                  <a:gd name="connsiteX164" fmla="*/ 344149 w 954384"/>
                                                  <a:gd name="connsiteY164" fmla="*/ 502847 h 696815"/>
                                                  <a:gd name="connsiteX165" fmla="*/ 355551 w 954384"/>
                                                  <a:gd name="connsiteY165" fmla="*/ 492417 h 696815"/>
                                                  <a:gd name="connsiteX166" fmla="*/ 356329 w 954384"/>
                                                  <a:gd name="connsiteY166" fmla="*/ 488206 h 696815"/>
                                                  <a:gd name="connsiteX167" fmla="*/ 361317 w 954384"/>
                                                  <a:gd name="connsiteY167" fmla="*/ 486003 h 696815"/>
                                                  <a:gd name="connsiteX168" fmla="*/ 378939 w 954384"/>
                                                  <a:gd name="connsiteY168" fmla="*/ 467021 h 696815"/>
                                                  <a:gd name="connsiteX169" fmla="*/ 390600 w 954384"/>
                                                  <a:gd name="connsiteY169" fmla="*/ 462810 h 696815"/>
                                                  <a:gd name="connsiteX170" fmla="*/ 392026 w 954384"/>
                                                  <a:gd name="connsiteY170" fmla="*/ 450500 h 696815"/>
                                                  <a:gd name="connsiteX171" fmla="*/ 399476 w 954384"/>
                                                  <a:gd name="connsiteY171" fmla="*/ 445382 h 696815"/>
                                                  <a:gd name="connsiteX172" fmla="*/ 408740 w 954384"/>
                                                  <a:gd name="connsiteY172" fmla="*/ 434693 h 696815"/>
                                                  <a:gd name="connsiteX173" fmla="*/ 432517 w 954384"/>
                                                  <a:gd name="connsiteY173" fmla="*/ 428149 h 696815"/>
                                                  <a:gd name="connsiteX174" fmla="*/ 434979 w 954384"/>
                                                  <a:gd name="connsiteY174" fmla="*/ 435988 h 696815"/>
                                                  <a:gd name="connsiteX175" fmla="*/ 452860 w 954384"/>
                                                  <a:gd name="connsiteY175" fmla="*/ 441949 h 696815"/>
                                                  <a:gd name="connsiteX176" fmla="*/ 449815 w 954384"/>
                                                  <a:gd name="connsiteY176" fmla="*/ 456072 h 696815"/>
                                                  <a:gd name="connsiteX177" fmla="*/ 435626 w 954384"/>
                                                  <a:gd name="connsiteY177" fmla="*/ 453545 h 696815"/>
                                                  <a:gd name="connsiteX178" fmla="*/ 431610 w 954384"/>
                                                  <a:gd name="connsiteY178" fmla="*/ 448492 h 696815"/>
                                                  <a:gd name="connsiteX179" fmla="*/ 423188 w 954384"/>
                                                  <a:gd name="connsiteY179" fmla="*/ 454582 h 696815"/>
                                                  <a:gd name="connsiteX180" fmla="*/ 415284 w 954384"/>
                                                  <a:gd name="connsiteY180" fmla="*/ 458404 h 696815"/>
                                                  <a:gd name="connsiteX181" fmla="*/ 413599 w 954384"/>
                                                  <a:gd name="connsiteY181" fmla="*/ 468122 h 696815"/>
                                                  <a:gd name="connsiteX182" fmla="*/ 400642 w 954384"/>
                                                  <a:gd name="connsiteY182" fmla="*/ 483606 h 696815"/>
                                                  <a:gd name="connsiteX183" fmla="*/ 402197 w 954384"/>
                                                  <a:gd name="connsiteY183" fmla="*/ 492417 h 696815"/>
                                                  <a:gd name="connsiteX184" fmla="*/ 409259 w 954384"/>
                                                  <a:gd name="connsiteY184" fmla="*/ 499219 h 696815"/>
                                                  <a:gd name="connsiteX185" fmla="*/ 398051 w 954384"/>
                                                  <a:gd name="connsiteY185" fmla="*/ 512500 h 696815"/>
                                                  <a:gd name="connsiteX186" fmla="*/ 403298 w 954384"/>
                                                  <a:gd name="connsiteY186" fmla="*/ 522931 h 696815"/>
                                                  <a:gd name="connsiteX187" fmla="*/ 414895 w 954384"/>
                                                  <a:gd name="connsiteY187" fmla="*/ 522736 h 696815"/>
                                                  <a:gd name="connsiteX188" fmla="*/ 427269 w 954384"/>
                                                  <a:gd name="connsiteY188" fmla="*/ 505568 h 696815"/>
                                                  <a:gd name="connsiteX189" fmla="*/ 444437 w 954384"/>
                                                  <a:gd name="connsiteY189" fmla="*/ 501487 h 696815"/>
                                                  <a:gd name="connsiteX190" fmla="*/ 458431 w 954384"/>
                                                  <a:gd name="connsiteY190" fmla="*/ 488465 h 696815"/>
                                                  <a:gd name="connsiteX191" fmla="*/ 479616 w 954384"/>
                                                  <a:gd name="connsiteY191" fmla="*/ 488465 h 696815"/>
                                                  <a:gd name="connsiteX192" fmla="*/ 496396 w 954384"/>
                                                  <a:gd name="connsiteY192" fmla="*/ 478747 h 696815"/>
                                                  <a:gd name="connsiteX193" fmla="*/ 485965 w 954384"/>
                                                  <a:gd name="connsiteY193" fmla="*/ 461579 h 696815"/>
                                                  <a:gd name="connsiteX194" fmla="*/ 486548 w 954384"/>
                                                  <a:gd name="connsiteY194" fmla="*/ 437025 h 696815"/>
                                                  <a:gd name="connsiteX195" fmla="*/ 512398 w 954384"/>
                                                  <a:gd name="connsiteY195" fmla="*/ 437802 h 696815"/>
                                                  <a:gd name="connsiteX196" fmla="*/ 526327 w 954384"/>
                                                  <a:gd name="connsiteY196" fmla="*/ 450954 h 696815"/>
                                                  <a:gd name="connsiteX197" fmla="*/ 543365 w 954384"/>
                                                  <a:gd name="connsiteY197" fmla="*/ 457044 h 696815"/>
                                                  <a:gd name="connsiteX198" fmla="*/ 525873 w 954384"/>
                                                  <a:gd name="connsiteY198" fmla="*/ 471167 h 696815"/>
                                                  <a:gd name="connsiteX199" fmla="*/ 565522 w 954384"/>
                                                  <a:gd name="connsiteY199" fmla="*/ 470390 h 696815"/>
                                                  <a:gd name="connsiteX200" fmla="*/ 576017 w 954384"/>
                                                  <a:gd name="connsiteY200" fmla="*/ 465271 h 696815"/>
                                                  <a:gd name="connsiteX201" fmla="*/ 580163 w 954384"/>
                                                  <a:gd name="connsiteY201" fmla="*/ 458015 h 696815"/>
                                                  <a:gd name="connsiteX202" fmla="*/ 599016 w 954384"/>
                                                  <a:gd name="connsiteY202" fmla="*/ 452638 h 696815"/>
                                                  <a:gd name="connsiteX203" fmla="*/ 618257 w 954384"/>
                                                  <a:gd name="connsiteY203" fmla="*/ 464494 h 696815"/>
                                                  <a:gd name="connsiteX204" fmla="*/ 624412 w 954384"/>
                                                  <a:gd name="connsiteY204" fmla="*/ 470195 h 696815"/>
                                                  <a:gd name="connsiteX205" fmla="*/ 634195 w 954384"/>
                                                  <a:gd name="connsiteY205" fmla="*/ 469159 h 696815"/>
                                                  <a:gd name="connsiteX206" fmla="*/ 660109 w 954384"/>
                                                  <a:gd name="connsiteY206" fmla="*/ 477969 h 696815"/>
                                                  <a:gd name="connsiteX207" fmla="*/ 675917 w 954384"/>
                                                  <a:gd name="connsiteY207" fmla="*/ 501551 h 696815"/>
                                                  <a:gd name="connsiteX208" fmla="*/ 704487 w 954384"/>
                                                  <a:gd name="connsiteY208" fmla="*/ 479978 h 696815"/>
                                                  <a:gd name="connsiteX209" fmla="*/ 699110 w 954384"/>
                                                  <a:gd name="connsiteY209" fmla="*/ 502782 h 696815"/>
                                                  <a:gd name="connsiteX210" fmla="*/ 712456 w 954384"/>
                                                  <a:gd name="connsiteY210" fmla="*/ 505633 h 696815"/>
                                                  <a:gd name="connsiteX211" fmla="*/ 724376 w 954384"/>
                                                  <a:gd name="connsiteY211" fmla="*/ 518007 h 696815"/>
                                                  <a:gd name="connsiteX212" fmla="*/ 753141 w 954384"/>
                                                  <a:gd name="connsiteY212" fmla="*/ 527466 h 696815"/>
                                                  <a:gd name="connsiteX213" fmla="*/ 769338 w 954384"/>
                                                  <a:gd name="connsiteY213" fmla="*/ 552862 h 696815"/>
                                                  <a:gd name="connsiteX214" fmla="*/ 779509 w 954384"/>
                                                  <a:gd name="connsiteY214" fmla="*/ 537508 h 696815"/>
                                                  <a:gd name="connsiteX215" fmla="*/ 798880 w 954384"/>
                                                  <a:gd name="connsiteY215" fmla="*/ 547873 h 696815"/>
                                                  <a:gd name="connsiteX216" fmla="*/ 803609 w 954384"/>
                                                  <a:gd name="connsiteY216" fmla="*/ 520663 h 696815"/>
                                                  <a:gd name="connsiteX217" fmla="*/ 823499 w 954384"/>
                                                  <a:gd name="connsiteY217" fmla="*/ 537702 h 696815"/>
                                                  <a:gd name="connsiteX218" fmla="*/ 818640 w 954384"/>
                                                  <a:gd name="connsiteY218" fmla="*/ 563422 h 696815"/>
                                                  <a:gd name="connsiteX219" fmla="*/ 811189 w 954384"/>
                                                  <a:gd name="connsiteY219" fmla="*/ 568086 h 696815"/>
                                                  <a:gd name="connsiteX220" fmla="*/ 798297 w 954384"/>
                                                  <a:gd name="connsiteY220" fmla="*/ 562191 h 696815"/>
                                                  <a:gd name="connsiteX221" fmla="*/ 785210 w 954384"/>
                                                  <a:gd name="connsiteY221" fmla="*/ 561932 h 696815"/>
                                                  <a:gd name="connsiteX222" fmla="*/ 823758 w 954384"/>
                                                  <a:gd name="connsiteY222" fmla="*/ 616935 h 696815"/>
                                                  <a:gd name="connsiteX223" fmla="*/ 817020 w 954384"/>
                                                  <a:gd name="connsiteY223" fmla="*/ 577351 h 696815"/>
                                                  <a:gd name="connsiteX224" fmla="*/ 839047 w 954384"/>
                                                  <a:gd name="connsiteY224" fmla="*/ 581432 h 696815"/>
                                                  <a:gd name="connsiteX225" fmla="*/ 839177 w 954384"/>
                                                  <a:gd name="connsiteY225" fmla="*/ 562904 h 696815"/>
                                                  <a:gd name="connsiteX226" fmla="*/ 840408 w 954384"/>
                                                  <a:gd name="connsiteY226" fmla="*/ 557786 h 696815"/>
                                                  <a:gd name="connsiteX227" fmla="*/ 847858 w 954384"/>
                                                  <a:gd name="connsiteY227" fmla="*/ 557008 h 696815"/>
                                                  <a:gd name="connsiteX228" fmla="*/ 862564 w 954384"/>
                                                  <a:gd name="connsiteY228" fmla="*/ 582598 h 696815"/>
                                                  <a:gd name="connsiteX229" fmla="*/ 841963 w 954384"/>
                                                  <a:gd name="connsiteY229" fmla="*/ 604302 h 696815"/>
                                                  <a:gd name="connsiteX230" fmla="*/ 833152 w 954384"/>
                                                  <a:gd name="connsiteY230" fmla="*/ 606763 h 696815"/>
                                                  <a:gd name="connsiteX231" fmla="*/ 833800 w 954384"/>
                                                  <a:gd name="connsiteY231" fmla="*/ 631576 h 696815"/>
                                                  <a:gd name="connsiteX232" fmla="*/ 860167 w 954384"/>
                                                  <a:gd name="connsiteY232" fmla="*/ 620304 h 696815"/>
                                                  <a:gd name="connsiteX233" fmla="*/ 885304 w 954384"/>
                                                  <a:gd name="connsiteY233" fmla="*/ 605209 h 696815"/>
                                                  <a:gd name="connsiteX234" fmla="*/ 895735 w 954384"/>
                                                  <a:gd name="connsiteY234" fmla="*/ 624904 h 696815"/>
                                                  <a:gd name="connsiteX235" fmla="*/ 897354 w 954384"/>
                                                  <a:gd name="connsiteY235" fmla="*/ 645700 h 696815"/>
                                                  <a:gd name="connsiteX236" fmla="*/ 859390 w 954384"/>
                                                  <a:gd name="connsiteY236" fmla="*/ 647773 h 696815"/>
                                                  <a:gd name="connsiteX237" fmla="*/ 867035 w 954384"/>
                                                  <a:gd name="connsiteY237" fmla="*/ 666042 h 696815"/>
                                                  <a:gd name="connsiteX238" fmla="*/ 857317 w 954384"/>
                                                  <a:gd name="connsiteY238" fmla="*/ 669865 h 696815"/>
                                                  <a:gd name="connsiteX239" fmla="*/ 861463 w 954384"/>
                                                  <a:gd name="connsiteY239" fmla="*/ 683858 h 696815"/>
                                                  <a:gd name="connsiteX240" fmla="*/ 873384 w 954384"/>
                                                  <a:gd name="connsiteY240" fmla="*/ 687551 h 696815"/>
                                                  <a:gd name="connsiteX241" fmla="*/ 882778 w 954384"/>
                                                  <a:gd name="connsiteY241" fmla="*/ 680619 h 696815"/>
                                                  <a:gd name="connsiteX242" fmla="*/ 915041 w 954384"/>
                                                  <a:gd name="connsiteY242" fmla="*/ 668440 h 696815"/>
                                                  <a:gd name="connsiteX243" fmla="*/ 921973 w 954384"/>
                                                  <a:gd name="connsiteY243" fmla="*/ 670254 h 696815"/>
                                                  <a:gd name="connsiteX244" fmla="*/ 936031 w 954384"/>
                                                  <a:gd name="connsiteY244" fmla="*/ 695973 h 696815"/>
                                                  <a:gd name="connsiteX245" fmla="*/ 935772 w 954384"/>
                                                  <a:gd name="connsiteY245" fmla="*/ 696816 h 696815"/>
                                                  <a:gd name="connsiteX246" fmla="*/ 937198 w 954384"/>
                                                  <a:gd name="connsiteY246" fmla="*/ 695585 h 696815"/>
                                                  <a:gd name="connsiteX247" fmla="*/ 942639 w 954384"/>
                                                  <a:gd name="connsiteY247" fmla="*/ 692799 h 696815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  <a:cxn ang="0">
                                                    <a:pos x="connsiteX6" y="connsiteY6"/>
                                                  </a:cxn>
                                                  <a:cxn ang="0">
                                                    <a:pos x="connsiteX7" y="connsiteY7"/>
                                                  </a:cxn>
                                                  <a:cxn ang="0">
                                                    <a:pos x="connsiteX8" y="connsiteY8"/>
                                                  </a:cxn>
                                                  <a:cxn ang="0">
                                                    <a:pos x="connsiteX9" y="connsiteY9"/>
                                                  </a:cxn>
                                                  <a:cxn ang="0">
                                                    <a:pos x="connsiteX10" y="connsiteY10"/>
                                                  </a:cxn>
                                                  <a:cxn ang="0">
                                                    <a:pos x="connsiteX11" y="connsiteY11"/>
                                                  </a:cxn>
                                                  <a:cxn ang="0">
                                                    <a:pos x="connsiteX12" y="connsiteY12"/>
                                                  </a:cxn>
                                                  <a:cxn ang="0">
                                                    <a:pos x="connsiteX13" y="connsiteY13"/>
                                                  </a:cxn>
                                                  <a:cxn ang="0">
                                                    <a:pos x="connsiteX14" y="connsiteY14"/>
                                                  </a:cxn>
                                                  <a:cxn ang="0">
                                                    <a:pos x="connsiteX15" y="connsiteY15"/>
                                                  </a:cxn>
                                                  <a:cxn ang="0">
                                                    <a:pos x="connsiteX16" y="connsiteY16"/>
                                                  </a:cxn>
                                                  <a:cxn ang="0">
                                                    <a:pos x="connsiteX17" y="connsiteY17"/>
                                                  </a:cxn>
                                                  <a:cxn ang="0">
                                                    <a:pos x="connsiteX18" y="connsiteY18"/>
                                                  </a:cxn>
                                                  <a:cxn ang="0">
                                                    <a:pos x="connsiteX19" y="connsiteY19"/>
                                                  </a:cxn>
                                                  <a:cxn ang="0">
                                                    <a:pos x="connsiteX20" y="connsiteY20"/>
                                                  </a:cxn>
                                                  <a:cxn ang="0">
                                                    <a:pos x="connsiteX21" y="connsiteY21"/>
                                                  </a:cxn>
                                                  <a:cxn ang="0">
                                                    <a:pos x="connsiteX22" y="connsiteY22"/>
                                                  </a:cxn>
                                                  <a:cxn ang="0">
                                                    <a:pos x="connsiteX23" y="connsiteY23"/>
                                                  </a:cxn>
                                                  <a:cxn ang="0">
                                                    <a:pos x="connsiteX24" y="connsiteY24"/>
                                                  </a:cxn>
                                                  <a:cxn ang="0">
                                                    <a:pos x="connsiteX25" y="connsiteY25"/>
                                                  </a:cxn>
                                                  <a:cxn ang="0">
                                                    <a:pos x="connsiteX26" y="connsiteY26"/>
                                                  </a:cxn>
                                                  <a:cxn ang="0">
                                                    <a:pos x="connsiteX27" y="connsiteY27"/>
                                                  </a:cxn>
                                                  <a:cxn ang="0">
                                                    <a:pos x="connsiteX28" y="connsiteY28"/>
                                                  </a:cxn>
                                                  <a:cxn ang="0">
                                                    <a:pos x="connsiteX29" y="connsiteY29"/>
                                                  </a:cxn>
                                                  <a:cxn ang="0">
                                                    <a:pos x="connsiteX30" y="connsiteY30"/>
                                                  </a:cxn>
                                                  <a:cxn ang="0">
                                                    <a:pos x="connsiteX31" y="connsiteY31"/>
                                                  </a:cxn>
                                                  <a:cxn ang="0">
                                                    <a:pos x="connsiteX32" y="connsiteY32"/>
                                                  </a:cxn>
                                                  <a:cxn ang="0">
                                                    <a:pos x="connsiteX33" y="connsiteY33"/>
                                                  </a:cxn>
                                                  <a:cxn ang="0">
                                                    <a:pos x="connsiteX34" y="connsiteY34"/>
                                                  </a:cxn>
                                                  <a:cxn ang="0">
                                                    <a:pos x="connsiteX35" y="connsiteY35"/>
                                                  </a:cxn>
                                                  <a:cxn ang="0">
                                                    <a:pos x="connsiteX36" y="connsiteY36"/>
                                                  </a:cxn>
                                                  <a:cxn ang="0">
                                                    <a:pos x="connsiteX37" y="connsiteY37"/>
                                                  </a:cxn>
                                                  <a:cxn ang="0">
                                                    <a:pos x="connsiteX38" y="connsiteY38"/>
                                                  </a:cxn>
                                                  <a:cxn ang="0">
                                                    <a:pos x="connsiteX39" y="connsiteY39"/>
                                                  </a:cxn>
                                                  <a:cxn ang="0">
                                                    <a:pos x="connsiteX40" y="connsiteY40"/>
                                                  </a:cxn>
                                                  <a:cxn ang="0">
                                                    <a:pos x="connsiteX41" y="connsiteY41"/>
                                                  </a:cxn>
                                                  <a:cxn ang="0">
                                                    <a:pos x="connsiteX42" y="connsiteY42"/>
                                                  </a:cxn>
                                                  <a:cxn ang="0">
                                                    <a:pos x="connsiteX43" y="connsiteY43"/>
                                                  </a:cxn>
                                                  <a:cxn ang="0">
                                                    <a:pos x="connsiteX44" y="connsiteY44"/>
                                                  </a:cxn>
                                                  <a:cxn ang="0">
                                                    <a:pos x="connsiteX45" y="connsiteY45"/>
                                                  </a:cxn>
                                                  <a:cxn ang="0">
                                                    <a:pos x="connsiteX46" y="connsiteY46"/>
                                                  </a:cxn>
                                                  <a:cxn ang="0">
                                                    <a:pos x="connsiteX47" y="connsiteY47"/>
                                                  </a:cxn>
                                                  <a:cxn ang="0">
                                                    <a:pos x="connsiteX48" y="connsiteY48"/>
                                                  </a:cxn>
                                                  <a:cxn ang="0">
                                                    <a:pos x="connsiteX49" y="connsiteY49"/>
                                                  </a:cxn>
                                                  <a:cxn ang="0">
                                                    <a:pos x="connsiteX50" y="connsiteY50"/>
                                                  </a:cxn>
                                                  <a:cxn ang="0">
                                                    <a:pos x="connsiteX51" y="connsiteY51"/>
                                                  </a:cxn>
                                                  <a:cxn ang="0">
                                                    <a:pos x="connsiteX52" y="connsiteY52"/>
                                                  </a:cxn>
                                                  <a:cxn ang="0">
                                                    <a:pos x="connsiteX53" y="connsiteY53"/>
                                                  </a:cxn>
                                                  <a:cxn ang="0">
                                                    <a:pos x="connsiteX54" y="connsiteY54"/>
                                                  </a:cxn>
                                                  <a:cxn ang="0">
                                                    <a:pos x="connsiteX55" y="connsiteY55"/>
                                                  </a:cxn>
                                                  <a:cxn ang="0">
                                                    <a:pos x="connsiteX56" y="connsiteY56"/>
                                                  </a:cxn>
                                                  <a:cxn ang="0">
                                                    <a:pos x="connsiteX57" y="connsiteY57"/>
                                                  </a:cxn>
                                                  <a:cxn ang="0">
                                                    <a:pos x="connsiteX58" y="connsiteY58"/>
                                                  </a:cxn>
                                                  <a:cxn ang="0">
                                                    <a:pos x="connsiteX59" y="connsiteY59"/>
                                                  </a:cxn>
                                                  <a:cxn ang="0">
                                                    <a:pos x="connsiteX60" y="connsiteY60"/>
                                                  </a:cxn>
                                                  <a:cxn ang="0">
                                                    <a:pos x="connsiteX61" y="connsiteY61"/>
                                                  </a:cxn>
                                                  <a:cxn ang="0">
                                                    <a:pos x="connsiteX62" y="connsiteY62"/>
                                                  </a:cxn>
                                                  <a:cxn ang="0">
                                                    <a:pos x="connsiteX63" y="connsiteY63"/>
                                                  </a:cxn>
                                                  <a:cxn ang="0">
                                                    <a:pos x="connsiteX64" y="connsiteY64"/>
                                                  </a:cxn>
                                                  <a:cxn ang="0">
                                                    <a:pos x="connsiteX65" y="connsiteY65"/>
                                                  </a:cxn>
                                                  <a:cxn ang="0">
                                                    <a:pos x="connsiteX66" y="connsiteY66"/>
                                                  </a:cxn>
                                                  <a:cxn ang="0">
                                                    <a:pos x="connsiteX67" y="connsiteY67"/>
                                                  </a:cxn>
                                                  <a:cxn ang="0">
                                                    <a:pos x="connsiteX68" y="connsiteY68"/>
                                                  </a:cxn>
                                                  <a:cxn ang="0">
                                                    <a:pos x="connsiteX69" y="connsiteY69"/>
                                                  </a:cxn>
                                                  <a:cxn ang="0">
                                                    <a:pos x="connsiteX70" y="connsiteY70"/>
                                                  </a:cxn>
                                                  <a:cxn ang="0">
                                                    <a:pos x="connsiteX71" y="connsiteY71"/>
                                                  </a:cxn>
                                                  <a:cxn ang="0">
                                                    <a:pos x="connsiteX72" y="connsiteY72"/>
                                                  </a:cxn>
                                                  <a:cxn ang="0">
                                                    <a:pos x="connsiteX73" y="connsiteY73"/>
                                                  </a:cxn>
                                                  <a:cxn ang="0">
                                                    <a:pos x="connsiteX74" y="connsiteY74"/>
                                                  </a:cxn>
                                                  <a:cxn ang="0">
                                                    <a:pos x="connsiteX75" y="connsiteY75"/>
                                                  </a:cxn>
                                                  <a:cxn ang="0">
                                                    <a:pos x="connsiteX76" y="connsiteY76"/>
                                                  </a:cxn>
                                                  <a:cxn ang="0">
                                                    <a:pos x="connsiteX77" y="connsiteY77"/>
                                                  </a:cxn>
                                                  <a:cxn ang="0">
                                                    <a:pos x="connsiteX78" y="connsiteY78"/>
                                                  </a:cxn>
                                                  <a:cxn ang="0">
                                                    <a:pos x="connsiteX79" y="connsiteY79"/>
                                                  </a:cxn>
                                                  <a:cxn ang="0">
                                                    <a:pos x="connsiteX80" y="connsiteY80"/>
                                                  </a:cxn>
                                                  <a:cxn ang="0">
                                                    <a:pos x="connsiteX81" y="connsiteY81"/>
                                                  </a:cxn>
                                                  <a:cxn ang="0">
                                                    <a:pos x="connsiteX82" y="connsiteY82"/>
                                                  </a:cxn>
                                                  <a:cxn ang="0">
                                                    <a:pos x="connsiteX83" y="connsiteY83"/>
                                                  </a:cxn>
                                                  <a:cxn ang="0">
                                                    <a:pos x="connsiteX84" y="connsiteY84"/>
                                                  </a:cxn>
                                                  <a:cxn ang="0">
                                                    <a:pos x="connsiteX85" y="connsiteY85"/>
                                                  </a:cxn>
                                                  <a:cxn ang="0">
                                                    <a:pos x="connsiteX86" y="connsiteY86"/>
                                                  </a:cxn>
                                                  <a:cxn ang="0">
                                                    <a:pos x="connsiteX87" y="connsiteY87"/>
                                                  </a:cxn>
                                                  <a:cxn ang="0">
                                                    <a:pos x="connsiteX88" y="connsiteY88"/>
                                                  </a:cxn>
                                                  <a:cxn ang="0">
                                                    <a:pos x="connsiteX89" y="connsiteY89"/>
                                                  </a:cxn>
                                                  <a:cxn ang="0">
                                                    <a:pos x="connsiteX90" y="connsiteY90"/>
                                                  </a:cxn>
                                                  <a:cxn ang="0">
                                                    <a:pos x="connsiteX91" y="connsiteY91"/>
                                                  </a:cxn>
                                                  <a:cxn ang="0">
                                                    <a:pos x="connsiteX92" y="connsiteY92"/>
                                                  </a:cxn>
                                                  <a:cxn ang="0">
                                                    <a:pos x="connsiteX93" y="connsiteY93"/>
                                                  </a:cxn>
                                                  <a:cxn ang="0">
                                                    <a:pos x="connsiteX94" y="connsiteY94"/>
                                                  </a:cxn>
                                                  <a:cxn ang="0">
                                                    <a:pos x="connsiteX95" y="connsiteY95"/>
                                                  </a:cxn>
                                                  <a:cxn ang="0">
                                                    <a:pos x="connsiteX96" y="connsiteY96"/>
                                                  </a:cxn>
                                                  <a:cxn ang="0">
                                                    <a:pos x="connsiteX97" y="connsiteY97"/>
                                                  </a:cxn>
                                                  <a:cxn ang="0">
                                                    <a:pos x="connsiteX98" y="connsiteY98"/>
                                                  </a:cxn>
                                                  <a:cxn ang="0">
                                                    <a:pos x="connsiteX99" y="connsiteY99"/>
                                                  </a:cxn>
                                                  <a:cxn ang="0">
                                                    <a:pos x="connsiteX100" y="connsiteY100"/>
                                                  </a:cxn>
                                                  <a:cxn ang="0">
                                                    <a:pos x="connsiteX101" y="connsiteY101"/>
                                                  </a:cxn>
                                                  <a:cxn ang="0">
                                                    <a:pos x="connsiteX102" y="connsiteY102"/>
                                                  </a:cxn>
                                                  <a:cxn ang="0">
                                                    <a:pos x="connsiteX103" y="connsiteY103"/>
                                                  </a:cxn>
                                                  <a:cxn ang="0">
                                                    <a:pos x="connsiteX104" y="connsiteY104"/>
                                                  </a:cxn>
                                                  <a:cxn ang="0">
                                                    <a:pos x="connsiteX105" y="connsiteY105"/>
                                                  </a:cxn>
                                                  <a:cxn ang="0">
                                                    <a:pos x="connsiteX106" y="connsiteY106"/>
                                                  </a:cxn>
                                                  <a:cxn ang="0">
                                                    <a:pos x="connsiteX107" y="connsiteY107"/>
                                                  </a:cxn>
                                                  <a:cxn ang="0">
                                                    <a:pos x="connsiteX108" y="connsiteY108"/>
                                                  </a:cxn>
                                                  <a:cxn ang="0">
                                                    <a:pos x="connsiteX109" y="connsiteY109"/>
                                                  </a:cxn>
                                                  <a:cxn ang="0">
                                                    <a:pos x="connsiteX110" y="connsiteY110"/>
                                                  </a:cxn>
                                                  <a:cxn ang="0">
                                                    <a:pos x="connsiteX111" y="connsiteY111"/>
                                                  </a:cxn>
                                                  <a:cxn ang="0">
                                                    <a:pos x="connsiteX112" y="connsiteY112"/>
                                                  </a:cxn>
                                                  <a:cxn ang="0">
                                                    <a:pos x="connsiteX113" y="connsiteY113"/>
                                                  </a:cxn>
                                                  <a:cxn ang="0">
                                                    <a:pos x="connsiteX114" y="connsiteY114"/>
                                                  </a:cxn>
                                                  <a:cxn ang="0">
                                                    <a:pos x="connsiteX115" y="connsiteY115"/>
                                                  </a:cxn>
                                                  <a:cxn ang="0">
                                                    <a:pos x="connsiteX116" y="connsiteY116"/>
                                                  </a:cxn>
                                                  <a:cxn ang="0">
                                                    <a:pos x="connsiteX117" y="connsiteY117"/>
                                                  </a:cxn>
                                                  <a:cxn ang="0">
                                                    <a:pos x="connsiteX118" y="connsiteY118"/>
                                                  </a:cxn>
                                                  <a:cxn ang="0">
                                                    <a:pos x="connsiteX119" y="connsiteY119"/>
                                                  </a:cxn>
                                                  <a:cxn ang="0">
                                                    <a:pos x="connsiteX120" y="connsiteY120"/>
                                                  </a:cxn>
                                                  <a:cxn ang="0">
                                                    <a:pos x="connsiteX121" y="connsiteY121"/>
                                                  </a:cxn>
                                                  <a:cxn ang="0">
                                                    <a:pos x="connsiteX122" y="connsiteY122"/>
                                                  </a:cxn>
                                                  <a:cxn ang="0">
                                                    <a:pos x="connsiteX123" y="connsiteY123"/>
                                                  </a:cxn>
                                                  <a:cxn ang="0">
                                                    <a:pos x="connsiteX124" y="connsiteY124"/>
                                                  </a:cxn>
                                                  <a:cxn ang="0">
                                                    <a:pos x="connsiteX125" y="connsiteY125"/>
                                                  </a:cxn>
                                                  <a:cxn ang="0">
                                                    <a:pos x="connsiteX126" y="connsiteY126"/>
                                                  </a:cxn>
                                                  <a:cxn ang="0">
                                                    <a:pos x="connsiteX127" y="connsiteY127"/>
                                                  </a:cxn>
                                                  <a:cxn ang="0">
                                                    <a:pos x="connsiteX128" y="connsiteY128"/>
                                                  </a:cxn>
                                                  <a:cxn ang="0">
                                                    <a:pos x="connsiteX129" y="connsiteY129"/>
                                                  </a:cxn>
                                                  <a:cxn ang="0">
                                                    <a:pos x="connsiteX130" y="connsiteY130"/>
                                                  </a:cxn>
                                                  <a:cxn ang="0">
                                                    <a:pos x="connsiteX131" y="connsiteY131"/>
                                                  </a:cxn>
                                                  <a:cxn ang="0">
                                                    <a:pos x="connsiteX132" y="connsiteY132"/>
                                                  </a:cxn>
                                                  <a:cxn ang="0">
                                                    <a:pos x="connsiteX133" y="connsiteY133"/>
                                                  </a:cxn>
                                                  <a:cxn ang="0">
                                                    <a:pos x="connsiteX134" y="connsiteY134"/>
                                                  </a:cxn>
                                                  <a:cxn ang="0">
                                                    <a:pos x="connsiteX135" y="connsiteY135"/>
                                                  </a:cxn>
                                                  <a:cxn ang="0">
                                                    <a:pos x="connsiteX136" y="connsiteY136"/>
                                                  </a:cxn>
                                                  <a:cxn ang="0">
                                                    <a:pos x="connsiteX137" y="connsiteY137"/>
                                                  </a:cxn>
                                                  <a:cxn ang="0">
                                                    <a:pos x="connsiteX138" y="connsiteY138"/>
                                                  </a:cxn>
                                                  <a:cxn ang="0">
                                                    <a:pos x="connsiteX139" y="connsiteY139"/>
                                                  </a:cxn>
                                                  <a:cxn ang="0">
                                                    <a:pos x="connsiteX140" y="connsiteY140"/>
                                                  </a:cxn>
                                                  <a:cxn ang="0">
                                                    <a:pos x="connsiteX141" y="connsiteY141"/>
                                                  </a:cxn>
                                                  <a:cxn ang="0">
                                                    <a:pos x="connsiteX142" y="connsiteY142"/>
                                                  </a:cxn>
                                                  <a:cxn ang="0">
                                                    <a:pos x="connsiteX143" y="connsiteY143"/>
                                                  </a:cxn>
                                                  <a:cxn ang="0">
                                                    <a:pos x="connsiteX144" y="connsiteY144"/>
                                                  </a:cxn>
                                                  <a:cxn ang="0">
                                                    <a:pos x="connsiteX145" y="connsiteY145"/>
                                                  </a:cxn>
                                                  <a:cxn ang="0">
                                                    <a:pos x="connsiteX146" y="connsiteY146"/>
                                                  </a:cxn>
                                                  <a:cxn ang="0">
                                                    <a:pos x="connsiteX147" y="connsiteY147"/>
                                                  </a:cxn>
                                                  <a:cxn ang="0">
                                                    <a:pos x="connsiteX148" y="connsiteY148"/>
                                                  </a:cxn>
                                                  <a:cxn ang="0">
                                                    <a:pos x="connsiteX149" y="connsiteY149"/>
                                                  </a:cxn>
                                                  <a:cxn ang="0">
                                                    <a:pos x="connsiteX150" y="connsiteY150"/>
                                                  </a:cxn>
                                                  <a:cxn ang="0">
                                                    <a:pos x="connsiteX151" y="connsiteY151"/>
                                                  </a:cxn>
                                                  <a:cxn ang="0">
                                                    <a:pos x="connsiteX152" y="connsiteY152"/>
                                                  </a:cxn>
                                                  <a:cxn ang="0">
                                                    <a:pos x="connsiteX153" y="connsiteY153"/>
                                                  </a:cxn>
                                                  <a:cxn ang="0">
                                                    <a:pos x="connsiteX154" y="connsiteY154"/>
                                                  </a:cxn>
                                                  <a:cxn ang="0">
                                                    <a:pos x="connsiteX155" y="connsiteY155"/>
                                                  </a:cxn>
                                                  <a:cxn ang="0">
                                                    <a:pos x="connsiteX156" y="connsiteY156"/>
                                                  </a:cxn>
                                                  <a:cxn ang="0">
                                                    <a:pos x="connsiteX157" y="connsiteY157"/>
                                                  </a:cxn>
                                                  <a:cxn ang="0">
                                                    <a:pos x="connsiteX158" y="connsiteY158"/>
                                                  </a:cxn>
                                                  <a:cxn ang="0">
                                                    <a:pos x="connsiteX159" y="connsiteY159"/>
                                                  </a:cxn>
                                                  <a:cxn ang="0">
                                                    <a:pos x="connsiteX160" y="connsiteY160"/>
                                                  </a:cxn>
                                                  <a:cxn ang="0">
                                                    <a:pos x="connsiteX161" y="connsiteY161"/>
                                                  </a:cxn>
                                                  <a:cxn ang="0">
                                                    <a:pos x="connsiteX162" y="connsiteY162"/>
                                                  </a:cxn>
                                                  <a:cxn ang="0">
                                                    <a:pos x="connsiteX163" y="connsiteY163"/>
                                                  </a:cxn>
                                                  <a:cxn ang="0">
                                                    <a:pos x="connsiteX164" y="connsiteY164"/>
                                                  </a:cxn>
                                                  <a:cxn ang="0">
                                                    <a:pos x="connsiteX165" y="connsiteY165"/>
                                                  </a:cxn>
                                                  <a:cxn ang="0">
                                                    <a:pos x="connsiteX166" y="connsiteY166"/>
                                                  </a:cxn>
                                                  <a:cxn ang="0">
                                                    <a:pos x="connsiteX167" y="connsiteY167"/>
                                                  </a:cxn>
                                                  <a:cxn ang="0">
                                                    <a:pos x="connsiteX168" y="connsiteY168"/>
                                                  </a:cxn>
                                                  <a:cxn ang="0">
                                                    <a:pos x="connsiteX169" y="connsiteY169"/>
                                                  </a:cxn>
                                                  <a:cxn ang="0">
                                                    <a:pos x="connsiteX170" y="connsiteY170"/>
                                                  </a:cxn>
                                                  <a:cxn ang="0">
                                                    <a:pos x="connsiteX171" y="connsiteY171"/>
                                                  </a:cxn>
                                                  <a:cxn ang="0">
                                                    <a:pos x="connsiteX172" y="connsiteY172"/>
                                                  </a:cxn>
                                                  <a:cxn ang="0">
                                                    <a:pos x="connsiteX173" y="connsiteY173"/>
                                                  </a:cxn>
                                                  <a:cxn ang="0">
                                                    <a:pos x="connsiteX174" y="connsiteY174"/>
                                                  </a:cxn>
                                                  <a:cxn ang="0">
                                                    <a:pos x="connsiteX175" y="connsiteY175"/>
                                                  </a:cxn>
                                                  <a:cxn ang="0">
                                                    <a:pos x="connsiteX176" y="connsiteY176"/>
                                                  </a:cxn>
                                                  <a:cxn ang="0">
                                                    <a:pos x="connsiteX177" y="connsiteY177"/>
                                                  </a:cxn>
                                                  <a:cxn ang="0">
                                                    <a:pos x="connsiteX178" y="connsiteY178"/>
                                                  </a:cxn>
                                                  <a:cxn ang="0">
                                                    <a:pos x="connsiteX179" y="connsiteY179"/>
                                                  </a:cxn>
                                                  <a:cxn ang="0">
                                                    <a:pos x="connsiteX180" y="connsiteY180"/>
                                                  </a:cxn>
                                                  <a:cxn ang="0">
                                                    <a:pos x="connsiteX181" y="connsiteY181"/>
                                                  </a:cxn>
                                                  <a:cxn ang="0">
                                                    <a:pos x="connsiteX182" y="connsiteY182"/>
                                                  </a:cxn>
                                                  <a:cxn ang="0">
                                                    <a:pos x="connsiteX183" y="connsiteY183"/>
                                                  </a:cxn>
                                                  <a:cxn ang="0">
                                                    <a:pos x="connsiteX184" y="connsiteY184"/>
                                                  </a:cxn>
                                                  <a:cxn ang="0">
                                                    <a:pos x="connsiteX185" y="connsiteY185"/>
                                                  </a:cxn>
                                                  <a:cxn ang="0">
                                                    <a:pos x="connsiteX186" y="connsiteY186"/>
                                                  </a:cxn>
                                                  <a:cxn ang="0">
                                                    <a:pos x="connsiteX187" y="connsiteY187"/>
                                                  </a:cxn>
                                                  <a:cxn ang="0">
                                                    <a:pos x="connsiteX188" y="connsiteY188"/>
                                                  </a:cxn>
                                                  <a:cxn ang="0">
                                                    <a:pos x="connsiteX189" y="connsiteY189"/>
                                                  </a:cxn>
                                                  <a:cxn ang="0">
                                                    <a:pos x="connsiteX190" y="connsiteY190"/>
                                                  </a:cxn>
                                                  <a:cxn ang="0">
                                                    <a:pos x="connsiteX191" y="connsiteY191"/>
                                                  </a:cxn>
                                                  <a:cxn ang="0">
                                                    <a:pos x="connsiteX192" y="connsiteY192"/>
                                                  </a:cxn>
                                                  <a:cxn ang="0">
                                                    <a:pos x="connsiteX193" y="connsiteY193"/>
                                                  </a:cxn>
                                                  <a:cxn ang="0">
                                                    <a:pos x="connsiteX194" y="connsiteY194"/>
                                                  </a:cxn>
                                                  <a:cxn ang="0">
                                                    <a:pos x="connsiteX195" y="connsiteY195"/>
                                                  </a:cxn>
                                                  <a:cxn ang="0">
                                                    <a:pos x="connsiteX196" y="connsiteY196"/>
                                                  </a:cxn>
                                                  <a:cxn ang="0">
                                                    <a:pos x="connsiteX197" y="connsiteY197"/>
                                                  </a:cxn>
                                                  <a:cxn ang="0">
                                                    <a:pos x="connsiteX198" y="connsiteY198"/>
                                                  </a:cxn>
                                                  <a:cxn ang="0">
                                                    <a:pos x="connsiteX199" y="connsiteY199"/>
                                                  </a:cxn>
                                                  <a:cxn ang="0">
                                                    <a:pos x="connsiteX200" y="connsiteY200"/>
                                                  </a:cxn>
                                                  <a:cxn ang="0">
                                                    <a:pos x="connsiteX201" y="connsiteY201"/>
                                                  </a:cxn>
                                                  <a:cxn ang="0">
                                                    <a:pos x="connsiteX202" y="connsiteY202"/>
                                                  </a:cxn>
                                                  <a:cxn ang="0">
                                                    <a:pos x="connsiteX203" y="connsiteY203"/>
                                                  </a:cxn>
                                                  <a:cxn ang="0">
                                                    <a:pos x="connsiteX204" y="connsiteY204"/>
                                                  </a:cxn>
                                                  <a:cxn ang="0">
                                                    <a:pos x="connsiteX205" y="connsiteY205"/>
                                                  </a:cxn>
                                                  <a:cxn ang="0">
                                                    <a:pos x="connsiteX206" y="connsiteY206"/>
                                                  </a:cxn>
                                                  <a:cxn ang="0">
                                                    <a:pos x="connsiteX207" y="connsiteY207"/>
                                                  </a:cxn>
                                                  <a:cxn ang="0">
                                                    <a:pos x="connsiteX208" y="connsiteY208"/>
                                                  </a:cxn>
                                                  <a:cxn ang="0">
                                                    <a:pos x="connsiteX209" y="connsiteY209"/>
                                                  </a:cxn>
                                                  <a:cxn ang="0">
                                                    <a:pos x="connsiteX210" y="connsiteY210"/>
                                                  </a:cxn>
                                                  <a:cxn ang="0">
                                                    <a:pos x="connsiteX211" y="connsiteY211"/>
                                                  </a:cxn>
                                                  <a:cxn ang="0">
                                                    <a:pos x="connsiteX212" y="connsiteY212"/>
                                                  </a:cxn>
                                                  <a:cxn ang="0">
                                                    <a:pos x="connsiteX213" y="connsiteY213"/>
                                                  </a:cxn>
                                                  <a:cxn ang="0">
                                                    <a:pos x="connsiteX214" y="connsiteY214"/>
                                                  </a:cxn>
                                                  <a:cxn ang="0">
                                                    <a:pos x="connsiteX215" y="connsiteY215"/>
                                                  </a:cxn>
                                                  <a:cxn ang="0">
                                                    <a:pos x="connsiteX216" y="connsiteY216"/>
                                                  </a:cxn>
                                                  <a:cxn ang="0">
                                                    <a:pos x="connsiteX217" y="connsiteY217"/>
                                                  </a:cxn>
                                                  <a:cxn ang="0">
                                                    <a:pos x="connsiteX218" y="connsiteY218"/>
                                                  </a:cxn>
                                                  <a:cxn ang="0">
                                                    <a:pos x="connsiteX219" y="connsiteY219"/>
                                                  </a:cxn>
                                                  <a:cxn ang="0">
                                                    <a:pos x="connsiteX220" y="connsiteY220"/>
                                                  </a:cxn>
                                                  <a:cxn ang="0">
                                                    <a:pos x="connsiteX221" y="connsiteY221"/>
                                                  </a:cxn>
                                                  <a:cxn ang="0">
                                                    <a:pos x="connsiteX222" y="connsiteY222"/>
                                                  </a:cxn>
                                                  <a:cxn ang="0">
                                                    <a:pos x="connsiteX223" y="connsiteY223"/>
                                                  </a:cxn>
                                                  <a:cxn ang="0">
                                                    <a:pos x="connsiteX224" y="connsiteY224"/>
                                                  </a:cxn>
                                                  <a:cxn ang="0">
                                                    <a:pos x="connsiteX225" y="connsiteY225"/>
                                                  </a:cxn>
                                                  <a:cxn ang="0">
                                                    <a:pos x="connsiteX226" y="connsiteY226"/>
                                                  </a:cxn>
                                                  <a:cxn ang="0">
                                                    <a:pos x="connsiteX227" y="connsiteY227"/>
                                                  </a:cxn>
                                                  <a:cxn ang="0">
                                                    <a:pos x="connsiteX228" y="connsiteY228"/>
                                                  </a:cxn>
                                                  <a:cxn ang="0">
                                                    <a:pos x="connsiteX229" y="connsiteY229"/>
                                                  </a:cxn>
                                                  <a:cxn ang="0">
                                                    <a:pos x="connsiteX230" y="connsiteY230"/>
                                                  </a:cxn>
                                                  <a:cxn ang="0">
                                                    <a:pos x="connsiteX231" y="connsiteY231"/>
                                                  </a:cxn>
                                                  <a:cxn ang="0">
                                                    <a:pos x="connsiteX232" y="connsiteY232"/>
                                                  </a:cxn>
                                                  <a:cxn ang="0">
                                                    <a:pos x="connsiteX233" y="connsiteY233"/>
                                                  </a:cxn>
                                                  <a:cxn ang="0">
                                                    <a:pos x="connsiteX234" y="connsiteY234"/>
                                                  </a:cxn>
                                                  <a:cxn ang="0">
                                                    <a:pos x="connsiteX235" y="connsiteY235"/>
                                                  </a:cxn>
                                                  <a:cxn ang="0">
                                                    <a:pos x="connsiteX236" y="connsiteY236"/>
                                                  </a:cxn>
                                                  <a:cxn ang="0">
                                                    <a:pos x="connsiteX237" y="connsiteY237"/>
                                                  </a:cxn>
                                                  <a:cxn ang="0">
                                                    <a:pos x="connsiteX238" y="connsiteY238"/>
                                                  </a:cxn>
                                                  <a:cxn ang="0">
                                                    <a:pos x="connsiteX239" y="connsiteY239"/>
                                                  </a:cxn>
                                                  <a:cxn ang="0">
                                                    <a:pos x="connsiteX240" y="connsiteY240"/>
                                                  </a:cxn>
                                                  <a:cxn ang="0">
                                                    <a:pos x="connsiteX241" y="connsiteY241"/>
                                                  </a:cxn>
                                                  <a:cxn ang="0">
                                                    <a:pos x="connsiteX242" y="connsiteY242"/>
                                                  </a:cxn>
                                                  <a:cxn ang="0">
                                                    <a:pos x="connsiteX243" y="connsiteY243"/>
                                                  </a:cxn>
                                                  <a:cxn ang="0">
                                                    <a:pos x="connsiteX244" y="connsiteY244"/>
                                                  </a:cxn>
                                                  <a:cxn ang="0">
                                                    <a:pos x="connsiteX245" y="connsiteY245"/>
                                                  </a:cxn>
                                                  <a:cxn ang="0">
                                                    <a:pos x="connsiteX246" y="connsiteY246"/>
                                                  </a:cxn>
                                                  <a:cxn ang="0">
                                                    <a:pos x="connsiteX247" y="connsiteY247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954384" h="696815">
                                                    <a:moveTo>
                                                      <a:pt x="942704" y="693641"/>
                                                    </a:moveTo>
                                                    <a:cubicBezTo>
                                                      <a:pt x="945231" y="690855"/>
                                                      <a:pt x="943223" y="686061"/>
                                                      <a:pt x="945166" y="682887"/>
                                                    </a:cubicBezTo>
                                                    <a:cubicBezTo>
                                                      <a:pt x="946397" y="680814"/>
                                                      <a:pt x="948924" y="679971"/>
                                                      <a:pt x="950997" y="678740"/>
                                                    </a:cubicBezTo>
                                                    <a:cubicBezTo>
                                                      <a:pt x="953070" y="677509"/>
                                                      <a:pt x="955402" y="676019"/>
                                                      <a:pt x="953912" y="674076"/>
                                                    </a:cubicBezTo>
                                                    <a:cubicBezTo>
                                                      <a:pt x="948276" y="666690"/>
                                                      <a:pt x="941862" y="659953"/>
                                                      <a:pt x="934800" y="653927"/>
                                                    </a:cubicBezTo>
                                                    <a:cubicBezTo>
                                                      <a:pt x="939011" y="650235"/>
                                                      <a:pt x="943158" y="646477"/>
                                                      <a:pt x="947369" y="642784"/>
                                                    </a:cubicBezTo>
                                                    <a:cubicBezTo>
                                                      <a:pt x="939724" y="634168"/>
                                                      <a:pt x="929035" y="628272"/>
                                                      <a:pt x="917697" y="626394"/>
                                                    </a:cubicBezTo>
                                                    <a:cubicBezTo>
                                                      <a:pt x="915170" y="625940"/>
                                                      <a:pt x="912514" y="625746"/>
                                                      <a:pt x="910247" y="624515"/>
                                                    </a:cubicBezTo>
                                                    <a:cubicBezTo>
                                                      <a:pt x="907461" y="623025"/>
                                                      <a:pt x="905582" y="620304"/>
                                                      <a:pt x="903833" y="617647"/>
                                                    </a:cubicBezTo>
                                                    <a:cubicBezTo>
                                                      <a:pt x="898844" y="610197"/>
                                                      <a:pt x="893921" y="602812"/>
                                                      <a:pt x="888932" y="595361"/>
                                                    </a:cubicBezTo>
                                                    <a:cubicBezTo>
                                                      <a:pt x="887183" y="592770"/>
                                                      <a:pt x="885499" y="590178"/>
                                                      <a:pt x="884203" y="587393"/>
                                                    </a:cubicBezTo>
                                                    <a:cubicBezTo>
                                                      <a:pt x="882518" y="583700"/>
                                                      <a:pt x="881611" y="579618"/>
                                                      <a:pt x="879668" y="575990"/>
                                                    </a:cubicBezTo>
                                                    <a:cubicBezTo>
                                                      <a:pt x="876429" y="570160"/>
                                                      <a:pt x="870533" y="565754"/>
                                                      <a:pt x="868849" y="559276"/>
                                                    </a:cubicBezTo>
                                                    <a:cubicBezTo>
                                                      <a:pt x="868201" y="556684"/>
                                                      <a:pt x="868201" y="553769"/>
                                                      <a:pt x="866516" y="551760"/>
                                                    </a:cubicBezTo>
                                                    <a:cubicBezTo>
                                                      <a:pt x="864508" y="549363"/>
                                                      <a:pt x="860945" y="549234"/>
                                                      <a:pt x="858029" y="548003"/>
                                                    </a:cubicBezTo>
                                                    <a:cubicBezTo>
                                                      <a:pt x="854077" y="546383"/>
                                                      <a:pt x="851421" y="542820"/>
                                                      <a:pt x="848895" y="539386"/>
                                                    </a:cubicBezTo>
                                                    <a:cubicBezTo>
                                                      <a:pt x="842092" y="530057"/>
                                                      <a:pt x="835225" y="520728"/>
                                                      <a:pt x="828422" y="511399"/>
                                                    </a:cubicBezTo>
                                                    <a:cubicBezTo>
                                                      <a:pt x="824211" y="505633"/>
                                                      <a:pt x="819611" y="499608"/>
                                                      <a:pt x="813068" y="496757"/>
                                                    </a:cubicBezTo>
                                                    <a:cubicBezTo>
                                                      <a:pt x="806460" y="493972"/>
                                                      <a:pt x="797325" y="495915"/>
                                                      <a:pt x="794799" y="502653"/>
                                                    </a:cubicBezTo>
                                                    <a:cubicBezTo>
                                                      <a:pt x="794410" y="503625"/>
                                                      <a:pt x="794151" y="504791"/>
                                                      <a:pt x="793373" y="505439"/>
                                                    </a:cubicBezTo>
                                                    <a:cubicBezTo>
                                                      <a:pt x="792207" y="506410"/>
                                                      <a:pt x="790523" y="506086"/>
                                                      <a:pt x="789033" y="506151"/>
                                                    </a:cubicBezTo>
                                                    <a:cubicBezTo>
                                                      <a:pt x="781906" y="506410"/>
                                                      <a:pt x="778213" y="515351"/>
                                                      <a:pt x="771411" y="517748"/>
                                                    </a:cubicBezTo>
                                                    <a:cubicBezTo>
                                                      <a:pt x="768560" y="518720"/>
                                                      <a:pt x="765386" y="518461"/>
                                                      <a:pt x="762406" y="518137"/>
                                                    </a:cubicBezTo>
                                                    <a:cubicBezTo>
                                                      <a:pt x="755474" y="517424"/>
                                                      <a:pt x="747181" y="515740"/>
                                                      <a:pt x="744719" y="509196"/>
                                                    </a:cubicBezTo>
                                                    <a:cubicBezTo>
                                                      <a:pt x="743294" y="505309"/>
                                                      <a:pt x="744201" y="500385"/>
                                                      <a:pt x="741221" y="497535"/>
                                                    </a:cubicBezTo>
                                                    <a:cubicBezTo>
                                                      <a:pt x="738176" y="494684"/>
                                                      <a:pt x="733382" y="496045"/>
                                                      <a:pt x="729430" y="497211"/>
                                                    </a:cubicBezTo>
                                                    <a:cubicBezTo>
                                                      <a:pt x="725478" y="498377"/>
                                                      <a:pt x="720165" y="498636"/>
                                                      <a:pt x="718222" y="494943"/>
                                                    </a:cubicBezTo>
                                                    <a:cubicBezTo>
                                                      <a:pt x="716926" y="492481"/>
                                                      <a:pt x="718027" y="489501"/>
                                                      <a:pt x="718999" y="486845"/>
                                                    </a:cubicBezTo>
                                                    <a:cubicBezTo>
                                                      <a:pt x="720619" y="482440"/>
                                                      <a:pt x="721850" y="477645"/>
                                                      <a:pt x="720748" y="473046"/>
                                                    </a:cubicBezTo>
                                                    <a:cubicBezTo>
                                                      <a:pt x="719647" y="468446"/>
                                                      <a:pt x="715436" y="464365"/>
                                                      <a:pt x="710771" y="464883"/>
                                                    </a:cubicBezTo>
                                                    <a:cubicBezTo>
                                                      <a:pt x="708763" y="465077"/>
                                                      <a:pt x="706949" y="466114"/>
                                                      <a:pt x="705135" y="466956"/>
                                                    </a:cubicBezTo>
                                                    <a:cubicBezTo>
                                                      <a:pt x="693862" y="472333"/>
                                                      <a:pt x="680452" y="472916"/>
                                                      <a:pt x="668726" y="468576"/>
                                                    </a:cubicBezTo>
                                                    <a:lnTo>
                                                      <a:pt x="668402" y="63470"/>
                                                    </a:lnTo>
                                                    <a:cubicBezTo>
                                                      <a:pt x="656870" y="58612"/>
                                                      <a:pt x="646310" y="49995"/>
                                                      <a:pt x="634972" y="44099"/>
                                                    </a:cubicBezTo>
                                                    <a:cubicBezTo>
                                                      <a:pt x="630437" y="41702"/>
                                                      <a:pt x="625449" y="39759"/>
                                                      <a:pt x="620331" y="39759"/>
                                                    </a:cubicBezTo>
                                                    <a:cubicBezTo>
                                                      <a:pt x="615018" y="39759"/>
                                                      <a:pt x="609771" y="42156"/>
                                                      <a:pt x="606207" y="46108"/>
                                                    </a:cubicBezTo>
                                                    <a:cubicBezTo>
                                                      <a:pt x="598822" y="54206"/>
                                                      <a:pt x="597591" y="68912"/>
                                                      <a:pt x="586966" y="71763"/>
                                                    </a:cubicBezTo>
                                                    <a:cubicBezTo>
                                                      <a:pt x="578933" y="73901"/>
                                                      <a:pt x="571482" y="67293"/>
                                                      <a:pt x="565263" y="61721"/>
                                                    </a:cubicBezTo>
                                                    <a:cubicBezTo>
                                                      <a:pt x="559043" y="56150"/>
                                                      <a:pt x="549844" y="50902"/>
                                                      <a:pt x="542976" y="55631"/>
                                                    </a:cubicBezTo>
                                                    <a:cubicBezTo>
                                                      <a:pt x="538895" y="58417"/>
                                                      <a:pt x="537470" y="64507"/>
                                                      <a:pt x="539932" y="68783"/>
                                                    </a:cubicBezTo>
                                                    <a:cubicBezTo>
                                                      <a:pt x="529307" y="66386"/>
                                                      <a:pt x="521921" y="81351"/>
                                                      <a:pt x="511037" y="81740"/>
                                                    </a:cubicBezTo>
                                                    <a:cubicBezTo>
                                                      <a:pt x="505077" y="81934"/>
                                                      <a:pt x="500024" y="77723"/>
                                                      <a:pt x="495618" y="73707"/>
                                                    </a:cubicBezTo>
                                                    <a:cubicBezTo>
                                                      <a:pt x="480523" y="59842"/>
                                                      <a:pt x="462448" y="44488"/>
                                                      <a:pt x="442299" y="48181"/>
                                                    </a:cubicBezTo>
                                                    <a:cubicBezTo>
                                                      <a:pt x="437246" y="49088"/>
                                                      <a:pt x="432387" y="51226"/>
                                                      <a:pt x="427204" y="51161"/>
                                                    </a:cubicBezTo>
                                                    <a:cubicBezTo>
                                                      <a:pt x="422086" y="51161"/>
                                                      <a:pt x="416320" y="47922"/>
                                                      <a:pt x="416061" y="42739"/>
                                                    </a:cubicBezTo>
                                                    <a:cubicBezTo>
                                                      <a:pt x="415932" y="40472"/>
                                                      <a:pt x="416903" y="38010"/>
                                                      <a:pt x="415802" y="35937"/>
                                                    </a:cubicBezTo>
                                                    <a:cubicBezTo>
                                                      <a:pt x="413599" y="31725"/>
                                                      <a:pt x="406149" y="34446"/>
                                                      <a:pt x="403039" y="30818"/>
                                                    </a:cubicBezTo>
                                                    <a:cubicBezTo>
                                                      <a:pt x="401420" y="28940"/>
                                                      <a:pt x="401679" y="26089"/>
                                                      <a:pt x="400837" y="23757"/>
                                                    </a:cubicBezTo>
                                                    <a:cubicBezTo>
                                                      <a:pt x="399023" y="18704"/>
                                                      <a:pt x="392803" y="17149"/>
                                                      <a:pt x="387815" y="15076"/>
                                                    </a:cubicBezTo>
                                                    <a:cubicBezTo>
                                                      <a:pt x="382826" y="13002"/>
                                                      <a:pt x="377902" y="7107"/>
                                                      <a:pt x="381142" y="2831"/>
                                                    </a:cubicBezTo>
                                                    <a:cubicBezTo>
                                                      <a:pt x="367601" y="-7470"/>
                                                      <a:pt x="347971" y="14169"/>
                                                      <a:pt x="332358" y="7366"/>
                                                    </a:cubicBezTo>
                                                    <a:cubicBezTo>
                                                      <a:pt x="329378" y="6070"/>
                                                      <a:pt x="326916" y="3868"/>
                                                      <a:pt x="323936" y="2572"/>
                                                    </a:cubicBezTo>
                                                    <a:cubicBezTo>
                                                      <a:pt x="318429" y="304"/>
                                                      <a:pt x="312145" y="1730"/>
                                                      <a:pt x="306444" y="3414"/>
                                                    </a:cubicBezTo>
                                                    <a:cubicBezTo>
                                                      <a:pt x="281437" y="10929"/>
                                                      <a:pt x="257919" y="23433"/>
                                                      <a:pt x="237836" y="40083"/>
                                                    </a:cubicBezTo>
                                                    <a:cubicBezTo>
                                                      <a:pt x="233754" y="43452"/>
                                                      <a:pt x="229608" y="47080"/>
                                                      <a:pt x="224425" y="48246"/>
                                                    </a:cubicBezTo>
                                                    <a:cubicBezTo>
                                                      <a:pt x="220214" y="49218"/>
                                                      <a:pt x="215873" y="48375"/>
                                                      <a:pt x="211598" y="48375"/>
                                                    </a:cubicBezTo>
                                                    <a:cubicBezTo>
                                                      <a:pt x="203240" y="48375"/>
                                                      <a:pt x="195207" y="51615"/>
                                                      <a:pt x="187497" y="54789"/>
                                                    </a:cubicBezTo>
                                                    <a:cubicBezTo>
                                                      <a:pt x="161907" y="65284"/>
                                                      <a:pt x="136316" y="75715"/>
                                                      <a:pt x="110726" y="86210"/>
                                                    </a:cubicBezTo>
                                                    <a:cubicBezTo>
                                                      <a:pt x="105414" y="92818"/>
                                                      <a:pt x="98546" y="97936"/>
                                                      <a:pt x="91744" y="102990"/>
                                                    </a:cubicBezTo>
                                                    <a:cubicBezTo>
                                                      <a:pt x="85071" y="107913"/>
                                                      <a:pt x="78268" y="112902"/>
                                                      <a:pt x="70624" y="116206"/>
                                                    </a:cubicBezTo>
                                                    <a:cubicBezTo>
                                                      <a:pt x="60582" y="120547"/>
                                                      <a:pt x="49115" y="121713"/>
                                                      <a:pt x="38425" y="119510"/>
                                                    </a:cubicBezTo>
                                                    <a:cubicBezTo>
                                                      <a:pt x="37259" y="124758"/>
                                                      <a:pt x="42053" y="129681"/>
                                                      <a:pt x="47171" y="131107"/>
                                                    </a:cubicBezTo>
                                                    <a:cubicBezTo>
                                                      <a:pt x="52354" y="132532"/>
                                                      <a:pt x="57796" y="131495"/>
                                                      <a:pt x="63109" y="131236"/>
                                                    </a:cubicBezTo>
                                                    <a:cubicBezTo>
                                                      <a:pt x="81702" y="130329"/>
                                                      <a:pt x="100490" y="139464"/>
                                                      <a:pt x="111244" y="154689"/>
                                                    </a:cubicBezTo>
                                                    <a:cubicBezTo>
                                                      <a:pt x="113577" y="157993"/>
                                                      <a:pt x="115520" y="161556"/>
                                                      <a:pt x="117464" y="165054"/>
                                                    </a:cubicBezTo>
                                                    <a:cubicBezTo>
                                                      <a:pt x="123748" y="163953"/>
                                                      <a:pt x="130421" y="162916"/>
                                                      <a:pt x="136381" y="165184"/>
                                                    </a:cubicBezTo>
                                                    <a:cubicBezTo>
                                                      <a:pt x="142342" y="167452"/>
                                                      <a:pt x="147913" y="172764"/>
                                                      <a:pt x="145451" y="178659"/>
                                                    </a:cubicBezTo>
                                                    <a:cubicBezTo>
                                                      <a:pt x="149144" y="178206"/>
                                                      <a:pt x="151865" y="182158"/>
                                                      <a:pt x="152772" y="185721"/>
                                                    </a:cubicBezTo>
                                                    <a:cubicBezTo>
                                                      <a:pt x="153679" y="189349"/>
                                                      <a:pt x="153873" y="193366"/>
                                                      <a:pt x="156465" y="196087"/>
                                                    </a:cubicBezTo>
                                                    <a:cubicBezTo>
                                                      <a:pt x="160352" y="200168"/>
                                                      <a:pt x="167025" y="198678"/>
                                                      <a:pt x="172661" y="199002"/>
                                                    </a:cubicBezTo>
                                                    <a:cubicBezTo>
                                                      <a:pt x="178298" y="199326"/>
                                                      <a:pt x="184776" y="205545"/>
                                                      <a:pt x="180889" y="209692"/>
                                                    </a:cubicBezTo>
                                                    <a:cubicBezTo>
                                                      <a:pt x="186072" y="209886"/>
                                                      <a:pt x="190996" y="213190"/>
                                                      <a:pt x="193198" y="217855"/>
                                                    </a:cubicBezTo>
                                                    <a:cubicBezTo>
                                                      <a:pt x="181343" y="218632"/>
                                                      <a:pt x="169487" y="219474"/>
                                                      <a:pt x="157631" y="220252"/>
                                                    </a:cubicBezTo>
                                                    <a:cubicBezTo>
                                                      <a:pt x="155040" y="220446"/>
                                                      <a:pt x="152254" y="220641"/>
                                                      <a:pt x="150181" y="222325"/>
                                                    </a:cubicBezTo>
                                                    <a:cubicBezTo>
                                                      <a:pt x="147524" y="224463"/>
                                                      <a:pt x="146941" y="228285"/>
                                                      <a:pt x="145127" y="231201"/>
                                                    </a:cubicBezTo>
                                                    <a:cubicBezTo>
                                                      <a:pt x="141305" y="237161"/>
                                                      <a:pt x="131328" y="237485"/>
                                                      <a:pt x="127117" y="231784"/>
                                                    </a:cubicBezTo>
                                                    <a:cubicBezTo>
                                                      <a:pt x="125692" y="229905"/>
                                                      <a:pt x="124914" y="227508"/>
                                                      <a:pt x="123100" y="225953"/>
                                                    </a:cubicBezTo>
                                                    <a:cubicBezTo>
                                                      <a:pt x="116557" y="220381"/>
                                                      <a:pt x="106580" y="231265"/>
                                                      <a:pt x="98482" y="228285"/>
                                                    </a:cubicBezTo>
                                                    <a:cubicBezTo>
                                                      <a:pt x="92521" y="226147"/>
                                                      <a:pt x="91614" y="218308"/>
                                                      <a:pt x="90189" y="212089"/>
                                                    </a:cubicBezTo>
                                                    <a:cubicBezTo>
                                                      <a:pt x="88829" y="205869"/>
                                                      <a:pt x="82609" y="198808"/>
                                                      <a:pt x="77297" y="202371"/>
                                                    </a:cubicBezTo>
                                                    <a:cubicBezTo>
                                                      <a:pt x="73410" y="204898"/>
                                                      <a:pt x="73993" y="210988"/>
                                                      <a:pt x="70883" y="214421"/>
                                                    </a:cubicBezTo>
                                                    <a:cubicBezTo>
                                                      <a:pt x="67773" y="217855"/>
                                                      <a:pt x="62266" y="217531"/>
                                                      <a:pt x="58444" y="220122"/>
                                                    </a:cubicBezTo>
                                                    <a:cubicBezTo>
                                                      <a:pt x="53715" y="223297"/>
                                                      <a:pt x="52225" y="230423"/>
                                                      <a:pt x="46912" y="232367"/>
                                                    </a:cubicBezTo>
                                                    <a:cubicBezTo>
                                                      <a:pt x="43349" y="233663"/>
                                                      <a:pt x="39397" y="232043"/>
                                                      <a:pt x="35639" y="232108"/>
                                                    </a:cubicBezTo>
                                                    <a:cubicBezTo>
                                                      <a:pt x="22553" y="232237"/>
                                                      <a:pt x="11993" y="251219"/>
                                                      <a:pt x="331" y="245130"/>
                                                    </a:cubicBezTo>
                                                    <a:cubicBezTo>
                                                      <a:pt x="-1871" y="253228"/>
                                                      <a:pt x="7328" y="259901"/>
                                                      <a:pt x="15556" y="261585"/>
                                                    </a:cubicBezTo>
                                                    <a:cubicBezTo>
                                                      <a:pt x="23784" y="263270"/>
                                                      <a:pt x="33242" y="263140"/>
                                                      <a:pt x="39138" y="269165"/>
                                                    </a:cubicBezTo>
                                                    <a:cubicBezTo>
                                                      <a:pt x="41211" y="271303"/>
                                                      <a:pt x="42636" y="274607"/>
                                                      <a:pt x="41211" y="277198"/>
                                                    </a:cubicBezTo>
                                                    <a:cubicBezTo>
                                                      <a:pt x="40110" y="279142"/>
                                                      <a:pt x="37777" y="280114"/>
                                                      <a:pt x="36870" y="282122"/>
                                                    </a:cubicBezTo>
                                                    <a:cubicBezTo>
                                                      <a:pt x="34538" y="287629"/>
                                                      <a:pt x="44386" y="289767"/>
                                                      <a:pt x="47884" y="294626"/>
                                                    </a:cubicBezTo>
                                                    <a:cubicBezTo>
                                                      <a:pt x="49892" y="297412"/>
                                                      <a:pt x="49828" y="301558"/>
                                                      <a:pt x="52484" y="303825"/>
                                                    </a:cubicBezTo>
                                                    <a:cubicBezTo>
                                                      <a:pt x="57084" y="307777"/>
                                                      <a:pt x="63497" y="302465"/>
                                                      <a:pt x="68291" y="298707"/>
                                                    </a:cubicBezTo>
                                                    <a:cubicBezTo>
                                                      <a:pt x="77945" y="291192"/>
                                                      <a:pt x="92197" y="290285"/>
                                                      <a:pt x="102693" y="296440"/>
                                                    </a:cubicBezTo>
                                                    <a:cubicBezTo>
                                                      <a:pt x="108135" y="299614"/>
                                                      <a:pt x="113965" y="304732"/>
                                                      <a:pt x="119796" y="302335"/>
                                                    </a:cubicBezTo>
                                                    <a:cubicBezTo>
                                                      <a:pt x="122258" y="301299"/>
                                                      <a:pt x="124007" y="299161"/>
                                                      <a:pt x="125627" y="297023"/>
                                                    </a:cubicBezTo>
                                                    <a:cubicBezTo>
                                                      <a:pt x="133790" y="286074"/>
                                                      <a:pt x="143249" y="273117"/>
                                                      <a:pt x="156918" y="272987"/>
                                                    </a:cubicBezTo>
                                                    <a:cubicBezTo>
                                                      <a:pt x="167219" y="272923"/>
                                                      <a:pt x="176743" y="281798"/>
                                                      <a:pt x="177326" y="292034"/>
                                                    </a:cubicBezTo>
                                                    <a:cubicBezTo>
                                                      <a:pt x="171171" y="288990"/>
                                                      <a:pt x="165405" y="298059"/>
                                                      <a:pt x="166895" y="304732"/>
                                                    </a:cubicBezTo>
                                                    <a:cubicBezTo>
                                                      <a:pt x="168321" y="311470"/>
                                                      <a:pt x="173180" y="317301"/>
                                                      <a:pt x="173439" y="324103"/>
                                                    </a:cubicBezTo>
                                                    <a:cubicBezTo>
                                                      <a:pt x="173698" y="331942"/>
                                                      <a:pt x="167543" y="338810"/>
                                                      <a:pt x="160352" y="341984"/>
                                                    </a:cubicBezTo>
                                                    <a:cubicBezTo>
                                                      <a:pt x="153161" y="345094"/>
                                                      <a:pt x="145127" y="345288"/>
                                                      <a:pt x="137288" y="345418"/>
                                                    </a:cubicBezTo>
                                                    <a:cubicBezTo>
                                                      <a:pt x="133272" y="345418"/>
                                                      <a:pt x="128866" y="345677"/>
                                                      <a:pt x="125951" y="348398"/>
                                                    </a:cubicBezTo>
                                                    <a:cubicBezTo>
                                                      <a:pt x="121286" y="352739"/>
                                                      <a:pt x="123100" y="360448"/>
                                                      <a:pt x="125238" y="366473"/>
                                                    </a:cubicBezTo>
                                                    <a:cubicBezTo>
                                                      <a:pt x="120185" y="370620"/>
                                                      <a:pt x="112605" y="366991"/>
                                                      <a:pt x="107487" y="362910"/>
                                                    </a:cubicBezTo>
                                                    <a:cubicBezTo>
                                                      <a:pt x="102369" y="358829"/>
                                                      <a:pt x="96214" y="353970"/>
                                                      <a:pt x="89995" y="356172"/>
                                                    </a:cubicBezTo>
                                                    <a:cubicBezTo>
                                                      <a:pt x="90707" y="369389"/>
                                                      <a:pt x="88051" y="382734"/>
                                                      <a:pt x="82285" y="394655"/>
                                                    </a:cubicBezTo>
                                                    <a:cubicBezTo>
                                                      <a:pt x="77815" y="391027"/>
                                                      <a:pt x="70753" y="394072"/>
                                                      <a:pt x="67708" y="398931"/>
                                                    </a:cubicBezTo>
                                                    <a:cubicBezTo>
                                                      <a:pt x="64663" y="403790"/>
                                                      <a:pt x="64275" y="409815"/>
                                                      <a:pt x="62785" y="415386"/>
                                                    </a:cubicBezTo>
                                                    <a:cubicBezTo>
                                                      <a:pt x="61295" y="420958"/>
                                                      <a:pt x="57991" y="426789"/>
                                                      <a:pt x="52354" y="428020"/>
                                                    </a:cubicBezTo>
                                                    <a:cubicBezTo>
                                                      <a:pt x="49892" y="430741"/>
                                                      <a:pt x="53456" y="435081"/>
                                                      <a:pt x="57019" y="435729"/>
                                                    </a:cubicBezTo>
                                                    <a:cubicBezTo>
                                                      <a:pt x="60647" y="436377"/>
                                                      <a:pt x="64599" y="435405"/>
                                                      <a:pt x="67903" y="437090"/>
                                                    </a:cubicBezTo>
                                                    <a:cubicBezTo>
                                                      <a:pt x="73863" y="440135"/>
                                                      <a:pt x="72956" y="448816"/>
                                                      <a:pt x="71142" y="455230"/>
                                                    </a:cubicBezTo>
                                                    <a:cubicBezTo>
                                                      <a:pt x="66996" y="456849"/>
                                                      <a:pt x="62785" y="458469"/>
                                                      <a:pt x="58638" y="460089"/>
                                                    </a:cubicBezTo>
                                                    <a:cubicBezTo>
                                                      <a:pt x="64145" y="464948"/>
                                                      <a:pt x="69652" y="469742"/>
                                                      <a:pt x="75159" y="474601"/>
                                                    </a:cubicBezTo>
                                                    <a:cubicBezTo>
                                                      <a:pt x="76908" y="476155"/>
                                                      <a:pt x="78722" y="477710"/>
                                                      <a:pt x="80925" y="478423"/>
                                                    </a:cubicBezTo>
                                                    <a:cubicBezTo>
                                                      <a:pt x="83322" y="479200"/>
                                                      <a:pt x="85913" y="478941"/>
                                                      <a:pt x="88440" y="478876"/>
                                                    </a:cubicBezTo>
                                                    <a:cubicBezTo>
                                                      <a:pt x="101721" y="478488"/>
                                                      <a:pt x="115067" y="483865"/>
                                                      <a:pt x="124331" y="493388"/>
                                                    </a:cubicBezTo>
                                                    <a:cubicBezTo>
                                                      <a:pt x="125173" y="485225"/>
                                                      <a:pt x="129255" y="474406"/>
                                                      <a:pt x="137353" y="476026"/>
                                                    </a:cubicBezTo>
                                                    <a:cubicBezTo>
                                                      <a:pt x="146358" y="477775"/>
                                                      <a:pt x="144803" y="492158"/>
                                                      <a:pt x="151671" y="498377"/>
                                                    </a:cubicBezTo>
                                                    <a:cubicBezTo>
                                                      <a:pt x="153873" y="500385"/>
                                                      <a:pt x="157177" y="501875"/>
                                                      <a:pt x="157372" y="504856"/>
                                                    </a:cubicBezTo>
                                                    <a:cubicBezTo>
                                                      <a:pt x="157501" y="507965"/>
                                                      <a:pt x="154133" y="509779"/>
                                                      <a:pt x="151541" y="511528"/>
                                                    </a:cubicBezTo>
                                                    <a:cubicBezTo>
                                                      <a:pt x="145063" y="515934"/>
                                                      <a:pt x="141823" y="524680"/>
                                                      <a:pt x="143832" y="532260"/>
                                                    </a:cubicBezTo>
                                                    <a:cubicBezTo>
                                                      <a:pt x="149986" y="536341"/>
                                                      <a:pt x="159315" y="539710"/>
                                                      <a:pt x="163721" y="533815"/>
                                                    </a:cubicBezTo>
                                                    <a:cubicBezTo>
                                                      <a:pt x="165340" y="531612"/>
                                                      <a:pt x="165664" y="528761"/>
                                                      <a:pt x="166960" y="526364"/>
                                                    </a:cubicBezTo>
                                                    <a:cubicBezTo>
                                                      <a:pt x="171430" y="518007"/>
                                                      <a:pt x="183545" y="519368"/>
                                                      <a:pt x="192745" y="521570"/>
                                                    </a:cubicBezTo>
                                                    <a:cubicBezTo>
                                                      <a:pt x="201944" y="523773"/>
                                                      <a:pt x="214513" y="523838"/>
                                                      <a:pt x="217558" y="514897"/>
                                                    </a:cubicBezTo>
                                                    <a:cubicBezTo>
                                                      <a:pt x="218206" y="513019"/>
                                                      <a:pt x="218400" y="510816"/>
                                                      <a:pt x="219890" y="509520"/>
                                                    </a:cubicBezTo>
                                                    <a:cubicBezTo>
                                                      <a:pt x="221121" y="508484"/>
                                                      <a:pt x="222805" y="508419"/>
                                                      <a:pt x="224425" y="508484"/>
                                                    </a:cubicBezTo>
                                                    <a:cubicBezTo>
                                                      <a:pt x="230968" y="508484"/>
                                                      <a:pt x="237512" y="509067"/>
                                                      <a:pt x="243926" y="510103"/>
                                                    </a:cubicBezTo>
                                                    <a:cubicBezTo>
                                                      <a:pt x="244250" y="512435"/>
                                                      <a:pt x="244638" y="514703"/>
                                                      <a:pt x="244962" y="517035"/>
                                                    </a:cubicBezTo>
                                                    <a:cubicBezTo>
                                                      <a:pt x="247748" y="517683"/>
                                                      <a:pt x="250599" y="518266"/>
                                                      <a:pt x="253384" y="518914"/>
                                                    </a:cubicBezTo>
                                                    <a:cubicBezTo>
                                                      <a:pt x="250275" y="522866"/>
                                                      <a:pt x="256429" y="527595"/>
                                                      <a:pt x="261353" y="528502"/>
                                                    </a:cubicBezTo>
                                                    <a:cubicBezTo>
                                                      <a:pt x="266277" y="529409"/>
                                                      <a:pt x="273014" y="531871"/>
                                                      <a:pt x="271848" y="536795"/>
                                                    </a:cubicBezTo>
                                                    <a:cubicBezTo>
                                                      <a:pt x="271071" y="540164"/>
                                                      <a:pt x="266925" y="541330"/>
                                                      <a:pt x="264074" y="543273"/>
                                                    </a:cubicBezTo>
                                                    <a:cubicBezTo>
                                                      <a:pt x="258632" y="546901"/>
                                                      <a:pt x="257142" y="554157"/>
                                                      <a:pt x="256105" y="560636"/>
                                                    </a:cubicBezTo>
                                                    <a:cubicBezTo>
                                                      <a:pt x="254421" y="571066"/>
                                                      <a:pt x="252736" y="581562"/>
                                                      <a:pt x="251052" y="591992"/>
                                                    </a:cubicBezTo>
                                                    <a:cubicBezTo>
                                                      <a:pt x="247359" y="589725"/>
                                                      <a:pt x="242630" y="593029"/>
                                                      <a:pt x="240557" y="596851"/>
                                                    </a:cubicBezTo>
                                                    <a:cubicBezTo>
                                                      <a:pt x="238484" y="600674"/>
                                                      <a:pt x="237512" y="605273"/>
                                                      <a:pt x="234208" y="608059"/>
                                                    </a:cubicBezTo>
                                                    <a:cubicBezTo>
                                                      <a:pt x="228377" y="613048"/>
                                                      <a:pt x="218724" y="609808"/>
                                                      <a:pt x="212440" y="614214"/>
                                                    </a:cubicBezTo>
                                                    <a:cubicBezTo>
                                                      <a:pt x="209265" y="616481"/>
                                                      <a:pt x="207581" y="620239"/>
                                                      <a:pt x="205767" y="623673"/>
                                                    </a:cubicBezTo>
                                                    <a:cubicBezTo>
                                                      <a:pt x="195984" y="641683"/>
                                                      <a:pt x="175382" y="653215"/>
                                                      <a:pt x="154910" y="652243"/>
                                                    </a:cubicBezTo>
                                                    <a:cubicBezTo>
                                                      <a:pt x="152707" y="652113"/>
                                                      <a:pt x="150440" y="651919"/>
                                                      <a:pt x="148367" y="652632"/>
                                                    </a:cubicBezTo>
                                                    <a:cubicBezTo>
                                                      <a:pt x="146034" y="653409"/>
                                                      <a:pt x="144220" y="655288"/>
                                                      <a:pt x="142536" y="657102"/>
                                                    </a:cubicBezTo>
                                                    <a:cubicBezTo>
                                                      <a:pt x="136122" y="664099"/>
                                                      <a:pt x="130291" y="671679"/>
                                                      <a:pt x="125109" y="679712"/>
                                                    </a:cubicBezTo>
                                                    <a:cubicBezTo>
                                                      <a:pt x="125109" y="682498"/>
                                                      <a:pt x="124137" y="685996"/>
                                                      <a:pt x="124137" y="688782"/>
                                                    </a:cubicBezTo>
                                                    <a:cubicBezTo>
                                                      <a:pt x="131781" y="688393"/>
                                                      <a:pt x="139232" y="684571"/>
                                                      <a:pt x="144026" y="678546"/>
                                                    </a:cubicBezTo>
                                                    <a:cubicBezTo>
                                                      <a:pt x="145646" y="676473"/>
                                                      <a:pt x="147200" y="674011"/>
                                                      <a:pt x="149727" y="673298"/>
                                                    </a:cubicBezTo>
                                                    <a:cubicBezTo>
                                                      <a:pt x="151476" y="672780"/>
                                                      <a:pt x="153355" y="673298"/>
                                                      <a:pt x="155169" y="673428"/>
                                                    </a:cubicBezTo>
                                                    <a:cubicBezTo>
                                                      <a:pt x="164304" y="674011"/>
                                                      <a:pt x="170977" y="665330"/>
                                                      <a:pt x="178686" y="660406"/>
                                                    </a:cubicBezTo>
                                                    <a:cubicBezTo>
                                                      <a:pt x="188793" y="653927"/>
                                                      <a:pt x="201556" y="653668"/>
                                                      <a:pt x="213541" y="652437"/>
                                                    </a:cubicBezTo>
                                                    <a:cubicBezTo>
                                                      <a:pt x="219307" y="651854"/>
                                                      <a:pt x="225267" y="650883"/>
                                                      <a:pt x="230256" y="647902"/>
                                                    </a:cubicBezTo>
                                                    <a:cubicBezTo>
                                                      <a:pt x="235244" y="644922"/>
                                                      <a:pt x="239196" y="639480"/>
                                                      <a:pt x="238808" y="633714"/>
                                                    </a:cubicBezTo>
                                                    <a:cubicBezTo>
                                                      <a:pt x="238678" y="631188"/>
                                                      <a:pt x="237771" y="628402"/>
                                                      <a:pt x="239196" y="626329"/>
                                                    </a:cubicBezTo>
                                                    <a:cubicBezTo>
                                                      <a:pt x="240168" y="624904"/>
                                                      <a:pt x="241982" y="624256"/>
                                                      <a:pt x="243602" y="623673"/>
                                                    </a:cubicBezTo>
                                                    <a:cubicBezTo>
                                                      <a:pt x="253125" y="620433"/>
                                                      <a:pt x="264009" y="614214"/>
                                                      <a:pt x="263815" y="604107"/>
                                                    </a:cubicBezTo>
                                                    <a:cubicBezTo>
                                                      <a:pt x="271006" y="607347"/>
                                                      <a:pt x="279299" y="602358"/>
                                                      <a:pt x="284611" y="596527"/>
                                                    </a:cubicBezTo>
                                                    <a:cubicBezTo>
                                                      <a:pt x="289923" y="590697"/>
                                                      <a:pt x="294458" y="583505"/>
                                                      <a:pt x="301779" y="580590"/>
                                                    </a:cubicBezTo>
                                                    <a:cubicBezTo>
                                                      <a:pt x="306768" y="578582"/>
                                                      <a:pt x="313829" y="577480"/>
                                                      <a:pt x="314412" y="572103"/>
                                                    </a:cubicBezTo>
                                                    <a:cubicBezTo>
                                                      <a:pt x="314542" y="570872"/>
                                                      <a:pt x="314218" y="569576"/>
                                                      <a:pt x="314607" y="568346"/>
                                                    </a:cubicBezTo>
                                                    <a:cubicBezTo>
                                                      <a:pt x="315708" y="564977"/>
                                                      <a:pt x="320438" y="565495"/>
                                                      <a:pt x="324001" y="565689"/>
                                                    </a:cubicBezTo>
                                                    <a:cubicBezTo>
                                                      <a:pt x="334561" y="566272"/>
                                                      <a:pt x="344408" y="556166"/>
                                                      <a:pt x="343631" y="545606"/>
                                                    </a:cubicBezTo>
                                                    <a:cubicBezTo>
                                                      <a:pt x="348425" y="544958"/>
                                                      <a:pt x="353154" y="544245"/>
                                                      <a:pt x="357948" y="543597"/>
                                                    </a:cubicBezTo>
                                                    <a:cubicBezTo>
                                                      <a:pt x="361058" y="537443"/>
                                                      <a:pt x="358661" y="529085"/>
                                                      <a:pt x="352701" y="525587"/>
                                                    </a:cubicBezTo>
                                                    <a:cubicBezTo>
                                                      <a:pt x="346287" y="521765"/>
                                                      <a:pt x="335662" y="521829"/>
                                                      <a:pt x="334496" y="514444"/>
                                                    </a:cubicBezTo>
                                                    <a:cubicBezTo>
                                                      <a:pt x="333654" y="509131"/>
                                                      <a:pt x="339225" y="505115"/>
                                                      <a:pt x="344149" y="502847"/>
                                                    </a:cubicBezTo>
                                                    <a:cubicBezTo>
                                                      <a:pt x="349073" y="500580"/>
                                                      <a:pt x="354904" y="497794"/>
                                                      <a:pt x="355551" y="492417"/>
                                                    </a:cubicBezTo>
                                                    <a:cubicBezTo>
                                                      <a:pt x="355746" y="490991"/>
                                                      <a:pt x="355551" y="489437"/>
                                                      <a:pt x="356329" y="488206"/>
                                                    </a:cubicBezTo>
                                                    <a:cubicBezTo>
                                                      <a:pt x="357365" y="486651"/>
                                                      <a:pt x="359503" y="486586"/>
                                                      <a:pt x="361317" y="486003"/>
                                                    </a:cubicBezTo>
                                                    <a:cubicBezTo>
                                                      <a:pt x="369804" y="483411"/>
                                                      <a:pt x="370711" y="470195"/>
                                                      <a:pt x="378939" y="467021"/>
                                                    </a:cubicBezTo>
                                                    <a:cubicBezTo>
                                                      <a:pt x="382891" y="465531"/>
                                                      <a:pt x="388268" y="466373"/>
                                                      <a:pt x="390600" y="462810"/>
                                                    </a:cubicBezTo>
                                                    <a:cubicBezTo>
                                                      <a:pt x="392868" y="459311"/>
                                                      <a:pt x="390017" y="454193"/>
                                                      <a:pt x="392026" y="450500"/>
                                                    </a:cubicBezTo>
                                                    <a:cubicBezTo>
                                                      <a:pt x="393516" y="447844"/>
                                                      <a:pt x="396885" y="447002"/>
                                                      <a:pt x="399476" y="445382"/>
                                                    </a:cubicBezTo>
                                                    <a:cubicBezTo>
                                                      <a:pt x="403493" y="442856"/>
                                                      <a:pt x="405631" y="438256"/>
                                                      <a:pt x="408740" y="434693"/>
                                                    </a:cubicBezTo>
                                                    <a:cubicBezTo>
                                                      <a:pt x="414506" y="428214"/>
                                                      <a:pt x="424224" y="425493"/>
                                                      <a:pt x="432517" y="428149"/>
                                                    </a:cubicBezTo>
                                                    <a:cubicBezTo>
                                                      <a:pt x="433359" y="430741"/>
                                                      <a:pt x="434136" y="433397"/>
                                                      <a:pt x="434979" y="435988"/>
                                                    </a:cubicBezTo>
                                                    <a:cubicBezTo>
                                                      <a:pt x="441587" y="435405"/>
                                                      <a:pt x="449361" y="436377"/>
                                                      <a:pt x="452860" y="441949"/>
                                                    </a:cubicBezTo>
                                                    <a:cubicBezTo>
                                                      <a:pt x="455645" y="446484"/>
                                                      <a:pt x="454220" y="453092"/>
                                                      <a:pt x="449815" y="456072"/>
                                                    </a:cubicBezTo>
                                                    <a:cubicBezTo>
                                                      <a:pt x="445409" y="459052"/>
                                                      <a:pt x="438736" y="457821"/>
                                                      <a:pt x="435626" y="453545"/>
                                                    </a:cubicBezTo>
                                                    <a:cubicBezTo>
                                                      <a:pt x="434331" y="451796"/>
                                                      <a:pt x="433553" y="449529"/>
                                                      <a:pt x="431610" y="448492"/>
                                                    </a:cubicBezTo>
                                                    <a:cubicBezTo>
                                                      <a:pt x="428047" y="446548"/>
                                                      <a:pt x="423836" y="450565"/>
                                                      <a:pt x="423188" y="454582"/>
                                                    </a:cubicBezTo>
                                                    <a:cubicBezTo>
                                                      <a:pt x="420337" y="452962"/>
                                                      <a:pt x="416579" y="455359"/>
                                                      <a:pt x="415284" y="458404"/>
                                                    </a:cubicBezTo>
                                                    <a:cubicBezTo>
                                                      <a:pt x="413988" y="461449"/>
                                                      <a:pt x="414182" y="464883"/>
                                                      <a:pt x="413599" y="468122"/>
                                                    </a:cubicBezTo>
                                                    <a:cubicBezTo>
                                                      <a:pt x="412368" y="475054"/>
                                                      <a:pt x="407250" y="481144"/>
                                                      <a:pt x="400642" y="483606"/>
                                                    </a:cubicBezTo>
                                                    <a:cubicBezTo>
                                                      <a:pt x="398504" y="486068"/>
                                                      <a:pt x="399930" y="490084"/>
                                                      <a:pt x="402197" y="492417"/>
                                                    </a:cubicBezTo>
                                                    <a:cubicBezTo>
                                                      <a:pt x="404465" y="494749"/>
                                                      <a:pt x="407574" y="496433"/>
                                                      <a:pt x="409259" y="499219"/>
                                                    </a:cubicBezTo>
                                                    <a:cubicBezTo>
                                                      <a:pt x="413211" y="505698"/>
                                                      <a:pt x="405112" y="515286"/>
                                                      <a:pt x="398051" y="512500"/>
                                                    </a:cubicBezTo>
                                                    <a:cubicBezTo>
                                                      <a:pt x="396042" y="516387"/>
                                                      <a:pt x="399217" y="521376"/>
                                                      <a:pt x="403298" y="522931"/>
                                                    </a:cubicBezTo>
                                                    <a:cubicBezTo>
                                                      <a:pt x="407380" y="524486"/>
                                                      <a:pt x="410619" y="523449"/>
                                                      <a:pt x="414895" y="522736"/>
                                                    </a:cubicBezTo>
                                                    <a:cubicBezTo>
                                                      <a:pt x="422281" y="521570"/>
                                                      <a:pt x="425520" y="512889"/>
                                                      <a:pt x="427269" y="505568"/>
                                                    </a:cubicBezTo>
                                                    <a:cubicBezTo>
                                                      <a:pt x="432387" y="509455"/>
                                                      <a:pt x="439902" y="506086"/>
                                                      <a:pt x="444437" y="501487"/>
                                                    </a:cubicBezTo>
                                                    <a:cubicBezTo>
                                                      <a:pt x="448908" y="496887"/>
                                                      <a:pt x="452471" y="490927"/>
                                                      <a:pt x="458431" y="488465"/>
                                                    </a:cubicBezTo>
                                                    <a:cubicBezTo>
                                                      <a:pt x="465039" y="485679"/>
                                                      <a:pt x="472490" y="488011"/>
                                                      <a:pt x="479616" y="488465"/>
                                                    </a:cubicBezTo>
                                                    <a:cubicBezTo>
                                                      <a:pt x="486742" y="488918"/>
                                                      <a:pt x="495618" y="485873"/>
                                                      <a:pt x="496396" y="478747"/>
                                                    </a:cubicBezTo>
                                                    <a:cubicBezTo>
                                                      <a:pt x="497108" y="471880"/>
                                                      <a:pt x="489982" y="467215"/>
                                                      <a:pt x="485965" y="461579"/>
                                                    </a:cubicBezTo>
                                                    <a:cubicBezTo>
                                                      <a:pt x="480912" y="454387"/>
                                                      <a:pt x="481171" y="443957"/>
                                                      <a:pt x="486548" y="437025"/>
                                                    </a:cubicBezTo>
                                                    <a:cubicBezTo>
                                                      <a:pt x="495229" y="437738"/>
                                                      <a:pt x="504429" y="434304"/>
                                                      <a:pt x="512398" y="437802"/>
                                                    </a:cubicBezTo>
                                                    <a:cubicBezTo>
                                                      <a:pt x="518293" y="440459"/>
                                                      <a:pt x="521921" y="446224"/>
                                                      <a:pt x="526327" y="450954"/>
                                                    </a:cubicBezTo>
                                                    <a:cubicBezTo>
                                                      <a:pt x="530732" y="455683"/>
                                                      <a:pt x="537470" y="459635"/>
                                                      <a:pt x="543365" y="457044"/>
                                                    </a:cubicBezTo>
                                                    <a:cubicBezTo>
                                                      <a:pt x="537211" y="461320"/>
                                                      <a:pt x="531315" y="466049"/>
                                                      <a:pt x="525873" y="471167"/>
                                                    </a:cubicBezTo>
                                                    <a:cubicBezTo>
                                                      <a:pt x="538960" y="473434"/>
                                                      <a:pt x="552565" y="473175"/>
                                                      <a:pt x="565522" y="470390"/>
                                                    </a:cubicBezTo>
                                                    <a:cubicBezTo>
                                                      <a:pt x="569409" y="469547"/>
                                                      <a:pt x="573491" y="468316"/>
                                                      <a:pt x="576017" y="465271"/>
                                                    </a:cubicBezTo>
                                                    <a:cubicBezTo>
                                                      <a:pt x="577766" y="463134"/>
                                                      <a:pt x="578544" y="460348"/>
                                                      <a:pt x="580163" y="458015"/>
                                                    </a:cubicBezTo>
                                                    <a:cubicBezTo>
                                                      <a:pt x="584115" y="452314"/>
                                                      <a:pt x="592214" y="451213"/>
                                                      <a:pt x="599016" y="452638"/>
                                                    </a:cubicBezTo>
                                                    <a:cubicBezTo>
                                                      <a:pt x="606531" y="454258"/>
                                                      <a:pt x="613463" y="458534"/>
                                                      <a:pt x="618257" y="464494"/>
                                                    </a:cubicBezTo>
                                                    <a:cubicBezTo>
                                                      <a:pt x="620071" y="466697"/>
                                                      <a:pt x="621756" y="469223"/>
                                                      <a:pt x="624412" y="470195"/>
                                                    </a:cubicBezTo>
                                                    <a:cubicBezTo>
                                                      <a:pt x="627587" y="471297"/>
                                                      <a:pt x="630955" y="469871"/>
                                                      <a:pt x="634195" y="469159"/>
                                                    </a:cubicBezTo>
                                                    <a:cubicBezTo>
                                                      <a:pt x="643459" y="467085"/>
                                                      <a:pt x="653242" y="471426"/>
                                                      <a:pt x="660109" y="477969"/>
                                                    </a:cubicBezTo>
                                                    <a:cubicBezTo>
                                                      <a:pt x="666976" y="484513"/>
                                                      <a:pt x="671511" y="493129"/>
                                                      <a:pt x="675917" y="501551"/>
                                                    </a:cubicBezTo>
                                                    <a:cubicBezTo>
                                                      <a:pt x="683561" y="492028"/>
                                                      <a:pt x="692372" y="481792"/>
                                                      <a:pt x="704487" y="479978"/>
                                                    </a:cubicBezTo>
                                                    <a:cubicBezTo>
                                                      <a:pt x="709800" y="486521"/>
                                                      <a:pt x="693927" y="496109"/>
                                                      <a:pt x="699110" y="502782"/>
                                                    </a:cubicBezTo>
                                                    <a:cubicBezTo>
                                                      <a:pt x="701961" y="506475"/>
                                                      <a:pt x="707986" y="504272"/>
                                                      <a:pt x="712456" y="505633"/>
                                                    </a:cubicBezTo>
                                                    <a:cubicBezTo>
                                                      <a:pt x="718027" y="507382"/>
                                                      <a:pt x="720036" y="514120"/>
                                                      <a:pt x="724376" y="518007"/>
                                                    </a:cubicBezTo>
                                                    <a:cubicBezTo>
                                                      <a:pt x="732086" y="524745"/>
                                                      <a:pt x="745237" y="520987"/>
                                                      <a:pt x="753141" y="527466"/>
                                                    </a:cubicBezTo>
                                                    <a:cubicBezTo>
                                                      <a:pt x="761045" y="534009"/>
                                                      <a:pt x="760268" y="548132"/>
                                                      <a:pt x="769338" y="552862"/>
                                                    </a:cubicBezTo>
                                                    <a:cubicBezTo>
                                                      <a:pt x="775104" y="550141"/>
                                                      <a:pt x="773290" y="538998"/>
                                                      <a:pt x="779509" y="537508"/>
                                                    </a:cubicBezTo>
                                                    <a:cubicBezTo>
                                                      <a:pt x="787283" y="535629"/>
                                                      <a:pt x="792401" y="552603"/>
                                                      <a:pt x="798880" y="547873"/>
                                                    </a:cubicBezTo>
                                                    <a:cubicBezTo>
                                                      <a:pt x="798556" y="538609"/>
                                                      <a:pt x="800176" y="529280"/>
                                                      <a:pt x="803609" y="520663"/>
                                                    </a:cubicBezTo>
                                                    <a:cubicBezTo>
                                                      <a:pt x="812615" y="522348"/>
                                                      <a:pt x="820454" y="529085"/>
                                                      <a:pt x="823499" y="537702"/>
                                                    </a:cubicBezTo>
                                                    <a:cubicBezTo>
                                                      <a:pt x="826543" y="546318"/>
                                                      <a:pt x="824600" y="556490"/>
                                                      <a:pt x="818640" y="563422"/>
                                                    </a:cubicBezTo>
                                                    <a:cubicBezTo>
                                                      <a:pt x="816696" y="565689"/>
                                                      <a:pt x="814169" y="567698"/>
                                                      <a:pt x="811189" y="568086"/>
                                                    </a:cubicBezTo>
                                                    <a:cubicBezTo>
                                                      <a:pt x="806395" y="568669"/>
                                                      <a:pt x="802314" y="564912"/>
                                                      <a:pt x="798297" y="562191"/>
                                                    </a:cubicBezTo>
                                                    <a:cubicBezTo>
                                                      <a:pt x="794280" y="559470"/>
                                                      <a:pt x="788061" y="557980"/>
                                                      <a:pt x="785210" y="561932"/>
                                                    </a:cubicBezTo>
                                                    <a:cubicBezTo>
                                                      <a:pt x="791365" y="583894"/>
                                                      <a:pt x="805229" y="603654"/>
                                                      <a:pt x="823758" y="616935"/>
                                                    </a:cubicBezTo>
                                                    <a:cubicBezTo>
                                                      <a:pt x="820454" y="603978"/>
                                                      <a:pt x="818186" y="590697"/>
                                                      <a:pt x="817020" y="577351"/>
                                                    </a:cubicBezTo>
                                                    <a:cubicBezTo>
                                                      <a:pt x="824146" y="579618"/>
                                                      <a:pt x="831532" y="580979"/>
                                                      <a:pt x="839047" y="581432"/>
                                                    </a:cubicBezTo>
                                                    <a:cubicBezTo>
                                                      <a:pt x="839047" y="575278"/>
                                                      <a:pt x="839112" y="569123"/>
                                                      <a:pt x="839177" y="562904"/>
                                                    </a:cubicBezTo>
                                                    <a:cubicBezTo>
                                                      <a:pt x="839177" y="561090"/>
                                                      <a:pt x="839242" y="559146"/>
                                                      <a:pt x="840408" y="557786"/>
                                                    </a:cubicBezTo>
                                                    <a:cubicBezTo>
                                                      <a:pt x="842157" y="555777"/>
                                                      <a:pt x="845331" y="556101"/>
                                                      <a:pt x="847858" y="557008"/>
                                                    </a:cubicBezTo>
                                                    <a:cubicBezTo>
                                                      <a:pt x="857770" y="560766"/>
                                                      <a:pt x="864054" y="572038"/>
                                                      <a:pt x="862564" y="582598"/>
                                                    </a:cubicBezTo>
                                                    <a:cubicBezTo>
                                                      <a:pt x="861074" y="593094"/>
                                                      <a:pt x="852328" y="602034"/>
                                                      <a:pt x="841963" y="604302"/>
                                                    </a:cubicBezTo>
                                                    <a:cubicBezTo>
                                                      <a:pt x="838982" y="604949"/>
                                                      <a:pt x="835743" y="605144"/>
                                                      <a:pt x="833152" y="606763"/>
                                                    </a:cubicBezTo>
                                                    <a:cubicBezTo>
                                                      <a:pt x="825377" y="611687"/>
                                                      <a:pt x="829135" y="623673"/>
                                                      <a:pt x="833800" y="631576"/>
                                                    </a:cubicBezTo>
                                                    <a:cubicBezTo>
                                                      <a:pt x="843388" y="634686"/>
                                                      <a:pt x="853106" y="627495"/>
                                                      <a:pt x="860167" y="620304"/>
                                                    </a:cubicBezTo>
                                                    <a:cubicBezTo>
                                                      <a:pt x="867229" y="613112"/>
                                                      <a:pt x="875262" y="604885"/>
                                                      <a:pt x="885304" y="605209"/>
                                                    </a:cubicBezTo>
                                                    <a:cubicBezTo>
                                                      <a:pt x="885822" y="612724"/>
                                                      <a:pt x="891524" y="618619"/>
                                                      <a:pt x="895735" y="624904"/>
                                                    </a:cubicBezTo>
                                                    <a:cubicBezTo>
                                                      <a:pt x="899946" y="631188"/>
                                                      <a:pt x="902537" y="640258"/>
                                                      <a:pt x="897354" y="645700"/>
                                                    </a:cubicBezTo>
                                                    <a:cubicBezTo>
                                                      <a:pt x="888284" y="655288"/>
                                                      <a:pt x="870663" y="640776"/>
                                                      <a:pt x="859390" y="647773"/>
                                                    </a:cubicBezTo>
                                                    <a:cubicBezTo>
                                                      <a:pt x="855438" y="653863"/>
                                                      <a:pt x="871116" y="660082"/>
                                                      <a:pt x="867035" y="666042"/>
                                                    </a:cubicBezTo>
                                                    <a:cubicBezTo>
                                                      <a:pt x="865026" y="668958"/>
                                                      <a:pt x="860232" y="667792"/>
                                                      <a:pt x="857317" y="669865"/>
                                                    </a:cubicBezTo>
                                                    <a:cubicBezTo>
                                                      <a:pt x="852652" y="673234"/>
                                                      <a:pt x="856798" y="680554"/>
                                                      <a:pt x="861463" y="683858"/>
                                                    </a:cubicBezTo>
                                                    <a:cubicBezTo>
                                                      <a:pt x="864961" y="686320"/>
                                                      <a:pt x="869237" y="688523"/>
                                                      <a:pt x="873384" y="687551"/>
                                                    </a:cubicBezTo>
                                                    <a:cubicBezTo>
                                                      <a:pt x="877206" y="686644"/>
                                                      <a:pt x="879927" y="683340"/>
                                                      <a:pt x="882778" y="680619"/>
                                                    </a:cubicBezTo>
                                                    <a:cubicBezTo>
                                                      <a:pt x="891264" y="672391"/>
                                                      <a:pt x="903185" y="667856"/>
                                                      <a:pt x="915041" y="668440"/>
                                                    </a:cubicBezTo>
                                                    <a:cubicBezTo>
                                                      <a:pt x="917438" y="668569"/>
                                                      <a:pt x="919964" y="668893"/>
                                                      <a:pt x="921973" y="670254"/>
                                                    </a:cubicBezTo>
                                                    <a:cubicBezTo>
                                                      <a:pt x="930006" y="675566"/>
                                                      <a:pt x="927609" y="691438"/>
                                                      <a:pt x="936031" y="695973"/>
                                                    </a:cubicBezTo>
                                                    <a:cubicBezTo>
                                                      <a:pt x="935902" y="696233"/>
                                                      <a:pt x="935837" y="696556"/>
                                                      <a:pt x="935772" y="696816"/>
                                                    </a:cubicBezTo>
                                                    <a:cubicBezTo>
                                                      <a:pt x="936226" y="696362"/>
                                                      <a:pt x="936614" y="695909"/>
                                                      <a:pt x="937198" y="695585"/>
                                                    </a:cubicBezTo>
                                                    <a:cubicBezTo>
                                                      <a:pt x="939011" y="694613"/>
                                                      <a:pt x="941214" y="694289"/>
                                                      <a:pt x="942639" y="692799"/>
                                                    </a:cubicBez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chemeClr val="accent4"/>
                                              </a:solidFill>
                                              <a:ln w="6472" cap="flat">
                                                <a:solidFill>
                                                  <a:srgbClr val="FFFFFF"/>
                                                </a:solidFill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da-DK"/>
                                              </a:p>
                                            </p:txBody>
                                          </p:sp>
                                          <p:grpSp>
                                            <p:nvGrpSpPr>
                                              <p:cNvPr id="777" name="Graphic 41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657E4E03-C05C-4942-9C5B-AFB130ECBEC3}"/>
                                                  </a:ext>
                                                </a:extLst>
                                              </p:cNvPr>
                                              <p:cNvGrpSpPr/>
                                              <p:nvPr/>
                                            </p:nvGrpSpPr>
                                            <p:grpSpPr>
                                              <a:xfrm>
                                                <a:off x="3508904" y="1314629"/>
                                                <a:ext cx="8214018" cy="4743195"/>
                                                <a:chOff x="3508904" y="1314629"/>
                                                <a:chExt cx="8214018" cy="4743195"/>
                                              </a:xfrm>
                                            </p:grpSpPr>
                                            <p:sp>
                                              <p:nvSpPr>
                                                <p:cNvPr id="778" name="Freeform: Shape 77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ED7E582C-ED24-488F-B267-CC7CDCE2A82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199324" y="1495783"/>
                                                  <a:ext cx="104445" cy="4956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2911 w 104445"/>
                                                    <a:gd name="connsiteY0" fmla="*/ 22289 h 49563"/>
                                                    <a:gd name="connsiteX1" fmla="*/ 38936 w 104445"/>
                                                    <a:gd name="connsiteY1" fmla="*/ 21058 h 49563"/>
                                                    <a:gd name="connsiteX2" fmla="*/ 65887 w 104445"/>
                                                    <a:gd name="connsiteY2" fmla="*/ 8619 h 49563"/>
                                                    <a:gd name="connsiteX3" fmla="*/ 95429 w 104445"/>
                                                    <a:gd name="connsiteY3" fmla="*/ 68 h 49563"/>
                                                    <a:gd name="connsiteX4" fmla="*/ 100483 w 104445"/>
                                                    <a:gd name="connsiteY4" fmla="*/ 586 h 49563"/>
                                                    <a:gd name="connsiteX5" fmla="*/ 101260 w 104445"/>
                                                    <a:gd name="connsiteY5" fmla="*/ 14774 h 49563"/>
                                                    <a:gd name="connsiteX6" fmla="*/ 85064 w 104445"/>
                                                    <a:gd name="connsiteY6" fmla="*/ 18467 h 49563"/>
                                                    <a:gd name="connsiteX7" fmla="*/ 67248 w 104445"/>
                                                    <a:gd name="connsiteY7" fmla="*/ 22743 h 49563"/>
                                                    <a:gd name="connsiteX8" fmla="*/ 61482 w 104445"/>
                                                    <a:gd name="connsiteY8" fmla="*/ 34404 h 49563"/>
                                                    <a:gd name="connsiteX9" fmla="*/ 50468 w 104445"/>
                                                    <a:gd name="connsiteY9" fmla="*/ 39004 h 49563"/>
                                                    <a:gd name="connsiteX10" fmla="*/ 31551 w 104445"/>
                                                    <a:gd name="connsiteY10" fmla="*/ 48851 h 49563"/>
                                                    <a:gd name="connsiteX11" fmla="*/ 0 w 104445"/>
                                                    <a:gd name="connsiteY11" fmla="*/ 47102 h 49563"/>
                                                    <a:gd name="connsiteX12" fmla="*/ 3174 w 104445"/>
                                                    <a:gd name="connsiteY12" fmla="*/ 36348 h 49563"/>
                                                    <a:gd name="connsiteX13" fmla="*/ 15743 w 104445"/>
                                                    <a:gd name="connsiteY13" fmla="*/ 30841 h 49563"/>
                                                    <a:gd name="connsiteX14" fmla="*/ 29218 w 104445"/>
                                                    <a:gd name="connsiteY14" fmla="*/ 26954 h 49563"/>
                                                    <a:gd name="connsiteX15" fmla="*/ 32846 w 104445"/>
                                                    <a:gd name="connsiteY15" fmla="*/ 22289 h 4956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04445" h="49563">
                                                      <a:moveTo>
                                                        <a:pt x="32911" y="22289"/>
                                                      </a:moveTo>
                                                      <a:cubicBezTo>
                                                        <a:pt x="34596" y="21123"/>
                                                        <a:pt x="36863" y="21188"/>
                                                        <a:pt x="38936" y="21058"/>
                                                      </a:cubicBezTo>
                                                      <a:cubicBezTo>
                                                        <a:pt x="48913" y="20346"/>
                                                        <a:pt x="57141" y="13478"/>
                                                        <a:pt x="65887" y="8619"/>
                                                      </a:cubicBezTo>
                                                      <a:cubicBezTo>
                                                        <a:pt x="74957" y="3631"/>
                                                        <a:pt x="85129" y="651"/>
                                                        <a:pt x="95429" y="68"/>
                                                      </a:cubicBezTo>
                                                      <a:cubicBezTo>
                                                        <a:pt x="97114" y="-62"/>
                                                        <a:pt x="98863" y="-62"/>
                                                        <a:pt x="100483" y="586"/>
                                                      </a:cubicBezTo>
                                                      <a:cubicBezTo>
                                                        <a:pt x="105730" y="2724"/>
                                                        <a:pt x="105536" y="11016"/>
                                                        <a:pt x="101260" y="14774"/>
                                                      </a:cubicBezTo>
                                                      <a:cubicBezTo>
                                                        <a:pt x="96984" y="18532"/>
                                                        <a:pt x="90765" y="18791"/>
                                                        <a:pt x="85064" y="18467"/>
                                                      </a:cubicBezTo>
                                                      <a:cubicBezTo>
                                                        <a:pt x="78715" y="18078"/>
                                                        <a:pt x="71199" y="17754"/>
                                                        <a:pt x="67248" y="22743"/>
                                                      </a:cubicBezTo>
                                                      <a:cubicBezTo>
                                                        <a:pt x="64527" y="26176"/>
                                                        <a:pt x="64462" y="31230"/>
                                                        <a:pt x="61482" y="34404"/>
                                                      </a:cubicBezTo>
                                                      <a:cubicBezTo>
                                                        <a:pt x="58696" y="37319"/>
                                                        <a:pt x="54290" y="37643"/>
                                                        <a:pt x="50468" y="39004"/>
                                                      </a:cubicBezTo>
                                                      <a:cubicBezTo>
                                                        <a:pt x="43730" y="41336"/>
                                                        <a:pt x="38418" y="47037"/>
                                                        <a:pt x="31551" y="48851"/>
                                                      </a:cubicBezTo>
                                                      <a:cubicBezTo>
                                                        <a:pt x="21314" y="51637"/>
                                                        <a:pt x="10430" y="45223"/>
                                                        <a:pt x="0" y="47102"/>
                                                      </a:cubicBezTo>
                                                      <a:cubicBezTo>
                                                        <a:pt x="2786" y="44511"/>
                                                        <a:pt x="1555" y="39781"/>
                                                        <a:pt x="3174" y="36348"/>
                                                      </a:cubicBezTo>
                                                      <a:cubicBezTo>
                                                        <a:pt x="5248" y="31942"/>
                                                        <a:pt x="10949" y="30970"/>
                                                        <a:pt x="15743" y="30841"/>
                                                      </a:cubicBezTo>
                                                      <a:cubicBezTo>
                                                        <a:pt x="20602" y="30711"/>
                                                        <a:pt x="26109" y="30647"/>
                                                        <a:pt x="29218" y="26954"/>
                                                      </a:cubicBezTo>
                                                      <a:cubicBezTo>
                                                        <a:pt x="30514" y="25464"/>
                                                        <a:pt x="31227" y="23455"/>
                                                        <a:pt x="32846" y="2228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79" name="Freeform: Shape 77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F9E1370-EF40-453D-A6A7-AF90FD3BC17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332013" y="1523401"/>
                                                  <a:ext cx="26489" cy="2041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6490 w 26489"/>
                                                    <a:gd name="connsiteY0" fmla="*/ 15338 h 20414"/>
                                                    <a:gd name="connsiteX1" fmla="*/ 25582 w 26489"/>
                                                    <a:gd name="connsiteY1" fmla="*/ 4584 h 20414"/>
                                                    <a:gd name="connsiteX2" fmla="*/ 24222 w 26489"/>
                                                    <a:gd name="connsiteY2" fmla="*/ 1474 h 20414"/>
                                                    <a:gd name="connsiteX3" fmla="*/ 21372 w 26489"/>
                                                    <a:gd name="connsiteY3" fmla="*/ 437 h 20414"/>
                                                    <a:gd name="connsiteX4" fmla="*/ 2907 w 26489"/>
                                                    <a:gd name="connsiteY4" fmla="*/ 1215 h 20414"/>
                                                    <a:gd name="connsiteX5" fmla="*/ 57 w 26489"/>
                                                    <a:gd name="connsiteY5" fmla="*/ 8989 h 20414"/>
                                                    <a:gd name="connsiteX6" fmla="*/ 5758 w 26489"/>
                                                    <a:gd name="connsiteY6" fmla="*/ 17152 h 20414"/>
                                                    <a:gd name="connsiteX7" fmla="*/ 21825 w 26489"/>
                                                    <a:gd name="connsiteY7" fmla="*/ 20262 h 20414"/>
                                                    <a:gd name="connsiteX8" fmla="*/ 25777 w 26489"/>
                                                    <a:gd name="connsiteY8" fmla="*/ 18513 h 20414"/>
                                                    <a:gd name="connsiteX9" fmla="*/ 26425 w 26489"/>
                                                    <a:gd name="connsiteY9" fmla="*/ 15403 h 2041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6489" h="20414">
                                                      <a:moveTo>
                                                        <a:pt x="26490" y="15338"/>
                                                      </a:moveTo>
                                                      <a:cubicBezTo>
                                                        <a:pt x="26490" y="11710"/>
                                                        <a:pt x="26231" y="8147"/>
                                                        <a:pt x="25582" y="4584"/>
                                                      </a:cubicBezTo>
                                                      <a:cubicBezTo>
                                                        <a:pt x="25388" y="3417"/>
                                                        <a:pt x="25129" y="2251"/>
                                                        <a:pt x="24222" y="1474"/>
                                                      </a:cubicBezTo>
                                                      <a:cubicBezTo>
                                                        <a:pt x="23445" y="761"/>
                                                        <a:pt x="22343" y="567"/>
                                                        <a:pt x="21372" y="437"/>
                                                      </a:cubicBezTo>
                                                      <a:cubicBezTo>
                                                        <a:pt x="15217" y="-340"/>
                                                        <a:pt x="8932" y="-81"/>
                                                        <a:pt x="2907" y="1215"/>
                                                      </a:cubicBezTo>
                                                      <a:cubicBezTo>
                                                        <a:pt x="3102" y="4001"/>
                                                        <a:pt x="446" y="6203"/>
                                                        <a:pt x="57" y="8989"/>
                                                      </a:cubicBezTo>
                                                      <a:cubicBezTo>
                                                        <a:pt x="-461" y="12487"/>
                                                        <a:pt x="2648" y="15532"/>
                                                        <a:pt x="5758" y="17152"/>
                                                      </a:cubicBezTo>
                                                      <a:cubicBezTo>
                                                        <a:pt x="10682" y="19743"/>
                                                        <a:pt x="16318" y="20845"/>
                                                        <a:pt x="21825" y="20262"/>
                                                      </a:cubicBezTo>
                                                      <a:cubicBezTo>
                                                        <a:pt x="23315" y="20067"/>
                                                        <a:pt x="24935" y="19743"/>
                                                        <a:pt x="25777" y="18513"/>
                                                      </a:cubicBezTo>
                                                      <a:cubicBezTo>
                                                        <a:pt x="26360" y="17606"/>
                                                        <a:pt x="26425" y="16439"/>
                                                        <a:pt x="26425" y="1540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0" name="Freeform: Shape 77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24E7584-5412-4B4D-9DE2-F312E647574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377339" y="1478418"/>
                                                  <a:ext cx="87033" cy="3364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75621 w 87033"/>
                                                    <a:gd name="connsiteY0" fmla="*/ 9983 h 33642"/>
                                                    <a:gd name="connsiteX1" fmla="*/ 81905 w 87033"/>
                                                    <a:gd name="connsiteY1" fmla="*/ 11214 h 33642"/>
                                                    <a:gd name="connsiteX2" fmla="*/ 87024 w 87033"/>
                                                    <a:gd name="connsiteY2" fmla="*/ 16591 h 33642"/>
                                                    <a:gd name="connsiteX3" fmla="*/ 81711 w 87033"/>
                                                    <a:gd name="connsiteY3" fmla="*/ 22227 h 33642"/>
                                                    <a:gd name="connsiteX4" fmla="*/ 73807 w 87033"/>
                                                    <a:gd name="connsiteY4" fmla="*/ 25013 h 33642"/>
                                                    <a:gd name="connsiteX5" fmla="*/ 70763 w 87033"/>
                                                    <a:gd name="connsiteY5" fmla="*/ 28641 h 33642"/>
                                                    <a:gd name="connsiteX6" fmla="*/ 57482 w 87033"/>
                                                    <a:gd name="connsiteY6" fmla="*/ 33630 h 33642"/>
                                                    <a:gd name="connsiteX7" fmla="*/ 2738 w 87033"/>
                                                    <a:gd name="connsiteY7" fmla="*/ 28123 h 33642"/>
                                                    <a:gd name="connsiteX8" fmla="*/ 1442 w 87033"/>
                                                    <a:gd name="connsiteY8" fmla="*/ 20478 h 33642"/>
                                                    <a:gd name="connsiteX9" fmla="*/ 10382 w 87033"/>
                                                    <a:gd name="connsiteY9" fmla="*/ 17757 h 33642"/>
                                                    <a:gd name="connsiteX10" fmla="*/ 19128 w 87033"/>
                                                    <a:gd name="connsiteY10" fmla="*/ 14518 h 33642"/>
                                                    <a:gd name="connsiteX11" fmla="*/ 25801 w 87033"/>
                                                    <a:gd name="connsiteY11" fmla="*/ 2792 h 33642"/>
                                                    <a:gd name="connsiteX12" fmla="*/ 30207 w 87033"/>
                                                    <a:gd name="connsiteY12" fmla="*/ 2921 h 33642"/>
                                                    <a:gd name="connsiteX13" fmla="*/ 33316 w 87033"/>
                                                    <a:gd name="connsiteY13" fmla="*/ 459 h 33642"/>
                                                    <a:gd name="connsiteX14" fmla="*/ 40248 w 87033"/>
                                                    <a:gd name="connsiteY14" fmla="*/ 3504 h 33642"/>
                                                    <a:gd name="connsiteX15" fmla="*/ 45172 w 87033"/>
                                                    <a:gd name="connsiteY15" fmla="*/ 10177 h 33642"/>
                                                    <a:gd name="connsiteX16" fmla="*/ 51780 w 87033"/>
                                                    <a:gd name="connsiteY16" fmla="*/ 11149 h 33642"/>
                                                    <a:gd name="connsiteX17" fmla="*/ 75557 w 87033"/>
                                                    <a:gd name="connsiteY17" fmla="*/ 9853 h 3364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7033" h="33642">
                                                      <a:moveTo>
                                                        <a:pt x="75621" y="9983"/>
                                                      </a:moveTo>
                                                      <a:cubicBezTo>
                                                        <a:pt x="77824" y="9853"/>
                                                        <a:pt x="80221" y="9788"/>
                                                        <a:pt x="81905" y="11214"/>
                                                      </a:cubicBezTo>
                                                      <a:cubicBezTo>
                                                        <a:pt x="83849" y="12833"/>
                                                        <a:pt x="84562" y="16137"/>
                                                        <a:pt x="87024" y="16591"/>
                                                      </a:cubicBezTo>
                                                      <a:cubicBezTo>
                                                        <a:pt x="87218" y="19377"/>
                                                        <a:pt x="84367" y="21450"/>
                                                        <a:pt x="81711" y="22227"/>
                                                      </a:cubicBezTo>
                                                      <a:cubicBezTo>
                                                        <a:pt x="78990" y="23005"/>
                                                        <a:pt x="76010" y="23199"/>
                                                        <a:pt x="73807" y="25013"/>
                                                      </a:cubicBezTo>
                                                      <a:cubicBezTo>
                                                        <a:pt x="72576" y="26050"/>
                                                        <a:pt x="71799" y="27475"/>
                                                        <a:pt x="70763" y="28641"/>
                                                      </a:cubicBezTo>
                                                      <a:cubicBezTo>
                                                        <a:pt x="67523" y="32334"/>
                                                        <a:pt x="62340" y="33500"/>
                                                        <a:pt x="57482" y="33630"/>
                                                      </a:cubicBezTo>
                                                      <a:cubicBezTo>
                                                        <a:pt x="38953" y="34083"/>
                                                        <a:pt x="20424" y="22551"/>
                                                        <a:pt x="2738" y="28123"/>
                                                      </a:cubicBezTo>
                                                      <a:cubicBezTo>
                                                        <a:pt x="-437" y="27605"/>
                                                        <a:pt x="-826" y="22746"/>
                                                        <a:pt x="1442" y="20478"/>
                                                      </a:cubicBezTo>
                                                      <a:cubicBezTo>
                                                        <a:pt x="3709" y="18211"/>
                                                        <a:pt x="7208" y="17951"/>
                                                        <a:pt x="10382" y="17757"/>
                                                      </a:cubicBezTo>
                                                      <a:cubicBezTo>
                                                        <a:pt x="13557" y="17498"/>
                                                        <a:pt x="17055" y="16980"/>
                                                        <a:pt x="19128" y="14518"/>
                                                      </a:cubicBezTo>
                                                      <a:cubicBezTo>
                                                        <a:pt x="22108" y="10890"/>
                                                        <a:pt x="21266" y="3828"/>
                                                        <a:pt x="25801" y="2792"/>
                                                      </a:cubicBezTo>
                                                      <a:cubicBezTo>
                                                        <a:pt x="27226" y="2468"/>
                                                        <a:pt x="28717" y="2921"/>
                                                        <a:pt x="30207" y="2921"/>
                                                      </a:cubicBezTo>
                                                      <a:cubicBezTo>
                                                        <a:pt x="31697" y="2921"/>
                                                        <a:pt x="33446" y="1949"/>
                                                        <a:pt x="33316" y="459"/>
                                                      </a:cubicBezTo>
                                                      <a:cubicBezTo>
                                                        <a:pt x="35778" y="-966"/>
                                                        <a:pt x="38758" y="1172"/>
                                                        <a:pt x="40248" y="3504"/>
                                                      </a:cubicBezTo>
                                                      <a:cubicBezTo>
                                                        <a:pt x="41738" y="5901"/>
                                                        <a:pt x="42775" y="8752"/>
                                                        <a:pt x="45172" y="10177"/>
                                                      </a:cubicBezTo>
                                                      <a:cubicBezTo>
                                                        <a:pt x="47116" y="11343"/>
                                                        <a:pt x="49513" y="11279"/>
                                                        <a:pt x="51780" y="11149"/>
                                                      </a:cubicBezTo>
                                                      <a:cubicBezTo>
                                                        <a:pt x="59684" y="10760"/>
                                                        <a:pt x="67653" y="10307"/>
                                                        <a:pt x="75557" y="985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1" name="Freeform: Shape 78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64926BC-798C-4994-AF48-5F3B472D4F3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430783" y="1463602"/>
                                                  <a:ext cx="41742" cy="1780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62 w 41742"/>
                                                    <a:gd name="connsiteY0" fmla="*/ 17478 h 17804"/>
                                                    <a:gd name="connsiteX1" fmla="*/ 20558 w 41742"/>
                                                    <a:gd name="connsiteY1" fmla="*/ 17478 h 17804"/>
                                                    <a:gd name="connsiteX2" fmla="*/ 30858 w 41742"/>
                                                    <a:gd name="connsiteY2" fmla="*/ 15988 h 17804"/>
                                                    <a:gd name="connsiteX3" fmla="*/ 37143 w 41742"/>
                                                    <a:gd name="connsiteY3" fmla="*/ 13137 h 17804"/>
                                                    <a:gd name="connsiteX4" fmla="*/ 41742 w 41742"/>
                                                    <a:gd name="connsiteY4" fmla="*/ 8602 h 17804"/>
                                                    <a:gd name="connsiteX5" fmla="*/ 33839 w 41742"/>
                                                    <a:gd name="connsiteY5" fmla="*/ 375 h 17804"/>
                                                    <a:gd name="connsiteX6" fmla="*/ 22501 w 41742"/>
                                                    <a:gd name="connsiteY6" fmla="*/ 1605 h 17804"/>
                                                    <a:gd name="connsiteX7" fmla="*/ 7924 w 41742"/>
                                                    <a:gd name="connsiteY7" fmla="*/ 5946 h 17804"/>
                                                    <a:gd name="connsiteX8" fmla="*/ 2612 w 41742"/>
                                                    <a:gd name="connsiteY8" fmla="*/ 8343 h 17804"/>
                                                    <a:gd name="connsiteX9" fmla="*/ 798 w 41742"/>
                                                    <a:gd name="connsiteY9" fmla="*/ 17413 h 1780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1742" h="17804">
                                                      <a:moveTo>
                                                        <a:pt x="862" y="17478"/>
                                                      </a:moveTo>
                                                      <a:cubicBezTo>
                                                        <a:pt x="7406" y="17737"/>
                                                        <a:pt x="14014" y="18061"/>
                                                        <a:pt x="20558" y="17478"/>
                                                      </a:cubicBezTo>
                                                      <a:cubicBezTo>
                                                        <a:pt x="24056" y="17219"/>
                                                        <a:pt x="27490" y="16701"/>
                                                        <a:pt x="30858" y="15988"/>
                                                      </a:cubicBezTo>
                                                      <a:cubicBezTo>
                                                        <a:pt x="33126" y="15534"/>
                                                        <a:pt x="35523" y="14887"/>
                                                        <a:pt x="37143" y="13137"/>
                                                      </a:cubicBezTo>
                                                      <a:cubicBezTo>
                                                        <a:pt x="38633" y="11518"/>
                                                        <a:pt x="39540" y="8926"/>
                                                        <a:pt x="41742" y="8602"/>
                                                      </a:cubicBezTo>
                                                      <a:cubicBezTo>
                                                        <a:pt x="40900" y="4715"/>
                                                        <a:pt x="37726" y="1346"/>
                                                        <a:pt x="33839" y="375"/>
                                                      </a:cubicBezTo>
                                                      <a:cubicBezTo>
                                                        <a:pt x="30081" y="-597"/>
                                                        <a:pt x="26194" y="504"/>
                                                        <a:pt x="22501" y="1605"/>
                                                      </a:cubicBezTo>
                                                      <a:cubicBezTo>
                                                        <a:pt x="17642" y="3031"/>
                                                        <a:pt x="12783" y="4521"/>
                                                        <a:pt x="7924" y="5946"/>
                                                      </a:cubicBezTo>
                                                      <a:cubicBezTo>
                                                        <a:pt x="6046" y="6529"/>
                                                        <a:pt x="4167" y="7112"/>
                                                        <a:pt x="2612" y="8343"/>
                                                      </a:cubicBezTo>
                                                      <a:cubicBezTo>
                                                        <a:pt x="20" y="10481"/>
                                                        <a:pt x="-757" y="14498"/>
                                                        <a:pt x="798" y="1741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2" name="Freeform: Shape 78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1E5A302-9B55-4D46-A3E7-8F2DB14E297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419327" y="1518159"/>
                                                  <a:ext cx="81121" cy="3192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2227 w 81121"/>
                                                    <a:gd name="connsiteY0" fmla="*/ 21293 h 31924"/>
                                                    <a:gd name="connsiteX1" fmla="*/ 60195 w 81121"/>
                                                    <a:gd name="connsiteY1" fmla="*/ 20515 h 31924"/>
                                                    <a:gd name="connsiteX2" fmla="*/ 74772 w 81121"/>
                                                    <a:gd name="connsiteY2" fmla="*/ 18442 h 31924"/>
                                                    <a:gd name="connsiteX3" fmla="*/ 81121 w 81121"/>
                                                    <a:gd name="connsiteY3" fmla="*/ 11705 h 31924"/>
                                                    <a:gd name="connsiteX4" fmla="*/ 74254 w 81121"/>
                                                    <a:gd name="connsiteY4" fmla="*/ 5096 h 31924"/>
                                                    <a:gd name="connsiteX5" fmla="*/ 50542 w 81121"/>
                                                    <a:gd name="connsiteY5" fmla="*/ 43 h 31924"/>
                                                    <a:gd name="connsiteX6" fmla="*/ 46526 w 81121"/>
                                                    <a:gd name="connsiteY6" fmla="*/ 432 h 31924"/>
                                                    <a:gd name="connsiteX7" fmla="*/ 39723 w 81121"/>
                                                    <a:gd name="connsiteY7" fmla="*/ 8271 h 31924"/>
                                                    <a:gd name="connsiteX8" fmla="*/ 25470 w 81121"/>
                                                    <a:gd name="connsiteY8" fmla="*/ 11186 h 31924"/>
                                                    <a:gd name="connsiteX9" fmla="*/ 5646 w 81121"/>
                                                    <a:gd name="connsiteY9" fmla="*/ 17535 h 31924"/>
                                                    <a:gd name="connsiteX10" fmla="*/ 787 w 81121"/>
                                                    <a:gd name="connsiteY10" fmla="*/ 28743 h 31924"/>
                                                    <a:gd name="connsiteX11" fmla="*/ 10181 w 81121"/>
                                                    <a:gd name="connsiteY11" fmla="*/ 31918 h 31924"/>
                                                    <a:gd name="connsiteX12" fmla="*/ 30718 w 81121"/>
                                                    <a:gd name="connsiteY12" fmla="*/ 31723 h 31924"/>
                                                    <a:gd name="connsiteX13" fmla="*/ 48080 w 81121"/>
                                                    <a:gd name="connsiteY13" fmla="*/ 26346 h 31924"/>
                                                    <a:gd name="connsiteX14" fmla="*/ 52227 w 81121"/>
                                                    <a:gd name="connsiteY14" fmla="*/ 21293 h 3192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1121" h="31924">
                                                      <a:moveTo>
                                                        <a:pt x="52227" y="21293"/>
                                                      </a:moveTo>
                                                      <a:cubicBezTo>
                                                        <a:pt x="54494" y="19803"/>
                                                        <a:pt x="57474" y="20321"/>
                                                        <a:pt x="60195" y="20515"/>
                                                      </a:cubicBezTo>
                                                      <a:cubicBezTo>
                                                        <a:pt x="65119" y="20904"/>
                                                        <a:pt x="70172" y="20192"/>
                                                        <a:pt x="74772" y="18442"/>
                                                      </a:cubicBezTo>
                                                      <a:cubicBezTo>
                                                        <a:pt x="77882" y="17276"/>
                                                        <a:pt x="81186" y="15009"/>
                                                        <a:pt x="81121" y="11705"/>
                                                      </a:cubicBezTo>
                                                      <a:cubicBezTo>
                                                        <a:pt x="81057" y="8336"/>
                                                        <a:pt x="77429" y="6263"/>
                                                        <a:pt x="74254" y="5096"/>
                                                      </a:cubicBezTo>
                                                      <a:cubicBezTo>
                                                        <a:pt x="66674" y="2246"/>
                                                        <a:pt x="58641" y="561"/>
                                                        <a:pt x="50542" y="43"/>
                                                      </a:cubicBezTo>
                                                      <a:cubicBezTo>
                                                        <a:pt x="49182" y="-22"/>
                                                        <a:pt x="47821" y="-86"/>
                                                        <a:pt x="46526" y="432"/>
                                                      </a:cubicBezTo>
                                                      <a:cubicBezTo>
                                                        <a:pt x="43222" y="1728"/>
                                                        <a:pt x="42250" y="5874"/>
                                                        <a:pt x="39723" y="8271"/>
                                                      </a:cubicBezTo>
                                                      <a:cubicBezTo>
                                                        <a:pt x="36160" y="11705"/>
                                                        <a:pt x="30459" y="11057"/>
                                                        <a:pt x="25470" y="11186"/>
                                                      </a:cubicBezTo>
                                                      <a:cubicBezTo>
                                                        <a:pt x="18473" y="11316"/>
                                                        <a:pt x="11476" y="13583"/>
                                                        <a:pt x="5646" y="17535"/>
                                                      </a:cubicBezTo>
                                                      <a:cubicBezTo>
                                                        <a:pt x="1888" y="20062"/>
                                                        <a:pt x="-1610" y="24921"/>
                                                        <a:pt x="787" y="28743"/>
                                                      </a:cubicBezTo>
                                                      <a:cubicBezTo>
                                                        <a:pt x="2601" y="31659"/>
                                                        <a:pt x="6682" y="31983"/>
                                                        <a:pt x="10181" y="31918"/>
                                                      </a:cubicBezTo>
                                                      <a:cubicBezTo>
                                                        <a:pt x="17048" y="31853"/>
                                                        <a:pt x="23916" y="31788"/>
                                                        <a:pt x="30718" y="31723"/>
                                                      </a:cubicBezTo>
                                                      <a:cubicBezTo>
                                                        <a:pt x="37002" y="31659"/>
                                                        <a:pt x="44129" y="31205"/>
                                                        <a:pt x="48080" y="26346"/>
                                                      </a:cubicBezTo>
                                                      <a:cubicBezTo>
                                                        <a:pt x="49441" y="24662"/>
                                                        <a:pt x="50348" y="22459"/>
                                                        <a:pt x="52227" y="2129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3" name="Freeform: Shape 78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68CD427-041E-47AF-8F6F-E9B34B22840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213374" y="2112880"/>
                                                  <a:ext cx="56531" cy="4436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7372 w 56531"/>
                                                    <a:gd name="connsiteY0" fmla="*/ 4072 h 44368"/>
                                                    <a:gd name="connsiteX1" fmla="*/ 7394 w 56531"/>
                                                    <a:gd name="connsiteY1" fmla="*/ 13466 h 44368"/>
                                                    <a:gd name="connsiteX2" fmla="*/ 2082 w 56531"/>
                                                    <a:gd name="connsiteY2" fmla="*/ 15928 h 44368"/>
                                                    <a:gd name="connsiteX3" fmla="*/ 1564 w 56531"/>
                                                    <a:gd name="connsiteY3" fmla="*/ 26164 h 44368"/>
                                                    <a:gd name="connsiteX4" fmla="*/ 9208 w 56531"/>
                                                    <a:gd name="connsiteY4" fmla="*/ 34262 h 44368"/>
                                                    <a:gd name="connsiteX5" fmla="*/ 12772 w 56531"/>
                                                    <a:gd name="connsiteY5" fmla="*/ 44369 h 44368"/>
                                                    <a:gd name="connsiteX6" fmla="*/ 29162 w 56531"/>
                                                    <a:gd name="connsiteY6" fmla="*/ 44239 h 44368"/>
                                                    <a:gd name="connsiteX7" fmla="*/ 37844 w 56531"/>
                                                    <a:gd name="connsiteY7" fmla="*/ 42101 h 44368"/>
                                                    <a:gd name="connsiteX8" fmla="*/ 37325 w 56531"/>
                                                    <a:gd name="connsiteY8" fmla="*/ 34586 h 44368"/>
                                                    <a:gd name="connsiteX9" fmla="*/ 51643 w 56531"/>
                                                    <a:gd name="connsiteY9" fmla="*/ 30504 h 44368"/>
                                                    <a:gd name="connsiteX10" fmla="*/ 54688 w 56531"/>
                                                    <a:gd name="connsiteY10" fmla="*/ 28561 h 44368"/>
                                                    <a:gd name="connsiteX11" fmla="*/ 55530 w 56531"/>
                                                    <a:gd name="connsiteY11" fmla="*/ 25386 h 44368"/>
                                                    <a:gd name="connsiteX12" fmla="*/ 56437 w 56531"/>
                                                    <a:gd name="connsiteY12" fmla="*/ 15863 h 44368"/>
                                                    <a:gd name="connsiteX13" fmla="*/ 55854 w 56531"/>
                                                    <a:gd name="connsiteY13" fmla="*/ 11393 h 44368"/>
                                                    <a:gd name="connsiteX14" fmla="*/ 53651 w 56531"/>
                                                    <a:gd name="connsiteY14" fmla="*/ 9514 h 44368"/>
                                                    <a:gd name="connsiteX15" fmla="*/ 36029 w 56531"/>
                                                    <a:gd name="connsiteY15" fmla="*/ 833 h 44368"/>
                                                    <a:gd name="connsiteX16" fmla="*/ 17307 w 56531"/>
                                                    <a:gd name="connsiteY16" fmla="*/ 4007 h 4436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6531" h="44368">
                                                      <a:moveTo>
                                                        <a:pt x="17372" y="4072"/>
                                                      </a:moveTo>
                                                      <a:cubicBezTo>
                                                        <a:pt x="13808" y="6987"/>
                                                        <a:pt x="11541" y="11457"/>
                                                        <a:pt x="7394" y="13466"/>
                                                      </a:cubicBezTo>
                                                      <a:cubicBezTo>
                                                        <a:pt x="5645" y="14308"/>
                                                        <a:pt x="3572" y="14697"/>
                                                        <a:pt x="2082" y="15928"/>
                                                      </a:cubicBezTo>
                                                      <a:cubicBezTo>
                                                        <a:pt x="-769" y="18325"/>
                                                        <a:pt x="-445" y="22989"/>
                                                        <a:pt x="1564" y="26164"/>
                                                      </a:cubicBezTo>
                                                      <a:cubicBezTo>
                                                        <a:pt x="3507" y="29338"/>
                                                        <a:pt x="6682" y="31541"/>
                                                        <a:pt x="9208" y="34262"/>
                                                      </a:cubicBezTo>
                                                      <a:cubicBezTo>
                                                        <a:pt x="11735" y="36983"/>
                                                        <a:pt x="13808" y="40741"/>
                                                        <a:pt x="12772" y="44369"/>
                                                      </a:cubicBezTo>
                                                      <a:cubicBezTo>
                                                        <a:pt x="18213" y="44369"/>
                                                        <a:pt x="23720" y="44304"/>
                                                        <a:pt x="29162" y="44239"/>
                                                      </a:cubicBezTo>
                                                      <a:cubicBezTo>
                                                        <a:pt x="32207" y="44239"/>
                                                        <a:pt x="35511" y="44109"/>
                                                        <a:pt x="37844" y="42101"/>
                                                      </a:cubicBezTo>
                                                      <a:cubicBezTo>
                                                        <a:pt x="40176" y="40093"/>
                                                        <a:pt x="40241" y="35558"/>
                                                        <a:pt x="37325" y="34586"/>
                                                      </a:cubicBezTo>
                                                      <a:cubicBezTo>
                                                        <a:pt x="42184" y="33614"/>
                                                        <a:pt x="46978" y="32254"/>
                                                        <a:pt x="51643" y="30504"/>
                                                      </a:cubicBezTo>
                                                      <a:cubicBezTo>
                                                        <a:pt x="52809" y="30051"/>
                                                        <a:pt x="53975" y="29597"/>
                                                        <a:pt x="54688" y="28561"/>
                                                      </a:cubicBezTo>
                                                      <a:cubicBezTo>
                                                        <a:pt x="55336" y="27654"/>
                                                        <a:pt x="55465" y="26488"/>
                                                        <a:pt x="55530" y="25386"/>
                                                      </a:cubicBezTo>
                                                      <a:cubicBezTo>
                                                        <a:pt x="55854" y="22212"/>
                                                        <a:pt x="56113" y="19037"/>
                                                        <a:pt x="56437" y="15863"/>
                                                      </a:cubicBezTo>
                                                      <a:cubicBezTo>
                                                        <a:pt x="56567" y="14373"/>
                                                        <a:pt x="56696" y="12688"/>
                                                        <a:pt x="55854" y="11393"/>
                                                      </a:cubicBezTo>
                                                      <a:cubicBezTo>
                                                        <a:pt x="55336" y="10615"/>
                                                        <a:pt x="54494" y="10032"/>
                                                        <a:pt x="53651" y="9514"/>
                                                      </a:cubicBezTo>
                                                      <a:cubicBezTo>
                                                        <a:pt x="48080" y="6015"/>
                                                        <a:pt x="42379" y="2452"/>
                                                        <a:pt x="36029" y="833"/>
                                                      </a:cubicBezTo>
                                                      <a:cubicBezTo>
                                                        <a:pt x="29681" y="-787"/>
                                                        <a:pt x="22360" y="-204"/>
                                                        <a:pt x="17307" y="400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4" name="Freeform: Shape 78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93C2913-001B-4872-B421-B0181288962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305832" y="1732378"/>
                                                  <a:ext cx="437308" cy="33590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1691 w 437308"/>
                                                    <a:gd name="connsiteY0" fmla="*/ 122385 h 335900"/>
                                                    <a:gd name="connsiteX1" fmla="*/ 97633 w 437308"/>
                                                    <a:gd name="connsiteY1" fmla="*/ 151604 h 335900"/>
                                                    <a:gd name="connsiteX2" fmla="*/ 77160 w 437308"/>
                                                    <a:gd name="connsiteY2" fmla="*/ 160933 h 335900"/>
                                                    <a:gd name="connsiteX3" fmla="*/ 75735 w 437308"/>
                                                    <a:gd name="connsiteY3" fmla="*/ 178231 h 335900"/>
                                                    <a:gd name="connsiteX4" fmla="*/ 66859 w 437308"/>
                                                    <a:gd name="connsiteY4" fmla="*/ 191253 h 335900"/>
                                                    <a:gd name="connsiteX5" fmla="*/ 65952 w 437308"/>
                                                    <a:gd name="connsiteY5" fmla="*/ 201877 h 335900"/>
                                                    <a:gd name="connsiteX6" fmla="*/ 54421 w 437308"/>
                                                    <a:gd name="connsiteY6" fmla="*/ 203238 h 335900"/>
                                                    <a:gd name="connsiteX7" fmla="*/ 49562 w 437308"/>
                                                    <a:gd name="connsiteY7" fmla="*/ 212761 h 335900"/>
                                                    <a:gd name="connsiteX8" fmla="*/ 34985 w 437308"/>
                                                    <a:gd name="connsiteY8" fmla="*/ 216001 h 335900"/>
                                                    <a:gd name="connsiteX9" fmla="*/ 36151 w 437308"/>
                                                    <a:gd name="connsiteY9" fmla="*/ 228375 h 335900"/>
                                                    <a:gd name="connsiteX10" fmla="*/ 41139 w 437308"/>
                                                    <a:gd name="connsiteY10" fmla="*/ 229087 h 335900"/>
                                                    <a:gd name="connsiteX11" fmla="*/ 37447 w 437308"/>
                                                    <a:gd name="connsiteY11" fmla="*/ 241461 h 335900"/>
                                                    <a:gd name="connsiteX12" fmla="*/ 23583 w 437308"/>
                                                    <a:gd name="connsiteY12" fmla="*/ 249560 h 335900"/>
                                                    <a:gd name="connsiteX13" fmla="*/ 21768 w 437308"/>
                                                    <a:gd name="connsiteY13" fmla="*/ 256557 h 335900"/>
                                                    <a:gd name="connsiteX14" fmla="*/ 14448 w 437308"/>
                                                    <a:gd name="connsiteY14" fmla="*/ 260508 h 335900"/>
                                                    <a:gd name="connsiteX15" fmla="*/ 0 w 437308"/>
                                                    <a:gd name="connsiteY15" fmla="*/ 276964 h 335900"/>
                                                    <a:gd name="connsiteX16" fmla="*/ 16327 w 437308"/>
                                                    <a:gd name="connsiteY16" fmla="*/ 285516 h 335900"/>
                                                    <a:gd name="connsiteX17" fmla="*/ 19047 w 437308"/>
                                                    <a:gd name="connsiteY17" fmla="*/ 300028 h 335900"/>
                                                    <a:gd name="connsiteX18" fmla="*/ 32393 w 437308"/>
                                                    <a:gd name="connsiteY18" fmla="*/ 302166 h 335900"/>
                                                    <a:gd name="connsiteX19" fmla="*/ 35179 w 437308"/>
                                                    <a:gd name="connsiteY19" fmla="*/ 290699 h 335900"/>
                                                    <a:gd name="connsiteX20" fmla="*/ 45480 w 437308"/>
                                                    <a:gd name="connsiteY20" fmla="*/ 288949 h 335900"/>
                                                    <a:gd name="connsiteX21" fmla="*/ 54680 w 437308"/>
                                                    <a:gd name="connsiteY21" fmla="*/ 321148 h 335900"/>
                                                    <a:gd name="connsiteX22" fmla="*/ 77096 w 437308"/>
                                                    <a:gd name="connsiteY22" fmla="*/ 332356 h 335900"/>
                                                    <a:gd name="connsiteX23" fmla="*/ 136050 w 437308"/>
                                                    <a:gd name="connsiteY23" fmla="*/ 332874 h 335900"/>
                                                    <a:gd name="connsiteX24" fmla="*/ 141168 w 437308"/>
                                                    <a:gd name="connsiteY24" fmla="*/ 330607 h 335900"/>
                                                    <a:gd name="connsiteX25" fmla="*/ 133524 w 437308"/>
                                                    <a:gd name="connsiteY25" fmla="*/ 316743 h 335900"/>
                                                    <a:gd name="connsiteX26" fmla="*/ 127564 w 437308"/>
                                                    <a:gd name="connsiteY26" fmla="*/ 302684 h 335900"/>
                                                    <a:gd name="connsiteX27" fmla="*/ 93616 w 437308"/>
                                                    <a:gd name="connsiteY27" fmla="*/ 255455 h 335900"/>
                                                    <a:gd name="connsiteX28" fmla="*/ 93616 w 437308"/>
                                                    <a:gd name="connsiteY28" fmla="*/ 248329 h 335900"/>
                                                    <a:gd name="connsiteX29" fmla="*/ 102880 w 437308"/>
                                                    <a:gd name="connsiteY29" fmla="*/ 242952 h 335900"/>
                                                    <a:gd name="connsiteX30" fmla="*/ 119206 w 437308"/>
                                                    <a:gd name="connsiteY30" fmla="*/ 208032 h 335900"/>
                                                    <a:gd name="connsiteX31" fmla="*/ 126527 w 437308"/>
                                                    <a:gd name="connsiteY31" fmla="*/ 204663 h 335900"/>
                                                    <a:gd name="connsiteX32" fmla="*/ 129378 w 437308"/>
                                                    <a:gd name="connsiteY32" fmla="*/ 179591 h 335900"/>
                                                    <a:gd name="connsiteX33" fmla="*/ 148100 w 437308"/>
                                                    <a:gd name="connsiteY33" fmla="*/ 144931 h 335900"/>
                                                    <a:gd name="connsiteX34" fmla="*/ 162159 w 437308"/>
                                                    <a:gd name="connsiteY34" fmla="*/ 140072 h 335900"/>
                                                    <a:gd name="connsiteX35" fmla="*/ 233229 w 437308"/>
                                                    <a:gd name="connsiteY35" fmla="*/ 112732 h 335900"/>
                                                    <a:gd name="connsiteX36" fmla="*/ 239060 w 437308"/>
                                                    <a:gd name="connsiteY36" fmla="*/ 108456 h 335900"/>
                                                    <a:gd name="connsiteX37" fmla="*/ 241586 w 437308"/>
                                                    <a:gd name="connsiteY37" fmla="*/ 102626 h 335900"/>
                                                    <a:gd name="connsiteX38" fmla="*/ 254284 w 437308"/>
                                                    <a:gd name="connsiteY38" fmla="*/ 94009 h 335900"/>
                                                    <a:gd name="connsiteX39" fmla="*/ 283762 w 437308"/>
                                                    <a:gd name="connsiteY39" fmla="*/ 83449 h 335900"/>
                                                    <a:gd name="connsiteX40" fmla="*/ 302744 w 437308"/>
                                                    <a:gd name="connsiteY40" fmla="*/ 77878 h 335900"/>
                                                    <a:gd name="connsiteX41" fmla="*/ 312851 w 437308"/>
                                                    <a:gd name="connsiteY41" fmla="*/ 75481 h 335900"/>
                                                    <a:gd name="connsiteX42" fmla="*/ 319135 w 437308"/>
                                                    <a:gd name="connsiteY42" fmla="*/ 71205 h 335900"/>
                                                    <a:gd name="connsiteX43" fmla="*/ 338376 w 437308"/>
                                                    <a:gd name="connsiteY43" fmla="*/ 64013 h 335900"/>
                                                    <a:gd name="connsiteX44" fmla="*/ 373425 w 437308"/>
                                                    <a:gd name="connsiteY44" fmla="*/ 54749 h 335900"/>
                                                    <a:gd name="connsiteX45" fmla="*/ 411519 w 437308"/>
                                                    <a:gd name="connsiteY45" fmla="*/ 41079 h 335900"/>
                                                    <a:gd name="connsiteX46" fmla="*/ 422792 w 437308"/>
                                                    <a:gd name="connsiteY46" fmla="*/ 33629 h 335900"/>
                                                    <a:gd name="connsiteX47" fmla="*/ 426031 w 437308"/>
                                                    <a:gd name="connsiteY47" fmla="*/ 27863 h 335900"/>
                                                    <a:gd name="connsiteX48" fmla="*/ 432704 w 437308"/>
                                                    <a:gd name="connsiteY48" fmla="*/ 24105 h 335900"/>
                                                    <a:gd name="connsiteX49" fmla="*/ 436268 w 437308"/>
                                                    <a:gd name="connsiteY49" fmla="*/ 4799 h 335900"/>
                                                    <a:gd name="connsiteX50" fmla="*/ 376405 w 437308"/>
                                                    <a:gd name="connsiteY50" fmla="*/ 7974 h 335900"/>
                                                    <a:gd name="connsiteX51" fmla="*/ 364420 w 437308"/>
                                                    <a:gd name="connsiteY51" fmla="*/ 13610 h 335900"/>
                                                    <a:gd name="connsiteX52" fmla="*/ 359043 w 437308"/>
                                                    <a:gd name="connsiteY52" fmla="*/ 18728 h 335900"/>
                                                    <a:gd name="connsiteX53" fmla="*/ 323411 w 437308"/>
                                                    <a:gd name="connsiteY53" fmla="*/ 25855 h 335900"/>
                                                    <a:gd name="connsiteX54" fmla="*/ 317256 w 437308"/>
                                                    <a:gd name="connsiteY54" fmla="*/ 28511 h 335900"/>
                                                    <a:gd name="connsiteX55" fmla="*/ 315831 w 437308"/>
                                                    <a:gd name="connsiteY55" fmla="*/ 33305 h 335900"/>
                                                    <a:gd name="connsiteX56" fmla="*/ 298144 w 437308"/>
                                                    <a:gd name="connsiteY56" fmla="*/ 41792 h 335900"/>
                                                    <a:gd name="connsiteX57" fmla="*/ 257524 w 437308"/>
                                                    <a:gd name="connsiteY57" fmla="*/ 43412 h 335900"/>
                                                    <a:gd name="connsiteX58" fmla="*/ 240809 w 437308"/>
                                                    <a:gd name="connsiteY58" fmla="*/ 46910 h 335900"/>
                                                    <a:gd name="connsiteX59" fmla="*/ 231868 w 437308"/>
                                                    <a:gd name="connsiteY59" fmla="*/ 53777 h 335900"/>
                                                    <a:gd name="connsiteX60" fmla="*/ 198763 w 437308"/>
                                                    <a:gd name="connsiteY60" fmla="*/ 58053 h 335900"/>
                                                    <a:gd name="connsiteX61" fmla="*/ 185871 w 437308"/>
                                                    <a:gd name="connsiteY61" fmla="*/ 66605 h 335900"/>
                                                    <a:gd name="connsiteX62" fmla="*/ 152571 w 437308"/>
                                                    <a:gd name="connsiteY62" fmla="*/ 95434 h 335900"/>
                                                    <a:gd name="connsiteX63" fmla="*/ 126592 w 437308"/>
                                                    <a:gd name="connsiteY63" fmla="*/ 93685 h 335900"/>
                                                    <a:gd name="connsiteX64" fmla="*/ 111497 w 437308"/>
                                                    <a:gd name="connsiteY64" fmla="*/ 122385 h 33590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37308" h="335900">
                                                      <a:moveTo>
                                                        <a:pt x="111691" y="122385"/>
                                                      </a:moveTo>
                                                      <a:cubicBezTo>
                                                        <a:pt x="115125" y="133723"/>
                                                        <a:pt x="108646" y="147198"/>
                                                        <a:pt x="97633" y="151604"/>
                                                      </a:cubicBezTo>
                                                      <a:cubicBezTo>
                                                        <a:pt x="90506" y="154454"/>
                                                        <a:pt x="81306" y="154454"/>
                                                        <a:pt x="77160" y="160933"/>
                                                      </a:cubicBezTo>
                                                      <a:cubicBezTo>
                                                        <a:pt x="73986" y="165921"/>
                                                        <a:pt x="75605" y="172335"/>
                                                        <a:pt x="75735" y="178231"/>
                                                      </a:cubicBezTo>
                                                      <a:cubicBezTo>
                                                        <a:pt x="75865" y="184126"/>
                                                        <a:pt x="72755" y="191447"/>
                                                        <a:pt x="66859" y="191253"/>
                                                      </a:cubicBezTo>
                                                      <a:cubicBezTo>
                                                        <a:pt x="66536" y="194816"/>
                                                        <a:pt x="66276" y="198379"/>
                                                        <a:pt x="65952" y="201877"/>
                                                      </a:cubicBezTo>
                                                      <a:cubicBezTo>
                                                        <a:pt x="62065" y="201683"/>
                                                        <a:pt x="57984" y="201554"/>
                                                        <a:pt x="54421" y="203238"/>
                                                      </a:cubicBezTo>
                                                      <a:cubicBezTo>
                                                        <a:pt x="50922" y="204922"/>
                                                        <a:pt x="48201" y="209069"/>
                                                        <a:pt x="49562" y="212761"/>
                                                      </a:cubicBezTo>
                                                      <a:cubicBezTo>
                                                        <a:pt x="44443" y="212632"/>
                                                        <a:pt x="38872" y="212761"/>
                                                        <a:pt x="34985" y="216001"/>
                                                      </a:cubicBezTo>
                                                      <a:cubicBezTo>
                                                        <a:pt x="31098" y="219240"/>
                                                        <a:pt x="31227" y="227079"/>
                                                        <a:pt x="36151" y="228375"/>
                                                      </a:cubicBezTo>
                                                      <a:cubicBezTo>
                                                        <a:pt x="37771" y="228828"/>
                                                        <a:pt x="39584" y="228375"/>
                                                        <a:pt x="41139" y="229087"/>
                                                      </a:cubicBezTo>
                                                      <a:cubicBezTo>
                                                        <a:pt x="46258" y="231161"/>
                                                        <a:pt x="42565" y="239324"/>
                                                        <a:pt x="37447" y="241461"/>
                                                      </a:cubicBezTo>
                                                      <a:cubicBezTo>
                                                        <a:pt x="32328" y="243535"/>
                                                        <a:pt x="25591" y="244377"/>
                                                        <a:pt x="23583" y="249560"/>
                                                      </a:cubicBezTo>
                                                      <a:cubicBezTo>
                                                        <a:pt x="22740" y="251827"/>
                                                        <a:pt x="23064" y="254483"/>
                                                        <a:pt x="21768" y="256557"/>
                                                      </a:cubicBezTo>
                                                      <a:cubicBezTo>
                                                        <a:pt x="20278" y="258954"/>
                                                        <a:pt x="17169" y="259666"/>
                                                        <a:pt x="14448" y="260508"/>
                                                      </a:cubicBezTo>
                                                      <a:cubicBezTo>
                                                        <a:pt x="6997" y="262841"/>
                                                        <a:pt x="-64" y="269190"/>
                                                        <a:pt x="0" y="276964"/>
                                                      </a:cubicBezTo>
                                                      <a:cubicBezTo>
                                                        <a:pt x="65" y="284803"/>
                                                        <a:pt x="10820" y="291087"/>
                                                        <a:pt x="16327" y="285516"/>
                                                      </a:cubicBezTo>
                                                      <a:cubicBezTo>
                                                        <a:pt x="15549" y="290504"/>
                                                        <a:pt x="15938" y="296011"/>
                                                        <a:pt x="19047" y="300028"/>
                                                      </a:cubicBezTo>
                                                      <a:cubicBezTo>
                                                        <a:pt x="22157" y="304045"/>
                                                        <a:pt x="28636" y="305599"/>
                                                        <a:pt x="32393" y="302166"/>
                                                      </a:cubicBezTo>
                                                      <a:cubicBezTo>
                                                        <a:pt x="32588" y="298214"/>
                                                        <a:pt x="32847" y="293938"/>
                                                        <a:pt x="35179" y="290699"/>
                                                      </a:cubicBezTo>
                                                      <a:cubicBezTo>
                                                        <a:pt x="37511" y="287459"/>
                                                        <a:pt x="42759" y="286034"/>
                                                        <a:pt x="45480" y="288949"/>
                                                      </a:cubicBezTo>
                                                      <a:cubicBezTo>
                                                        <a:pt x="46063" y="300352"/>
                                                        <a:pt x="47035" y="312726"/>
                                                        <a:pt x="54680" y="321148"/>
                                                      </a:cubicBezTo>
                                                      <a:cubicBezTo>
                                                        <a:pt x="60381" y="327432"/>
                                                        <a:pt x="68868" y="330412"/>
                                                        <a:pt x="77096" y="332356"/>
                                                      </a:cubicBezTo>
                                                      <a:cubicBezTo>
                                                        <a:pt x="96402" y="336891"/>
                                                        <a:pt x="116680" y="337085"/>
                                                        <a:pt x="136050" y="332874"/>
                                                      </a:cubicBezTo>
                                                      <a:cubicBezTo>
                                                        <a:pt x="137929" y="332485"/>
                                                        <a:pt x="139873" y="331967"/>
                                                        <a:pt x="141168" y="330607"/>
                                                      </a:cubicBezTo>
                                                      <a:cubicBezTo>
                                                        <a:pt x="145380" y="326136"/>
                                                        <a:pt x="138966" y="319658"/>
                                                        <a:pt x="133524" y="316743"/>
                                                      </a:cubicBezTo>
                                                      <a:cubicBezTo>
                                                        <a:pt x="128082" y="313827"/>
                                                        <a:pt x="122446" y="306182"/>
                                                        <a:pt x="127564" y="302684"/>
                                                      </a:cubicBezTo>
                                                      <a:cubicBezTo>
                                                        <a:pt x="111173" y="291541"/>
                                                        <a:pt x="98928" y="274502"/>
                                                        <a:pt x="93616" y="255455"/>
                                                      </a:cubicBezTo>
                                                      <a:cubicBezTo>
                                                        <a:pt x="92968" y="253123"/>
                                                        <a:pt x="92450" y="250467"/>
                                                        <a:pt x="93616" y="248329"/>
                                                      </a:cubicBezTo>
                                                      <a:cubicBezTo>
                                                        <a:pt x="95365" y="245154"/>
                                                        <a:pt x="99706" y="244701"/>
                                                        <a:pt x="102880" y="242952"/>
                                                      </a:cubicBezTo>
                                                      <a:cubicBezTo>
                                                        <a:pt x="114542" y="236473"/>
                                                        <a:pt x="107674" y="214770"/>
                                                        <a:pt x="119206" y="208032"/>
                                                      </a:cubicBezTo>
                                                      <a:cubicBezTo>
                                                        <a:pt x="121539" y="206672"/>
                                                        <a:pt x="124324" y="206218"/>
                                                        <a:pt x="126527" y="204663"/>
                                                      </a:cubicBezTo>
                                                      <a:cubicBezTo>
                                                        <a:pt x="133848" y="199610"/>
                                                        <a:pt x="130349" y="188467"/>
                                                        <a:pt x="129378" y="179591"/>
                                                      </a:cubicBezTo>
                                                      <a:cubicBezTo>
                                                        <a:pt x="127823" y="165727"/>
                                                        <a:pt x="135662" y="151280"/>
                                                        <a:pt x="148100" y="144931"/>
                                                      </a:cubicBezTo>
                                                      <a:cubicBezTo>
                                                        <a:pt x="152506" y="142663"/>
                                                        <a:pt x="157365" y="141432"/>
                                                        <a:pt x="162159" y="140072"/>
                                                      </a:cubicBezTo>
                                                      <a:cubicBezTo>
                                                        <a:pt x="186648" y="133205"/>
                                                        <a:pt x="210424" y="124070"/>
                                                        <a:pt x="233229" y="112732"/>
                                                      </a:cubicBezTo>
                                                      <a:cubicBezTo>
                                                        <a:pt x="235432" y="111631"/>
                                                        <a:pt x="237699" y="110465"/>
                                                        <a:pt x="239060" y="108456"/>
                                                      </a:cubicBezTo>
                                                      <a:cubicBezTo>
                                                        <a:pt x="240226" y="106707"/>
                                                        <a:pt x="240615" y="104504"/>
                                                        <a:pt x="241586" y="102626"/>
                                                      </a:cubicBezTo>
                                                      <a:cubicBezTo>
                                                        <a:pt x="243919" y="97961"/>
                                                        <a:pt x="249361" y="95758"/>
                                                        <a:pt x="254284" y="94009"/>
                                                      </a:cubicBezTo>
                                                      <a:cubicBezTo>
                                                        <a:pt x="264132" y="90511"/>
                                                        <a:pt x="273915" y="86948"/>
                                                        <a:pt x="283762" y="83449"/>
                                                      </a:cubicBezTo>
                                                      <a:cubicBezTo>
                                                        <a:pt x="289981" y="81246"/>
                                                        <a:pt x="296265" y="78979"/>
                                                        <a:pt x="302744" y="77878"/>
                                                      </a:cubicBezTo>
                                                      <a:cubicBezTo>
                                                        <a:pt x="306178" y="77295"/>
                                                        <a:pt x="309741" y="76971"/>
                                                        <a:pt x="312851" y="75481"/>
                                                      </a:cubicBezTo>
                                                      <a:cubicBezTo>
                                                        <a:pt x="315118" y="74379"/>
                                                        <a:pt x="317062" y="72630"/>
                                                        <a:pt x="319135" y="71205"/>
                                                      </a:cubicBezTo>
                                                      <a:cubicBezTo>
                                                        <a:pt x="324836" y="67317"/>
                                                        <a:pt x="331703" y="65633"/>
                                                        <a:pt x="338376" y="64013"/>
                                                      </a:cubicBezTo>
                                                      <a:cubicBezTo>
                                                        <a:pt x="350102" y="61163"/>
                                                        <a:pt x="361893" y="58312"/>
                                                        <a:pt x="373425" y="54749"/>
                                                      </a:cubicBezTo>
                                                      <a:cubicBezTo>
                                                        <a:pt x="386318" y="50797"/>
                                                        <a:pt x="398951" y="45938"/>
                                                        <a:pt x="411519" y="41079"/>
                                                      </a:cubicBezTo>
                                                      <a:cubicBezTo>
                                                        <a:pt x="415795" y="39460"/>
                                                        <a:pt x="420395" y="37516"/>
                                                        <a:pt x="422792" y="33629"/>
                                                      </a:cubicBezTo>
                                                      <a:cubicBezTo>
                                                        <a:pt x="423958" y="31750"/>
                                                        <a:pt x="424477" y="29418"/>
                                                        <a:pt x="426031" y="27863"/>
                                                      </a:cubicBezTo>
                                                      <a:cubicBezTo>
                                                        <a:pt x="427845" y="26049"/>
                                                        <a:pt x="430566" y="25531"/>
                                                        <a:pt x="432704" y="24105"/>
                                                      </a:cubicBezTo>
                                                      <a:cubicBezTo>
                                                        <a:pt x="438535" y="20218"/>
                                                        <a:pt x="437693" y="11602"/>
                                                        <a:pt x="436268" y="4799"/>
                                                      </a:cubicBezTo>
                                                      <a:cubicBezTo>
                                                        <a:pt x="417998" y="-4595"/>
                                                        <a:pt x="395971" y="1625"/>
                                                        <a:pt x="376405" y="7974"/>
                                                      </a:cubicBezTo>
                                                      <a:cubicBezTo>
                                                        <a:pt x="372194" y="9334"/>
                                                        <a:pt x="367854" y="10760"/>
                                                        <a:pt x="364420" y="13610"/>
                                                      </a:cubicBezTo>
                                                      <a:cubicBezTo>
                                                        <a:pt x="362477" y="15165"/>
                                                        <a:pt x="360922" y="17109"/>
                                                        <a:pt x="359043" y="18728"/>
                                                      </a:cubicBezTo>
                                                      <a:cubicBezTo>
                                                        <a:pt x="349649" y="26762"/>
                                                        <a:pt x="335720" y="24688"/>
                                                        <a:pt x="323411" y="25855"/>
                                                      </a:cubicBezTo>
                                                      <a:cubicBezTo>
                                                        <a:pt x="321078" y="26049"/>
                                                        <a:pt x="318552" y="26567"/>
                                                        <a:pt x="317256" y="28511"/>
                                                      </a:cubicBezTo>
                                                      <a:cubicBezTo>
                                                        <a:pt x="316284" y="29936"/>
                                                        <a:pt x="316284" y="31685"/>
                                                        <a:pt x="315831" y="33305"/>
                                                      </a:cubicBezTo>
                                                      <a:cubicBezTo>
                                                        <a:pt x="313822" y="39978"/>
                                                        <a:pt x="305141" y="41468"/>
                                                        <a:pt x="298144" y="41792"/>
                                                      </a:cubicBezTo>
                                                      <a:lnTo>
                                                        <a:pt x="257524" y="43412"/>
                                                      </a:lnTo>
                                                      <a:cubicBezTo>
                                                        <a:pt x="251758" y="43606"/>
                                                        <a:pt x="245733" y="43930"/>
                                                        <a:pt x="240809" y="46910"/>
                                                      </a:cubicBezTo>
                                                      <a:cubicBezTo>
                                                        <a:pt x="237570" y="48854"/>
                                                        <a:pt x="235108" y="51834"/>
                                                        <a:pt x="231868" y="53777"/>
                                                      </a:cubicBezTo>
                                                      <a:cubicBezTo>
                                                        <a:pt x="222215" y="59543"/>
                                                        <a:pt x="209388" y="54360"/>
                                                        <a:pt x="198763" y="58053"/>
                                                      </a:cubicBezTo>
                                                      <a:cubicBezTo>
                                                        <a:pt x="193839" y="59738"/>
                                                        <a:pt x="189823" y="63236"/>
                                                        <a:pt x="185871" y="66605"/>
                                                      </a:cubicBezTo>
                                                      <a:cubicBezTo>
                                                        <a:pt x="174792" y="76193"/>
                                                        <a:pt x="163649" y="85846"/>
                                                        <a:pt x="152571" y="95434"/>
                                                      </a:cubicBezTo>
                                                      <a:cubicBezTo>
                                                        <a:pt x="143890" y="95434"/>
                                                        <a:pt x="135208" y="94916"/>
                                                        <a:pt x="126592" y="93685"/>
                                                      </a:cubicBezTo>
                                                      <a:cubicBezTo>
                                                        <a:pt x="130284" y="105152"/>
                                                        <a:pt x="123028" y="118887"/>
                                                        <a:pt x="111497" y="12238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5" name="Freeform: Shape 78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DB84CA5-C06F-48D1-9F32-2D12A3F044F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699114" y="1687991"/>
                                                  <a:ext cx="4023807" cy="151374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021573 w 4023807"/>
                                                    <a:gd name="connsiteY0" fmla="*/ 598245 h 1513748"/>
                                                    <a:gd name="connsiteX1" fmla="*/ 4017427 w 4023807"/>
                                                    <a:gd name="connsiteY1" fmla="*/ 591637 h 1513748"/>
                                                    <a:gd name="connsiteX2" fmla="*/ 4017168 w 4023807"/>
                                                    <a:gd name="connsiteY2" fmla="*/ 588074 h 1513748"/>
                                                    <a:gd name="connsiteX3" fmla="*/ 4010495 w 4023807"/>
                                                    <a:gd name="connsiteY3" fmla="*/ 582502 h 1513748"/>
                                                    <a:gd name="connsiteX4" fmla="*/ 3966830 w 4023807"/>
                                                    <a:gd name="connsiteY4" fmla="*/ 569545 h 1513748"/>
                                                    <a:gd name="connsiteX5" fmla="*/ 3956075 w 4023807"/>
                                                    <a:gd name="connsiteY5" fmla="*/ 560410 h 1513748"/>
                                                    <a:gd name="connsiteX6" fmla="*/ 3945710 w 4023807"/>
                                                    <a:gd name="connsiteY6" fmla="*/ 558855 h 1513748"/>
                                                    <a:gd name="connsiteX7" fmla="*/ 3943312 w 4023807"/>
                                                    <a:gd name="connsiteY7" fmla="*/ 553154 h 1513748"/>
                                                    <a:gd name="connsiteX8" fmla="*/ 3927764 w 4023807"/>
                                                    <a:gd name="connsiteY8" fmla="*/ 548814 h 1513748"/>
                                                    <a:gd name="connsiteX9" fmla="*/ 3927958 w 4023807"/>
                                                    <a:gd name="connsiteY9" fmla="*/ 565010 h 1513748"/>
                                                    <a:gd name="connsiteX10" fmla="*/ 3934502 w 4023807"/>
                                                    <a:gd name="connsiteY10" fmla="*/ 571100 h 1513748"/>
                                                    <a:gd name="connsiteX11" fmla="*/ 3933206 w 4023807"/>
                                                    <a:gd name="connsiteY11" fmla="*/ 574987 h 1513748"/>
                                                    <a:gd name="connsiteX12" fmla="*/ 3913964 w 4023807"/>
                                                    <a:gd name="connsiteY12" fmla="*/ 577255 h 1513748"/>
                                                    <a:gd name="connsiteX13" fmla="*/ 3907551 w 4023807"/>
                                                    <a:gd name="connsiteY13" fmla="*/ 565334 h 1513748"/>
                                                    <a:gd name="connsiteX14" fmla="*/ 3903145 w 4023807"/>
                                                    <a:gd name="connsiteY14" fmla="*/ 537282 h 1513748"/>
                                                    <a:gd name="connsiteX15" fmla="*/ 3897250 w 4023807"/>
                                                    <a:gd name="connsiteY15" fmla="*/ 529961 h 1513748"/>
                                                    <a:gd name="connsiteX16" fmla="*/ 3885135 w 4023807"/>
                                                    <a:gd name="connsiteY16" fmla="*/ 525880 h 1513748"/>
                                                    <a:gd name="connsiteX17" fmla="*/ 3827216 w 4023807"/>
                                                    <a:gd name="connsiteY17" fmla="*/ 519077 h 1513748"/>
                                                    <a:gd name="connsiteX18" fmla="*/ 3818988 w 4023807"/>
                                                    <a:gd name="connsiteY18" fmla="*/ 515643 h 1513748"/>
                                                    <a:gd name="connsiteX19" fmla="*/ 3808558 w 4023807"/>
                                                    <a:gd name="connsiteY19" fmla="*/ 505796 h 1513748"/>
                                                    <a:gd name="connsiteX20" fmla="*/ 3798322 w 4023807"/>
                                                    <a:gd name="connsiteY20" fmla="*/ 504047 h 1513748"/>
                                                    <a:gd name="connsiteX21" fmla="*/ 3796378 w 4023807"/>
                                                    <a:gd name="connsiteY21" fmla="*/ 494523 h 1513748"/>
                                                    <a:gd name="connsiteX22" fmla="*/ 3789900 w 4023807"/>
                                                    <a:gd name="connsiteY22" fmla="*/ 486166 h 1513748"/>
                                                    <a:gd name="connsiteX23" fmla="*/ 3794565 w 4023807"/>
                                                    <a:gd name="connsiteY23" fmla="*/ 480789 h 1513748"/>
                                                    <a:gd name="connsiteX24" fmla="*/ 3790677 w 4023807"/>
                                                    <a:gd name="connsiteY24" fmla="*/ 470876 h 1513748"/>
                                                    <a:gd name="connsiteX25" fmla="*/ 3779275 w 4023807"/>
                                                    <a:gd name="connsiteY25" fmla="*/ 468479 h 1513748"/>
                                                    <a:gd name="connsiteX26" fmla="*/ 3776360 w 4023807"/>
                                                    <a:gd name="connsiteY26" fmla="*/ 458762 h 1513748"/>
                                                    <a:gd name="connsiteX27" fmla="*/ 3770270 w 4023807"/>
                                                    <a:gd name="connsiteY27" fmla="*/ 455781 h 1513748"/>
                                                    <a:gd name="connsiteX28" fmla="*/ 3752777 w 4023807"/>
                                                    <a:gd name="connsiteY28" fmla="*/ 449756 h 1513748"/>
                                                    <a:gd name="connsiteX29" fmla="*/ 3743514 w 4023807"/>
                                                    <a:gd name="connsiteY29" fmla="*/ 438354 h 1513748"/>
                                                    <a:gd name="connsiteX30" fmla="*/ 3692916 w 4023807"/>
                                                    <a:gd name="connsiteY30" fmla="*/ 428118 h 1513748"/>
                                                    <a:gd name="connsiteX31" fmla="*/ 3689223 w 4023807"/>
                                                    <a:gd name="connsiteY31" fmla="*/ 416975 h 1513748"/>
                                                    <a:gd name="connsiteX32" fmla="*/ 3625280 w 4023807"/>
                                                    <a:gd name="connsiteY32" fmla="*/ 431681 h 1513748"/>
                                                    <a:gd name="connsiteX33" fmla="*/ 3580707 w 4023807"/>
                                                    <a:gd name="connsiteY33" fmla="*/ 427017 h 1513748"/>
                                                    <a:gd name="connsiteX34" fmla="*/ 3567426 w 4023807"/>
                                                    <a:gd name="connsiteY34" fmla="*/ 416003 h 1513748"/>
                                                    <a:gd name="connsiteX35" fmla="*/ 3556283 w 4023807"/>
                                                    <a:gd name="connsiteY35" fmla="*/ 403758 h 1513748"/>
                                                    <a:gd name="connsiteX36" fmla="*/ 3535292 w 4023807"/>
                                                    <a:gd name="connsiteY36" fmla="*/ 427211 h 1513748"/>
                                                    <a:gd name="connsiteX37" fmla="*/ 3546435 w 4023807"/>
                                                    <a:gd name="connsiteY37" fmla="*/ 439196 h 1513748"/>
                                                    <a:gd name="connsiteX38" fmla="*/ 3560429 w 4023807"/>
                                                    <a:gd name="connsiteY38" fmla="*/ 455652 h 1513748"/>
                                                    <a:gd name="connsiteX39" fmla="*/ 3557643 w 4023807"/>
                                                    <a:gd name="connsiteY39" fmla="*/ 465564 h 1513748"/>
                                                    <a:gd name="connsiteX40" fmla="*/ 3536523 w 4023807"/>
                                                    <a:gd name="connsiteY40" fmla="*/ 470876 h 1513748"/>
                                                    <a:gd name="connsiteX41" fmla="*/ 3520521 w 4023807"/>
                                                    <a:gd name="connsiteY41" fmla="*/ 467313 h 1513748"/>
                                                    <a:gd name="connsiteX42" fmla="*/ 3497781 w 4023807"/>
                                                    <a:gd name="connsiteY42" fmla="*/ 450404 h 1513748"/>
                                                    <a:gd name="connsiteX43" fmla="*/ 3488970 w 4023807"/>
                                                    <a:gd name="connsiteY43" fmla="*/ 448590 h 1513748"/>
                                                    <a:gd name="connsiteX44" fmla="*/ 3485796 w 4023807"/>
                                                    <a:gd name="connsiteY44" fmla="*/ 444444 h 1513748"/>
                                                    <a:gd name="connsiteX45" fmla="*/ 3474976 w 4023807"/>
                                                    <a:gd name="connsiteY45" fmla="*/ 447554 h 1513748"/>
                                                    <a:gd name="connsiteX46" fmla="*/ 3426906 w 4023807"/>
                                                    <a:gd name="connsiteY46" fmla="*/ 455198 h 1513748"/>
                                                    <a:gd name="connsiteX47" fmla="*/ 3417641 w 4023807"/>
                                                    <a:gd name="connsiteY47" fmla="*/ 453384 h 1513748"/>
                                                    <a:gd name="connsiteX48" fmla="*/ 3411033 w 4023807"/>
                                                    <a:gd name="connsiteY48" fmla="*/ 449432 h 1513748"/>
                                                    <a:gd name="connsiteX49" fmla="*/ 3328496 w 4023807"/>
                                                    <a:gd name="connsiteY49" fmla="*/ 438613 h 1513748"/>
                                                    <a:gd name="connsiteX50" fmla="*/ 3321823 w 4023807"/>
                                                    <a:gd name="connsiteY50" fmla="*/ 442695 h 1513748"/>
                                                    <a:gd name="connsiteX51" fmla="*/ 3319880 w 4023807"/>
                                                    <a:gd name="connsiteY51" fmla="*/ 456429 h 1513748"/>
                                                    <a:gd name="connsiteX52" fmla="*/ 3310292 w 4023807"/>
                                                    <a:gd name="connsiteY52" fmla="*/ 461353 h 1513748"/>
                                                    <a:gd name="connsiteX53" fmla="*/ 3307441 w 4023807"/>
                                                    <a:gd name="connsiteY53" fmla="*/ 443602 h 1513748"/>
                                                    <a:gd name="connsiteX54" fmla="*/ 3300249 w 4023807"/>
                                                    <a:gd name="connsiteY54" fmla="*/ 428183 h 1513748"/>
                                                    <a:gd name="connsiteX55" fmla="*/ 3276473 w 4023807"/>
                                                    <a:gd name="connsiteY55" fmla="*/ 431616 h 1513748"/>
                                                    <a:gd name="connsiteX56" fmla="*/ 3274918 w 4023807"/>
                                                    <a:gd name="connsiteY56" fmla="*/ 408229 h 1513748"/>
                                                    <a:gd name="connsiteX57" fmla="*/ 3279259 w 4023807"/>
                                                    <a:gd name="connsiteY57" fmla="*/ 404406 h 1513748"/>
                                                    <a:gd name="connsiteX58" fmla="*/ 3270124 w 4023807"/>
                                                    <a:gd name="connsiteY58" fmla="*/ 388858 h 1513748"/>
                                                    <a:gd name="connsiteX59" fmla="*/ 3232030 w 4023807"/>
                                                    <a:gd name="connsiteY59" fmla="*/ 383545 h 1513748"/>
                                                    <a:gd name="connsiteX60" fmla="*/ 3205792 w 4023807"/>
                                                    <a:gd name="connsiteY60" fmla="*/ 383286 h 1513748"/>
                                                    <a:gd name="connsiteX61" fmla="*/ 3194066 w 4023807"/>
                                                    <a:gd name="connsiteY61" fmla="*/ 378557 h 1513748"/>
                                                    <a:gd name="connsiteX62" fmla="*/ 3173982 w 4023807"/>
                                                    <a:gd name="connsiteY62" fmla="*/ 374734 h 1513748"/>
                                                    <a:gd name="connsiteX63" fmla="*/ 3095656 w 4023807"/>
                                                    <a:gd name="connsiteY63" fmla="*/ 370718 h 1513748"/>
                                                    <a:gd name="connsiteX64" fmla="*/ 3085096 w 4023807"/>
                                                    <a:gd name="connsiteY64" fmla="*/ 365470 h 1513748"/>
                                                    <a:gd name="connsiteX65" fmla="*/ 3083865 w 4023807"/>
                                                    <a:gd name="connsiteY65" fmla="*/ 356011 h 1513748"/>
                                                    <a:gd name="connsiteX66" fmla="*/ 3079913 w 4023807"/>
                                                    <a:gd name="connsiteY66" fmla="*/ 354327 h 1513748"/>
                                                    <a:gd name="connsiteX67" fmla="*/ 3076609 w 4023807"/>
                                                    <a:gd name="connsiteY67" fmla="*/ 350569 h 1513748"/>
                                                    <a:gd name="connsiteX68" fmla="*/ 3062162 w 4023807"/>
                                                    <a:gd name="connsiteY68" fmla="*/ 348820 h 1513748"/>
                                                    <a:gd name="connsiteX69" fmla="*/ 3058469 w 4023807"/>
                                                    <a:gd name="connsiteY69" fmla="*/ 350829 h 1513748"/>
                                                    <a:gd name="connsiteX70" fmla="*/ 3052509 w 4023807"/>
                                                    <a:gd name="connsiteY70" fmla="*/ 343637 h 1513748"/>
                                                    <a:gd name="connsiteX71" fmla="*/ 3036960 w 4023807"/>
                                                    <a:gd name="connsiteY71" fmla="*/ 341629 h 1513748"/>
                                                    <a:gd name="connsiteX72" fmla="*/ 3033461 w 4023807"/>
                                                    <a:gd name="connsiteY72" fmla="*/ 333336 h 1513748"/>
                                                    <a:gd name="connsiteX73" fmla="*/ 3013897 w 4023807"/>
                                                    <a:gd name="connsiteY73" fmla="*/ 331652 h 1513748"/>
                                                    <a:gd name="connsiteX74" fmla="*/ 3011629 w 4023807"/>
                                                    <a:gd name="connsiteY74" fmla="*/ 329773 h 1513748"/>
                                                    <a:gd name="connsiteX75" fmla="*/ 3014674 w 4023807"/>
                                                    <a:gd name="connsiteY75" fmla="*/ 325109 h 1513748"/>
                                                    <a:gd name="connsiteX76" fmla="*/ 3020699 w 4023807"/>
                                                    <a:gd name="connsiteY76" fmla="*/ 323554 h 1513748"/>
                                                    <a:gd name="connsiteX77" fmla="*/ 3022643 w 4023807"/>
                                                    <a:gd name="connsiteY77" fmla="*/ 314225 h 1513748"/>
                                                    <a:gd name="connsiteX78" fmla="*/ 2994590 w 4023807"/>
                                                    <a:gd name="connsiteY78" fmla="*/ 320703 h 1513748"/>
                                                    <a:gd name="connsiteX79" fmla="*/ 2980338 w 4023807"/>
                                                    <a:gd name="connsiteY79" fmla="*/ 324655 h 1513748"/>
                                                    <a:gd name="connsiteX80" fmla="*/ 2969259 w 4023807"/>
                                                    <a:gd name="connsiteY80" fmla="*/ 317075 h 1513748"/>
                                                    <a:gd name="connsiteX81" fmla="*/ 2963039 w 4023807"/>
                                                    <a:gd name="connsiteY81" fmla="*/ 315974 h 1513748"/>
                                                    <a:gd name="connsiteX82" fmla="*/ 2959217 w 4023807"/>
                                                    <a:gd name="connsiteY82" fmla="*/ 302174 h 1513748"/>
                                                    <a:gd name="connsiteX83" fmla="*/ 2946908 w 4023807"/>
                                                    <a:gd name="connsiteY83" fmla="*/ 302110 h 1513748"/>
                                                    <a:gd name="connsiteX84" fmla="*/ 2945872 w 4023807"/>
                                                    <a:gd name="connsiteY84" fmla="*/ 306904 h 1513748"/>
                                                    <a:gd name="connsiteX85" fmla="*/ 2942633 w 4023807"/>
                                                    <a:gd name="connsiteY85" fmla="*/ 320768 h 1513748"/>
                                                    <a:gd name="connsiteX86" fmla="*/ 2940624 w 4023807"/>
                                                    <a:gd name="connsiteY86" fmla="*/ 324331 h 1513748"/>
                                                    <a:gd name="connsiteX87" fmla="*/ 2929222 w 4023807"/>
                                                    <a:gd name="connsiteY87" fmla="*/ 328801 h 1513748"/>
                                                    <a:gd name="connsiteX88" fmla="*/ 2929675 w 4023807"/>
                                                    <a:gd name="connsiteY88" fmla="*/ 332883 h 1513748"/>
                                                    <a:gd name="connsiteX89" fmla="*/ 2925010 w 4023807"/>
                                                    <a:gd name="connsiteY89" fmla="*/ 339750 h 1513748"/>
                                                    <a:gd name="connsiteX90" fmla="*/ 2916394 w 4023807"/>
                                                    <a:gd name="connsiteY90" fmla="*/ 341046 h 1513748"/>
                                                    <a:gd name="connsiteX91" fmla="*/ 2913608 w 4023807"/>
                                                    <a:gd name="connsiteY91" fmla="*/ 340592 h 1513748"/>
                                                    <a:gd name="connsiteX92" fmla="*/ 2912053 w 4023807"/>
                                                    <a:gd name="connsiteY92" fmla="*/ 329838 h 1513748"/>
                                                    <a:gd name="connsiteX93" fmla="*/ 2897476 w 4023807"/>
                                                    <a:gd name="connsiteY93" fmla="*/ 324590 h 1513748"/>
                                                    <a:gd name="connsiteX94" fmla="*/ 2904667 w 4023807"/>
                                                    <a:gd name="connsiteY94" fmla="*/ 316816 h 1513748"/>
                                                    <a:gd name="connsiteX95" fmla="*/ 2916782 w 4023807"/>
                                                    <a:gd name="connsiteY95" fmla="*/ 316103 h 1513748"/>
                                                    <a:gd name="connsiteX96" fmla="*/ 2919633 w 4023807"/>
                                                    <a:gd name="connsiteY96" fmla="*/ 306709 h 1513748"/>
                                                    <a:gd name="connsiteX97" fmla="*/ 2890415 w 4023807"/>
                                                    <a:gd name="connsiteY97" fmla="*/ 300360 h 1513748"/>
                                                    <a:gd name="connsiteX98" fmla="*/ 2888083 w 4023807"/>
                                                    <a:gd name="connsiteY98" fmla="*/ 298676 h 1513748"/>
                                                    <a:gd name="connsiteX99" fmla="*/ 2888212 w 4023807"/>
                                                    <a:gd name="connsiteY99" fmla="*/ 295825 h 1513748"/>
                                                    <a:gd name="connsiteX100" fmla="*/ 2883029 w 4023807"/>
                                                    <a:gd name="connsiteY100" fmla="*/ 288310 h 1513748"/>
                                                    <a:gd name="connsiteX101" fmla="*/ 2873376 w 4023807"/>
                                                    <a:gd name="connsiteY101" fmla="*/ 287403 h 1513748"/>
                                                    <a:gd name="connsiteX102" fmla="*/ 2870137 w 4023807"/>
                                                    <a:gd name="connsiteY102" fmla="*/ 275094 h 1513748"/>
                                                    <a:gd name="connsiteX103" fmla="*/ 2856792 w 4023807"/>
                                                    <a:gd name="connsiteY103" fmla="*/ 271336 h 1513748"/>
                                                    <a:gd name="connsiteX104" fmla="*/ 2839364 w 4023807"/>
                                                    <a:gd name="connsiteY104" fmla="*/ 272114 h 1513748"/>
                                                    <a:gd name="connsiteX105" fmla="*/ 2828868 w 4023807"/>
                                                    <a:gd name="connsiteY105" fmla="*/ 272891 h 1513748"/>
                                                    <a:gd name="connsiteX106" fmla="*/ 2816300 w 4023807"/>
                                                    <a:gd name="connsiteY106" fmla="*/ 268162 h 1513748"/>
                                                    <a:gd name="connsiteX107" fmla="*/ 2803343 w 4023807"/>
                                                    <a:gd name="connsiteY107" fmla="*/ 265441 h 1513748"/>
                                                    <a:gd name="connsiteX108" fmla="*/ 2795439 w 4023807"/>
                                                    <a:gd name="connsiteY108" fmla="*/ 274641 h 1513748"/>
                                                    <a:gd name="connsiteX109" fmla="*/ 2799520 w 4023807"/>
                                                    <a:gd name="connsiteY109" fmla="*/ 284682 h 1513748"/>
                                                    <a:gd name="connsiteX110" fmla="*/ 2783259 w 4023807"/>
                                                    <a:gd name="connsiteY110" fmla="*/ 284034 h 1513748"/>
                                                    <a:gd name="connsiteX111" fmla="*/ 2769007 w 4023807"/>
                                                    <a:gd name="connsiteY111" fmla="*/ 286496 h 1513748"/>
                                                    <a:gd name="connsiteX112" fmla="*/ 2766934 w 4023807"/>
                                                    <a:gd name="connsiteY112" fmla="*/ 298935 h 1513748"/>
                                                    <a:gd name="connsiteX113" fmla="*/ 2774902 w 4023807"/>
                                                    <a:gd name="connsiteY113" fmla="*/ 303405 h 1513748"/>
                                                    <a:gd name="connsiteX114" fmla="*/ 2764342 w 4023807"/>
                                                    <a:gd name="connsiteY114" fmla="*/ 314808 h 1513748"/>
                                                    <a:gd name="connsiteX115" fmla="*/ 2781964 w 4023807"/>
                                                    <a:gd name="connsiteY115" fmla="*/ 328283 h 1513748"/>
                                                    <a:gd name="connsiteX116" fmla="*/ 2773606 w 4023807"/>
                                                    <a:gd name="connsiteY116" fmla="*/ 336900 h 1513748"/>
                                                    <a:gd name="connsiteX117" fmla="*/ 2760066 w 4023807"/>
                                                    <a:gd name="connsiteY117" fmla="*/ 346034 h 1513748"/>
                                                    <a:gd name="connsiteX118" fmla="*/ 2736614 w 4023807"/>
                                                    <a:gd name="connsiteY118" fmla="*/ 347978 h 1513748"/>
                                                    <a:gd name="connsiteX119" fmla="*/ 2731820 w 4023807"/>
                                                    <a:gd name="connsiteY119" fmla="*/ 353679 h 1513748"/>
                                                    <a:gd name="connsiteX120" fmla="*/ 2716789 w 4023807"/>
                                                    <a:gd name="connsiteY120" fmla="*/ 350505 h 1513748"/>
                                                    <a:gd name="connsiteX121" fmla="*/ 2708950 w 4023807"/>
                                                    <a:gd name="connsiteY121" fmla="*/ 354068 h 1513748"/>
                                                    <a:gd name="connsiteX122" fmla="*/ 2671439 w 4023807"/>
                                                    <a:gd name="connsiteY122" fmla="*/ 357307 h 1513748"/>
                                                    <a:gd name="connsiteX123" fmla="*/ 2610346 w 4023807"/>
                                                    <a:gd name="connsiteY123" fmla="*/ 340592 h 1513748"/>
                                                    <a:gd name="connsiteX124" fmla="*/ 2582942 w 4023807"/>
                                                    <a:gd name="connsiteY124" fmla="*/ 338778 h 1513748"/>
                                                    <a:gd name="connsiteX125" fmla="*/ 2564219 w 4023807"/>
                                                    <a:gd name="connsiteY125" fmla="*/ 365081 h 1513748"/>
                                                    <a:gd name="connsiteX126" fmla="*/ 2568689 w 4023807"/>
                                                    <a:gd name="connsiteY126" fmla="*/ 377067 h 1513748"/>
                                                    <a:gd name="connsiteX127" fmla="*/ 2546986 w 4023807"/>
                                                    <a:gd name="connsiteY127" fmla="*/ 371495 h 1513748"/>
                                                    <a:gd name="connsiteX128" fmla="*/ 2543487 w 4023807"/>
                                                    <a:gd name="connsiteY128" fmla="*/ 363850 h 1513748"/>
                                                    <a:gd name="connsiteX129" fmla="*/ 2522497 w 4023807"/>
                                                    <a:gd name="connsiteY129" fmla="*/ 355493 h 1513748"/>
                                                    <a:gd name="connsiteX130" fmla="*/ 2487059 w 4023807"/>
                                                    <a:gd name="connsiteY130" fmla="*/ 311504 h 1513748"/>
                                                    <a:gd name="connsiteX131" fmla="*/ 2480645 w 4023807"/>
                                                    <a:gd name="connsiteY131" fmla="*/ 302174 h 1513748"/>
                                                    <a:gd name="connsiteX132" fmla="*/ 2491594 w 4023807"/>
                                                    <a:gd name="connsiteY132" fmla="*/ 298741 h 1513748"/>
                                                    <a:gd name="connsiteX133" fmla="*/ 2503709 w 4023807"/>
                                                    <a:gd name="connsiteY133" fmla="*/ 303276 h 1513748"/>
                                                    <a:gd name="connsiteX134" fmla="*/ 2508762 w 4023807"/>
                                                    <a:gd name="connsiteY134" fmla="*/ 294659 h 1513748"/>
                                                    <a:gd name="connsiteX135" fmla="*/ 2492177 w 4023807"/>
                                                    <a:gd name="connsiteY135" fmla="*/ 288829 h 1513748"/>
                                                    <a:gd name="connsiteX136" fmla="*/ 2493927 w 4023807"/>
                                                    <a:gd name="connsiteY136" fmla="*/ 278593 h 1513748"/>
                                                    <a:gd name="connsiteX137" fmla="*/ 2485699 w 4023807"/>
                                                    <a:gd name="connsiteY137" fmla="*/ 270170 h 1513748"/>
                                                    <a:gd name="connsiteX138" fmla="*/ 2477601 w 4023807"/>
                                                    <a:gd name="connsiteY138" fmla="*/ 262914 h 1513748"/>
                                                    <a:gd name="connsiteX139" fmla="*/ 2462117 w 4023807"/>
                                                    <a:gd name="connsiteY139" fmla="*/ 268810 h 1513748"/>
                                                    <a:gd name="connsiteX140" fmla="*/ 2437368 w 4023807"/>
                                                    <a:gd name="connsiteY140" fmla="*/ 252937 h 1513748"/>
                                                    <a:gd name="connsiteX141" fmla="*/ 2376858 w 4023807"/>
                                                    <a:gd name="connsiteY141" fmla="*/ 238101 h 1513748"/>
                                                    <a:gd name="connsiteX142" fmla="*/ 2361439 w 4023807"/>
                                                    <a:gd name="connsiteY142" fmla="*/ 246329 h 1513748"/>
                                                    <a:gd name="connsiteX143" fmla="*/ 2362411 w 4023807"/>
                                                    <a:gd name="connsiteY143" fmla="*/ 265959 h 1513748"/>
                                                    <a:gd name="connsiteX144" fmla="*/ 2291795 w 4023807"/>
                                                    <a:gd name="connsiteY144" fmla="*/ 263951 h 1513748"/>
                                                    <a:gd name="connsiteX145" fmla="*/ 2252988 w 4023807"/>
                                                    <a:gd name="connsiteY145" fmla="*/ 252613 h 1513748"/>
                                                    <a:gd name="connsiteX146" fmla="*/ 2242105 w 4023807"/>
                                                    <a:gd name="connsiteY146" fmla="*/ 247171 h 1513748"/>
                                                    <a:gd name="connsiteX147" fmla="*/ 2234719 w 4023807"/>
                                                    <a:gd name="connsiteY147" fmla="*/ 242636 h 1513748"/>
                                                    <a:gd name="connsiteX148" fmla="*/ 2215477 w 4023807"/>
                                                    <a:gd name="connsiteY148" fmla="*/ 243867 h 1513748"/>
                                                    <a:gd name="connsiteX149" fmla="*/ 2163584 w 4023807"/>
                                                    <a:gd name="connsiteY149" fmla="*/ 227412 h 1513748"/>
                                                    <a:gd name="connsiteX150" fmla="*/ 2149785 w 4023807"/>
                                                    <a:gd name="connsiteY150" fmla="*/ 228902 h 1513748"/>
                                                    <a:gd name="connsiteX151" fmla="*/ 2135986 w 4023807"/>
                                                    <a:gd name="connsiteY151" fmla="*/ 226764 h 1513748"/>
                                                    <a:gd name="connsiteX152" fmla="*/ 2124259 w 4023807"/>
                                                    <a:gd name="connsiteY152" fmla="*/ 232724 h 1513748"/>
                                                    <a:gd name="connsiteX153" fmla="*/ 2122769 w 4023807"/>
                                                    <a:gd name="connsiteY153" fmla="*/ 249568 h 1513748"/>
                                                    <a:gd name="connsiteX154" fmla="*/ 2108840 w 4023807"/>
                                                    <a:gd name="connsiteY154" fmla="*/ 246329 h 1513748"/>
                                                    <a:gd name="connsiteX155" fmla="*/ 2108775 w 4023807"/>
                                                    <a:gd name="connsiteY155" fmla="*/ 229550 h 1513748"/>
                                                    <a:gd name="connsiteX156" fmla="*/ 2107415 w 4023807"/>
                                                    <a:gd name="connsiteY156" fmla="*/ 212900 h 1513748"/>
                                                    <a:gd name="connsiteX157" fmla="*/ 2098928 w 4023807"/>
                                                    <a:gd name="connsiteY157" fmla="*/ 217500 h 1513748"/>
                                                    <a:gd name="connsiteX158" fmla="*/ 2095753 w 4023807"/>
                                                    <a:gd name="connsiteY158" fmla="*/ 227995 h 1513748"/>
                                                    <a:gd name="connsiteX159" fmla="*/ 2084610 w 4023807"/>
                                                    <a:gd name="connsiteY159" fmla="*/ 232530 h 1513748"/>
                                                    <a:gd name="connsiteX160" fmla="*/ 2077354 w 4023807"/>
                                                    <a:gd name="connsiteY160" fmla="*/ 222942 h 1513748"/>
                                                    <a:gd name="connsiteX161" fmla="*/ 2052995 w 4023807"/>
                                                    <a:gd name="connsiteY161" fmla="*/ 208559 h 1513748"/>
                                                    <a:gd name="connsiteX162" fmla="*/ 2048525 w 4023807"/>
                                                    <a:gd name="connsiteY162" fmla="*/ 205644 h 1513748"/>
                                                    <a:gd name="connsiteX163" fmla="*/ 2044508 w 4023807"/>
                                                    <a:gd name="connsiteY163" fmla="*/ 205968 h 1513748"/>
                                                    <a:gd name="connsiteX164" fmla="*/ 2019954 w 4023807"/>
                                                    <a:gd name="connsiteY164" fmla="*/ 211604 h 1513748"/>
                                                    <a:gd name="connsiteX165" fmla="*/ 2025008 w 4023807"/>
                                                    <a:gd name="connsiteY165" fmla="*/ 223784 h 1513748"/>
                                                    <a:gd name="connsiteX166" fmla="*/ 2039714 w 4023807"/>
                                                    <a:gd name="connsiteY166" fmla="*/ 230327 h 1513748"/>
                                                    <a:gd name="connsiteX167" fmla="*/ 2034142 w 4023807"/>
                                                    <a:gd name="connsiteY167" fmla="*/ 235834 h 1513748"/>
                                                    <a:gd name="connsiteX168" fmla="*/ 2025590 w 4023807"/>
                                                    <a:gd name="connsiteY168" fmla="*/ 234862 h 1513748"/>
                                                    <a:gd name="connsiteX169" fmla="*/ 1959638 w 4023807"/>
                                                    <a:gd name="connsiteY169" fmla="*/ 256760 h 1513748"/>
                                                    <a:gd name="connsiteX170" fmla="*/ 1935862 w 4023807"/>
                                                    <a:gd name="connsiteY170" fmla="*/ 257408 h 1513748"/>
                                                    <a:gd name="connsiteX171" fmla="*/ 1930549 w 4023807"/>
                                                    <a:gd name="connsiteY171" fmla="*/ 258574 h 1513748"/>
                                                    <a:gd name="connsiteX172" fmla="*/ 1923618 w 4023807"/>
                                                    <a:gd name="connsiteY172" fmla="*/ 273215 h 1513748"/>
                                                    <a:gd name="connsiteX173" fmla="*/ 1920119 w 4023807"/>
                                                    <a:gd name="connsiteY173" fmla="*/ 261813 h 1513748"/>
                                                    <a:gd name="connsiteX174" fmla="*/ 1934372 w 4023807"/>
                                                    <a:gd name="connsiteY174" fmla="*/ 240304 h 1513748"/>
                                                    <a:gd name="connsiteX175" fmla="*/ 1952577 w 4023807"/>
                                                    <a:gd name="connsiteY175" fmla="*/ 229226 h 1513748"/>
                                                    <a:gd name="connsiteX176" fmla="*/ 1955039 w 4023807"/>
                                                    <a:gd name="connsiteY176" fmla="*/ 223654 h 1513748"/>
                                                    <a:gd name="connsiteX177" fmla="*/ 1965146 w 4023807"/>
                                                    <a:gd name="connsiteY177" fmla="*/ 221128 h 1513748"/>
                                                    <a:gd name="connsiteX178" fmla="*/ 1992938 w 4023807"/>
                                                    <a:gd name="connsiteY178" fmla="*/ 211474 h 1513748"/>
                                                    <a:gd name="connsiteX179" fmla="*/ 1999871 w 4023807"/>
                                                    <a:gd name="connsiteY179" fmla="*/ 206939 h 1513748"/>
                                                    <a:gd name="connsiteX180" fmla="*/ 2006414 w 4023807"/>
                                                    <a:gd name="connsiteY180" fmla="*/ 205579 h 1513748"/>
                                                    <a:gd name="connsiteX181" fmla="*/ 2013540 w 4023807"/>
                                                    <a:gd name="connsiteY181" fmla="*/ 198258 h 1513748"/>
                                                    <a:gd name="connsiteX182" fmla="*/ 2034142 w 4023807"/>
                                                    <a:gd name="connsiteY182" fmla="*/ 185625 h 1513748"/>
                                                    <a:gd name="connsiteX183" fmla="*/ 2059279 w 4023807"/>
                                                    <a:gd name="connsiteY183" fmla="*/ 175713 h 1513748"/>
                                                    <a:gd name="connsiteX184" fmla="*/ 2071588 w 4023807"/>
                                                    <a:gd name="connsiteY184" fmla="*/ 168198 h 1513748"/>
                                                    <a:gd name="connsiteX185" fmla="*/ 2078132 w 4023807"/>
                                                    <a:gd name="connsiteY185" fmla="*/ 159711 h 1513748"/>
                                                    <a:gd name="connsiteX186" fmla="*/ 2085388 w 4023807"/>
                                                    <a:gd name="connsiteY186" fmla="*/ 157119 h 1513748"/>
                                                    <a:gd name="connsiteX187" fmla="*/ 2097373 w 4023807"/>
                                                    <a:gd name="connsiteY187" fmla="*/ 144421 h 1513748"/>
                                                    <a:gd name="connsiteX188" fmla="*/ 2110654 w 4023807"/>
                                                    <a:gd name="connsiteY188" fmla="*/ 141635 h 1513748"/>
                                                    <a:gd name="connsiteX189" fmla="*/ 2117262 w 4023807"/>
                                                    <a:gd name="connsiteY189" fmla="*/ 131918 h 1513748"/>
                                                    <a:gd name="connsiteX190" fmla="*/ 2112014 w 4023807"/>
                                                    <a:gd name="connsiteY190" fmla="*/ 126929 h 1513748"/>
                                                    <a:gd name="connsiteX191" fmla="*/ 2121732 w 4023807"/>
                                                    <a:gd name="connsiteY191" fmla="*/ 115009 h 1513748"/>
                                                    <a:gd name="connsiteX192" fmla="*/ 2121732 w 4023807"/>
                                                    <a:gd name="connsiteY192" fmla="*/ 107493 h 1513748"/>
                                                    <a:gd name="connsiteX193" fmla="*/ 2108710 w 4023807"/>
                                                    <a:gd name="connsiteY193" fmla="*/ 103541 h 1513748"/>
                                                    <a:gd name="connsiteX194" fmla="*/ 2088367 w 4023807"/>
                                                    <a:gd name="connsiteY194" fmla="*/ 92398 h 1513748"/>
                                                    <a:gd name="connsiteX195" fmla="*/ 2088821 w 4023807"/>
                                                    <a:gd name="connsiteY195" fmla="*/ 81061 h 1513748"/>
                                                    <a:gd name="connsiteX196" fmla="*/ 2070487 w 4023807"/>
                                                    <a:gd name="connsiteY196" fmla="*/ 72639 h 1513748"/>
                                                    <a:gd name="connsiteX197" fmla="*/ 2036604 w 4023807"/>
                                                    <a:gd name="connsiteY197" fmla="*/ 69335 h 1513748"/>
                                                    <a:gd name="connsiteX198" fmla="*/ 2002721 w 4023807"/>
                                                    <a:gd name="connsiteY198" fmla="*/ 59552 h 1513748"/>
                                                    <a:gd name="connsiteX199" fmla="*/ 1977066 w 4023807"/>
                                                    <a:gd name="connsiteY199" fmla="*/ 76785 h 1513748"/>
                                                    <a:gd name="connsiteX200" fmla="*/ 1936898 w 4023807"/>
                                                    <a:gd name="connsiteY200" fmla="*/ 75424 h 1513748"/>
                                                    <a:gd name="connsiteX201" fmla="*/ 1946487 w 4023807"/>
                                                    <a:gd name="connsiteY201" fmla="*/ 58386 h 1513748"/>
                                                    <a:gd name="connsiteX202" fmla="*/ 1951605 w 4023807"/>
                                                    <a:gd name="connsiteY202" fmla="*/ 54952 h 1513748"/>
                                                    <a:gd name="connsiteX203" fmla="*/ 1952447 w 4023807"/>
                                                    <a:gd name="connsiteY203" fmla="*/ 45234 h 1513748"/>
                                                    <a:gd name="connsiteX204" fmla="*/ 1909624 w 4023807"/>
                                                    <a:gd name="connsiteY204" fmla="*/ 38043 h 1513748"/>
                                                    <a:gd name="connsiteX205" fmla="*/ 1901980 w 4023807"/>
                                                    <a:gd name="connsiteY205" fmla="*/ 36747 h 1513748"/>
                                                    <a:gd name="connsiteX206" fmla="*/ 1893104 w 4023807"/>
                                                    <a:gd name="connsiteY206" fmla="*/ 45364 h 1513748"/>
                                                    <a:gd name="connsiteX207" fmla="*/ 1886171 w 4023807"/>
                                                    <a:gd name="connsiteY207" fmla="*/ 32925 h 1513748"/>
                                                    <a:gd name="connsiteX208" fmla="*/ 1903988 w 4023807"/>
                                                    <a:gd name="connsiteY208" fmla="*/ 26965 h 1513748"/>
                                                    <a:gd name="connsiteX209" fmla="*/ 1922193 w 4023807"/>
                                                    <a:gd name="connsiteY209" fmla="*/ 21976 h 1513748"/>
                                                    <a:gd name="connsiteX210" fmla="*/ 1915390 w 4023807"/>
                                                    <a:gd name="connsiteY210" fmla="*/ 9473 h 1513748"/>
                                                    <a:gd name="connsiteX211" fmla="*/ 1899776 w 4023807"/>
                                                    <a:gd name="connsiteY211" fmla="*/ 5845 h 1513748"/>
                                                    <a:gd name="connsiteX212" fmla="*/ 1887726 w 4023807"/>
                                                    <a:gd name="connsiteY212" fmla="*/ 338 h 1513748"/>
                                                    <a:gd name="connsiteX213" fmla="*/ 1876518 w 4023807"/>
                                                    <a:gd name="connsiteY213" fmla="*/ 986 h 1513748"/>
                                                    <a:gd name="connsiteX214" fmla="*/ 1847818 w 4023807"/>
                                                    <a:gd name="connsiteY214" fmla="*/ 6687 h 1513748"/>
                                                    <a:gd name="connsiteX215" fmla="*/ 1843218 w 4023807"/>
                                                    <a:gd name="connsiteY215" fmla="*/ 8695 h 1513748"/>
                                                    <a:gd name="connsiteX216" fmla="*/ 1841275 w 4023807"/>
                                                    <a:gd name="connsiteY216" fmla="*/ 13295 h 1513748"/>
                                                    <a:gd name="connsiteX217" fmla="*/ 1822876 w 4023807"/>
                                                    <a:gd name="connsiteY217" fmla="*/ 23078 h 1513748"/>
                                                    <a:gd name="connsiteX218" fmla="*/ 1820414 w 4023807"/>
                                                    <a:gd name="connsiteY218" fmla="*/ 35257 h 1513748"/>
                                                    <a:gd name="connsiteX219" fmla="*/ 1810372 w 4023807"/>
                                                    <a:gd name="connsiteY219" fmla="*/ 44327 h 1513748"/>
                                                    <a:gd name="connsiteX220" fmla="*/ 1808818 w 4023807"/>
                                                    <a:gd name="connsiteY220" fmla="*/ 72250 h 1513748"/>
                                                    <a:gd name="connsiteX221" fmla="*/ 1783616 w 4023807"/>
                                                    <a:gd name="connsiteY221" fmla="*/ 74712 h 1513748"/>
                                                    <a:gd name="connsiteX222" fmla="*/ 1768326 w 4023807"/>
                                                    <a:gd name="connsiteY222" fmla="*/ 77562 h 1513748"/>
                                                    <a:gd name="connsiteX223" fmla="*/ 1804866 w 4023807"/>
                                                    <a:gd name="connsiteY223" fmla="*/ 104578 h 1513748"/>
                                                    <a:gd name="connsiteX224" fmla="*/ 1786336 w 4023807"/>
                                                    <a:gd name="connsiteY224" fmla="*/ 151936 h 1513748"/>
                                                    <a:gd name="connsiteX225" fmla="*/ 1778952 w 4023807"/>
                                                    <a:gd name="connsiteY225" fmla="*/ 159711 h 1513748"/>
                                                    <a:gd name="connsiteX226" fmla="*/ 1762949 w 4023807"/>
                                                    <a:gd name="connsiteY226" fmla="*/ 166643 h 1513748"/>
                                                    <a:gd name="connsiteX227" fmla="*/ 1749992 w 4023807"/>
                                                    <a:gd name="connsiteY227" fmla="*/ 184653 h 1513748"/>
                                                    <a:gd name="connsiteX228" fmla="*/ 1723883 w 4023807"/>
                                                    <a:gd name="connsiteY228" fmla="*/ 190549 h 1513748"/>
                                                    <a:gd name="connsiteX229" fmla="*/ 1717146 w 4023807"/>
                                                    <a:gd name="connsiteY229" fmla="*/ 188152 h 1513748"/>
                                                    <a:gd name="connsiteX230" fmla="*/ 1716757 w 4023807"/>
                                                    <a:gd name="connsiteY230" fmla="*/ 175518 h 1513748"/>
                                                    <a:gd name="connsiteX231" fmla="*/ 1711056 w 4023807"/>
                                                    <a:gd name="connsiteY231" fmla="*/ 168327 h 1513748"/>
                                                    <a:gd name="connsiteX232" fmla="*/ 1724402 w 4023807"/>
                                                    <a:gd name="connsiteY232" fmla="*/ 151742 h 1513748"/>
                                                    <a:gd name="connsiteX233" fmla="*/ 1765670 w 4023807"/>
                                                    <a:gd name="connsiteY233" fmla="*/ 131140 h 1513748"/>
                                                    <a:gd name="connsiteX234" fmla="*/ 1763921 w 4023807"/>
                                                    <a:gd name="connsiteY234" fmla="*/ 90390 h 1513748"/>
                                                    <a:gd name="connsiteX235" fmla="*/ 1724207 w 4023807"/>
                                                    <a:gd name="connsiteY235" fmla="*/ 101015 h 1513748"/>
                                                    <a:gd name="connsiteX236" fmla="*/ 1685595 w 4023807"/>
                                                    <a:gd name="connsiteY236" fmla="*/ 118118 h 1513748"/>
                                                    <a:gd name="connsiteX237" fmla="*/ 1668038 w 4023807"/>
                                                    <a:gd name="connsiteY237" fmla="*/ 110668 h 1513748"/>
                                                    <a:gd name="connsiteX238" fmla="*/ 1641670 w 4023807"/>
                                                    <a:gd name="connsiteY238" fmla="*/ 107429 h 1513748"/>
                                                    <a:gd name="connsiteX239" fmla="*/ 1611415 w 4023807"/>
                                                    <a:gd name="connsiteY239" fmla="*/ 110344 h 1513748"/>
                                                    <a:gd name="connsiteX240" fmla="*/ 1574034 w 4023807"/>
                                                    <a:gd name="connsiteY240" fmla="*/ 130622 h 1513748"/>
                                                    <a:gd name="connsiteX241" fmla="*/ 1513848 w 4023807"/>
                                                    <a:gd name="connsiteY241" fmla="*/ 152260 h 1513748"/>
                                                    <a:gd name="connsiteX242" fmla="*/ 1499206 w 4023807"/>
                                                    <a:gd name="connsiteY242" fmla="*/ 159516 h 1513748"/>
                                                    <a:gd name="connsiteX243" fmla="*/ 1496486 w 4023807"/>
                                                    <a:gd name="connsiteY243" fmla="*/ 167355 h 1513748"/>
                                                    <a:gd name="connsiteX244" fmla="*/ 1491756 w 4023807"/>
                                                    <a:gd name="connsiteY244" fmla="*/ 206356 h 1513748"/>
                                                    <a:gd name="connsiteX245" fmla="*/ 1489294 w 4023807"/>
                                                    <a:gd name="connsiteY245" fmla="*/ 214843 h 1513748"/>
                                                    <a:gd name="connsiteX246" fmla="*/ 1482945 w 4023807"/>
                                                    <a:gd name="connsiteY246" fmla="*/ 217564 h 1513748"/>
                                                    <a:gd name="connsiteX247" fmla="*/ 1428201 w 4023807"/>
                                                    <a:gd name="connsiteY247" fmla="*/ 225209 h 1513748"/>
                                                    <a:gd name="connsiteX248" fmla="*/ 1403064 w 4023807"/>
                                                    <a:gd name="connsiteY248" fmla="*/ 229938 h 1513748"/>
                                                    <a:gd name="connsiteX249" fmla="*/ 1389136 w 4023807"/>
                                                    <a:gd name="connsiteY249" fmla="*/ 237972 h 1513748"/>
                                                    <a:gd name="connsiteX250" fmla="*/ 1366849 w 4023807"/>
                                                    <a:gd name="connsiteY250" fmla="*/ 237648 h 1513748"/>
                                                    <a:gd name="connsiteX251" fmla="*/ 1344498 w 4023807"/>
                                                    <a:gd name="connsiteY251" fmla="*/ 237130 h 1513748"/>
                                                    <a:gd name="connsiteX252" fmla="*/ 1334521 w 4023807"/>
                                                    <a:gd name="connsiteY252" fmla="*/ 254622 h 1513748"/>
                                                    <a:gd name="connsiteX253" fmla="*/ 1342620 w 4023807"/>
                                                    <a:gd name="connsiteY253" fmla="*/ 269522 h 1513748"/>
                                                    <a:gd name="connsiteX254" fmla="*/ 1340417 w 4023807"/>
                                                    <a:gd name="connsiteY254" fmla="*/ 277167 h 1513748"/>
                                                    <a:gd name="connsiteX255" fmla="*/ 1344887 w 4023807"/>
                                                    <a:gd name="connsiteY255" fmla="*/ 283840 h 1513748"/>
                                                    <a:gd name="connsiteX256" fmla="*/ 1383370 w 4023807"/>
                                                    <a:gd name="connsiteY256" fmla="*/ 297380 h 1513748"/>
                                                    <a:gd name="connsiteX257" fmla="*/ 1376049 w 4023807"/>
                                                    <a:gd name="connsiteY257" fmla="*/ 326987 h 1513748"/>
                                                    <a:gd name="connsiteX258" fmla="*/ 1364193 w 4023807"/>
                                                    <a:gd name="connsiteY258" fmla="*/ 325951 h 1513748"/>
                                                    <a:gd name="connsiteX259" fmla="*/ 1320398 w 4023807"/>
                                                    <a:gd name="connsiteY259" fmla="*/ 291809 h 1513748"/>
                                                    <a:gd name="connsiteX260" fmla="*/ 1273493 w 4023807"/>
                                                    <a:gd name="connsiteY260" fmla="*/ 283387 h 1513748"/>
                                                    <a:gd name="connsiteX261" fmla="*/ 1267921 w 4023807"/>
                                                    <a:gd name="connsiteY261" fmla="*/ 279564 h 1513748"/>
                                                    <a:gd name="connsiteX262" fmla="*/ 1261443 w 4023807"/>
                                                    <a:gd name="connsiteY262" fmla="*/ 280990 h 1513748"/>
                                                    <a:gd name="connsiteX263" fmla="*/ 1252438 w 4023807"/>
                                                    <a:gd name="connsiteY263" fmla="*/ 285136 h 1513748"/>
                                                    <a:gd name="connsiteX264" fmla="*/ 1248680 w 4023807"/>
                                                    <a:gd name="connsiteY264" fmla="*/ 288246 h 1513748"/>
                                                    <a:gd name="connsiteX265" fmla="*/ 1249393 w 4023807"/>
                                                    <a:gd name="connsiteY265" fmla="*/ 292586 h 1513748"/>
                                                    <a:gd name="connsiteX266" fmla="*/ 1265460 w 4023807"/>
                                                    <a:gd name="connsiteY266" fmla="*/ 303794 h 1513748"/>
                                                    <a:gd name="connsiteX267" fmla="*/ 1282498 w 4023807"/>
                                                    <a:gd name="connsiteY267" fmla="*/ 313706 h 1513748"/>
                                                    <a:gd name="connsiteX268" fmla="*/ 1280166 w 4023807"/>
                                                    <a:gd name="connsiteY268" fmla="*/ 330939 h 1513748"/>
                                                    <a:gd name="connsiteX269" fmla="*/ 1244923 w 4023807"/>
                                                    <a:gd name="connsiteY269" fmla="*/ 313512 h 1513748"/>
                                                    <a:gd name="connsiteX270" fmla="*/ 1228014 w 4023807"/>
                                                    <a:gd name="connsiteY270" fmla="*/ 315715 h 1513748"/>
                                                    <a:gd name="connsiteX271" fmla="*/ 1231771 w 4023807"/>
                                                    <a:gd name="connsiteY271" fmla="*/ 324396 h 1513748"/>
                                                    <a:gd name="connsiteX272" fmla="*/ 1270059 w 4023807"/>
                                                    <a:gd name="connsiteY272" fmla="*/ 348237 h 1513748"/>
                                                    <a:gd name="connsiteX273" fmla="*/ 1279842 w 4023807"/>
                                                    <a:gd name="connsiteY273" fmla="*/ 359251 h 1513748"/>
                                                    <a:gd name="connsiteX274" fmla="*/ 1291245 w 4023807"/>
                                                    <a:gd name="connsiteY274" fmla="*/ 369616 h 1513748"/>
                                                    <a:gd name="connsiteX275" fmla="*/ 1241359 w 4023807"/>
                                                    <a:gd name="connsiteY275" fmla="*/ 346812 h 1513748"/>
                                                    <a:gd name="connsiteX276" fmla="*/ 1221924 w 4023807"/>
                                                    <a:gd name="connsiteY276" fmla="*/ 347524 h 1513748"/>
                                                    <a:gd name="connsiteX277" fmla="*/ 1207930 w 4023807"/>
                                                    <a:gd name="connsiteY277" fmla="*/ 335280 h 1513748"/>
                                                    <a:gd name="connsiteX278" fmla="*/ 1208643 w 4023807"/>
                                                    <a:gd name="connsiteY278" fmla="*/ 321740 h 1513748"/>
                                                    <a:gd name="connsiteX279" fmla="*/ 1203201 w 4023807"/>
                                                    <a:gd name="connsiteY279" fmla="*/ 310337 h 1513748"/>
                                                    <a:gd name="connsiteX280" fmla="*/ 1215380 w 4023807"/>
                                                    <a:gd name="connsiteY280" fmla="*/ 284034 h 1513748"/>
                                                    <a:gd name="connsiteX281" fmla="*/ 1194778 w 4023807"/>
                                                    <a:gd name="connsiteY281" fmla="*/ 271142 h 1513748"/>
                                                    <a:gd name="connsiteX282" fmla="*/ 1197953 w 4023807"/>
                                                    <a:gd name="connsiteY282" fmla="*/ 291485 h 1513748"/>
                                                    <a:gd name="connsiteX283" fmla="*/ 1198147 w 4023807"/>
                                                    <a:gd name="connsiteY283" fmla="*/ 298028 h 1513748"/>
                                                    <a:gd name="connsiteX284" fmla="*/ 1190373 w 4023807"/>
                                                    <a:gd name="connsiteY284" fmla="*/ 306839 h 1513748"/>
                                                    <a:gd name="connsiteX285" fmla="*/ 1159211 w 4023807"/>
                                                    <a:gd name="connsiteY285" fmla="*/ 328542 h 1513748"/>
                                                    <a:gd name="connsiteX286" fmla="*/ 1152927 w 4023807"/>
                                                    <a:gd name="connsiteY286" fmla="*/ 342082 h 1513748"/>
                                                    <a:gd name="connsiteX287" fmla="*/ 1161479 w 4023807"/>
                                                    <a:gd name="connsiteY287" fmla="*/ 347395 h 1513748"/>
                                                    <a:gd name="connsiteX288" fmla="*/ 1165236 w 4023807"/>
                                                    <a:gd name="connsiteY288" fmla="*/ 358473 h 1513748"/>
                                                    <a:gd name="connsiteX289" fmla="*/ 1173075 w 4023807"/>
                                                    <a:gd name="connsiteY289" fmla="*/ 364693 h 1513748"/>
                                                    <a:gd name="connsiteX290" fmla="*/ 1181821 w 4023807"/>
                                                    <a:gd name="connsiteY290" fmla="*/ 386202 h 1513748"/>
                                                    <a:gd name="connsiteX291" fmla="*/ 1165236 w 4023807"/>
                                                    <a:gd name="connsiteY291" fmla="*/ 402528 h 1513748"/>
                                                    <a:gd name="connsiteX292" fmla="*/ 1167763 w 4023807"/>
                                                    <a:gd name="connsiteY292" fmla="*/ 458632 h 1513748"/>
                                                    <a:gd name="connsiteX293" fmla="*/ 1225876 w 4023807"/>
                                                    <a:gd name="connsiteY293" fmla="*/ 443602 h 1513748"/>
                                                    <a:gd name="connsiteX294" fmla="*/ 1234881 w 4023807"/>
                                                    <a:gd name="connsiteY294" fmla="*/ 445999 h 1513748"/>
                                                    <a:gd name="connsiteX295" fmla="*/ 1241942 w 4023807"/>
                                                    <a:gd name="connsiteY295" fmla="*/ 453514 h 1513748"/>
                                                    <a:gd name="connsiteX296" fmla="*/ 1260730 w 4023807"/>
                                                    <a:gd name="connsiteY296" fmla="*/ 464787 h 1513748"/>
                                                    <a:gd name="connsiteX297" fmla="*/ 1268570 w 4023807"/>
                                                    <a:gd name="connsiteY297" fmla="*/ 483186 h 1513748"/>
                                                    <a:gd name="connsiteX298" fmla="*/ 1263062 w 4023807"/>
                                                    <a:gd name="connsiteY298" fmla="*/ 489664 h 1513748"/>
                                                    <a:gd name="connsiteX299" fmla="*/ 1264747 w 4023807"/>
                                                    <a:gd name="connsiteY299" fmla="*/ 512793 h 1513748"/>
                                                    <a:gd name="connsiteX300" fmla="*/ 1285414 w 4023807"/>
                                                    <a:gd name="connsiteY300" fmla="*/ 526333 h 1513748"/>
                                                    <a:gd name="connsiteX301" fmla="*/ 1291309 w 4023807"/>
                                                    <a:gd name="connsiteY301" fmla="*/ 530674 h 1513748"/>
                                                    <a:gd name="connsiteX302" fmla="*/ 1285543 w 4023807"/>
                                                    <a:gd name="connsiteY302" fmla="*/ 540068 h 1513748"/>
                                                    <a:gd name="connsiteX303" fmla="*/ 1251920 w 4023807"/>
                                                    <a:gd name="connsiteY303" fmla="*/ 524843 h 1513748"/>
                                                    <a:gd name="connsiteX304" fmla="*/ 1247643 w 4023807"/>
                                                    <a:gd name="connsiteY304" fmla="*/ 485000 h 1513748"/>
                                                    <a:gd name="connsiteX305" fmla="*/ 1245311 w 4023807"/>
                                                    <a:gd name="connsiteY305" fmla="*/ 470553 h 1513748"/>
                                                    <a:gd name="connsiteX306" fmla="*/ 1218166 w 4023807"/>
                                                    <a:gd name="connsiteY306" fmla="*/ 465175 h 1513748"/>
                                                    <a:gd name="connsiteX307" fmla="*/ 1215704 w 4023807"/>
                                                    <a:gd name="connsiteY307" fmla="*/ 464722 h 1513748"/>
                                                    <a:gd name="connsiteX308" fmla="*/ 1197176 w 4023807"/>
                                                    <a:gd name="connsiteY308" fmla="*/ 463880 h 1513748"/>
                                                    <a:gd name="connsiteX309" fmla="*/ 1185643 w 4023807"/>
                                                    <a:gd name="connsiteY309" fmla="*/ 476837 h 1513748"/>
                                                    <a:gd name="connsiteX310" fmla="*/ 1192511 w 4023807"/>
                                                    <a:gd name="connsiteY310" fmla="*/ 492580 h 1513748"/>
                                                    <a:gd name="connsiteX311" fmla="*/ 1185384 w 4023807"/>
                                                    <a:gd name="connsiteY311" fmla="*/ 523094 h 1513748"/>
                                                    <a:gd name="connsiteX312" fmla="*/ 1179295 w 4023807"/>
                                                    <a:gd name="connsiteY312" fmla="*/ 533524 h 1513748"/>
                                                    <a:gd name="connsiteX313" fmla="*/ 1156555 w 4023807"/>
                                                    <a:gd name="connsiteY313" fmla="*/ 561836 h 1513748"/>
                                                    <a:gd name="connsiteX314" fmla="*/ 1137573 w 4023807"/>
                                                    <a:gd name="connsiteY314" fmla="*/ 574793 h 1513748"/>
                                                    <a:gd name="connsiteX315" fmla="*/ 1126559 w 4023807"/>
                                                    <a:gd name="connsiteY315" fmla="*/ 587815 h 1513748"/>
                                                    <a:gd name="connsiteX316" fmla="*/ 1112436 w 4023807"/>
                                                    <a:gd name="connsiteY316" fmla="*/ 581854 h 1513748"/>
                                                    <a:gd name="connsiteX317" fmla="*/ 1108354 w 4023807"/>
                                                    <a:gd name="connsiteY317" fmla="*/ 565917 h 1513748"/>
                                                    <a:gd name="connsiteX318" fmla="*/ 1108937 w 4023807"/>
                                                    <a:gd name="connsiteY318" fmla="*/ 556329 h 1513748"/>
                                                    <a:gd name="connsiteX319" fmla="*/ 1116517 w 4023807"/>
                                                    <a:gd name="connsiteY319" fmla="*/ 547194 h 1513748"/>
                                                    <a:gd name="connsiteX320" fmla="*/ 1125069 w 4023807"/>
                                                    <a:gd name="connsiteY320" fmla="*/ 530868 h 1513748"/>
                                                    <a:gd name="connsiteX321" fmla="*/ 1153704 w 4023807"/>
                                                    <a:gd name="connsiteY321" fmla="*/ 491284 h 1513748"/>
                                                    <a:gd name="connsiteX322" fmla="*/ 1159600 w 4023807"/>
                                                    <a:gd name="connsiteY322" fmla="*/ 483380 h 1513748"/>
                                                    <a:gd name="connsiteX323" fmla="*/ 1144829 w 4023807"/>
                                                    <a:gd name="connsiteY323" fmla="*/ 467054 h 1513748"/>
                                                    <a:gd name="connsiteX324" fmla="*/ 1134074 w 4023807"/>
                                                    <a:gd name="connsiteY324" fmla="*/ 437253 h 1513748"/>
                                                    <a:gd name="connsiteX325" fmla="*/ 1141589 w 4023807"/>
                                                    <a:gd name="connsiteY325" fmla="*/ 389635 h 1513748"/>
                                                    <a:gd name="connsiteX326" fmla="*/ 1147679 w 4023807"/>
                                                    <a:gd name="connsiteY326" fmla="*/ 379334 h 1513748"/>
                                                    <a:gd name="connsiteX327" fmla="*/ 1146513 w 4023807"/>
                                                    <a:gd name="connsiteY327" fmla="*/ 371301 h 1513748"/>
                                                    <a:gd name="connsiteX328" fmla="*/ 1116582 w 4023807"/>
                                                    <a:gd name="connsiteY328" fmla="*/ 342406 h 1513748"/>
                                                    <a:gd name="connsiteX329" fmla="*/ 1137378 w 4023807"/>
                                                    <a:gd name="connsiteY329" fmla="*/ 310856 h 1513748"/>
                                                    <a:gd name="connsiteX330" fmla="*/ 1142302 w 4023807"/>
                                                    <a:gd name="connsiteY330" fmla="*/ 272503 h 1513748"/>
                                                    <a:gd name="connsiteX331" fmla="*/ 1135759 w 4023807"/>
                                                    <a:gd name="connsiteY331" fmla="*/ 268162 h 1513748"/>
                                                    <a:gd name="connsiteX332" fmla="*/ 1087105 w 4023807"/>
                                                    <a:gd name="connsiteY332" fmla="*/ 264534 h 1513748"/>
                                                    <a:gd name="connsiteX333" fmla="*/ 1080691 w 4023807"/>
                                                    <a:gd name="connsiteY333" fmla="*/ 267255 h 1513748"/>
                                                    <a:gd name="connsiteX334" fmla="*/ 1074277 w 4023807"/>
                                                    <a:gd name="connsiteY334" fmla="*/ 280147 h 1513748"/>
                                                    <a:gd name="connsiteX335" fmla="*/ 1060542 w 4023807"/>
                                                    <a:gd name="connsiteY335" fmla="*/ 315002 h 1513748"/>
                                                    <a:gd name="connsiteX336" fmla="*/ 1037414 w 4023807"/>
                                                    <a:gd name="connsiteY336" fmla="*/ 336835 h 1513748"/>
                                                    <a:gd name="connsiteX337" fmla="*/ 1008714 w 4023807"/>
                                                    <a:gd name="connsiteY337" fmla="*/ 359121 h 1513748"/>
                                                    <a:gd name="connsiteX338" fmla="*/ 997571 w 4023807"/>
                                                    <a:gd name="connsiteY338" fmla="*/ 372013 h 1513748"/>
                                                    <a:gd name="connsiteX339" fmla="*/ 999385 w 4023807"/>
                                                    <a:gd name="connsiteY339" fmla="*/ 392810 h 1513748"/>
                                                    <a:gd name="connsiteX340" fmla="*/ 991286 w 4023807"/>
                                                    <a:gd name="connsiteY340" fmla="*/ 410107 h 1513748"/>
                                                    <a:gd name="connsiteX341" fmla="*/ 1003207 w 4023807"/>
                                                    <a:gd name="connsiteY341" fmla="*/ 425332 h 1513748"/>
                                                    <a:gd name="connsiteX342" fmla="*/ 1024457 w 4023807"/>
                                                    <a:gd name="connsiteY342" fmla="*/ 432912 h 1513748"/>
                                                    <a:gd name="connsiteX343" fmla="*/ 1026595 w 4023807"/>
                                                    <a:gd name="connsiteY343" fmla="*/ 446323 h 1513748"/>
                                                    <a:gd name="connsiteX344" fmla="*/ 1035859 w 4023807"/>
                                                    <a:gd name="connsiteY344" fmla="*/ 453643 h 1513748"/>
                                                    <a:gd name="connsiteX345" fmla="*/ 1049529 w 4023807"/>
                                                    <a:gd name="connsiteY345" fmla="*/ 474116 h 1513748"/>
                                                    <a:gd name="connsiteX346" fmla="*/ 1040264 w 4023807"/>
                                                    <a:gd name="connsiteY346" fmla="*/ 490053 h 1513748"/>
                                                    <a:gd name="connsiteX347" fmla="*/ 1015970 w 4023807"/>
                                                    <a:gd name="connsiteY347" fmla="*/ 479493 h 1513748"/>
                                                    <a:gd name="connsiteX348" fmla="*/ 962003 w 4023807"/>
                                                    <a:gd name="connsiteY348" fmla="*/ 447294 h 1513748"/>
                                                    <a:gd name="connsiteX349" fmla="*/ 936996 w 4023807"/>
                                                    <a:gd name="connsiteY349" fmla="*/ 436216 h 1513748"/>
                                                    <a:gd name="connsiteX350" fmla="*/ 898189 w 4023807"/>
                                                    <a:gd name="connsiteY350" fmla="*/ 433430 h 1513748"/>
                                                    <a:gd name="connsiteX351" fmla="*/ 877005 w 4023807"/>
                                                    <a:gd name="connsiteY351" fmla="*/ 428377 h 1513748"/>
                                                    <a:gd name="connsiteX352" fmla="*/ 871692 w 4023807"/>
                                                    <a:gd name="connsiteY352" fmla="*/ 421186 h 1513748"/>
                                                    <a:gd name="connsiteX353" fmla="*/ 854589 w 4023807"/>
                                                    <a:gd name="connsiteY353" fmla="*/ 418400 h 1513748"/>
                                                    <a:gd name="connsiteX354" fmla="*/ 825694 w 4023807"/>
                                                    <a:gd name="connsiteY354" fmla="*/ 407905 h 1513748"/>
                                                    <a:gd name="connsiteX355" fmla="*/ 784620 w 4023807"/>
                                                    <a:gd name="connsiteY355" fmla="*/ 394818 h 1513748"/>
                                                    <a:gd name="connsiteX356" fmla="*/ 799456 w 4023807"/>
                                                    <a:gd name="connsiteY356" fmla="*/ 414448 h 1513748"/>
                                                    <a:gd name="connsiteX357" fmla="*/ 825176 w 4023807"/>
                                                    <a:gd name="connsiteY357" fmla="*/ 417947 h 1513748"/>
                                                    <a:gd name="connsiteX358" fmla="*/ 829063 w 4023807"/>
                                                    <a:gd name="connsiteY358" fmla="*/ 437641 h 1513748"/>
                                                    <a:gd name="connsiteX359" fmla="*/ 840401 w 4023807"/>
                                                    <a:gd name="connsiteY359" fmla="*/ 453708 h 1513748"/>
                                                    <a:gd name="connsiteX360" fmla="*/ 847915 w 4023807"/>
                                                    <a:gd name="connsiteY360" fmla="*/ 460835 h 1513748"/>
                                                    <a:gd name="connsiteX361" fmla="*/ 819993 w 4023807"/>
                                                    <a:gd name="connsiteY361" fmla="*/ 475088 h 1513748"/>
                                                    <a:gd name="connsiteX362" fmla="*/ 820187 w 4023807"/>
                                                    <a:gd name="connsiteY362" fmla="*/ 490247 h 1513748"/>
                                                    <a:gd name="connsiteX363" fmla="*/ 787600 w 4023807"/>
                                                    <a:gd name="connsiteY363" fmla="*/ 480206 h 1513748"/>
                                                    <a:gd name="connsiteX364" fmla="*/ 802436 w 4023807"/>
                                                    <a:gd name="connsiteY364" fmla="*/ 466471 h 1513748"/>
                                                    <a:gd name="connsiteX365" fmla="*/ 787665 w 4023807"/>
                                                    <a:gd name="connsiteY365" fmla="*/ 456624 h 1513748"/>
                                                    <a:gd name="connsiteX366" fmla="*/ 770756 w 4023807"/>
                                                    <a:gd name="connsiteY366" fmla="*/ 459928 h 1513748"/>
                                                    <a:gd name="connsiteX367" fmla="*/ 762852 w 4023807"/>
                                                    <a:gd name="connsiteY367" fmla="*/ 467313 h 1513748"/>
                                                    <a:gd name="connsiteX368" fmla="*/ 754171 w 4023807"/>
                                                    <a:gd name="connsiteY368" fmla="*/ 473079 h 1513748"/>
                                                    <a:gd name="connsiteX369" fmla="*/ 748729 w 4023807"/>
                                                    <a:gd name="connsiteY369" fmla="*/ 484741 h 1513748"/>
                                                    <a:gd name="connsiteX370" fmla="*/ 734605 w 4023807"/>
                                                    <a:gd name="connsiteY370" fmla="*/ 480724 h 1513748"/>
                                                    <a:gd name="connsiteX371" fmla="*/ 721778 w 4023807"/>
                                                    <a:gd name="connsiteY371" fmla="*/ 472690 h 1513748"/>
                                                    <a:gd name="connsiteX372" fmla="*/ 699427 w 4023807"/>
                                                    <a:gd name="connsiteY372" fmla="*/ 482797 h 1513748"/>
                                                    <a:gd name="connsiteX373" fmla="*/ 697807 w 4023807"/>
                                                    <a:gd name="connsiteY373" fmla="*/ 486101 h 1513748"/>
                                                    <a:gd name="connsiteX374" fmla="*/ 691199 w 4023807"/>
                                                    <a:gd name="connsiteY374" fmla="*/ 490701 h 1513748"/>
                                                    <a:gd name="connsiteX375" fmla="*/ 689255 w 4023807"/>
                                                    <a:gd name="connsiteY375" fmla="*/ 500354 h 1513748"/>
                                                    <a:gd name="connsiteX376" fmla="*/ 685951 w 4023807"/>
                                                    <a:gd name="connsiteY376" fmla="*/ 501520 h 1513748"/>
                                                    <a:gd name="connsiteX377" fmla="*/ 657316 w 4023807"/>
                                                    <a:gd name="connsiteY377" fmla="*/ 498151 h 1513748"/>
                                                    <a:gd name="connsiteX378" fmla="*/ 650449 w 4023807"/>
                                                    <a:gd name="connsiteY378" fmla="*/ 489405 h 1513748"/>
                                                    <a:gd name="connsiteX379" fmla="*/ 653883 w 4023807"/>
                                                    <a:gd name="connsiteY379" fmla="*/ 481890 h 1513748"/>
                                                    <a:gd name="connsiteX380" fmla="*/ 663471 w 4023807"/>
                                                    <a:gd name="connsiteY380" fmla="*/ 479882 h 1513748"/>
                                                    <a:gd name="connsiteX381" fmla="*/ 670079 w 4023807"/>
                                                    <a:gd name="connsiteY381" fmla="*/ 468803 h 1513748"/>
                                                    <a:gd name="connsiteX382" fmla="*/ 667358 w 4023807"/>
                                                    <a:gd name="connsiteY382" fmla="*/ 455522 h 1513748"/>
                                                    <a:gd name="connsiteX383" fmla="*/ 665285 w 4023807"/>
                                                    <a:gd name="connsiteY383" fmla="*/ 452348 h 1513748"/>
                                                    <a:gd name="connsiteX384" fmla="*/ 656927 w 4023807"/>
                                                    <a:gd name="connsiteY384" fmla="*/ 459021 h 1513748"/>
                                                    <a:gd name="connsiteX385" fmla="*/ 650125 w 4023807"/>
                                                    <a:gd name="connsiteY385" fmla="*/ 461159 h 1513748"/>
                                                    <a:gd name="connsiteX386" fmla="*/ 639889 w 4023807"/>
                                                    <a:gd name="connsiteY386" fmla="*/ 482927 h 1513748"/>
                                                    <a:gd name="connsiteX387" fmla="*/ 622073 w 4023807"/>
                                                    <a:gd name="connsiteY387" fmla="*/ 477744 h 1513748"/>
                                                    <a:gd name="connsiteX388" fmla="*/ 620259 w 4023807"/>
                                                    <a:gd name="connsiteY388" fmla="*/ 473727 h 1513748"/>
                                                    <a:gd name="connsiteX389" fmla="*/ 612549 w 4023807"/>
                                                    <a:gd name="connsiteY389" fmla="*/ 473792 h 1513748"/>
                                                    <a:gd name="connsiteX390" fmla="*/ 576399 w 4023807"/>
                                                    <a:gd name="connsiteY390" fmla="*/ 489600 h 1513748"/>
                                                    <a:gd name="connsiteX391" fmla="*/ 570439 w 4023807"/>
                                                    <a:gd name="connsiteY391" fmla="*/ 490507 h 1513748"/>
                                                    <a:gd name="connsiteX392" fmla="*/ 564867 w 4023807"/>
                                                    <a:gd name="connsiteY392" fmla="*/ 495949 h 1513748"/>
                                                    <a:gd name="connsiteX393" fmla="*/ 548606 w 4023807"/>
                                                    <a:gd name="connsiteY393" fmla="*/ 508582 h 1513748"/>
                                                    <a:gd name="connsiteX394" fmla="*/ 543552 w 4023807"/>
                                                    <a:gd name="connsiteY394" fmla="*/ 511238 h 1513748"/>
                                                    <a:gd name="connsiteX395" fmla="*/ 539212 w 4023807"/>
                                                    <a:gd name="connsiteY395" fmla="*/ 520438 h 1513748"/>
                                                    <a:gd name="connsiteX396" fmla="*/ 525736 w 4023807"/>
                                                    <a:gd name="connsiteY396" fmla="*/ 519919 h 1513748"/>
                                                    <a:gd name="connsiteX397" fmla="*/ 513945 w 4023807"/>
                                                    <a:gd name="connsiteY397" fmla="*/ 524973 h 1513748"/>
                                                    <a:gd name="connsiteX398" fmla="*/ 512779 w 4023807"/>
                                                    <a:gd name="connsiteY398" fmla="*/ 529637 h 1513748"/>
                                                    <a:gd name="connsiteX399" fmla="*/ 509475 w 4023807"/>
                                                    <a:gd name="connsiteY399" fmla="*/ 554191 h 1513748"/>
                                                    <a:gd name="connsiteX400" fmla="*/ 468919 w 4023807"/>
                                                    <a:gd name="connsiteY400" fmla="*/ 554580 h 1513748"/>
                                                    <a:gd name="connsiteX401" fmla="*/ 456934 w 4023807"/>
                                                    <a:gd name="connsiteY401" fmla="*/ 551146 h 1513748"/>
                                                    <a:gd name="connsiteX402" fmla="*/ 449678 w 4023807"/>
                                                    <a:gd name="connsiteY402" fmla="*/ 539679 h 1513748"/>
                                                    <a:gd name="connsiteX403" fmla="*/ 443005 w 4023807"/>
                                                    <a:gd name="connsiteY403" fmla="*/ 536764 h 1513748"/>
                                                    <a:gd name="connsiteX404" fmla="*/ 441709 w 4023807"/>
                                                    <a:gd name="connsiteY404" fmla="*/ 531127 h 1513748"/>
                                                    <a:gd name="connsiteX405" fmla="*/ 443458 w 4023807"/>
                                                    <a:gd name="connsiteY405" fmla="*/ 513052 h 1513748"/>
                                                    <a:gd name="connsiteX406" fmla="*/ 444884 w 4023807"/>
                                                    <a:gd name="connsiteY406" fmla="*/ 509618 h 1513748"/>
                                                    <a:gd name="connsiteX407" fmla="*/ 451880 w 4023807"/>
                                                    <a:gd name="connsiteY407" fmla="*/ 509100 h 1513748"/>
                                                    <a:gd name="connsiteX408" fmla="*/ 460756 w 4023807"/>
                                                    <a:gd name="connsiteY408" fmla="*/ 504759 h 1513748"/>
                                                    <a:gd name="connsiteX409" fmla="*/ 484144 w 4023807"/>
                                                    <a:gd name="connsiteY409" fmla="*/ 507286 h 1513748"/>
                                                    <a:gd name="connsiteX410" fmla="*/ 478054 w 4023807"/>
                                                    <a:gd name="connsiteY410" fmla="*/ 499706 h 1513748"/>
                                                    <a:gd name="connsiteX411" fmla="*/ 474037 w 4023807"/>
                                                    <a:gd name="connsiteY411" fmla="*/ 489081 h 1513748"/>
                                                    <a:gd name="connsiteX412" fmla="*/ 463348 w 4023807"/>
                                                    <a:gd name="connsiteY412" fmla="*/ 483769 h 1513748"/>
                                                    <a:gd name="connsiteX413" fmla="*/ 460692 w 4023807"/>
                                                    <a:gd name="connsiteY413" fmla="*/ 473597 h 1513748"/>
                                                    <a:gd name="connsiteX414" fmla="*/ 449095 w 4023807"/>
                                                    <a:gd name="connsiteY414" fmla="*/ 471524 h 1513748"/>
                                                    <a:gd name="connsiteX415" fmla="*/ 430566 w 4023807"/>
                                                    <a:gd name="connsiteY415" fmla="*/ 472690 h 1513748"/>
                                                    <a:gd name="connsiteX416" fmla="*/ 423180 w 4023807"/>
                                                    <a:gd name="connsiteY416" fmla="*/ 474893 h 1513748"/>
                                                    <a:gd name="connsiteX417" fmla="*/ 418192 w 4023807"/>
                                                    <a:gd name="connsiteY417" fmla="*/ 495754 h 1513748"/>
                                                    <a:gd name="connsiteX418" fmla="*/ 419164 w 4023807"/>
                                                    <a:gd name="connsiteY418" fmla="*/ 518235 h 1513748"/>
                                                    <a:gd name="connsiteX419" fmla="*/ 403097 w 4023807"/>
                                                    <a:gd name="connsiteY419" fmla="*/ 532164 h 1513748"/>
                                                    <a:gd name="connsiteX420" fmla="*/ 413139 w 4023807"/>
                                                    <a:gd name="connsiteY420" fmla="*/ 540780 h 1513748"/>
                                                    <a:gd name="connsiteX421" fmla="*/ 426808 w 4023807"/>
                                                    <a:gd name="connsiteY421" fmla="*/ 544862 h 1513748"/>
                                                    <a:gd name="connsiteX422" fmla="*/ 429594 w 4023807"/>
                                                    <a:gd name="connsiteY422" fmla="*/ 561771 h 1513748"/>
                                                    <a:gd name="connsiteX423" fmla="*/ 428104 w 4023807"/>
                                                    <a:gd name="connsiteY423" fmla="*/ 571359 h 1513748"/>
                                                    <a:gd name="connsiteX424" fmla="*/ 418192 w 4023807"/>
                                                    <a:gd name="connsiteY424" fmla="*/ 591443 h 1513748"/>
                                                    <a:gd name="connsiteX425" fmla="*/ 412102 w 4023807"/>
                                                    <a:gd name="connsiteY425" fmla="*/ 591637 h 1513748"/>
                                                    <a:gd name="connsiteX426" fmla="*/ 404587 w 4023807"/>
                                                    <a:gd name="connsiteY426" fmla="*/ 573238 h 1513748"/>
                                                    <a:gd name="connsiteX427" fmla="*/ 401024 w 4023807"/>
                                                    <a:gd name="connsiteY427" fmla="*/ 567213 h 1513748"/>
                                                    <a:gd name="connsiteX428" fmla="*/ 393055 w 4023807"/>
                                                    <a:gd name="connsiteY428" fmla="*/ 563844 h 1513748"/>
                                                    <a:gd name="connsiteX429" fmla="*/ 367983 w 4023807"/>
                                                    <a:gd name="connsiteY429" fmla="*/ 565010 h 1513748"/>
                                                    <a:gd name="connsiteX430" fmla="*/ 350945 w 4023807"/>
                                                    <a:gd name="connsiteY430" fmla="*/ 579133 h 1513748"/>
                                                    <a:gd name="connsiteX431" fmla="*/ 345826 w 4023807"/>
                                                    <a:gd name="connsiteY431" fmla="*/ 580947 h 1513748"/>
                                                    <a:gd name="connsiteX432" fmla="*/ 343818 w 4023807"/>
                                                    <a:gd name="connsiteY432" fmla="*/ 587944 h 1513748"/>
                                                    <a:gd name="connsiteX433" fmla="*/ 336238 w 4023807"/>
                                                    <a:gd name="connsiteY433" fmla="*/ 592220 h 1513748"/>
                                                    <a:gd name="connsiteX434" fmla="*/ 315183 w 4023807"/>
                                                    <a:gd name="connsiteY434" fmla="*/ 623382 h 1513748"/>
                                                    <a:gd name="connsiteX435" fmla="*/ 319070 w 4023807"/>
                                                    <a:gd name="connsiteY435" fmla="*/ 633748 h 1513748"/>
                                                    <a:gd name="connsiteX436" fmla="*/ 328270 w 4023807"/>
                                                    <a:gd name="connsiteY436" fmla="*/ 641393 h 1513748"/>
                                                    <a:gd name="connsiteX437" fmla="*/ 330083 w 4023807"/>
                                                    <a:gd name="connsiteY437" fmla="*/ 652082 h 1513748"/>
                                                    <a:gd name="connsiteX438" fmla="*/ 325354 w 4023807"/>
                                                    <a:gd name="connsiteY438" fmla="*/ 654479 h 1513748"/>
                                                    <a:gd name="connsiteX439" fmla="*/ 272748 w 4023807"/>
                                                    <a:gd name="connsiteY439" fmla="*/ 643336 h 1513748"/>
                                                    <a:gd name="connsiteX440" fmla="*/ 268667 w 4023807"/>
                                                    <a:gd name="connsiteY440" fmla="*/ 642494 h 1513748"/>
                                                    <a:gd name="connsiteX441" fmla="*/ 265298 w 4023807"/>
                                                    <a:gd name="connsiteY441" fmla="*/ 638866 h 1513748"/>
                                                    <a:gd name="connsiteX442" fmla="*/ 244566 w 4023807"/>
                                                    <a:gd name="connsiteY442" fmla="*/ 624483 h 1513748"/>
                                                    <a:gd name="connsiteX443" fmla="*/ 229406 w 4023807"/>
                                                    <a:gd name="connsiteY443" fmla="*/ 646122 h 1513748"/>
                                                    <a:gd name="connsiteX444" fmla="*/ 229730 w 4023807"/>
                                                    <a:gd name="connsiteY444" fmla="*/ 649361 h 1513748"/>
                                                    <a:gd name="connsiteX445" fmla="*/ 238541 w 4023807"/>
                                                    <a:gd name="connsiteY445" fmla="*/ 652989 h 1513748"/>
                                                    <a:gd name="connsiteX446" fmla="*/ 241197 w 4023807"/>
                                                    <a:gd name="connsiteY446" fmla="*/ 659986 h 1513748"/>
                                                    <a:gd name="connsiteX447" fmla="*/ 268148 w 4023807"/>
                                                    <a:gd name="connsiteY447" fmla="*/ 665622 h 1513748"/>
                                                    <a:gd name="connsiteX448" fmla="*/ 269509 w 4023807"/>
                                                    <a:gd name="connsiteY448" fmla="*/ 685512 h 1513748"/>
                                                    <a:gd name="connsiteX449" fmla="*/ 251952 w 4023807"/>
                                                    <a:gd name="connsiteY449" fmla="*/ 689917 h 1513748"/>
                                                    <a:gd name="connsiteX450" fmla="*/ 233229 w 4023807"/>
                                                    <a:gd name="connsiteY450" fmla="*/ 686159 h 1513748"/>
                                                    <a:gd name="connsiteX451" fmla="*/ 229147 w 4023807"/>
                                                    <a:gd name="connsiteY451" fmla="*/ 685900 h 1513748"/>
                                                    <a:gd name="connsiteX452" fmla="*/ 225778 w 4023807"/>
                                                    <a:gd name="connsiteY452" fmla="*/ 682531 h 1513748"/>
                                                    <a:gd name="connsiteX453" fmla="*/ 215542 w 4023807"/>
                                                    <a:gd name="connsiteY453" fmla="*/ 667112 h 1513748"/>
                                                    <a:gd name="connsiteX454" fmla="*/ 191183 w 4023807"/>
                                                    <a:gd name="connsiteY454" fmla="*/ 666011 h 1513748"/>
                                                    <a:gd name="connsiteX455" fmla="*/ 187166 w 4023807"/>
                                                    <a:gd name="connsiteY455" fmla="*/ 664845 h 1513748"/>
                                                    <a:gd name="connsiteX456" fmla="*/ 185870 w 4023807"/>
                                                    <a:gd name="connsiteY456" fmla="*/ 661541 h 1513748"/>
                                                    <a:gd name="connsiteX457" fmla="*/ 186259 w 4023807"/>
                                                    <a:gd name="connsiteY457" fmla="*/ 645539 h 1513748"/>
                                                    <a:gd name="connsiteX458" fmla="*/ 175829 w 4023807"/>
                                                    <a:gd name="connsiteY458" fmla="*/ 636080 h 1513748"/>
                                                    <a:gd name="connsiteX459" fmla="*/ 174274 w 4023807"/>
                                                    <a:gd name="connsiteY459" fmla="*/ 622540 h 1513748"/>
                                                    <a:gd name="connsiteX460" fmla="*/ 176671 w 4023807"/>
                                                    <a:gd name="connsiteY460" fmla="*/ 609907 h 1513748"/>
                                                    <a:gd name="connsiteX461" fmla="*/ 182242 w 4023807"/>
                                                    <a:gd name="connsiteY461" fmla="*/ 607574 h 1513748"/>
                                                    <a:gd name="connsiteX462" fmla="*/ 183473 w 4023807"/>
                                                    <a:gd name="connsiteY462" fmla="*/ 603234 h 1513748"/>
                                                    <a:gd name="connsiteX463" fmla="*/ 184251 w 4023807"/>
                                                    <a:gd name="connsiteY463" fmla="*/ 584057 h 1513748"/>
                                                    <a:gd name="connsiteX464" fmla="*/ 166953 w 4023807"/>
                                                    <a:gd name="connsiteY464" fmla="*/ 580623 h 1513748"/>
                                                    <a:gd name="connsiteX465" fmla="*/ 150303 w 4023807"/>
                                                    <a:gd name="connsiteY465" fmla="*/ 572914 h 1513748"/>
                                                    <a:gd name="connsiteX466" fmla="*/ 144213 w 4023807"/>
                                                    <a:gd name="connsiteY466" fmla="*/ 563261 h 1513748"/>
                                                    <a:gd name="connsiteX467" fmla="*/ 132098 w 4023807"/>
                                                    <a:gd name="connsiteY467" fmla="*/ 559439 h 1513748"/>
                                                    <a:gd name="connsiteX468" fmla="*/ 128924 w 4023807"/>
                                                    <a:gd name="connsiteY468" fmla="*/ 548943 h 1513748"/>
                                                    <a:gd name="connsiteX469" fmla="*/ 116420 w 4023807"/>
                                                    <a:gd name="connsiteY469" fmla="*/ 540262 h 1513748"/>
                                                    <a:gd name="connsiteX470" fmla="*/ 120048 w 4023807"/>
                                                    <a:gd name="connsiteY470" fmla="*/ 527046 h 1513748"/>
                                                    <a:gd name="connsiteX471" fmla="*/ 132681 w 4023807"/>
                                                    <a:gd name="connsiteY471" fmla="*/ 532423 h 1513748"/>
                                                    <a:gd name="connsiteX472" fmla="*/ 142853 w 4023807"/>
                                                    <a:gd name="connsiteY472" fmla="*/ 542789 h 1513748"/>
                                                    <a:gd name="connsiteX473" fmla="*/ 150562 w 4023807"/>
                                                    <a:gd name="connsiteY473" fmla="*/ 546611 h 1513748"/>
                                                    <a:gd name="connsiteX474" fmla="*/ 152571 w 4023807"/>
                                                    <a:gd name="connsiteY474" fmla="*/ 550498 h 1513748"/>
                                                    <a:gd name="connsiteX475" fmla="*/ 161122 w 4023807"/>
                                                    <a:gd name="connsiteY475" fmla="*/ 553608 h 1513748"/>
                                                    <a:gd name="connsiteX476" fmla="*/ 191636 w 4023807"/>
                                                    <a:gd name="connsiteY476" fmla="*/ 562807 h 1513748"/>
                                                    <a:gd name="connsiteX477" fmla="*/ 217615 w 4023807"/>
                                                    <a:gd name="connsiteY477" fmla="*/ 571813 h 1513748"/>
                                                    <a:gd name="connsiteX478" fmla="*/ 241780 w 4023807"/>
                                                    <a:gd name="connsiteY478" fmla="*/ 575829 h 1513748"/>
                                                    <a:gd name="connsiteX479" fmla="*/ 253636 w 4023807"/>
                                                    <a:gd name="connsiteY479" fmla="*/ 576542 h 1513748"/>
                                                    <a:gd name="connsiteX480" fmla="*/ 259596 w 4023807"/>
                                                    <a:gd name="connsiteY480" fmla="*/ 580883 h 1513748"/>
                                                    <a:gd name="connsiteX481" fmla="*/ 271064 w 4023807"/>
                                                    <a:gd name="connsiteY481" fmla="*/ 582761 h 1513748"/>
                                                    <a:gd name="connsiteX482" fmla="*/ 293026 w 4023807"/>
                                                    <a:gd name="connsiteY482" fmla="*/ 582243 h 1513748"/>
                                                    <a:gd name="connsiteX483" fmla="*/ 297755 w 4023807"/>
                                                    <a:gd name="connsiteY483" fmla="*/ 580947 h 1513748"/>
                                                    <a:gd name="connsiteX484" fmla="*/ 299764 w 4023807"/>
                                                    <a:gd name="connsiteY484" fmla="*/ 576024 h 1513748"/>
                                                    <a:gd name="connsiteX485" fmla="*/ 312915 w 4023807"/>
                                                    <a:gd name="connsiteY485" fmla="*/ 570452 h 1513748"/>
                                                    <a:gd name="connsiteX486" fmla="*/ 318876 w 4023807"/>
                                                    <a:gd name="connsiteY486" fmla="*/ 561382 h 1513748"/>
                                                    <a:gd name="connsiteX487" fmla="*/ 330537 w 4023807"/>
                                                    <a:gd name="connsiteY487" fmla="*/ 560799 h 1513748"/>
                                                    <a:gd name="connsiteX488" fmla="*/ 330537 w 4023807"/>
                                                    <a:gd name="connsiteY488" fmla="*/ 551988 h 1513748"/>
                                                    <a:gd name="connsiteX489" fmla="*/ 343948 w 4023807"/>
                                                    <a:gd name="connsiteY489" fmla="*/ 543825 h 1513748"/>
                                                    <a:gd name="connsiteX490" fmla="*/ 344595 w 4023807"/>
                                                    <a:gd name="connsiteY490" fmla="*/ 529378 h 1513748"/>
                                                    <a:gd name="connsiteX491" fmla="*/ 336368 w 4023807"/>
                                                    <a:gd name="connsiteY491" fmla="*/ 524390 h 1513748"/>
                                                    <a:gd name="connsiteX492" fmla="*/ 322244 w 4023807"/>
                                                    <a:gd name="connsiteY492" fmla="*/ 515190 h 1513748"/>
                                                    <a:gd name="connsiteX493" fmla="*/ 306761 w 4023807"/>
                                                    <a:gd name="connsiteY493" fmla="*/ 502362 h 1513748"/>
                                                    <a:gd name="connsiteX494" fmla="*/ 285835 w 4023807"/>
                                                    <a:gd name="connsiteY494" fmla="*/ 498799 h 1513748"/>
                                                    <a:gd name="connsiteX495" fmla="*/ 272748 w 4023807"/>
                                                    <a:gd name="connsiteY495" fmla="*/ 484028 h 1513748"/>
                                                    <a:gd name="connsiteX496" fmla="*/ 261346 w 4023807"/>
                                                    <a:gd name="connsiteY496" fmla="*/ 474699 h 1513748"/>
                                                    <a:gd name="connsiteX497" fmla="*/ 258365 w 4023807"/>
                                                    <a:gd name="connsiteY497" fmla="*/ 468220 h 1513748"/>
                                                    <a:gd name="connsiteX498" fmla="*/ 249943 w 4023807"/>
                                                    <a:gd name="connsiteY498" fmla="*/ 466601 h 1513748"/>
                                                    <a:gd name="connsiteX499" fmla="*/ 245733 w 4023807"/>
                                                    <a:gd name="connsiteY499" fmla="*/ 459345 h 1513748"/>
                                                    <a:gd name="connsiteX500" fmla="*/ 227398 w 4023807"/>
                                                    <a:gd name="connsiteY500" fmla="*/ 452607 h 1513748"/>
                                                    <a:gd name="connsiteX501" fmla="*/ 207185 w 4023807"/>
                                                    <a:gd name="connsiteY501" fmla="*/ 450793 h 1513748"/>
                                                    <a:gd name="connsiteX502" fmla="*/ 201743 w 4023807"/>
                                                    <a:gd name="connsiteY502" fmla="*/ 447230 h 1513748"/>
                                                    <a:gd name="connsiteX503" fmla="*/ 186648 w 4023807"/>
                                                    <a:gd name="connsiteY503" fmla="*/ 443407 h 1513748"/>
                                                    <a:gd name="connsiteX504" fmla="*/ 186518 w 4023807"/>
                                                    <a:gd name="connsiteY504" fmla="*/ 435180 h 1513748"/>
                                                    <a:gd name="connsiteX505" fmla="*/ 144408 w 4023807"/>
                                                    <a:gd name="connsiteY505" fmla="*/ 435374 h 1513748"/>
                                                    <a:gd name="connsiteX506" fmla="*/ 126980 w 4023807"/>
                                                    <a:gd name="connsiteY506" fmla="*/ 432394 h 1513748"/>
                                                    <a:gd name="connsiteX507" fmla="*/ 121214 w 4023807"/>
                                                    <a:gd name="connsiteY507" fmla="*/ 417363 h 1513748"/>
                                                    <a:gd name="connsiteX508" fmla="*/ 133459 w 4023807"/>
                                                    <a:gd name="connsiteY508" fmla="*/ 411857 h 1513748"/>
                                                    <a:gd name="connsiteX509" fmla="*/ 114671 w 4023807"/>
                                                    <a:gd name="connsiteY509" fmla="*/ 407257 h 1513748"/>
                                                    <a:gd name="connsiteX510" fmla="*/ 107350 w 4023807"/>
                                                    <a:gd name="connsiteY510" fmla="*/ 418789 h 1513748"/>
                                                    <a:gd name="connsiteX511" fmla="*/ 92320 w 4023807"/>
                                                    <a:gd name="connsiteY511" fmla="*/ 416197 h 1513748"/>
                                                    <a:gd name="connsiteX512" fmla="*/ 86036 w 4023807"/>
                                                    <a:gd name="connsiteY512" fmla="*/ 410107 h 1513748"/>
                                                    <a:gd name="connsiteX513" fmla="*/ 81565 w 4023807"/>
                                                    <a:gd name="connsiteY513" fmla="*/ 409784 h 1513748"/>
                                                    <a:gd name="connsiteX514" fmla="*/ 78326 w 4023807"/>
                                                    <a:gd name="connsiteY514" fmla="*/ 412440 h 1513748"/>
                                                    <a:gd name="connsiteX515" fmla="*/ 77160 w 4023807"/>
                                                    <a:gd name="connsiteY515" fmla="*/ 416003 h 1513748"/>
                                                    <a:gd name="connsiteX516" fmla="*/ 72949 w 4023807"/>
                                                    <a:gd name="connsiteY516" fmla="*/ 417687 h 1513748"/>
                                                    <a:gd name="connsiteX517" fmla="*/ 60705 w 4023807"/>
                                                    <a:gd name="connsiteY517" fmla="*/ 435244 h 1513748"/>
                                                    <a:gd name="connsiteX518" fmla="*/ 48914 w 4023807"/>
                                                    <a:gd name="connsiteY518" fmla="*/ 434273 h 1513748"/>
                                                    <a:gd name="connsiteX519" fmla="*/ 48914 w 4023807"/>
                                                    <a:gd name="connsiteY519" fmla="*/ 434596 h 1513748"/>
                                                    <a:gd name="connsiteX520" fmla="*/ 48784 w 4023807"/>
                                                    <a:gd name="connsiteY520" fmla="*/ 436151 h 1513748"/>
                                                    <a:gd name="connsiteX521" fmla="*/ 48589 w 4023807"/>
                                                    <a:gd name="connsiteY521" fmla="*/ 437382 h 1513748"/>
                                                    <a:gd name="connsiteX522" fmla="*/ 48071 w 4023807"/>
                                                    <a:gd name="connsiteY522" fmla="*/ 439067 h 1513748"/>
                                                    <a:gd name="connsiteX523" fmla="*/ 47423 w 4023807"/>
                                                    <a:gd name="connsiteY523" fmla="*/ 440492 h 1513748"/>
                                                    <a:gd name="connsiteX524" fmla="*/ 46970 w 4023807"/>
                                                    <a:gd name="connsiteY524" fmla="*/ 441205 h 1513748"/>
                                                    <a:gd name="connsiteX525" fmla="*/ 46257 w 4023807"/>
                                                    <a:gd name="connsiteY525" fmla="*/ 442112 h 1513748"/>
                                                    <a:gd name="connsiteX526" fmla="*/ 45221 w 4023807"/>
                                                    <a:gd name="connsiteY526" fmla="*/ 443083 h 1513748"/>
                                                    <a:gd name="connsiteX527" fmla="*/ 44055 w 4023807"/>
                                                    <a:gd name="connsiteY527" fmla="*/ 443796 h 1513748"/>
                                                    <a:gd name="connsiteX528" fmla="*/ 42046 w 4023807"/>
                                                    <a:gd name="connsiteY528" fmla="*/ 444509 h 1513748"/>
                                                    <a:gd name="connsiteX529" fmla="*/ 36215 w 4023807"/>
                                                    <a:gd name="connsiteY529" fmla="*/ 461223 h 1513748"/>
                                                    <a:gd name="connsiteX530" fmla="*/ 33365 w 4023807"/>
                                                    <a:gd name="connsiteY530" fmla="*/ 463685 h 1513748"/>
                                                    <a:gd name="connsiteX531" fmla="*/ 31162 w 4023807"/>
                                                    <a:gd name="connsiteY531" fmla="*/ 478197 h 1513748"/>
                                                    <a:gd name="connsiteX532" fmla="*/ 40945 w 4023807"/>
                                                    <a:gd name="connsiteY532" fmla="*/ 490312 h 1513748"/>
                                                    <a:gd name="connsiteX533" fmla="*/ 61028 w 4023807"/>
                                                    <a:gd name="connsiteY533" fmla="*/ 509100 h 1513748"/>
                                                    <a:gd name="connsiteX534" fmla="*/ 65758 w 4023807"/>
                                                    <a:gd name="connsiteY534" fmla="*/ 519531 h 1513748"/>
                                                    <a:gd name="connsiteX535" fmla="*/ 50662 w 4023807"/>
                                                    <a:gd name="connsiteY535" fmla="*/ 531127 h 1513748"/>
                                                    <a:gd name="connsiteX536" fmla="*/ 51375 w 4023807"/>
                                                    <a:gd name="connsiteY536" fmla="*/ 536245 h 1513748"/>
                                                    <a:gd name="connsiteX537" fmla="*/ 46063 w 4023807"/>
                                                    <a:gd name="connsiteY537" fmla="*/ 546611 h 1513748"/>
                                                    <a:gd name="connsiteX538" fmla="*/ 46257 w 4023807"/>
                                                    <a:gd name="connsiteY538" fmla="*/ 554839 h 1513748"/>
                                                    <a:gd name="connsiteX539" fmla="*/ 57206 w 4023807"/>
                                                    <a:gd name="connsiteY539" fmla="*/ 573238 h 1513748"/>
                                                    <a:gd name="connsiteX540" fmla="*/ 66017 w 4023807"/>
                                                    <a:gd name="connsiteY540" fmla="*/ 581984 h 1513748"/>
                                                    <a:gd name="connsiteX541" fmla="*/ 66276 w 4023807"/>
                                                    <a:gd name="connsiteY541" fmla="*/ 593581 h 1513748"/>
                                                    <a:gd name="connsiteX542" fmla="*/ 60510 w 4023807"/>
                                                    <a:gd name="connsiteY542" fmla="*/ 599087 h 1513748"/>
                                                    <a:gd name="connsiteX543" fmla="*/ 64851 w 4023807"/>
                                                    <a:gd name="connsiteY543" fmla="*/ 611656 h 1513748"/>
                                                    <a:gd name="connsiteX544" fmla="*/ 57400 w 4023807"/>
                                                    <a:gd name="connsiteY544" fmla="*/ 627658 h 1513748"/>
                                                    <a:gd name="connsiteX545" fmla="*/ 64721 w 4023807"/>
                                                    <a:gd name="connsiteY545" fmla="*/ 633359 h 1513748"/>
                                                    <a:gd name="connsiteX546" fmla="*/ 62130 w 4023807"/>
                                                    <a:gd name="connsiteY546" fmla="*/ 655062 h 1513748"/>
                                                    <a:gd name="connsiteX547" fmla="*/ 80399 w 4023807"/>
                                                    <a:gd name="connsiteY547" fmla="*/ 671518 h 1513748"/>
                                                    <a:gd name="connsiteX548" fmla="*/ 67183 w 4023807"/>
                                                    <a:gd name="connsiteY548" fmla="*/ 680329 h 1513748"/>
                                                    <a:gd name="connsiteX549" fmla="*/ 71135 w 4023807"/>
                                                    <a:gd name="connsiteY549" fmla="*/ 688751 h 1513748"/>
                                                    <a:gd name="connsiteX550" fmla="*/ 89728 w 4023807"/>
                                                    <a:gd name="connsiteY550" fmla="*/ 706891 h 1513748"/>
                                                    <a:gd name="connsiteX551" fmla="*/ 100224 w 4023807"/>
                                                    <a:gd name="connsiteY551" fmla="*/ 720496 h 1513748"/>
                                                    <a:gd name="connsiteX552" fmla="*/ 97243 w 4023807"/>
                                                    <a:gd name="connsiteY552" fmla="*/ 736368 h 1513748"/>
                                                    <a:gd name="connsiteX553" fmla="*/ 91413 w 4023807"/>
                                                    <a:gd name="connsiteY553" fmla="*/ 740061 h 1513748"/>
                                                    <a:gd name="connsiteX554" fmla="*/ 83962 w 4023807"/>
                                                    <a:gd name="connsiteY554" fmla="*/ 751075 h 1513748"/>
                                                    <a:gd name="connsiteX555" fmla="*/ 72625 w 4023807"/>
                                                    <a:gd name="connsiteY555" fmla="*/ 754768 h 1513748"/>
                                                    <a:gd name="connsiteX556" fmla="*/ 61936 w 4023807"/>
                                                    <a:gd name="connsiteY556" fmla="*/ 770316 h 1513748"/>
                                                    <a:gd name="connsiteX557" fmla="*/ 55716 w 4023807"/>
                                                    <a:gd name="connsiteY557" fmla="*/ 772648 h 1513748"/>
                                                    <a:gd name="connsiteX558" fmla="*/ 49432 w 4023807"/>
                                                    <a:gd name="connsiteY558" fmla="*/ 785865 h 1513748"/>
                                                    <a:gd name="connsiteX559" fmla="*/ 38289 w 4023807"/>
                                                    <a:gd name="connsiteY559" fmla="*/ 791825 h 1513748"/>
                                                    <a:gd name="connsiteX560" fmla="*/ 30385 w 4023807"/>
                                                    <a:gd name="connsiteY560" fmla="*/ 800506 h 1513748"/>
                                                    <a:gd name="connsiteX561" fmla="*/ 21315 w 4023807"/>
                                                    <a:gd name="connsiteY561" fmla="*/ 810159 h 1513748"/>
                                                    <a:gd name="connsiteX562" fmla="*/ 21703 w 4023807"/>
                                                    <a:gd name="connsiteY562" fmla="*/ 810224 h 1513748"/>
                                                    <a:gd name="connsiteX563" fmla="*/ 31162 w 4023807"/>
                                                    <a:gd name="connsiteY563" fmla="*/ 823894 h 1513748"/>
                                                    <a:gd name="connsiteX564" fmla="*/ 40167 w 4023807"/>
                                                    <a:gd name="connsiteY564" fmla="*/ 826939 h 1513748"/>
                                                    <a:gd name="connsiteX565" fmla="*/ 41463 w 4023807"/>
                                                    <a:gd name="connsiteY565" fmla="*/ 830502 h 1513748"/>
                                                    <a:gd name="connsiteX566" fmla="*/ 52412 w 4023807"/>
                                                    <a:gd name="connsiteY566" fmla="*/ 836592 h 1513748"/>
                                                    <a:gd name="connsiteX567" fmla="*/ 65434 w 4023807"/>
                                                    <a:gd name="connsiteY567" fmla="*/ 838406 h 1513748"/>
                                                    <a:gd name="connsiteX568" fmla="*/ 68284 w 4023807"/>
                                                    <a:gd name="connsiteY568" fmla="*/ 841645 h 1513748"/>
                                                    <a:gd name="connsiteX569" fmla="*/ 61287 w 4023807"/>
                                                    <a:gd name="connsiteY569" fmla="*/ 845273 h 1513748"/>
                                                    <a:gd name="connsiteX570" fmla="*/ 28765 w 4023807"/>
                                                    <a:gd name="connsiteY570" fmla="*/ 850391 h 1513748"/>
                                                    <a:gd name="connsiteX571" fmla="*/ 21898 w 4023807"/>
                                                    <a:gd name="connsiteY571" fmla="*/ 854408 h 1513748"/>
                                                    <a:gd name="connsiteX572" fmla="*/ 20408 w 4023807"/>
                                                    <a:gd name="connsiteY572" fmla="*/ 862636 h 1513748"/>
                                                    <a:gd name="connsiteX573" fmla="*/ 18399 w 4023807"/>
                                                    <a:gd name="connsiteY573" fmla="*/ 864968 h 1513748"/>
                                                    <a:gd name="connsiteX574" fmla="*/ 11467 w 4023807"/>
                                                    <a:gd name="connsiteY574" fmla="*/ 878897 h 1513748"/>
                                                    <a:gd name="connsiteX575" fmla="*/ 2656 w 4023807"/>
                                                    <a:gd name="connsiteY575" fmla="*/ 894705 h 1513748"/>
                                                    <a:gd name="connsiteX576" fmla="*/ 8811 w 4023807"/>
                                                    <a:gd name="connsiteY576" fmla="*/ 916537 h 1513748"/>
                                                    <a:gd name="connsiteX577" fmla="*/ 5637 w 4023807"/>
                                                    <a:gd name="connsiteY577" fmla="*/ 929106 h 1513748"/>
                                                    <a:gd name="connsiteX578" fmla="*/ 0 w 4023807"/>
                                                    <a:gd name="connsiteY578" fmla="*/ 940119 h 1513748"/>
                                                    <a:gd name="connsiteX579" fmla="*/ 0 w 4023807"/>
                                                    <a:gd name="connsiteY579" fmla="*/ 940119 h 1513748"/>
                                                    <a:gd name="connsiteX580" fmla="*/ 2009 w 4023807"/>
                                                    <a:gd name="connsiteY580" fmla="*/ 940702 h 1513748"/>
                                                    <a:gd name="connsiteX581" fmla="*/ 2138 w 4023807"/>
                                                    <a:gd name="connsiteY581" fmla="*/ 940702 h 1513748"/>
                                                    <a:gd name="connsiteX582" fmla="*/ 3952 w 4023807"/>
                                                    <a:gd name="connsiteY582" fmla="*/ 941545 h 1513748"/>
                                                    <a:gd name="connsiteX583" fmla="*/ 7321 w 4023807"/>
                                                    <a:gd name="connsiteY583" fmla="*/ 944136 h 1513748"/>
                                                    <a:gd name="connsiteX584" fmla="*/ 10431 w 4023807"/>
                                                    <a:gd name="connsiteY584" fmla="*/ 972383 h 1513748"/>
                                                    <a:gd name="connsiteX585" fmla="*/ 20602 w 4023807"/>
                                                    <a:gd name="connsiteY585" fmla="*/ 985729 h 1513748"/>
                                                    <a:gd name="connsiteX586" fmla="*/ 21055 w 4023807"/>
                                                    <a:gd name="connsiteY586" fmla="*/ 992142 h 1513748"/>
                                                    <a:gd name="connsiteX587" fmla="*/ 23258 w 4023807"/>
                                                    <a:gd name="connsiteY587" fmla="*/ 992985 h 1513748"/>
                                                    <a:gd name="connsiteX588" fmla="*/ 25720 w 4023807"/>
                                                    <a:gd name="connsiteY588" fmla="*/ 994086 h 1513748"/>
                                                    <a:gd name="connsiteX589" fmla="*/ 26433 w 4023807"/>
                                                    <a:gd name="connsiteY589" fmla="*/ 994345 h 1513748"/>
                                                    <a:gd name="connsiteX590" fmla="*/ 28182 w 4023807"/>
                                                    <a:gd name="connsiteY590" fmla="*/ 995058 h 1513748"/>
                                                    <a:gd name="connsiteX591" fmla="*/ 45933 w 4023807"/>
                                                    <a:gd name="connsiteY591" fmla="*/ 999463 h 1513748"/>
                                                    <a:gd name="connsiteX592" fmla="*/ 50662 w 4023807"/>
                                                    <a:gd name="connsiteY592" fmla="*/ 1005618 h 1513748"/>
                                                    <a:gd name="connsiteX593" fmla="*/ 62713 w 4023807"/>
                                                    <a:gd name="connsiteY593" fmla="*/ 1005877 h 1513748"/>
                                                    <a:gd name="connsiteX594" fmla="*/ 74698 w 4023807"/>
                                                    <a:gd name="connsiteY594" fmla="*/ 1002055 h 1513748"/>
                                                    <a:gd name="connsiteX595" fmla="*/ 88433 w 4023807"/>
                                                    <a:gd name="connsiteY595" fmla="*/ 1017668 h 1513748"/>
                                                    <a:gd name="connsiteX596" fmla="*/ 88562 w 4023807"/>
                                                    <a:gd name="connsiteY596" fmla="*/ 1040213 h 1513748"/>
                                                    <a:gd name="connsiteX597" fmla="*/ 105342 w 4023807"/>
                                                    <a:gd name="connsiteY597" fmla="*/ 1067877 h 1513748"/>
                                                    <a:gd name="connsiteX598" fmla="*/ 119530 w 4023807"/>
                                                    <a:gd name="connsiteY598" fmla="*/ 1077141 h 1513748"/>
                                                    <a:gd name="connsiteX599" fmla="*/ 129248 w 4023807"/>
                                                    <a:gd name="connsiteY599" fmla="*/ 1090617 h 1513748"/>
                                                    <a:gd name="connsiteX600" fmla="*/ 122186 w 4023807"/>
                                                    <a:gd name="connsiteY600" fmla="*/ 1104416 h 1513748"/>
                                                    <a:gd name="connsiteX601" fmla="*/ 105342 w 4023807"/>
                                                    <a:gd name="connsiteY601" fmla="*/ 1105777 h 1513748"/>
                                                    <a:gd name="connsiteX602" fmla="*/ 101779 w 4023807"/>
                                                    <a:gd name="connsiteY602" fmla="*/ 1122297 h 1513748"/>
                                                    <a:gd name="connsiteX603" fmla="*/ 103722 w 4023807"/>
                                                    <a:gd name="connsiteY603" fmla="*/ 1140243 h 1513748"/>
                                                    <a:gd name="connsiteX604" fmla="*/ 109358 w 4023807"/>
                                                    <a:gd name="connsiteY604" fmla="*/ 1138364 h 1513748"/>
                                                    <a:gd name="connsiteX605" fmla="*/ 120761 w 4023807"/>
                                                    <a:gd name="connsiteY605" fmla="*/ 1135319 h 1513748"/>
                                                    <a:gd name="connsiteX606" fmla="*/ 126462 w 4023807"/>
                                                    <a:gd name="connsiteY606" fmla="*/ 1134023 h 1513748"/>
                                                    <a:gd name="connsiteX607" fmla="*/ 155810 w 4023807"/>
                                                    <a:gd name="connsiteY607" fmla="*/ 1135319 h 1513748"/>
                                                    <a:gd name="connsiteX608" fmla="*/ 167536 w 4023807"/>
                                                    <a:gd name="connsiteY608" fmla="*/ 1170951 h 1513748"/>
                                                    <a:gd name="connsiteX609" fmla="*/ 200706 w 4023807"/>
                                                    <a:gd name="connsiteY609" fmla="*/ 1192654 h 1513748"/>
                                                    <a:gd name="connsiteX610" fmla="*/ 203622 w 4023807"/>
                                                    <a:gd name="connsiteY610" fmla="*/ 1199392 h 1513748"/>
                                                    <a:gd name="connsiteX611" fmla="*/ 226297 w 4023807"/>
                                                    <a:gd name="connsiteY611" fmla="*/ 1207685 h 1513748"/>
                                                    <a:gd name="connsiteX612" fmla="*/ 251628 w 4023807"/>
                                                    <a:gd name="connsiteY612" fmla="*/ 1205547 h 1513748"/>
                                                    <a:gd name="connsiteX613" fmla="*/ 255062 w 4023807"/>
                                                    <a:gd name="connsiteY613" fmla="*/ 1216042 h 1513748"/>
                                                    <a:gd name="connsiteX614" fmla="*/ 267500 w 4023807"/>
                                                    <a:gd name="connsiteY614" fmla="*/ 1217856 h 1513748"/>
                                                    <a:gd name="connsiteX615" fmla="*/ 279032 w 4023807"/>
                                                    <a:gd name="connsiteY615" fmla="*/ 1222132 h 1513748"/>
                                                    <a:gd name="connsiteX616" fmla="*/ 282207 w 4023807"/>
                                                    <a:gd name="connsiteY616" fmla="*/ 1227509 h 1513748"/>
                                                    <a:gd name="connsiteX617" fmla="*/ 307927 w 4023807"/>
                                                    <a:gd name="connsiteY617" fmla="*/ 1231785 h 1513748"/>
                                                    <a:gd name="connsiteX618" fmla="*/ 310194 w 4023807"/>
                                                    <a:gd name="connsiteY618" fmla="*/ 1251804 h 1513748"/>
                                                    <a:gd name="connsiteX619" fmla="*/ 303845 w 4023807"/>
                                                    <a:gd name="connsiteY619" fmla="*/ 1269101 h 1513748"/>
                                                    <a:gd name="connsiteX620" fmla="*/ 307473 w 4023807"/>
                                                    <a:gd name="connsiteY620" fmla="*/ 1274479 h 1513748"/>
                                                    <a:gd name="connsiteX621" fmla="*/ 304946 w 4023807"/>
                                                    <a:gd name="connsiteY621" fmla="*/ 1287177 h 1513748"/>
                                                    <a:gd name="connsiteX622" fmla="*/ 292054 w 4023807"/>
                                                    <a:gd name="connsiteY622" fmla="*/ 1291517 h 1513748"/>
                                                    <a:gd name="connsiteX623" fmla="*/ 279810 w 4023807"/>
                                                    <a:gd name="connsiteY623" fmla="*/ 1294821 h 1513748"/>
                                                    <a:gd name="connsiteX624" fmla="*/ 277931 w 4023807"/>
                                                    <a:gd name="connsiteY624" fmla="*/ 1299810 h 1513748"/>
                                                    <a:gd name="connsiteX625" fmla="*/ 272554 w 4023807"/>
                                                    <a:gd name="connsiteY625" fmla="*/ 1302077 h 1513748"/>
                                                    <a:gd name="connsiteX626" fmla="*/ 264974 w 4023807"/>
                                                    <a:gd name="connsiteY626" fmla="*/ 1310111 h 1513748"/>
                                                    <a:gd name="connsiteX627" fmla="*/ 272683 w 4023807"/>
                                                    <a:gd name="connsiteY627" fmla="*/ 1308491 h 1513748"/>
                                                    <a:gd name="connsiteX628" fmla="*/ 290305 w 4023807"/>
                                                    <a:gd name="connsiteY628" fmla="*/ 1312896 h 1513748"/>
                                                    <a:gd name="connsiteX629" fmla="*/ 293674 w 4023807"/>
                                                    <a:gd name="connsiteY629" fmla="*/ 1318598 h 1513748"/>
                                                    <a:gd name="connsiteX630" fmla="*/ 288556 w 4023807"/>
                                                    <a:gd name="connsiteY630" fmla="*/ 1322096 h 1513748"/>
                                                    <a:gd name="connsiteX631" fmla="*/ 274692 w 4023807"/>
                                                    <a:gd name="connsiteY631" fmla="*/ 1325789 h 1513748"/>
                                                    <a:gd name="connsiteX632" fmla="*/ 258236 w 4023807"/>
                                                    <a:gd name="connsiteY632" fmla="*/ 1336090 h 1513748"/>
                                                    <a:gd name="connsiteX633" fmla="*/ 258171 w 4023807"/>
                                                    <a:gd name="connsiteY633" fmla="*/ 1343799 h 1513748"/>
                                                    <a:gd name="connsiteX634" fmla="*/ 274821 w 4023807"/>
                                                    <a:gd name="connsiteY634" fmla="*/ 1348658 h 1513748"/>
                                                    <a:gd name="connsiteX635" fmla="*/ 261540 w 4023807"/>
                                                    <a:gd name="connsiteY635" fmla="*/ 1359931 h 1513748"/>
                                                    <a:gd name="connsiteX636" fmla="*/ 253312 w 4023807"/>
                                                    <a:gd name="connsiteY636" fmla="*/ 1361939 h 1513748"/>
                                                    <a:gd name="connsiteX637" fmla="*/ 251887 w 4023807"/>
                                                    <a:gd name="connsiteY637" fmla="*/ 1379626 h 1513748"/>
                                                    <a:gd name="connsiteX638" fmla="*/ 238023 w 4023807"/>
                                                    <a:gd name="connsiteY638" fmla="*/ 1389279 h 1513748"/>
                                                    <a:gd name="connsiteX639" fmla="*/ 252600 w 4023807"/>
                                                    <a:gd name="connsiteY639" fmla="*/ 1403985 h 1513748"/>
                                                    <a:gd name="connsiteX640" fmla="*/ 273137 w 4023807"/>
                                                    <a:gd name="connsiteY640" fmla="*/ 1411112 h 1513748"/>
                                                    <a:gd name="connsiteX641" fmla="*/ 286936 w 4023807"/>
                                                    <a:gd name="connsiteY641" fmla="*/ 1425105 h 1513748"/>
                                                    <a:gd name="connsiteX642" fmla="*/ 291342 w 4023807"/>
                                                    <a:gd name="connsiteY642" fmla="*/ 1430871 h 1513748"/>
                                                    <a:gd name="connsiteX643" fmla="*/ 318617 w 4023807"/>
                                                    <a:gd name="connsiteY643" fmla="*/ 1445578 h 1513748"/>
                                                    <a:gd name="connsiteX644" fmla="*/ 335784 w 4023807"/>
                                                    <a:gd name="connsiteY644" fmla="*/ 1459247 h 1513748"/>
                                                    <a:gd name="connsiteX645" fmla="*/ 340838 w 4023807"/>
                                                    <a:gd name="connsiteY645" fmla="*/ 1453741 h 1513748"/>
                                                    <a:gd name="connsiteX646" fmla="*/ 344725 w 4023807"/>
                                                    <a:gd name="connsiteY646" fmla="*/ 1450307 h 1513748"/>
                                                    <a:gd name="connsiteX647" fmla="*/ 351722 w 4023807"/>
                                                    <a:gd name="connsiteY647" fmla="*/ 1451732 h 1513748"/>
                                                    <a:gd name="connsiteX648" fmla="*/ 372194 w 4023807"/>
                                                    <a:gd name="connsiteY648" fmla="*/ 1452639 h 1513748"/>
                                                    <a:gd name="connsiteX649" fmla="*/ 390464 w 4023807"/>
                                                    <a:gd name="connsiteY649" fmla="*/ 1459895 h 1513748"/>
                                                    <a:gd name="connsiteX650" fmla="*/ 392796 w 4023807"/>
                                                    <a:gd name="connsiteY650" fmla="*/ 1463458 h 1513748"/>
                                                    <a:gd name="connsiteX651" fmla="*/ 405818 w 4023807"/>
                                                    <a:gd name="connsiteY651" fmla="*/ 1465208 h 1513748"/>
                                                    <a:gd name="connsiteX652" fmla="*/ 408733 w 4023807"/>
                                                    <a:gd name="connsiteY652" fmla="*/ 1467151 h 1513748"/>
                                                    <a:gd name="connsiteX653" fmla="*/ 420459 w 4023807"/>
                                                    <a:gd name="connsiteY653" fmla="*/ 1469289 h 1513748"/>
                                                    <a:gd name="connsiteX654" fmla="*/ 455379 w 4023807"/>
                                                    <a:gd name="connsiteY654" fmla="*/ 1477646 h 1513748"/>
                                                    <a:gd name="connsiteX655" fmla="*/ 458230 w 4023807"/>
                                                    <a:gd name="connsiteY655" fmla="*/ 1479979 h 1513748"/>
                                                    <a:gd name="connsiteX656" fmla="*/ 458553 w 4023807"/>
                                                    <a:gd name="connsiteY656" fmla="*/ 1483736 h 1513748"/>
                                                    <a:gd name="connsiteX657" fmla="*/ 469243 w 4023807"/>
                                                    <a:gd name="connsiteY657" fmla="*/ 1497406 h 1513748"/>
                                                    <a:gd name="connsiteX658" fmla="*/ 471705 w 4023807"/>
                                                    <a:gd name="connsiteY658" fmla="*/ 1498313 h 1513748"/>
                                                    <a:gd name="connsiteX659" fmla="*/ 472677 w 4023807"/>
                                                    <a:gd name="connsiteY659" fmla="*/ 1500321 h 1513748"/>
                                                    <a:gd name="connsiteX660" fmla="*/ 473389 w 4023807"/>
                                                    <a:gd name="connsiteY660" fmla="*/ 1503885 h 1513748"/>
                                                    <a:gd name="connsiteX661" fmla="*/ 473389 w 4023807"/>
                                                    <a:gd name="connsiteY661" fmla="*/ 1503885 h 1513748"/>
                                                    <a:gd name="connsiteX662" fmla="*/ 486865 w 4023807"/>
                                                    <a:gd name="connsiteY662" fmla="*/ 1504792 h 1513748"/>
                                                    <a:gd name="connsiteX663" fmla="*/ 491011 w 4023807"/>
                                                    <a:gd name="connsiteY663" fmla="*/ 1505504 h 1513748"/>
                                                    <a:gd name="connsiteX664" fmla="*/ 493797 w 4023807"/>
                                                    <a:gd name="connsiteY664" fmla="*/ 1508873 h 1513748"/>
                                                    <a:gd name="connsiteX665" fmla="*/ 504098 w 4023807"/>
                                                    <a:gd name="connsiteY665" fmla="*/ 1512501 h 1513748"/>
                                                    <a:gd name="connsiteX666" fmla="*/ 515371 w 4023807"/>
                                                    <a:gd name="connsiteY666" fmla="*/ 1512825 h 1513748"/>
                                                    <a:gd name="connsiteX667" fmla="*/ 519970 w 4023807"/>
                                                    <a:gd name="connsiteY667" fmla="*/ 1513732 h 1513748"/>
                                                    <a:gd name="connsiteX668" fmla="*/ 523663 w 4023807"/>
                                                    <a:gd name="connsiteY668" fmla="*/ 1512048 h 1513748"/>
                                                    <a:gd name="connsiteX669" fmla="*/ 533122 w 4023807"/>
                                                    <a:gd name="connsiteY669" fmla="*/ 1505763 h 1513748"/>
                                                    <a:gd name="connsiteX670" fmla="*/ 520294 w 4023807"/>
                                                    <a:gd name="connsiteY670" fmla="*/ 1498119 h 1513748"/>
                                                    <a:gd name="connsiteX671" fmla="*/ 511483 w 4023807"/>
                                                    <a:gd name="connsiteY671" fmla="*/ 1484579 h 1513748"/>
                                                    <a:gd name="connsiteX672" fmla="*/ 501442 w 4023807"/>
                                                    <a:gd name="connsiteY672" fmla="*/ 1477387 h 1513748"/>
                                                    <a:gd name="connsiteX673" fmla="*/ 500988 w 4023807"/>
                                                    <a:gd name="connsiteY673" fmla="*/ 1469030 h 1513748"/>
                                                    <a:gd name="connsiteX674" fmla="*/ 494186 w 4023807"/>
                                                    <a:gd name="connsiteY674" fmla="*/ 1456850 h 1513748"/>
                                                    <a:gd name="connsiteX675" fmla="*/ 489586 w 4023807"/>
                                                    <a:gd name="connsiteY675" fmla="*/ 1420959 h 1513748"/>
                                                    <a:gd name="connsiteX676" fmla="*/ 476175 w 4023807"/>
                                                    <a:gd name="connsiteY676" fmla="*/ 1402042 h 1513748"/>
                                                    <a:gd name="connsiteX677" fmla="*/ 483885 w 4023807"/>
                                                    <a:gd name="connsiteY677" fmla="*/ 1386817 h 1513748"/>
                                                    <a:gd name="connsiteX678" fmla="*/ 529753 w 4023807"/>
                                                    <a:gd name="connsiteY678" fmla="*/ 1351897 h 1513748"/>
                                                    <a:gd name="connsiteX679" fmla="*/ 532215 w 4023807"/>
                                                    <a:gd name="connsiteY679" fmla="*/ 1325141 h 1513748"/>
                                                    <a:gd name="connsiteX680" fmla="*/ 518934 w 4023807"/>
                                                    <a:gd name="connsiteY680" fmla="*/ 1314775 h 1513748"/>
                                                    <a:gd name="connsiteX681" fmla="*/ 508374 w 4023807"/>
                                                    <a:gd name="connsiteY681" fmla="*/ 1300458 h 1513748"/>
                                                    <a:gd name="connsiteX682" fmla="*/ 498980 w 4023807"/>
                                                    <a:gd name="connsiteY682" fmla="*/ 1299810 h 1513748"/>
                                                    <a:gd name="connsiteX683" fmla="*/ 486023 w 4023807"/>
                                                    <a:gd name="connsiteY683" fmla="*/ 1283419 h 1513748"/>
                                                    <a:gd name="connsiteX684" fmla="*/ 470668 w 4023807"/>
                                                    <a:gd name="connsiteY684" fmla="*/ 1270527 h 1513748"/>
                                                    <a:gd name="connsiteX685" fmla="*/ 482330 w 4023807"/>
                                                    <a:gd name="connsiteY685" fmla="*/ 1259967 h 1513748"/>
                                                    <a:gd name="connsiteX686" fmla="*/ 476758 w 4023807"/>
                                                    <a:gd name="connsiteY686" fmla="*/ 1248305 h 1513748"/>
                                                    <a:gd name="connsiteX687" fmla="*/ 483755 w 4023807"/>
                                                    <a:gd name="connsiteY687" fmla="*/ 1239041 h 1513748"/>
                                                    <a:gd name="connsiteX688" fmla="*/ 484014 w 4023807"/>
                                                    <a:gd name="connsiteY688" fmla="*/ 1218763 h 1513748"/>
                                                    <a:gd name="connsiteX689" fmla="*/ 499757 w 4023807"/>
                                                    <a:gd name="connsiteY689" fmla="*/ 1208203 h 1513748"/>
                                                    <a:gd name="connsiteX690" fmla="*/ 516213 w 4023807"/>
                                                    <a:gd name="connsiteY690" fmla="*/ 1214422 h 1513748"/>
                                                    <a:gd name="connsiteX691" fmla="*/ 520748 w 4023807"/>
                                                    <a:gd name="connsiteY691" fmla="*/ 1226278 h 1513748"/>
                                                    <a:gd name="connsiteX692" fmla="*/ 532085 w 4023807"/>
                                                    <a:gd name="connsiteY692" fmla="*/ 1221354 h 1513748"/>
                                                    <a:gd name="connsiteX693" fmla="*/ 532668 w 4023807"/>
                                                    <a:gd name="connsiteY693" fmla="*/ 1207037 h 1513748"/>
                                                    <a:gd name="connsiteX694" fmla="*/ 537592 w 4023807"/>
                                                    <a:gd name="connsiteY694" fmla="*/ 1194274 h 1513748"/>
                                                    <a:gd name="connsiteX695" fmla="*/ 555862 w 4023807"/>
                                                    <a:gd name="connsiteY695" fmla="*/ 1191942 h 1513748"/>
                                                    <a:gd name="connsiteX696" fmla="*/ 569208 w 4023807"/>
                                                    <a:gd name="connsiteY696" fmla="*/ 1175680 h 1513748"/>
                                                    <a:gd name="connsiteX697" fmla="*/ 585469 w 4023807"/>
                                                    <a:gd name="connsiteY697" fmla="*/ 1174061 h 1513748"/>
                                                    <a:gd name="connsiteX698" fmla="*/ 601924 w 4023807"/>
                                                    <a:gd name="connsiteY698" fmla="*/ 1167971 h 1513748"/>
                                                    <a:gd name="connsiteX699" fmla="*/ 658871 w 4023807"/>
                                                    <a:gd name="connsiteY699" fmla="*/ 1178336 h 1513748"/>
                                                    <a:gd name="connsiteX700" fmla="*/ 681352 w 4023807"/>
                                                    <a:gd name="connsiteY700" fmla="*/ 1188378 h 1513748"/>
                                                    <a:gd name="connsiteX701" fmla="*/ 681352 w 4023807"/>
                                                    <a:gd name="connsiteY701" fmla="*/ 1201206 h 1513748"/>
                                                    <a:gd name="connsiteX702" fmla="*/ 693531 w 4023807"/>
                                                    <a:gd name="connsiteY702" fmla="*/ 1199457 h 1513748"/>
                                                    <a:gd name="connsiteX703" fmla="*/ 704545 w 4023807"/>
                                                    <a:gd name="connsiteY703" fmla="*/ 1203214 h 1513748"/>
                                                    <a:gd name="connsiteX704" fmla="*/ 714457 w 4023807"/>
                                                    <a:gd name="connsiteY704" fmla="*/ 1194468 h 1513748"/>
                                                    <a:gd name="connsiteX705" fmla="*/ 743740 w 4023807"/>
                                                    <a:gd name="connsiteY705" fmla="*/ 1185269 h 1513748"/>
                                                    <a:gd name="connsiteX706" fmla="*/ 746396 w 4023807"/>
                                                    <a:gd name="connsiteY706" fmla="*/ 1192784 h 1513748"/>
                                                    <a:gd name="connsiteX707" fmla="*/ 774708 w 4023807"/>
                                                    <a:gd name="connsiteY707" fmla="*/ 1184491 h 1513748"/>
                                                    <a:gd name="connsiteX708" fmla="*/ 796476 w 4023807"/>
                                                    <a:gd name="connsiteY708" fmla="*/ 1193172 h 1513748"/>
                                                    <a:gd name="connsiteX709" fmla="*/ 801659 w 4023807"/>
                                                    <a:gd name="connsiteY709" fmla="*/ 1206777 h 1513748"/>
                                                    <a:gd name="connsiteX710" fmla="*/ 831395 w 4023807"/>
                                                    <a:gd name="connsiteY710" fmla="*/ 1196865 h 1513748"/>
                                                    <a:gd name="connsiteX711" fmla="*/ 842539 w 4023807"/>
                                                    <a:gd name="connsiteY711" fmla="*/ 1206842 h 1513748"/>
                                                    <a:gd name="connsiteX712" fmla="*/ 847397 w 4023807"/>
                                                    <a:gd name="connsiteY712" fmla="*/ 1178466 h 1513748"/>
                                                    <a:gd name="connsiteX713" fmla="*/ 821742 w 4023807"/>
                                                    <a:gd name="connsiteY713" fmla="*/ 1165639 h 1513748"/>
                                                    <a:gd name="connsiteX714" fmla="*/ 821742 w 4023807"/>
                                                    <a:gd name="connsiteY714" fmla="*/ 1155856 h 1513748"/>
                                                    <a:gd name="connsiteX715" fmla="*/ 836125 w 4023807"/>
                                                    <a:gd name="connsiteY715" fmla="*/ 1149118 h 1513748"/>
                                                    <a:gd name="connsiteX716" fmla="*/ 835283 w 4023807"/>
                                                    <a:gd name="connsiteY716" fmla="*/ 1135384 h 1513748"/>
                                                    <a:gd name="connsiteX717" fmla="*/ 839429 w 4023807"/>
                                                    <a:gd name="connsiteY717" fmla="*/ 1128711 h 1513748"/>
                                                    <a:gd name="connsiteX718" fmla="*/ 839429 w 4023807"/>
                                                    <a:gd name="connsiteY718" fmla="*/ 1121584 h 1513748"/>
                                                    <a:gd name="connsiteX719" fmla="*/ 850054 w 4023807"/>
                                                    <a:gd name="connsiteY719" fmla="*/ 1112773 h 1513748"/>
                                                    <a:gd name="connsiteX720" fmla="*/ 864501 w 4023807"/>
                                                    <a:gd name="connsiteY720" fmla="*/ 1116142 h 1513748"/>
                                                    <a:gd name="connsiteX721" fmla="*/ 854653 w 4023807"/>
                                                    <a:gd name="connsiteY721" fmla="*/ 1099363 h 1513748"/>
                                                    <a:gd name="connsiteX722" fmla="*/ 846620 w 4023807"/>
                                                    <a:gd name="connsiteY722" fmla="*/ 1082065 h 1513748"/>
                                                    <a:gd name="connsiteX723" fmla="*/ 871951 w 4023807"/>
                                                    <a:gd name="connsiteY723" fmla="*/ 1078307 h 1513748"/>
                                                    <a:gd name="connsiteX724" fmla="*/ 897801 w 4023807"/>
                                                    <a:gd name="connsiteY724" fmla="*/ 1076169 h 1513748"/>
                                                    <a:gd name="connsiteX725" fmla="*/ 933303 w 4023807"/>
                                                    <a:gd name="connsiteY725" fmla="*/ 1063860 h 1513748"/>
                                                    <a:gd name="connsiteX726" fmla="*/ 995821 w 4023807"/>
                                                    <a:gd name="connsiteY726" fmla="*/ 1052004 h 1513748"/>
                                                    <a:gd name="connsiteX727" fmla="*/ 1030676 w 4023807"/>
                                                    <a:gd name="connsiteY727" fmla="*/ 1039695 h 1513748"/>
                                                    <a:gd name="connsiteX728" fmla="*/ 1043245 w 4023807"/>
                                                    <a:gd name="connsiteY728" fmla="*/ 1028098 h 1513748"/>
                                                    <a:gd name="connsiteX729" fmla="*/ 1058793 w 4023807"/>
                                                    <a:gd name="connsiteY729" fmla="*/ 1026997 h 1513748"/>
                                                    <a:gd name="connsiteX730" fmla="*/ 1086780 w 4023807"/>
                                                    <a:gd name="connsiteY730" fmla="*/ 1033605 h 1513748"/>
                                                    <a:gd name="connsiteX731" fmla="*/ 1102977 w 4023807"/>
                                                    <a:gd name="connsiteY731" fmla="*/ 1055956 h 1513748"/>
                                                    <a:gd name="connsiteX732" fmla="*/ 1107123 w 4023807"/>
                                                    <a:gd name="connsiteY732" fmla="*/ 1079214 h 1513748"/>
                                                    <a:gd name="connsiteX733" fmla="*/ 1133815 w 4023807"/>
                                                    <a:gd name="connsiteY733" fmla="*/ 1074874 h 1513748"/>
                                                    <a:gd name="connsiteX734" fmla="*/ 1158498 w 4023807"/>
                                                    <a:gd name="connsiteY734" fmla="*/ 1085304 h 1513748"/>
                                                    <a:gd name="connsiteX735" fmla="*/ 1162904 w 4023807"/>
                                                    <a:gd name="connsiteY735" fmla="*/ 1098585 h 1513748"/>
                                                    <a:gd name="connsiteX736" fmla="*/ 1218555 w 4023807"/>
                                                    <a:gd name="connsiteY736" fmla="*/ 1072541 h 1513748"/>
                                                    <a:gd name="connsiteX737" fmla="*/ 1232743 w 4023807"/>
                                                    <a:gd name="connsiteY737" fmla="*/ 1069043 h 1513748"/>
                                                    <a:gd name="connsiteX738" fmla="*/ 1236695 w 4023807"/>
                                                    <a:gd name="connsiteY738" fmla="*/ 1088414 h 1513748"/>
                                                    <a:gd name="connsiteX739" fmla="*/ 1257556 w 4023807"/>
                                                    <a:gd name="connsiteY739" fmla="*/ 1099233 h 1513748"/>
                                                    <a:gd name="connsiteX740" fmla="*/ 1264034 w 4023807"/>
                                                    <a:gd name="connsiteY740" fmla="*/ 1116596 h 1513748"/>
                                                    <a:gd name="connsiteX741" fmla="*/ 1274789 w 4023807"/>
                                                    <a:gd name="connsiteY741" fmla="*/ 1125471 h 1513748"/>
                                                    <a:gd name="connsiteX742" fmla="*/ 1276862 w 4023807"/>
                                                    <a:gd name="connsiteY742" fmla="*/ 1133699 h 1513748"/>
                                                    <a:gd name="connsiteX743" fmla="*/ 1282239 w 4023807"/>
                                                    <a:gd name="connsiteY743" fmla="*/ 1145490 h 1513748"/>
                                                    <a:gd name="connsiteX744" fmla="*/ 1305886 w 4023807"/>
                                                    <a:gd name="connsiteY744" fmla="*/ 1184621 h 1513748"/>
                                                    <a:gd name="connsiteX745" fmla="*/ 1319880 w 4023807"/>
                                                    <a:gd name="connsiteY745" fmla="*/ 1194663 h 1513748"/>
                                                    <a:gd name="connsiteX746" fmla="*/ 1330375 w 4023807"/>
                                                    <a:gd name="connsiteY746" fmla="*/ 1183066 h 1513748"/>
                                                    <a:gd name="connsiteX747" fmla="*/ 1343526 w 4023807"/>
                                                    <a:gd name="connsiteY747" fmla="*/ 1179891 h 1513748"/>
                                                    <a:gd name="connsiteX748" fmla="*/ 1355058 w 4023807"/>
                                                    <a:gd name="connsiteY748" fmla="*/ 1196865 h 1513748"/>
                                                    <a:gd name="connsiteX749" fmla="*/ 1377345 w 4023807"/>
                                                    <a:gd name="connsiteY749" fmla="*/ 1193756 h 1513748"/>
                                                    <a:gd name="connsiteX750" fmla="*/ 1401963 w 4023807"/>
                                                    <a:gd name="connsiteY750" fmla="*/ 1190905 h 1513748"/>
                                                    <a:gd name="connsiteX751" fmla="*/ 1420298 w 4023807"/>
                                                    <a:gd name="connsiteY751" fmla="*/ 1215912 h 1513748"/>
                                                    <a:gd name="connsiteX752" fmla="*/ 1431829 w 4023807"/>
                                                    <a:gd name="connsiteY752" fmla="*/ 1222520 h 1513748"/>
                                                    <a:gd name="connsiteX753" fmla="*/ 1437142 w 4023807"/>
                                                    <a:gd name="connsiteY753" fmla="*/ 1232951 h 1513748"/>
                                                    <a:gd name="connsiteX754" fmla="*/ 1470636 w 4023807"/>
                                                    <a:gd name="connsiteY754" fmla="*/ 1239948 h 1513748"/>
                                                    <a:gd name="connsiteX755" fmla="*/ 1487869 w 4023807"/>
                                                    <a:gd name="connsiteY755" fmla="*/ 1252516 h 1513748"/>
                                                    <a:gd name="connsiteX756" fmla="*/ 1488517 w 4023807"/>
                                                    <a:gd name="connsiteY756" fmla="*/ 1252451 h 1513748"/>
                                                    <a:gd name="connsiteX757" fmla="*/ 1489553 w 4023807"/>
                                                    <a:gd name="connsiteY757" fmla="*/ 1252581 h 1513748"/>
                                                    <a:gd name="connsiteX758" fmla="*/ 1490461 w 4023807"/>
                                                    <a:gd name="connsiteY758" fmla="*/ 1252840 h 1513748"/>
                                                    <a:gd name="connsiteX759" fmla="*/ 1491302 w 4023807"/>
                                                    <a:gd name="connsiteY759" fmla="*/ 1253229 h 1513748"/>
                                                    <a:gd name="connsiteX760" fmla="*/ 1492080 w 4023807"/>
                                                    <a:gd name="connsiteY760" fmla="*/ 1253747 h 1513748"/>
                                                    <a:gd name="connsiteX761" fmla="*/ 1492793 w 4023807"/>
                                                    <a:gd name="connsiteY761" fmla="*/ 1254395 h 1513748"/>
                                                    <a:gd name="connsiteX762" fmla="*/ 1493959 w 4023807"/>
                                                    <a:gd name="connsiteY762" fmla="*/ 1255950 h 1513748"/>
                                                    <a:gd name="connsiteX763" fmla="*/ 1494477 w 4023807"/>
                                                    <a:gd name="connsiteY763" fmla="*/ 1256727 h 1513748"/>
                                                    <a:gd name="connsiteX764" fmla="*/ 1495384 w 4023807"/>
                                                    <a:gd name="connsiteY764" fmla="*/ 1253553 h 1513748"/>
                                                    <a:gd name="connsiteX765" fmla="*/ 1541706 w 4023807"/>
                                                    <a:gd name="connsiteY765" fmla="*/ 1233080 h 1513748"/>
                                                    <a:gd name="connsiteX766" fmla="*/ 1551424 w 4023807"/>
                                                    <a:gd name="connsiteY766" fmla="*/ 1221937 h 1513748"/>
                                                    <a:gd name="connsiteX767" fmla="*/ 1552266 w 4023807"/>
                                                    <a:gd name="connsiteY767" fmla="*/ 1216236 h 1513748"/>
                                                    <a:gd name="connsiteX768" fmla="*/ 1563020 w 4023807"/>
                                                    <a:gd name="connsiteY768" fmla="*/ 1216431 h 1513748"/>
                                                    <a:gd name="connsiteX769" fmla="*/ 1587898 w 4023807"/>
                                                    <a:gd name="connsiteY769" fmla="*/ 1202242 h 1513748"/>
                                                    <a:gd name="connsiteX770" fmla="*/ 1641282 w 4023807"/>
                                                    <a:gd name="connsiteY770" fmla="*/ 1202372 h 1513748"/>
                                                    <a:gd name="connsiteX771" fmla="*/ 1646983 w 4023807"/>
                                                    <a:gd name="connsiteY771" fmla="*/ 1222067 h 1513748"/>
                                                    <a:gd name="connsiteX772" fmla="*/ 1669917 w 4023807"/>
                                                    <a:gd name="connsiteY772" fmla="*/ 1229906 h 1513748"/>
                                                    <a:gd name="connsiteX773" fmla="*/ 1681449 w 4023807"/>
                                                    <a:gd name="connsiteY773" fmla="*/ 1230165 h 1513748"/>
                                                    <a:gd name="connsiteX774" fmla="*/ 1716562 w 4023807"/>
                                                    <a:gd name="connsiteY774" fmla="*/ 1231914 h 1513748"/>
                                                    <a:gd name="connsiteX775" fmla="*/ 1729779 w 4023807"/>
                                                    <a:gd name="connsiteY775" fmla="*/ 1206389 h 1513748"/>
                                                    <a:gd name="connsiteX776" fmla="*/ 1722393 w 4023807"/>
                                                    <a:gd name="connsiteY776" fmla="*/ 1199845 h 1513748"/>
                                                    <a:gd name="connsiteX777" fmla="*/ 1721486 w 4023807"/>
                                                    <a:gd name="connsiteY777" fmla="*/ 1192201 h 1513748"/>
                                                    <a:gd name="connsiteX778" fmla="*/ 1754138 w 4023807"/>
                                                    <a:gd name="connsiteY778" fmla="*/ 1148665 h 1513748"/>
                                                    <a:gd name="connsiteX779" fmla="*/ 1831881 w 4023807"/>
                                                    <a:gd name="connsiteY779" fmla="*/ 1175551 h 1513748"/>
                                                    <a:gd name="connsiteX780" fmla="*/ 1836222 w 4023807"/>
                                                    <a:gd name="connsiteY780" fmla="*/ 1205870 h 1513748"/>
                                                    <a:gd name="connsiteX781" fmla="*/ 1845940 w 4023807"/>
                                                    <a:gd name="connsiteY781" fmla="*/ 1214293 h 1513748"/>
                                                    <a:gd name="connsiteX782" fmla="*/ 1862914 w 4023807"/>
                                                    <a:gd name="connsiteY782" fmla="*/ 1222132 h 1513748"/>
                                                    <a:gd name="connsiteX783" fmla="*/ 1880341 w 4023807"/>
                                                    <a:gd name="connsiteY783" fmla="*/ 1223233 h 1513748"/>
                                                    <a:gd name="connsiteX784" fmla="*/ 1883774 w 4023807"/>
                                                    <a:gd name="connsiteY784" fmla="*/ 1217597 h 1513748"/>
                                                    <a:gd name="connsiteX785" fmla="*/ 1900878 w 4023807"/>
                                                    <a:gd name="connsiteY785" fmla="*/ 1210341 h 1513748"/>
                                                    <a:gd name="connsiteX786" fmla="*/ 1982443 w 4023807"/>
                                                    <a:gd name="connsiteY786" fmla="*/ 1239429 h 1513748"/>
                                                    <a:gd name="connsiteX787" fmla="*/ 1992161 w 4023807"/>
                                                    <a:gd name="connsiteY787" fmla="*/ 1246426 h 1513748"/>
                                                    <a:gd name="connsiteX788" fmla="*/ 2007256 w 4023807"/>
                                                    <a:gd name="connsiteY788" fmla="*/ 1246167 h 1513748"/>
                                                    <a:gd name="connsiteX789" fmla="*/ 2045544 w 4023807"/>
                                                    <a:gd name="connsiteY789" fmla="*/ 1255043 h 1513748"/>
                                                    <a:gd name="connsiteX790" fmla="*/ 2057011 w 4023807"/>
                                                    <a:gd name="connsiteY790" fmla="*/ 1247916 h 1513748"/>
                                                    <a:gd name="connsiteX791" fmla="*/ 2073402 w 4023807"/>
                                                    <a:gd name="connsiteY791" fmla="*/ 1246361 h 1513748"/>
                                                    <a:gd name="connsiteX792" fmla="*/ 2119012 w 4023807"/>
                                                    <a:gd name="connsiteY792" fmla="*/ 1227833 h 1513748"/>
                                                    <a:gd name="connsiteX793" fmla="*/ 2166305 w 4023807"/>
                                                    <a:gd name="connsiteY793" fmla="*/ 1223816 h 1513748"/>
                                                    <a:gd name="connsiteX794" fmla="*/ 2175764 w 4023807"/>
                                                    <a:gd name="connsiteY794" fmla="*/ 1229582 h 1513748"/>
                                                    <a:gd name="connsiteX795" fmla="*/ 2189822 w 4023807"/>
                                                    <a:gd name="connsiteY795" fmla="*/ 1231266 h 1513748"/>
                                                    <a:gd name="connsiteX796" fmla="*/ 2198503 w 4023807"/>
                                                    <a:gd name="connsiteY796" fmla="*/ 1240142 h 1513748"/>
                                                    <a:gd name="connsiteX797" fmla="*/ 2199864 w 4023807"/>
                                                    <a:gd name="connsiteY797" fmla="*/ 1239883 h 1513748"/>
                                                    <a:gd name="connsiteX798" fmla="*/ 2201224 w 4023807"/>
                                                    <a:gd name="connsiteY798" fmla="*/ 1239689 h 1513748"/>
                                                    <a:gd name="connsiteX799" fmla="*/ 2205695 w 4023807"/>
                                                    <a:gd name="connsiteY799" fmla="*/ 1239689 h 1513748"/>
                                                    <a:gd name="connsiteX800" fmla="*/ 2206861 w 4023807"/>
                                                    <a:gd name="connsiteY800" fmla="*/ 1239689 h 1513748"/>
                                                    <a:gd name="connsiteX801" fmla="*/ 2212562 w 4023807"/>
                                                    <a:gd name="connsiteY801" fmla="*/ 1240207 h 1513748"/>
                                                    <a:gd name="connsiteX802" fmla="*/ 2215413 w 4023807"/>
                                                    <a:gd name="connsiteY802" fmla="*/ 1240466 h 1513748"/>
                                                    <a:gd name="connsiteX803" fmla="*/ 2251109 w 4023807"/>
                                                    <a:gd name="connsiteY803" fmla="*/ 1229582 h 1513748"/>
                                                    <a:gd name="connsiteX804" fmla="*/ 2277931 w 4023807"/>
                                                    <a:gd name="connsiteY804" fmla="*/ 1178596 h 1513748"/>
                                                    <a:gd name="connsiteX805" fmla="*/ 2281559 w 4023807"/>
                                                    <a:gd name="connsiteY805" fmla="*/ 1167258 h 1513748"/>
                                                    <a:gd name="connsiteX806" fmla="*/ 2291406 w 4023807"/>
                                                    <a:gd name="connsiteY806" fmla="*/ 1157022 h 1513748"/>
                                                    <a:gd name="connsiteX807" fmla="*/ 2285381 w 4023807"/>
                                                    <a:gd name="connsiteY807" fmla="*/ 1128581 h 1513748"/>
                                                    <a:gd name="connsiteX808" fmla="*/ 2289917 w 4023807"/>
                                                    <a:gd name="connsiteY808" fmla="*/ 1109469 h 1513748"/>
                                                    <a:gd name="connsiteX809" fmla="*/ 2310065 w 4023807"/>
                                                    <a:gd name="connsiteY809" fmla="*/ 1103833 h 1513748"/>
                                                    <a:gd name="connsiteX810" fmla="*/ 2374850 w 4023807"/>
                                                    <a:gd name="connsiteY810" fmla="*/ 1103768 h 1513748"/>
                                                    <a:gd name="connsiteX811" fmla="*/ 2428752 w 4023807"/>
                                                    <a:gd name="connsiteY811" fmla="*/ 1136809 h 1513748"/>
                                                    <a:gd name="connsiteX812" fmla="*/ 2443393 w 4023807"/>
                                                    <a:gd name="connsiteY812" fmla="*/ 1163954 h 1513748"/>
                                                    <a:gd name="connsiteX813" fmla="*/ 2450261 w 4023807"/>
                                                    <a:gd name="connsiteY813" fmla="*/ 1174838 h 1513748"/>
                                                    <a:gd name="connsiteX814" fmla="*/ 2452139 w 4023807"/>
                                                    <a:gd name="connsiteY814" fmla="*/ 1183325 h 1513748"/>
                                                    <a:gd name="connsiteX815" fmla="*/ 2466846 w 4023807"/>
                                                    <a:gd name="connsiteY815" fmla="*/ 1222196 h 1513748"/>
                                                    <a:gd name="connsiteX816" fmla="*/ 2471252 w 4023807"/>
                                                    <a:gd name="connsiteY816" fmla="*/ 1230619 h 1513748"/>
                                                    <a:gd name="connsiteX817" fmla="*/ 2474491 w 4023807"/>
                                                    <a:gd name="connsiteY817" fmla="*/ 1240531 h 1513748"/>
                                                    <a:gd name="connsiteX818" fmla="*/ 2480321 w 4023807"/>
                                                    <a:gd name="connsiteY818" fmla="*/ 1244224 h 1513748"/>
                                                    <a:gd name="connsiteX819" fmla="*/ 2504616 w 4023807"/>
                                                    <a:gd name="connsiteY819" fmla="*/ 1254784 h 1513748"/>
                                                    <a:gd name="connsiteX820" fmla="*/ 2535325 w 4023807"/>
                                                    <a:gd name="connsiteY820" fmla="*/ 1273636 h 1513748"/>
                                                    <a:gd name="connsiteX821" fmla="*/ 2561109 w 4023807"/>
                                                    <a:gd name="connsiteY821" fmla="*/ 1302984 h 1513748"/>
                                                    <a:gd name="connsiteX822" fmla="*/ 2586570 w 4023807"/>
                                                    <a:gd name="connsiteY822" fmla="*/ 1303891 h 1513748"/>
                                                    <a:gd name="connsiteX823" fmla="*/ 2624469 w 4023807"/>
                                                    <a:gd name="connsiteY823" fmla="*/ 1290416 h 1513748"/>
                                                    <a:gd name="connsiteX824" fmla="*/ 2632827 w 4023807"/>
                                                    <a:gd name="connsiteY824" fmla="*/ 1287565 h 1513748"/>
                                                    <a:gd name="connsiteX825" fmla="*/ 2643646 w 4023807"/>
                                                    <a:gd name="connsiteY825" fmla="*/ 1299032 h 1513748"/>
                                                    <a:gd name="connsiteX826" fmla="*/ 2639953 w 4023807"/>
                                                    <a:gd name="connsiteY826" fmla="*/ 1315812 h 1513748"/>
                                                    <a:gd name="connsiteX827" fmla="*/ 2624211 w 4023807"/>
                                                    <a:gd name="connsiteY827" fmla="*/ 1355007 h 1513748"/>
                                                    <a:gd name="connsiteX828" fmla="*/ 2591947 w 4023807"/>
                                                    <a:gd name="connsiteY828" fmla="*/ 1391028 h 1513748"/>
                                                    <a:gd name="connsiteX829" fmla="*/ 2569920 w 4023807"/>
                                                    <a:gd name="connsiteY829" fmla="*/ 1392129 h 1513748"/>
                                                    <a:gd name="connsiteX830" fmla="*/ 2561627 w 4023807"/>
                                                    <a:gd name="connsiteY830" fmla="*/ 1397636 h 1513748"/>
                                                    <a:gd name="connsiteX831" fmla="*/ 2549837 w 4023807"/>
                                                    <a:gd name="connsiteY831" fmla="*/ 1433333 h 1513748"/>
                                                    <a:gd name="connsiteX832" fmla="*/ 2555732 w 4023807"/>
                                                    <a:gd name="connsiteY832" fmla="*/ 1460673 h 1513748"/>
                                                    <a:gd name="connsiteX833" fmla="*/ 2562923 w 4023807"/>
                                                    <a:gd name="connsiteY833" fmla="*/ 1456915 h 1513748"/>
                                                    <a:gd name="connsiteX834" fmla="*/ 2602636 w 4023807"/>
                                                    <a:gd name="connsiteY834" fmla="*/ 1463847 h 1513748"/>
                                                    <a:gd name="connsiteX835" fmla="*/ 2609504 w 4023807"/>
                                                    <a:gd name="connsiteY835" fmla="*/ 1469224 h 1513748"/>
                                                    <a:gd name="connsiteX836" fmla="*/ 2632957 w 4023807"/>
                                                    <a:gd name="connsiteY836" fmla="*/ 1460154 h 1513748"/>
                                                    <a:gd name="connsiteX837" fmla="*/ 2648635 w 4023807"/>
                                                    <a:gd name="connsiteY837" fmla="*/ 1437868 h 1513748"/>
                                                    <a:gd name="connsiteX838" fmla="*/ 2663341 w 4023807"/>
                                                    <a:gd name="connsiteY838" fmla="*/ 1428798 h 1513748"/>
                                                    <a:gd name="connsiteX839" fmla="*/ 2675456 w 4023807"/>
                                                    <a:gd name="connsiteY839" fmla="*/ 1419080 h 1513748"/>
                                                    <a:gd name="connsiteX840" fmla="*/ 2694308 w 4023807"/>
                                                    <a:gd name="connsiteY840" fmla="*/ 1396600 h 1513748"/>
                                                    <a:gd name="connsiteX841" fmla="*/ 2730977 w 4023807"/>
                                                    <a:gd name="connsiteY841" fmla="*/ 1348464 h 1513748"/>
                                                    <a:gd name="connsiteX842" fmla="*/ 2740241 w 4023807"/>
                                                    <a:gd name="connsiteY842" fmla="*/ 1330259 h 1513748"/>
                                                    <a:gd name="connsiteX843" fmla="*/ 2742898 w 4023807"/>
                                                    <a:gd name="connsiteY843" fmla="*/ 1314451 h 1513748"/>
                                                    <a:gd name="connsiteX844" fmla="*/ 2755985 w 4023807"/>
                                                    <a:gd name="connsiteY844" fmla="*/ 1307454 h 1513748"/>
                                                    <a:gd name="connsiteX845" fmla="*/ 2766674 w 4023807"/>
                                                    <a:gd name="connsiteY845" fmla="*/ 1287695 h 1513748"/>
                                                    <a:gd name="connsiteX846" fmla="*/ 2777429 w 4023807"/>
                                                    <a:gd name="connsiteY846" fmla="*/ 1283160 h 1513748"/>
                                                    <a:gd name="connsiteX847" fmla="*/ 2785851 w 4023807"/>
                                                    <a:gd name="connsiteY847" fmla="*/ 1265214 h 1513748"/>
                                                    <a:gd name="connsiteX848" fmla="*/ 2788442 w 4023807"/>
                                                    <a:gd name="connsiteY848" fmla="*/ 1174773 h 1513748"/>
                                                    <a:gd name="connsiteX849" fmla="*/ 2799780 w 4023807"/>
                                                    <a:gd name="connsiteY849" fmla="*/ 1163047 h 1513748"/>
                                                    <a:gd name="connsiteX850" fmla="*/ 2806647 w 4023807"/>
                                                    <a:gd name="connsiteY850" fmla="*/ 1128905 h 1513748"/>
                                                    <a:gd name="connsiteX851" fmla="*/ 2799456 w 4023807"/>
                                                    <a:gd name="connsiteY851" fmla="*/ 1107914 h 1513748"/>
                                                    <a:gd name="connsiteX852" fmla="*/ 2782741 w 4023807"/>
                                                    <a:gd name="connsiteY852" fmla="*/ 1096383 h 1513748"/>
                                                    <a:gd name="connsiteX853" fmla="*/ 2772181 w 4023807"/>
                                                    <a:gd name="connsiteY853" fmla="*/ 1077530 h 1513748"/>
                                                    <a:gd name="connsiteX854" fmla="*/ 2749636 w 4023807"/>
                                                    <a:gd name="connsiteY854" fmla="*/ 1074420 h 1513748"/>
                                                    <a:gd name="connsiteX855" fmla="*/ 2731042 w 4023807"/>
                                                    <a:gd name="connsiteY855" fmla="*/ 1092819 h 1513748"/>
                                                    <a:gd name="connsiteX856" fmla="*/ 2728645 w 4023807"/>
                                                    <a:gd name="connsiteY856" fmla="*/ 1104870 h 1513748"/>
                                                    <a:gd name="connsiteX857" fmla="*/ 2719122 w 4023807"/>
                                                    <a:gd name="connsiteY857" fmla="*/ 1091394 h 1513748"/>
                                                    <a:gd name="connsiteX858" fmla="*/ 2712449 w 4023807"/>
                                                    <a:gd name="connsiteY858" fmla="*/ 1074744 h 1513748"/>
                                                    <a:gd name="connsiteX859" fmla="*/ 2707136 w 4023807"/>
                                                    <a:gd name="connsiteY859" fmla="*/ 1092236 h 1513748"/>
                                                    <a:gd name="connsiteX860" fmla="*/ 2691588 w 4023807"/>
                                                    <a:gd name="connsiteY860" fmla="*/ 1081871 h 1513748"/>
                                                    <a:gd name="connsiteX861" fmla="*/ 2693078 w 4023807"/>
                                                    <a:gd name="connsiteY861" fmla="*/ 1061269 h 1513748"/>
                                                    <a:gd name="connsiteX862" fmla="*/ 2673642 w 4023807"/>
                                                    <a:gd name="connsiteY862" fmla="*/ 1061398 h 1513748"/>
                                                    <a:gd name="connsiteX863" fmla="*/ 2662370 w 4023807"/>
                                                    <a:gd name="connsiteY863" fmla="*/ 1047210 h 1513748"/>
                                                    <a:gd name="connsiteX864" fmla="*/ 2673188 w 4023807"/>
                                                    <a:gd name="connsiteY864" fmla="*/ 1033216 h 1513748"/>
                                                    <a:gd name="connsiteX865" fmla="*/ 2708238 w 4023807"/>
                                                    <a:gd name="connsiteY865" fmla="*/ 997066 h 1513748"/>
                                                    <a:gd name="connsiteX866" fmla="*/ 2714911 w 4023807"/>
                                                    <a:gd name="connsiteY866" fmla="*/ 977112 h 1513748"/>
                                                    <a:gd name="connsiteX867" fmla="*/ 2736679 w 4023807"/>
                                                    <a:gd name="connsiteY867" fmla="*/ 961045 h 1513748"/>
                                                    <a:gd name="connsiteX868" fmla="*/ 2751450 w 4023807"/>
                                                    <a:gd name="connsiteY868" fmla="*/ 937463 h 1513748"/>
                                                    <a:gd name="connsiteX869" fmla="*/ 2777493 w 4023807"/>
                                                    <a:gd name="connsiteY869" fmla="*/ 926385 h 1513748"/>
                                                    <a:gd name="connsiteX870" fmla="*/ 2786175 w 4023807"/>
                                                    <a:gd name="connsiteY870" fmla="*/ 911743 h 1513748"/>
                                                    <a:gd name="connsiteX871" fmla="*/ 2822325 w 4023807"/>
                                                    <a:gd name="connsiteY871" fmla="*/ 883367 h 1513748"/>
                                                    <a:gd name="connsiteX872" fmla="*/ 2832237 w 4023807"/>
                                                    <a:gd name="connsiteY872" fmla="*/ 869633 h 1513748"/>
                                                    <a:gd name="connsiteX873" fmla="*/ 2843834 w 4023807"/>
                                                    <a:gd name="connsiteY873" fmla="*/ 867948 h 1513748"/>
                                                    <a:gd name="connsiteX874" fmla="*/ 2887888 w 4023807"/>
                                                    <a:gd name="connsiteY874" fmla="*/ 869827 h 1513748"/>
                                                    <a:gd name="connsiteX875" fmla="*/ 2921577 w 4023807"/>
                                                    <a:gd name="connsiteY875" fmla="*/ 883043 h 1513748"/>
                                                    <a:gd name="connsiteX876" fmla="*/ 2937967 w 4023807"/>
                                                    <a:gd name="connsiteY876" fmla="*/ 885829 h 1513748"/>
                                                    <a:gd name="connsiteX877" fmla="*/ 2948204 w 4023807"/>
                                                    <a:gd name="connsiteY877" fmla="*/ 873844 h 1513748"/>
                                                    <a:gd name="connsiteX878" fmla="*/ 2984095 w 4023807"/>
                                                    <a:gd name="connsiteY878" fmla="*/ 881229 h 1513748"/>
                                                    <a:gd name="connsiteX879" fmla="*/ 2988306 w 4023807"/>
                                                    <a:gd name="connsiteY879" fmla="*/ 884663 h 1513748"/>
                                                    <a:gd name="connsiteX880" fmla="*/ 2998996 w 4023807"/>
                                                    <a:gd name="connsiteY880" fmla="*/ 879091 h 1513748"/>
                                                    <a:gd name="connsiteX881" fmla="*/ 3003013 w 4023807"/>
                                                    <a:gd name="connsiteY881" fmla="*/ 866393 h 1513748"/>
                                                    <a:gd name="connsiteX882" fmla="*/ 3021736 w 4023807"/>
                                                    <a:gd name="connsiteY882" fmla="*/ 854149 h 1513748"/>
                                                    <a:gd name="connsiteX883" fmla="*/ 3040070 w 4023807"/>
                                                    <a:gd name="connsiteY883" fmla="*/ 867041 h 1513748"/>
                                                    <a:gd name="connsiteX884" fmla="*/ 3043179 w 4023807"/>
                                                    <a:gd name="connsiteY884" fmla="*/ 872030 h 1513748"/>
                                                    <a:gd name="connsiteX885" fmla="*/ 3047002 w 4023807"/>
                                                    <a:gd name="connsiteY885" fmla="*/ 872354 h 1513748"/>
                                                    <a:gd name="connsiteX886" fmla="*/ 3069612 w 4023807"/>
                                                    <a:gd name="connsiteY886" fmla="*/ 869762 h 1513748"/>
                                                    <a:gd name="connsiteX887" fmla="*/ 3069807 w 4023807"/>
                                                    <a:gd name="connsiteY887" fmla="*/ 880905 h 1513748"/>
                                                    <a:gd name="connsiteX888" fmla="*/ 3073110 w 4023807"/>
                                                    <a:gd name="connsiteY888" fmla="*/ 884987 h 1513748"/>
                                                    <a:gd name="connsiteX889" fmla="*/ 3059895 w 4023807"/>
                                                    <a:gd name="connsiteY889" fmla="*/ 896713 h 1513748"/>
                                                    <a:gd name="connsiteX890" fmla="*/ 3064818 w 4023807"/>
                                                    <a:gd name="connsiteY890" fmla="*/ 910707 h 1513748"/>
                                                    <a:gd name="connsiteX891" fmla="*/ 3092158 w 4023807"/>
                                                    <a:gd name="connsiteY891" fmla="*/ 890299 h 1513748"/>
                                                    <a:gd name="connsiteX892" fmla="*/ 3147226 w 4023807"/>
                                                    <a:gd name="connsiteY892" fmla="*/ 891530 h 1513748"/>
                                                    <a:gd name="connsiteX893" fmla="*/ 3147485 w 4023807"/>
                                                    <a:gd name="connsiteY893" fmla="*/ 872613 h 1513748"/>
                                                    <a:gd name="connsiteX894" fmla="*/ 3134657 w 4023807"/>
                                                    <a:gd name="connsiteY894" fmla="*/ 864968 h 1513748"/>
                                                    <a:gd name="connsiteX895" fmla="*/ 3138091 w 4023807"/>
                                                    <a:gd name="connsiteY895" fmla="*/ 850391 h 1513748"/>
                                                    <a:gd name="connsiteX896" fmla="*/ 3149234 w 4023807"/>
                                                    <a:gd name="connsiteY896" fmla="*/ 842941 h 1513748"/>
                                                    <a:gd name="connsiteX897" fmla="*/ 3153445 w 4023807"/>
                                                    <a:gd name="connsiteY897" fmla="*/ 834972 h 1513748"/>
                                                    <a:gd name="connsiteX898" fmla="*/ 3164524 w 4023807"/>
                                                    <a:gd name="connsiteY898" fmla="*/ 826744 h 1513748"/>
                                                    <a:gd name="connsiteX899" fmla="*/ 3191928 w 4023807"/>
                                                    <a:gd name="connsiteY899" fmla="*/ 807373 h 1513748"/>
                                                    <a:gd name="connsiteX900" fmla="*/ 3196917 w 4023807"/>
                                                    <a:gd name="connsiteY900" fmla="*/ 800960 h 1513748"/>
                                                    <a:gd name="connsiteX901" fmla="*/ 3201516 w 4023807"/>
                                                    <a:gd name="connsiteY901" fmla="*/ 784893 h 1513748"/>
                                                    <a:gd name="connsiteX902" fmla="*/ 3207347 w 4023807"/>
                                                    <a:gd name="connsiteY902" fmla="*/ 783273 h 1513748"/>
                                                    <a:gd name="connsiteX903" fmla="*/ 3241618 w 4023807"/>
                                                    <a:gd name="connsiteY903" fmla="*/ 779775 h 1513748"/>
                                                    <a:gd name="connsiteX904" fmla="*/ 3270643 w 4023807"/>
                                                    <a:gd name="connsiteY904" fmla="*/ 776795 h 1513748"/>
                                                    <a:gd name="connsiteX905" fmla="*/ 3290661 w 4023807"/>
                                                    <a:gd name="connsiteY905" fmla="*/ 786642 h 1513748"/>
                                                    <a:gd name="connsiteX906" fmla="*/ 3278222 w 4023807"/>
                                                    <a:gd name="connsiteY906" fmla="*/ 799081 h 1513748"/>
                                                    <a:gd name="connsiteX907" fmla="*/ 3274788 w 4023807"/>
                                                    <a:gd name="connsiteY907" fmla="*/ 813787 h 1513748"/>
                                                    <a:gd name="connsiteX908" fmla="*/ 3285025 w 4023807"/>
                                                    <a:gd name="connsiteY908" fmla="*/ 815213 h 1513748"/>
                                                    <a:gd name="connsiteX909" fmla="*/ 3290272 w 4023807"/>
                                                    <a:gd name="connsiteY909" fmla="*/ 820007 h 1513748"/>
                                                    <a:gd name="connsiteX910" fmla="*/ 3300703 w 4023807"/>
                                                    <a:gd name="connsiteY910" fmla="*/ 818258 h 1513748"/>
                                                    <a:gd name="connsiteX911" fmla="*/ 3346247 w 4023807"/>
                                                    <a:gd name="connsiteY911" fmla="*/ 787160 h 1513748"/>
                                                    <a:gd name="connsiteX912" fmla="*/ 3354540 w 4023807"/>
                                                    <a:gd name="connsiteY912" fmla="*/ 784439 h 1513748"/>
                                                    <a:gd name="connsiteX913" fmla="*/ 3356484 w 4023807"/>
                                                    <a:gd name="connsiteY913" fmla="*/ 779904 h 1513748"/>
                                                    <a:gd name="connsiteX914" fmla="*/ 3365035 w 4023807"/>
                                                    <a:gd name="connsiteY914" fmla="*/ 746734 h 1513748"/>
                                                    <a:gd name="connsiteX915" fmla="*/ 3410126 w 4023807"/>
                                                    <a:gd name="connsiteY915" fmla="*/ 747447 h 1513748"/>
                                                    <a:gd name="connsiteX916" fmla="*/ 3413884 w 4023807"/>
                                                    <a:gd name="connsiteY916" fmla="*/ 755739 h 1513748"/>
                                                    <a:gd name="connsiteX917" fmla="*/ 3407599 w 4023807"/>
                                                    <a:gd name="connsiteY917" fmla="*/ 755869 h 1513748"/>
                                                    <a:gd name="connsiteX918" fmla="*/ 3387192 w 4023807"/>
                                                    <a:gd name="connsiteY918" fmla="*/ 766688 h 1513748"/>
                                                    <a:gd name="connsiteX919" fmla="*/ 3380907 w 4023807"/>
                                                    <a:gd name="connsiteY919" fmla="*/ 790335 h 1513748"/>
                                                    <a:gd name="connsiteX920" fmla="*/ 3379029 w 4023807"/>
                                                    <a:gd name="connsiteY920" fmla="*/ 806078 h 1513748"/>
                                                    <a:gd name="connsiteX921" fmla="*/ 3377020 w 4023807"/>
                                                    <a:gd name="connsiteY921" fmla="*/ 811908 h 1513748"/>
                                                    <a:gd name="connsiteX922" fmla="*/ 3368469 w 4023807"/>
                                                    <a:gd name="connsiteY922" fmla="*/ 815407 h 1513748"/>
                                                    <a:gd name="connsiteX923" fmla="*/ 3364063 w 4023807"/>
                                                    <a:gd name="connsiteY923" fmla="*/ 824736 h 1513748"/>
                                                    <a:gd name="connsiteX924" fmla="*/ 3322406 w 4023807"/>
                                                    <a:gd name="connsiteY924" fmla="*/ 854861 h 1513748"/>
                                                    <a:gd name="connsiteX925" fmla="*/ 3310745 w 4023807"/>
                                                    <a:gd name="connsiteY925" fmla="*/ 859008 h 1513748"/>
                                                    <a:gd name="connsiteX926" fmla="*/ 3302387 w 4023807"/>
                                                    <a:gd name="connsiteY926" fmla="*/ 870540 h 1513748"/>
                                                    <a:gd name="connsiteX927" fmla="*/ 3295973 w 4023807"/>
                                                    <a:gd name="connsiteY927" fmla="*/ 872613 h 1513748"/>
                                                    <a:gd name="connsiteX928" fmla="*/ 3289689 w 4023807"/>
                                                    <a:gd name="connsiteY928" fmla="*/ 884274 h 1513748"/>
                                                    <a:gd name="connsiteX929" fmla="*/ 3277510 w 4023807"/>
                                                    <a:gd name="connsiteY929" fmla="*/ 885311 h 1513748"/>
                                                    <a:gd name="connsiteX930" fmla="*/ 3272003 w 4023807"/>
                                                    <a:gd name="connsiteY930" fmla="*/ 892891 h 1513748"/>
                                                    <a:gd name="connsiteX931" fmla="*/ 3240193 w 4023807"/>
                                                    <a:gd name="connsiteY931" fmla="*/ 924441 h 1513748"/>
                                                    <a:gd name="connsiteX932" fmla="*/ 3232872 w 4023807"/>
                                                    <a:gd name="connsiteY932" fmla="*/ 928199 h 1513748"/>
                                                    <a:gd name="connsiteX933" fmla="*/ 3225876 w 4023807"/>
                                                    <a:gd name="connsiteY933" fmla="*/ 936168 h 1513748"/>
                                                    <a:gd name="connsiteX934" fmla="*/ 3212659 w 4023807"/>
                                                    <a:gd name="connsiteY934" fmla="*/ 938305 h 1513748"/>
                                                    <a:gd name="connsiteX935" fmla="*/ 3198665 w 4023807"/>
                                                    <a:gd name="connsiteY935" fmla="*/ 969597 h 1513748"/>
                                                    <a:gd name="connsiteX936" fmla="*/ 3186292 w 4023807"/>
                                                    <a:gd name="connsiteY936" fmla="*/ 975946 h 1513748"/>
                                                    <a:gd name="connsiteX937" fmla="*/ 3197953 w 4023807"/>
                                                    <a:gd name="connsiteY937" fmla="*/ 983655 h 1513748"/>
                                                    <a:gd name="connsiteX938" fmla="*/ 3203848 w 4023807"/>
                                                    <a:gd name="connsiteY938" fmla="*/ 994993 h 1513748"/>
                                                    <a:gd name="connsiteX939" fmla="*/ 3214668 w 4023807"/>
                                                    <a:gd name="connsiteY939" fmla="*/ 1004387 h 1513748"/>
                                                    <a:gd name="connsiteX940" fmla="*/ 3209290 w 4023807"/>
                                                    <a:gd name="connsiteY940" fmla="*/ 1020259 h 1513748"/>
                                                    <a:gd name="connsiteX941" fmla="*/ 3202553 w 4023807"/>
                                                    <a:gd name="connsiteY941" fmla="*/ 1028617 h 1513748"/>
                                                    <a:gd name="connsiteX942" fmla="*/ 3198277 w 4023807"/>
                                                    <a:gd name="connsiteY942" fmla="*/ 1048247 h 1513748"/>
                                                    <a:gd name="connsiteX943" fmla="*/ 3198147 w 4023807"/>
                                                    <a:gd name="connsiteY943" fmla="*/ 1067812 h 1513748"/>
                                                    <a:gd name="connsiteX944" fmla="*/ 3196463 w 4023807"/>
                                                    <a:gd name="connsiteY944" fmla="*/ 1074355 h 1513748"/>
                                                    <a:gd name="connsiteX945" fmla="*/ 3193741 w 4023807"/>
                                                    <a:gd name="connsiteY945" fmla="*/ 1076623 h 1513748"/>
                                                    <a:gd name="connsiteX946" fmla="*/ 3191928 w 4023807"/>
                                                    <a:gd name="connsiteY946" fmla="*/ 1086406 h 1513748"/>
                                                    <a:gd name="connsiteX947" fmla="*/ 3189531 w 4023807"/>
                                                    <a:gd name="connsiteY947" fmla="*/ 1138169 h 1513748"/>
                                                    <a:gd name="connsiteX948" fmla="*/ 3186485 w 4023807"/>
                                                    <a:gd name="connsiteY948" fmla="*/ 1159419 h 1513748"/>
                                                    <a:gd name="connsiteX949" fmla="*/ 3188105 w 4023807"/>
                                                    <a:gd name="connsiteY949" fmla="*/ 1166351 h 1513748"/>
                                                    <a:gd name="connsiteX950" fmla="*/ 3195037 w 4023807"/>
                                                    <a:gd name="connsiteY950" fmla="*/ 1174125 h 1513748"/>
                                                    <a:gd name="connsiteX951" fmla="*/ 3198147 w 4023807"/>
                                                    <a:gd name="connsiteY951" fmla="*/ 1188573 h 1513748"/>
                                                    <a:gd name="connsiteX952" fmla="*/ 3205921 w 4023807"/>
                                                    <a:gd name="connsiteY952" fmla="*/ 1187990 h 1513748"/>
                                                    <a:gd name="connsiteX953" fmla="*/ 3208837 w 4023807"/>
                                                    <a:gd name="connsiteY953" fmla="*/ 1180280 h 1513748"/>
                                                    <a:gd name="connsiteX954" fmla="*/ 3217583 w 4023807"/>
                                                    <a:gd name="connsiteY954" fmla="*/ 1177948 h 1513748"/>
                                                    <a:gd name="connsiteX955" fmla="*/ 3217972 w 4023807"/>
                                                    <a:gd name="connsiteY955" fmla="*/ 1173154 h 1513748"/>
                                                    <a:gd name="connsiteX956" fmla="*/ 3223802 w 4023807"/>
                                                    <a:gd name="connsiteY956" fmla="*/ 1167841 h 1513748"/>
                                                    <a:gd name="connsiteX957" fmla="*/ 3231317 w 4023807"/>
                                                    <a:gd name="connsiteY957" fmla="*/ 1164667 h 1513748"/>
                                                    <a:gd name="connsiteX958" fmla="*/ 3234751 w 4023807"/>
                                                    <a:gd name="connsiteY958" fmla="*/ 1155856 h 1513748"/>
                                                    <a:gd name="connsiteX959" fmla="*/ 3234751 w 4023807"/>
                                                    <a:gd name="connsiteY959" fmla="*/ 1146073 h 1513748"/>
                                                    <a:gd name="connsiteX960" fmla="*/ 3237018 w 4023807"/>
                                                    <a:gd name="connsiteY960" fmla="*/ 1135902 h 1513748"/>
                                                    <a:gd name="connsiteX961" fmla="*/ 3235464 w 4023807"/>
                                                    <a:gd name="connsiteY961" fmla="*/ 1125018 h 1513748"/>
                                                    <a:gd name="connsiteX962" fmla="*/ 3234751 w 4023807"/>
                                                    <a:gd name="connsiteY962" fmla="*/ 1127868 h 1513748"/>
                                                    <a:gd name="connsiteX963" fmla="*/ 3235464 w 4023807"/>
                                                    <a:gd name="connsiteY963" fmla="*/ 1125018 h 1513748"/>
                                                    <a:gd name="connsiteX964" fmla="*/ 3237796 w 4023807"/>
                                                    <a:gd name="connsiteY964" fmla="*/ 1123463 h 1513748"/>
                                                    <a:gd name="connsiteX965" fmla="*/ 3264942 w 4023807"/>
                                                    <a:gd name="connsiteY965" fmla="*/ 1115883 h 1513748"/>
                                                    <a:gd name="connsiteX966" fmla="*/ 3275566 w 4023807"/>
                                                    <a:gd name="connsiteY966" fmla="*/ 1110895 h 1513748"/>
                                                    <a:gd name="connsiteX967" fmla="*/ 3276797 w 4023807"/>
                                                    <a:gd name="connsiteY967" fmla="*/ 1105517 h 1513748"/>
                                                    <a:gd name="connsiteX968" fmla="*/ 3271614 w 4023807"/>
                                                    <a:gd name="connsiteY968" fmla="*/ 1071635 h 1513748"/>
                                                    <a:gd name="connsiteX969" fmla="*/ 3278352 w 4023807"/>
                                                    <a:gd name="connsiteY969" fmla="*/ 1050514 h 1513748"/>
                                                    <a:gd name="connsiteX970" fmla="*/ 3280749 w 4023807"/>
                                                    <a:gd name="connsiteY970" fmla="*/ 1047210 h 1513748"/>
                                                    <a:gd name="connsiteX971" fmla="*/ 3286061 w 4023807"/>
                                                    <a:gd name="connsiteY971" fmla="*/ 1046044 h 1513748"/>
                                                    <a:gd name="connsiteX972" fmla="*/ 3289236 w 4023807"/>
                                                    <a:gd name="connsiteY972" fmla="*/ 1036326 h 1513748"/>
                                                    <a:gd name="connsiteX973" fmla="*/ 3299148 w 4023807"/>
                                                    <a:gd name="connsiteY973" fmla="*/ 1034707 h 1513748"/>
                                                    <a:gd name="connsiteX974" fmla="*/ 3307116 w 4023807"/>
                                                    <a:gd name="connsiteY974" fmla="*/ 1026803 h 1513748"/>
                                                    <a:gd name="connsiteX975" fmla="*/ 3316964 w 4023807"/>
                                                    <a:gd name="connsiteY975" fmla="*/ 1024794 h 1513748"/>
                                                    <a:gd name="connsiteX976" fmla="*/ 3340935 w 4023807"/>
                                                    <a:gd name="connsiteY976" fmla="*/ 1001148 h 1513748"/>
                                                    <a:gd name="connsiteX977" fmla="*/ 3344887 w 4023807"/>
                                                    <a:gd name="connsiteY977" fmla="*/ 999334 h 1513748"/>
                                                    <a:gd name="connsiteX978" fmla="*/ 3346830 w 4023807"/>
                                                    <a:gd name="connsiteY978" fmla="*/ 995770 h 1513748"/>
                                                    <a:gd name="connsiteX979" fmla="*/ 3361601 w 4023807"/>
                                                    <a:gd name="connsiteY979" fmla="*/ 995706 h 1513748"/>
                                                    <a:gd name="connsiteX980" fmla="*/ 3355900 w 4023807"/>
                                                    <a:gd name="connsiteY980" fmla="*/ 983526 h 1513748"/>
                                                    <a:gd name="connsiteX981" fmla="*/ 3342943 w 4023807"/>
                                                    <a:gd name="connsiteY981" fmla="*/ 978667 h 1513748"/>
                                                    <a:gd name="connsiteX982" fmla="*/ 3346701 w 4023807"/>
                                                    <a:gd name="connsiteY982" fmla="*/ 962794 h 1513748"/>
                                                    <a:gd name="connsiteX983" fmla="*/ 3344757 w 4023807"/>
                                                    <a:gd name="connsiteY983" fmla="*/ 960397 h 1513748"/>
                                                    <a:gd name="connsiteX984" fmla="*/ 3346636 w 4023807"/>
                                                    <a:gd name="connsiteY984" fmla="*/ 955992 h 1513748"/>
                                                    <a:gd name="connsiteX985" fmla="*/ 3351625 w 4023807"/>
                                                    <a:gd name="connsiteY985" fmla="*/ 954437 h 1513748"/>
                                                    <a:gd name="connsiteX986" fmla="*/ 3359399 w 4023807"/>
                                                    <a:gd name="connsiteY986" fmla="*/ 948736 h 1513748"/>
                                                    <a:gd name="connsiteX987" fmla="*/ 3354993 w 4023807"/>
                                                    <a:gd name="connsiteY987" fmla="*/ 941545 h 1513748"/>
                                                    <a:gd name="connsiteX988" fmla="*/ 3351365 w 4023807"/>
                                                    <a:gd name="connsiteY988" fmla="*/ 942193 h 1513748"/>
                                                    <a:gd name="connsiteX989" fmla="*/ 3344498 w 4023807"/>
                                                    <a:gd name="connsiteY989" fmla="*/ 939925 h 1513748"/>
                                                    <a:gd name="connsiteX990" fmla="*/ 3339574 w 4023807"/>
                                                    <a:gd name="connsiteY990" fmla="*/ 946015 h 1513748"/>
                                                    <a:gd name="connsiteX991" fmla="*/ 3335622 w 4023807"/>
                                                    <a:gd name="connsiteY991" fmla="*/ 941026 h 1513748"/>
                                                    <a:gd name="connsiteX992" fmla="*/ 3329014 w 4023807"/>
                                                    <a:gd name="connsiteY992" fmla="*/ 938889 h 1513748"/>
                                                    <a:gd name="connsiteX993" fmla="*/ 3325321 w 4023807"/>
                                                    <a:gd name="connsiteY993" fmla="*/ 929495 h 1513748"/>
                                                    <a:gd name="connsiteX994" fmla="*/ 3325516 w 4023807"/>
                                                    <a:gd name="connsiteY994" fmla="*/ 915566 h 1513748"/>
                                                    <a:gd name="connsiteX995" fmla="*/ 3333420 w 4023807"/>
                                                    <a:gd name="connsiteY995" fmla="*/ 904552 h 1513748"/>
                                                    <a:gd name="connsiteX996" fmla="*/ 3340481 w 4023807"/>
                                                    <a:gd name="connsiteY996" fmla="*/ 899434 h 1513748"/>
                                                    <a:gd name="connsiteX997" fmla="*/ 3340158 w 4023807"/>
                                                    <a:gd name="connsiteY997" fmla="*/ 895482 h 1513748"/>
                                                    <a:gd name="connsiteX998" fmla="*/ 3352208 w 4023807"/>
                                                    <a:gd name="connsiteY998" fmla="*/ 884987 h 1513748"/>
                                                    <a:gd name="connsiteX999" fmla="*/ 3352726 w 4023807"/>
                                                    <a:gd name="connsiteY999" fmla="*/ 880581 h 1513748"/>
                                                    <a:gd name="connsiteX1000" fmla="*/ 3355317 w 4023807"/>
                                                    <a:gd name="connsiteY1000" fmla="*/ 876435 h 1513748"/>
                                                    <a:gd name="connsiteX1001" fmla="*/ 3364582 w 4023807"/>
                                                    <a:gd name="connsiteY1001" fmla="*/ 865810 h 1513748"/>
                                                    <a:gd name="connsiteX1002" fmla="*/ 3371514 w 4023807"/>
                                                    <a:gd name="connsiteY1002" fmla="*/ 850845 h 1513748"/>
                                                    <a:gd name="connsiteX1003" fmla="*/ 3387321 w 4023807"/>
                                                    <a:gd name="connsiteY1003" fmla="*/ 848448 h 1513748"/>
                                                    <a:gd name="connsiteX1004" fmla="*/ 3403842 w 4023807"/>
                                                    <a:gd name="connsiteY1004" fmla="*/ 852205 h 1513748"/>
                                                    <a:gd name="connsiteX1005" fmla="*/ 3422241 w 4023807"/>
                                                    <a:gd name="connsiteY1005" fmla="*/ 834130 h 1513748"/>
                                                    <a:gd name="connsiteX1006" fmla="*/ 3430793 w 4023807"/>
                                                    <a:gd name="connsiteY1006" fmla="*/ 830048 h 1513748"/>
                                                    <a:gd name="connsiteX1007" fmla="*/ 3431894 w 4023807"/>
                                                    <a:gd name="connsiteY1007" fmla="*/ 832899 h 1513748"/>
                                                    <a:gd name="connsiteX1008" fmla="*/ 3441871 w 4023807"/>
                                                    <a:gd name="connsiteY1008" fmla="*/ 837952 h 1513748"/>
                                                    <a:gd name="connsiteX1009" fmla="*/ 3447184 w 4023807"/>
                                                    <a:gd name="connsiteY1009" fmla="*/ 849096 h 1513748"/>
                                                    <a:gd name="connsiteX1010" fmla="*/ 3455735 w 4023807"/>
                                                    <a:gd name="connsiteY1010" fmla="*/ 844755 h 1513748"/>
                                                    <a:gd name="connsiteX1011" fmla="*/ 3461307 w 4023807"/>
                                                    <a:gd name="connsiteY1011" fmla="*/ 835750 h 1513748"/>
                                                    <a:gd name="connsiteX1012" fmla="*/ 3471349 w 4023807"/>
                                                    <a:gd name="connsiteY1012" fmla="*/ 832964 h 1513748"/>
                                                    <a:gd name="connsiteX1013" fmla="*/ 3478410 w 4023807"/>
                                                    <a:gd name="connsiteY1013" fmla="*/ 827911 h 1513748"/>
                                                    <a:gd name="connsiteX1014" fmla="*/ 3502057 w 4023807"/>
                                                    <a:gd name="connsiteY1014" fmla="*/ 825902 h 1513748"/>
                                                    <a:gd name="connsiteX1015" fmla="*/ 3507304 w 4023807"/>
                                                    <a:gd name="connsiteY1015" fmla="*/ 828170 h 1513748"/>
                                                    <a:gd name="connsiteX1016" fmla="*/ 3510933 w 4023807"/>
                                                    <a:gd name="connsiteY1016" fmla="*/ 835102 h 1513748"/>
                                                    <a:gd name="connsiteX1017" fmla="*/ 3519290 w 4023807"/>
                                                    <a:gd name="connsiteY1017" fmla="*/ 838147 h 1513748"/>
                                                    <a:gd name="connsiteX1018" fmla="*/ 3521169 w 4023807"/>
                                                    <a:gd name="connsiteY1018" fmla="*/ 844107 h 1513748"/>
                                                    <a:gd name="connsiteX1019" fmla="*/ 3524927 w 4023807"/>
                                                    <a:gd name="connsiteY1019" fmla="*/ 844690 h 1513748"/>
                                                    <a:gd name="connsiteX1020" fmla="*/ 3538596 w 4023807"/>
                                                    <a:gd name="connsiteY1020" fmla="*/ 840803 h 1513748"/>
                                                    <a:gd name="connsiteX1021" fmla="*/ 3545593 w 4023807"/>
                                                    <a:gd name="connsiteY1021" fmla="*/ 829012 h 1513748"/>
                                                    <a:gd name="connsiteX1022" fmla="*/ 3554728 w 4023807"/>
                                                    <a:gd name="connsiteY1022" fmla="*/ 828234 h 1513748"/>
                                                    <a:gd name="connsiteX1023" fmla="*/ 3565482 w 4023807"/>
                                                    <a:gd name="connsiteY1023" fmla="*/ 813787 h 1513748"/>
                                                    <a:gd name="connsiteX1024" fmla="*/ 3573192 w 4023807"/>
                                                    <a:gd name="connsiteY1024" fmla="*/ 811585 h 1513748"/>
                                                    <a:gd name="connsiteX1025" fmla="*/ 3586732 w 4023807"/>
                                                    <a:gd name="connsiteY1025" fmla="*/ 797785 h 1513748"/>
                                                    <a:gd name="connsiteX1026" fmla="*/ 3601438 w 4023807"/>
                                                    <a:gd name="connsiteY1026" fmla="*/ 793185 h 1513748"/>
                                                    <a:gd name="connsiteX1027" fmla="*/ 3603058 w 4023807"/>
                                                    <a:gd name="connsiteY1027" fmla="*/ 787549 h 1513748"/>
                                                    <a:gd name="connsiteX1028" fmla="*/ 3621846 w 4023807"/>
                                                    <a:gd name="connsiteY1028" fmla="*/ 784958 h 1513748"/>
                                                    <a:gd name="connsiteX1029" fmla="*/ 3637265 w 4023807"/>
                                                    <a:gd name="connsiteY1029" fmla="*/ 773037 h 1513748"/>
                                                    <a:gd name="connsiteX1030" fmla="*/ 3657737 w 4023807"/>
                                                    <a:gd name="connsiteY1030" fmla="*/ 774462 h 1513748"/>
                                                    <a:gd name="connsiteX1031" fmla="*/ 3665382 w 4023807"/>
                                                    <a:gd name="connsiteY1031" fmla="*/ 773231 h 1513748"/>
                                                    <a:gd name="connsiteX1032" fmla="*/ 3669658 w 4023807"/>
                                                    <a:gd name="connsiteY1032" fmla="*/ 766623 h 1513748"/>
                                                    <a:gd name="connsiteX1033" fmla="*/ 3678274 w 4023807"/>
                                                    <a:gd name="connsiteY1033" fmla="*/ 764809 h 1513748"/>
                                                    <a:gd name="connsiteX1034" fmla="*/ 3691685 w 4023807"/>
                                                    <a:gd name="connsiteY1034" fmla="*/ 752694 h 1513748"/>
                                                    <a:gd name="connsiteX1035" fmla="*/ 3700107 w 4023807"/>
                                                    <a:gd name="connsiteY1035" fmla="*/ 753148 h 1513748"/>
                                                    <a:gd name="connsiteX1036" fmla="*/ 3703346 w 4023807"/>
                                                    <a:gd name="connsiteY1036" fmla="*/ 745050 h 1513748"/>
                                                    <a:gd name="connsiteX1037" fmla="*/ 3708659 w 4023807"/>
                                                    <a:gd name="connsiteY1037" fmla="*/ 738960 h 1513748"/>
                                                    <a:gd name="connsiteX1038" fmla="*/ 3711898 w 4023807"/>
                                                    <a:gd name="connsiteY1038" fmla="*/ 741292 h 1513748"/>
                                                    <a:gd name="connsiteX1039" fmla="*/ 3718765 w 4023807"/>
                                                    <a:gd name="connsiteY1039" fmla="*/ 744013 h 1513748"/>
                                                    <a:gd name="connsiteX1040" fmla="*/ 3734314 w 4023807"/>
                                                    <a:gd name="connsiteY1040" fmla="*/ 747511 h 1513748"/>
                                                    <a:gd name="connsiteX1041" fmla="*/ 3741245 w 4023807"/>
                                                    <a:gd name="connsiteY1041" fmla="*/ 750816 h 1513748"/>
                                                    <a:gd name="connsiteX1042" fmla="*/ 3743578 w 4023807"/>
                                                    <a:gd name="connsiteY1042" fmla="*/ 754703 h 1513748"/>
                                                    <a:gd name="connsiteX1043" fmla="*/ 3760228 w 4023807"/>
                                                    <a:gd name="connsiteY1043" fmla="*/ 756387 h 1513748"/>
                                                    <a:gd name="connsiteX1044" fmla="*/ 3761200 w 4023807"/>
                                                    <a:gd name="connsiteY1044" fmla="*/ 751593 h 1513748"/>
                                                    <a:gd name="connsiteX1045" fmla="*/ 3760163 w 4023807"/>
                                                    <a:gd name="connsiteY1045" fmla="*/ 746540 h 1513748"/>
                                                    <a:gd name="connsiteX1046" fmla="*/ 3774092 w 4023807"/>
                                                    <a:gd name="connsiteY1046" fmla="*/ 736174 h 1513748"/>
                                                    <a:gd name="connsiteX1047" fmla="*/ 3751288 w 4023807"/>
                                                    <a:gd name="connsiteY1047" fmla="*/ 733907 h 1513748"/>
                                                    <a:gd name="connsiteX1048" fmla="*/ 3737553 w 4023807"/>
                                                    <a:gd name="connsiteY1048" fmla="*/ 716479 h 1513748"/>
                                                    <a:gd name="connsiteX1049" fmla="*/ 3730880 w 4023807"/>
                                                    <a:gd name="connsiteY1049" fmla="*/ 715572 h 1513748"/>
                                                    <a:gd name="connsiteX1050" fmla="*/ 3718635 w 4023807"/>
                                                    <a:gd name="connsiteY1050" fmla="*/ 705854 h 1513748"/>
                                                    <a:gd name="connsiteX1051" fmla="*/ 3719672 w 4023807"/>
                                                    <a:gd name="connsiteY1051" fmla="*/ 691537 h 1513748"/>
                                                    <a:gd name="connsiteX1052" fmla="*/ 3708270 w 4023807"/>
                                                    <a:gd name="connsiteY1052" fmla="*/ 685317 h 1513748"/>
                                                    <a:gd name="connsiteX1053" fmla="*/ 3706974 w 4023807"/>
                                                    <a:gd name="connsiteY1053" fmla="*/ 671518 h 1513748"/>
                                                    <a:gd name="connsiteX1054" fmla="*/ 3705613 w 4023807"/>
                                                    <a:gd name="connsiteY1054" fmla="*/ 662901 h 1513748"/>
                                                    <a:gd name="connsiteX1055" fmla="*/ 3695767 w 4023807"/>
                                                    <a:gd name="connsiteY1055" fmla="*/ 661411 h 1513748"/>
                                                    <a:gd name="connsiteX1056" fmla="*/ 3692333 w 4023807"/>
                                                    <a:gd name="connsiteY1056" fmla="*/ 642040 h 1513748"/>
                                                    <a:gd name="connsiteX1057" fmla="*/ 3715073 w 4023807"/>
                                                    <a:gd name="connsiteY1057" fmla="*/ 635238 h 1513748"/>
                                                    <a:gd name="connsiteX1058" fmla="*/ 3725179 w 4023807"/>
                                                    <a:gd name="connsiteY1058" fmla="*/ 646511 h 1513748"/>
                                                    <a:gd name="connsiteX1059" fmla="*/ 3740857 w 4023807"/>
                                                    <a:gd name="connsiteY1059" fmla="*/ 639384 h 1513748"/>
                                                    <a:gd name="connsiteX1060" fmla="*/ 3745198 w 4023807"/>
                                                    <a:gd name="connsiteY1060" fmla="*/ 630508 h 1513748"/>
                                                    <a:gd name="connsiteX1061" fmla="*/ 3784328 w 4023807"/>
                                                    <a:gd name="connsiteY1061" fmla="*/ 630379 h 1513748"/>
                                                    <a:gd name="connsiteX1062" fmla="*/ 3800136 w 4023807"/>
                                                    <a:gd name="connsiteY1062" fmla="*/ 616256 h 1513748"/>
                                                    <a:gd name="connsiteX1063" fmla="*/ 3788799 w 4023807"/>
                                                    <a:gd name="connsiteY1063" fmla="*/ 607186 h 1513748"/>
                                                    <a:gd name="connsiteX1064" fmla="*/ 3784263 w 4023807"/>
                                                    <a:gd name="connsiteY1064" fmla="*/ 595200 h 1513748"/>
                                                    <a:gd name="connsiteX1065" fmla="*/ 3817823 w 4023807"/>
                                                    <a:gd name="connsiteY1065" fmla="*/ 579133 h 1513748"/>
                                                    <a:gd name="connsiteX1066" fmla="*/ 3824625 w 4023807"/>
                                                    <a:gd name="connsiteY1066" fmla="*/ 579846 h 1513748"/>
                                                    <a:gd name="connsiteX1067" fmla="*/ 3821515 w 4023807"/>
                                                    <a:gd name="connsiteY1067" fmla="*/ 596107 h 1513748"/>
                                                    <a:gd name="connsiteX1068" fmla="*/ 3817758 w 4023807"/>
                                                    <a:gd name="connsiteY1068" fmla="*/ 612433 h 1513748"/>
                                                    <a:gd name="connsiteX1069" fmla="*/ 3822746 w 4023807"/>
                                                    <a:gd name="connsiteY1069" fmla="*/ 614830 h 1513748"/>
                                                    <a:gd name="connsiteX1070" fmla="*/ 3830520 w 4023807"/>
                                                    <a:gd name="connsiteY1070" fmla="*/ 624807 h 1513748"/>
                                                    <a:gd name="connsiteX1071" fmla="*/ 3840757 w 4023807"/>
                                                    <a:gd name="connsiteY1071" fmla="*/ 623188 h 1513748"/>
                                                    <a:gd name="connsiteX1072" fmla="*/ 3880600 w 4023807"/>
                                                    <a:gd name="connsiteY1072" fmla="*/ 625650 h 1513748"/>
                                                    <a:gd name="connsiteX1073" fmla="*/ 3890382 w 4023807"/>
                                                    <a:gd name="connsiteY1073" fmla="*/ 646705 h 1513748"/>
                                                    <a:gd name="connsiteX1074" fmla="*/ 3927116 w 4023807"/>
                                                    <a:gd name="connsiteY1074" fmla="*/ 652989 h 1513748"/>
                                                    <a:gd name="connsiteX1075" fmla="*/ 3927116 w 4023807"/>
                                                    <a:gd name="connsiteY1075" fmla="*/ 661800 h 1513748"/>
                                                    <a:gd name="connsiteX1076" fmla="*/ 3938389 w 4023807"/>
                                                    <a:gd name="connsiteY1076" fmla="*/ 663938 h 1513748"/>
                                                    <a:gd name="connsiteX1077" fmla="*/ 3967348 w 4023807"/>
                                                    <a:gd name="connsiteY1077" fmla="*/ 668732 h 1513748"/>
                                                    <a:gd name="connsiteX1078" fmla="*/ 3959509 w 4023807"/>
                                                    <a:gd name="connsiteY1078" fmla="*/ 662124 h 1513748"/>
                                                    <a:gd name="connsiteX1079" fmla="*/ 3959185 w 4023807"/>
                                                    <a:gd name="connsiteY1079" fmla="*/ 653378 h 1513748"/>
                                                    <a:gd name="connsiteX1080" fmla="*/ 3974604 w 4023807"/>
                                                    <a:gd name="connsiteY1080" fmla="*/ 647029 h 1513748"/>
                                                    <a:gd name="connsiteX1081" fmla="*/ 3973826 w 4023807"/>
                                                    <a:gd name="connsiteY1081" fmla="*/ 630379 h 1513748"/>
                                                    <a:gd name="connsiteX1082" fmla="*/ 3962100 w 4023807"/>
                                                    <a:gd name="connsiteY1082" fmla="*/ 614247 h 1513748"/>
                                                    <a:gd name="connsiteX1083" fmla="*/ 3976418 w 4023807"/>
                                                    <a:gd name="connsiteY1083" fmla="*/ 613859 h 1513748"/>
                                                    <a:gd name="connsiteX1084" fmla="*/ 3990542 w 4023807"/>
                                                    <a:gd name="connsiteY1084" fmla="*/ 619171 h 1513748"/>
                                                    <a:gd name="connsiteX1085" fmla="*/ 3999546 w 4023807"/>
                                                    <a:gd name="connsiteY1085" fmla="*/ 609971 h 1513748"/>
                                                    <a:gd name="connsiteX1086" fmla="*/ 4006997 w 4023807"/>
                                                    <a:gd name="connsiteY1086" fmla="*/ 616515 h 1513748"/>
                                                    <a:gd name="connsiteX1087" fmla="*/ 4021185 w 4023807"/>
                                                    <a:gd name="connsiteY1087" fmla="*/ 612887 h 1513748"/>
                                                    <a:gd name="connsiteX1088" fmla="*/ 4021703 w 4023807"/>
                                                    <a:gd name="connsiteY1088" fmla="*/ 598245 h 1513748"/>
                                                    <a:gd name="connsiteX1089" fmla="*/ 1997344 w 4023807"/>
                                                    <a:gd name="connsiteY1089" fmla="*/ 1117373 h 1513748"/>
                                                    <a:gd name="connsiteX1090" fmla="*/ 1972790 w 4023807"/>
                                                    <a:gd name="connsiteY1090" fmla="*/ 1119705 h 1513748"/>
                                                    <a:gd name="connsiteX1091" fmla="*/ 1968838 w 4023807"/>
                                                    <a:gd name="connsiteY1091" fmla="*/ 1128646 h 1513748"/>
                                                    <a:gd name="connsiteX1092" fmla="*/ 1959055 w 4023807"/>
                                                    <a:gd name="connsiteY1092" fmla="*/ 1132663 h 1513748"/>
                                                    <a:gd name="connsiteX1093" fmla="*/ 1932493 w 4023807"/>
                                                    <a:gd name="connsiteY1093" fmla="*/ 1156892 h 1513748"/>
                                                    <a:gd name="connsiteX1094" fmla="*/ 1887403 w 4023807"/>
                                                    <a:gd name="connsiteY1094" fmla="*/ 1174320 h 1513748"/>
                                                    <a:gd name="connsiteX1095" fmla="*/ 1880859 w 4023807"/>
                                                    <a:gd name="connsiteY1095" fmla="*/ 1174514 h 1513748"/>
                                                    <a:gd name="connsiteX1096" fmla="*/ 1877750 w 4023807"/>
                                                    <a:gd name="connsiteY1096" fmla="*/ 1161168 h 1513748"/>
                                                    <a:gd name="connsiteX1097" fmla="*/ 1891613 w 4023807"/>
                                                    <a:gd name="connsiteY1097" fmla="*/ 1154171 h 1513748"/>
                                                    <a:gd name="connsiteX1098" fmla="*/ 1907097 w 4023807"/>
                                                    <a:gd name="connsiteY1098" fmla="*/ 1150543 h 1513748"/>
                                                    <a:gd name="connsiteX1099" fmla="*/ 1916492 w 4023807"/>
                                                    <a:gd name="connsiteY1099" fmla="*/ 1128322 h 1513748"/>
                                                    <a:gd name="connsiteX1100" fmla="*/ 1972531 w 4023807"/>
                                                    <a:gd name="connsiteY1100" fmla="*/ 1075198 h 1513748"/>
                                                    <a:gd name="connsiteX1101" fmla="*/ 1979463 w 4023807"/>
                                                    <a:gd name="connsiteY1101" fmla="*/ 1064184 h 1513748"/>
                                                    <a:gd name="connsiteX1102" fmla="*/ 1988663 w 4023807"/>
                                                    <a:gd name="connsiteY1102" fmla="*/ 1059584 h 1513748"/>
                                                    <a:gd name="connsiteX1103" fmla="*/ 1999482 w 4023807"/>
                                                    <a:gd name="connsiteY1103" fmla="*/ 1033022 h 1513748"/>
                                                    <a:gd name="connsiteX1104" fmla="*/ 2017233 w 4023807"/>
                                                    <a:gd name="connsiteY1104" fmla="*/ 1012939 h 1513748"/>
                                                    <a:gd name="connsiteX1105" fmla="*/ 2029477 w 4023807"/>
                                                    <a:gd name="connsiteY1105" fmla="*/ 1033605 h 1513748"/>
                                                    <a:gd name="connsiteX1106" fmla="*/ 1997344 w 4023807"/>
                                                    <a:gd name="connsiteY1106" fmla="*/ 1117373 h 151374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  <a:cxn ang="0">
                                                      <a:pos x="connsiteX245" y="connsiteY245"/>
                                                    </a:cxn>
                                                    <a:cxn ang="0">
                                                      <a:pos x="connsiteX246" y="connsiteY246"/>
                                                    </a:cxn>
                                                    <a:cxn ang="0">
                                                      <a:pos x="connsiteX247" y="connsiteY247"/>
                                                    </a:cxn>
                                                    <a:cxn ang="0">
                                                      <a:pos x="connsiteX248" y="connsiteY248"/>
                                                    </a:cxn>
                                                    <a:cxn ang="0">
                                                      <a:pos x="connsiteX249" y="connsiteY249"/>
                                                    </a:cxn>
                                                    <a:cxn ang="0">
                                                      <a:pos x="connsiteX250" y="connsiteY250"/>
                                                    </a:cxn>
                                                    <a:cxn ang="0">
                                                      <a:pos x="connsiteX251" y="connsiteY251"/>
                                                    </a:cxn>
                                                    <a:cxn ang="0">
                                                      <a:pos x="connsiteX252" y="connsiteY252"/>
                                                    </a:cxn>
                                                    <a:cxn ang="0">
                                                      <a:pos x="connsiteX253" y="connsiteY253"/>
                                                    </a:cxn>
                                                    <a:cxn ang="0">
                                                      <a:pos x="connsiteX254" y="connsiteY254"/>
                                                    </a:cxn>
                                                    <a:cxn ang="0">
                                                      <a:pos x="connsiteX255" y="connsiteY255"/>
                                                    </a:cxn>
                                                    <a:cxn ang="0">
                                                      <a:pos x="connsiteX256" y="connsiteY256"/>
                                                    </a:cxn>
                                                    <a:cxn ang="0">
                                                      <a:pos x="connsiteX257" y="connsiteY257"/>
                                                    </a:cxn>
                                                    <a:cxn ang="0">
                                                      <a:pos x="connsiteX258" y="connsiteY258"/>
                                                    </a:cxn>
                                                    <a:cxn ang="0">
                                                      <a:pos x="connsiteX259" y="connsiteY259"/>
                                                    </a:cxn>
                                                    <a:cxn ang="0">
                                                      <a:pos x="connsiteX260" y="connsiteY260"/>
                                                    </a:cxn>
                                                    <a:cxn ang="0">
                                                      <a:pos x="connsiteX261" y="connsiteY261"/>
                                                    </a:cxn>
                                                    <a:cxn ang="0">
                                                      <a:pos x="connsiteX262" y="connsiteY262"/>
                                                    </a:cxn>
                                                    <a:cxn ang="0">
                                                      <a:pos x="connsiteX263" y="connsiteY263"/>
                                                    </a:cxn>
                                                    <a:cxn ang="0">
                                                      <a:pos x="connsiteX264" y="connsiteY264"/>
                                                    </a:cxn>
                                                    <a:cxn ang="0">
                                                      <a:pos x="connsiteX265" y="connsiteY265"/>
                                                    </a:cxn>
                                                    <a:cxn ang="0">
                                                      <a:pos x="connsiteX266" y="connsiteY266"/>
                                                    </a:cxn>
                                                    <a:cxn ang="0">
                                                      <a:pos x="connsiteX267" y="connsiteY267"/>
                                                    </a:cxn>
                                                    <a:cxn ang="0">
                                                      <a:pos x="connsiteX268" y="connsiteY268"/>
                                                    </a:cxn>
                                                    <a:cxn ang="0">
                                                      <a:pos x="connsiteX269" y="connsiteY269"/>
                                                    </a:cxn>
                                                    <a:cxn ang="0">
                                                      <a:pos x="connsiteX270" y="connsiteY270"/>
                                                    </a:cxn>
                                                    <a:cxn ang="0">
                                                      <a:pos x="connsiteX271" y="connsiteY271"/>
                                                    </a:cxn>
                                                    <a:cxn ang="0">
                                                      <a:pos x="connsiteX272" y="connsiteY272"/>
                                                    </a:cxn>
                                                    <a:cxn ang="0">
                                                      <a:pos x="connsiteX273" y="connsiteY273"/>
                                                    </a:cxn>
                                                    <a:cxn ang="0">
                                                      <a:pos x="connsiteX274" y="connsiteY274"/>
                                                    </a:cxn>
                                                    <a:cxn ang="0">
                                                      <a:pos x="connsiteX275" y="connsiteY275"/>
                                                    </a:cxn>
                                                    <a:cxn ang="0">
                                                      <a:pos x="connsiteX276" y="connsiteY276"/>
                                                    </a:cxn>
                                                    <a:cxn ang="0">
                                                      <a:pos x="connsiteX277" y="connsiteY277"/>
                                                    </a:cxn>
                                                    <a:cxn ang="0">
                                                      <a:pos x="connsiteX278" y="connsiteY278"/>
                                                    </a:cxn>
                                                    <a:cxn ang="0">
                                                      <a:pos x="connsiteX279" y="connsiteY279"/>
                                                    </a:cxn>
                                                    <a:cxn ang="0">
                                                      <a:pos x="connsiteX280" y="connsiteY280"/>
                                                    </a:cxn>
                                                    <a:cxn ang="0">
                                                      <a:pos x="connsiteX281" y="connsiteY281"/>
                                                    </a:cxn>
                                                    <a:cxn ang="0">
                                                      <a:pos x="connsiteX282" y="connsiteY282"/>
                                                    </a:cxn>
                                                    <a:cxn ang="0">
                                                      <a:pos x="connsiteX283" y="connsiteY283"/>
                                                    </a:cxn>
                                                    <a:cxn ang="0">
                                                      <a:pos x="connsiteX284" y="connsiteY284"/>
                                                    </a:cxn>
                                                    <a:cxn ang="0">
                                                      <a:pos x="connsiteX285" y="connsiteY285"/>
                                                    </a:cxn>
                                                    <a:cxn ang="0">
                                                      <a:pos x="connsiteX286" y="connsiteY286"/>
                                                    </a:cxn>
                                                    <a:cxn ang="0">
                                                      <a:pos x="connsiteX287" y="connsiteY287"/>
                                                    </a:cxn>
                                                    <a:cxn ang="0">
                                                      <a:pos x="connsiteX288" y="connsiteY288"/>
                                                    </a:cxn>
                                                    <a:cxn ang="0">
                                                      <a:pos x="connsiteX289" y="connsiteY289"/>
                                                    </a:cxn>
                                                    <a:cxn ang="0">
                                                      <a:pos x="connsiteX290" y="connsiteY290"/>
                                                    </a:cxn>
                                                    <a:cxn ang="0">
                                                      <a:pos x="connsiteX291" y="connsiteY291"/>
                                                    </a:cxn>
                                                    <a:cxn ang="0">
                                                      <a:pos x="connsiteX292" y="connsiteY292"/>
                                                    </a:cxn>
                                                    <a:cxn ang="0">
                                                      <a:pos x="connsiteX293" y="connsiteY293"/>
                                                    </a:cxn>
                                                    <a:cxn ang="0">
                                                      <a:pos x="connsiteX294" y="connsiteY294"/>
                                                    </a:cxn>
                                                    <a:cxn ang="0">
                                                      <a:pos x="connsiteX295" y="connsiteY295"/>
                                                    </a:cxn>
                                                    <a:cxn ang="0">
                                                      <a:pos x="connsiteX296" y="connsiteY296"/>
                                                    </a:cxn>
                                                    <a:cxn ang="0">
                                                      <a:pos x="connsiteX297" y="connsiteY297"/>
                                                    </a:cxn>
                                                    <a:cxn ang="0">
                                                      <a:pos x="connsiteX298" y="connsiteY298"/>
                                                    </a:cxn>
                                                    <a:cxn ang="0">
                                                      <a:pos x="connsiteX299" y="connsiteY299"/>
                                                    </a:cxn>
                                                    <a:cxn ang="0">
                                                      <a:pos x="connsiteX300" y="connsiteY300"/>
                                                    </a:cxn>
                                                    <a:cxn ang="0">
                                                      <a:pos x="connsiteX301" y="connsiteY301"/>
                                                    </a:cxn>
                                                    <a:cxn ang="0">
                                                      <a:pos x="connsiteX302" y="connsiteY302"/>
                                                    </a:cxn>
                                                    <a:cxn ang="0">
                                                      <a:pos x="connsiteX303" y="connsiteY303"/>
                                                    </a:cxn>
                                                    <a:cxn ang="0">
                                                      <a:pos x="connsiteX304" y="connsiteY304"/>
                                                    </a:cxn>
                                                    <a:cxn ang="0">
                                                      <a:pos x="connsiteX305" y="connsiteY305"/>
                                                    </a:cxn>
                                                    <a:cxn ang="0">
                                                      <a:pos x="connsiteX306" y="connsiteY306"/>
                                                    </a:cxn>
                                                    <a:cxn ang="0">
                                                      <a:pos x="connsiteX307" y="connsiteY307"/>
                                                    </a:cxn>
                                                    <a:cxn ang="0">
                                                      <a:pos x="connsiteX308" y="connsiteY308"/>
                                                    </a:cxn>
                                                    <a:cxn ang="0">
                                                      <a:pos x="connsiteX309" y="connsiteY309"/>
                                                    </a:cxn>
                                                    <a:cxn ang="0">
                                                      <a:pos x="connsiteX310" y="connsiteY310"/>
                                                    </a:cxn>
                                                    <a:cxn ang="0">
                                                      <a:pos x="connsiteX311" y="connsiteY311"/>
                                                    </a:cxn>
                                                    <a:cxn ang="0">
                                                      <a:pos x="connsiteX312" y="connsiteY312"/>
                                                    </a:cxn>
                                                    <a:cxn ang="0">
                                                      <a:pos x="connsiteX313" y="connsiteY313"/>
                                                    </a:cxn>
                                                    <a:cxn ang="0">
                                                      <a:pos x="connsiteX314" y="connsiteY314"/>
                                                    </a:cxn>
                                                    <a:cxn ang="0">
                                                      <a:pos x="connsiteX315" y="connsiteY315"/>
                                                    </a:cxn>
                                                    <a:cxn ang="0">
                                                      <a:pos x="connsiteX316" y="connsiteY316"/>
                                                    </a:cxn>
                                                    <a:cxn ang="0">
                                                      <a:pos x="connsiteX317" y="connsiteY317"/>
                                                    </a:cxn>
                                                    <a:cxn ang="0">
                                                      <a:pos x="connsiteX318" y="connsiteY318"/>
                                                    </a:cxn>
                                                    <a:cxn ang="0">
                                                      <a:pos x="connsiteX319" y="connsiteY319"/>
                                                    </a:cxn>
                                                    <a:cxn ang="0">
                                                      <a:pos x="connsiteX320" y="connsiteY320"/>
                                                    </a:cxn>
                                                    <a:cxn ang="0">
                                                      <a:pos x="connsiteX321" y="connsiteY321"/>
                                                    </a:cxn>
                                                    <a:cxn ang="0">
                                                      <a:pos x="connsiteX322" y="connsiteY322"/>
                                                    </a:cxn>
                                                    <a:cxn ang="0">
                                                      <a:pos x="connsiteX323" y="connsiteY323"/>
                                                    </a:cxn>
                                                    <a:cxn ang="0">
                                                      <a:pos x="connsiteX324" y="connsiteY324"/>
                                                    </a:cxn>
                                                    <a:cxn ang="0">
                                                      <a:pos x="connsiteX325" y="connsiteY325"/>
                                                    </a:cxn>
                                                    <a:cxn ang="0">
                                                      <a:pos x="connsiteX326" y="connsiteY326"/>
                                                    </a:cxn>
                                                    <a:cxn ang="0">
                                                      <a:pos x="connsiteX327" y="connsiteY327"/>
                                                    </a:cxn>
                                                    <a:cxn ang="0">
                                                      <a:pos x="connsiteX328" y="connsiteY328"/>
                                                    </a:cxn>
                                                    <a:cxn ang="0">
                                                      <a:pos x="connsiteX329" y="connsiteY329"/>
                                                    </a:cxn>
                                                    <a:cxn ang="0">
                                                      <a:pos x="connsiteX330" y="connsiteY330"/>
                                                    </a:cxn>
                                                    <a:cxn ang="0">
                                                      <a:pos x="connsiteX331" y="connsiteY331"/>
                                                    </a:cxn>
                                                    <a:cxn ang="0">
                                                      <a:pos x="connsiteX332" y="connsiteY332"/>
                                                    </a:cxn>
                                                    <a:cxn ang="0">
                                                      <a:pos x="connsiteX333" y="connsiteY333"/>
                                                    </a:cxn>
                                                    <a:cxn ang="0">
                                                      <a:pos x="connsiteX334" y="connsiteY334"/>
                                                    </a:cxn>
                                                    <a:cxn ang="0">
                                                      <a:pos x="connsiteX335" y="connsiteY335"/>
                                                    </a:cxn>
                                                    <a:cxn ang="0">
                                                      <a:pos x="connsiteX336" y="connsiteY336"/>
                                                    </a:cxn>
                                                    <a:cxn ang="0">
                                                      <a:pos x="connsiteX337" y="connsiteY337"/>
                                                    </a:cxn>
                                                    <a:cxn ang="0">
                                                      <a:pos x="connsiteX338" y="connsiteY338"/>
                                                    </a:cxn>
                                                    <a:cxn ang="0">
                                                      <a:pos x="connsiteX339" y="connsiteY339"/>
                                                    </a:cxn>
                                                    <a:cxn ang="0">
                                                      <a:pos x="connsiteX340" y="connsiteY340"/>
                                                    </a:cxn>
                                                    <a:cxn ang="0">
                                                      <a:pos x="connsiteX341" y="connsiteY341"/>
                                                    </a:cxn>
                                                    <a:cxn ang="0">
                                                      <a:pos x="connsiteX342" y="connsiteY342"/>
                                                    </a:cxn>
                                                    <a:cxn ang="0">
                                                      <a:pos x="connsiteX343" y="connsiteY343"/>
                                                    </a:cxn>
                                                    <a:cxn ang="0">
                                                      <a:pos x="connsiteX344" y="connsiteY344"/>
                                                    </a:cxn>
                                                    <a:cxn ang="0">
                                                      <a:pos x="connsiteX345" y="connsiteY345"/>
                                                    </a:cxn>
                                                    <a:cxn ang="0">
                                                      <a:pos x="connsiteX346" y="connsiteY346"/>
                                                    </a:cxn>
                                                    <a:cxn ang="0">
                                                      <a:pos x="connsiteX347" y="connsiteY347"/>
                                                    </a:cxn>
                                                    <a:cxn ang="0">
                                                      <a:pos x="connsiteX348" y="connsiteY348"/>
                                                    </a:cxn>
                                                    <a:cxn ang="0">
                                                      <a:pos x="connsiteX349" y="connsiteY349"/>
                                                    </a:cxn>
                                                    <a:cxn ang="0">
                                                      <a:pos x="connsiteX350" y="connsiteY350"/>
                                                    </a:cxn>
                                                    <a:cxn ang="0">
                                                      <a:pos x="connsiteX351" y="connsiteY351"/>
                                                    </a:cxn>
                                                    <a:cxn ang="0">
                                                      <a:pos x="connsiteX352" y="connsiteY352"/>
                                                    </a:cxn>
                                                    <a:cxn ang="0">
                                                      <a:pos x="connsiteX353" y="connsiteY353"/>
                                                    </a:cxn>
                                                    <a:cxn ang="0">
                                                      <a:pos x="connsiteX354" y="connsiteY354"/>
                                                    </a:cxn>
                                                    <a:cxn ang="0">
                                                      <a:pos x="connsiteX355" y="connsiteY355"/>
                                                    </a:cxn>
                                                    <a:cxn ang="0">
                                                      <a:pos x="connsiteX356" y="connsiteY356"/>
                                                    </a:cxn>
                                                    <a:cxn ang="0">
                                                      <a:pos x="connsiteX357" y="connsiteY357"/>
                                                    </a:cxn>
                                                    <a:cxn ang="0">
                                                      <a:pos x="connsiteX358" y="connsiteY358"/>
                                                    </a:cxn>
                                                    <a:cxn ang="0">
                                                      <a:pos x="connsiteX359" y="connsiteY359"/>
                                                    </a:cxn>
                                                    <a:cxn ang="0">
                                                      <a:pos x="connsiteX360" y="connsiteY360"/>
                                                    </a:cxn>
                                                    <a:cxn ang="0">
                                                      <a:pos x="connsiteX361" y="connsiteY361"/>
                                                    </a:cxn>
                                                    <a:cxn ang="0">
                                                      <a:pos x="connsiteX362" y="connsiteY362"/>
                                                    </a:cxn>
                                                    <a:cxn ang="0">
                                                      <a:pos x="connsiteX363" y="connsiteY363"/>
                                                    </a:cxn>
                                                    <a:cxn ang="0">
                                                      <a:pos x="connsiteX364" y="connsiteY364"/>
                                                    </a:cxn>
                                                    <a:cxn ang="0">
                                                      <a:pos x="connsiteX365" y="connsiteY365"/>
                                                    </a:cxn>
                                                    <a:cxn ang="0">
                                                      <a:pos x="connsiteX366" y="connsiteY366"/>
                                                    </a:cxn>
                                                    <a:cxn ang="0">
                                                      <a:pos x="connsiteX367" y="connsiteY367"/>
                                                    </a:cxn>
                                                    <a:cxn ang="0">
                                                      <a:pos x="connsiteX368" y="connsiteY368"/>
                                                    </a:cxn>
                                                    <a:cxn ang="0">
                                                      <a:pos x="connsiteX369" y="connsiteY369"/>
                                                    </a:cxn>
                                                    <a:cxn ang="0">
                                                      <a:pos x="connsiteX370" y="connsiteY370"/>
                                                    </a:cxn>
                                                    <a:cxn ang="0">
                                                      <a:pos x="connsiteX371" y="connsiteY371"/>
                                                    </a:cxn>
                                                    <a:cxn ang="0">
                                                      <a:pos x="connsiteX372" y="connsiteY372"/>
                                                    </a:cxn>
                                                    <a:cxn ang="0">
                                                      <a:pos x="connsiteX373" y="connsiteY373"/>
                                                    </a:cxn>
                                                    <a:cxn ang="0">
                                                      <a:pos x="connsiteX374" y="connsiteY374"/>
                                                    </a:cxn>
                                                    <a:cxn ang="0">
                                                      <a:pos x="connsiteX375" y="connsiteY375"/>
                                                    </a:cxn>
                                                    <a:cxn ang="0">
                                                      <a:pos x="connsiteX376" y="connsiteY376"/>
                                                    </a:cxn>
                                                    <a:cxn ang="0">
                                                      <a:pos x="connsiteX377" y="connsiteY377"/>
                                                    </a:cxn>
                                                    <a:cxn ang="0">
                                                      <a:pos x="connsiteX378" y="connsiteY378"/>
                                                    </a:cxn>
                                                    <a:cxn ang="0">
                                                      <a:pos x="connsiteX379" y="connsiteY379"/>
                                                    </a:cxn>
                                                    <a:cxn ang="0">
                                                      <a:pos x="connsiteX380" y="connsiteY380"/>
                                                    </a:cxn>
                                                    <a:cxn ang="0">
                                                      <a:pos x="connsiteX381" y="connsiteY381"/>
                                                    </a:cxn>
                                                    <a:cxn ang="0">
                                                      <a:pos x="connsiteX382" y="connsiteY382"/>
                                                    </a:cxn>
                                                    <a:cxn ang="0">
                                                      <a:pos x="connsiteX383" y="connsiteY383"/>
                                                    </a:cxn>
                                                    <a:cxn ang="0">
                                                      <a:pos x="connsiteX384" y="connsiteY384"/>
                                                    </a:cxn>
                                                    <a:cxn ang="0">
                                                      <a:pos x="connsiteX385" y="connsiteY385"/>
                                                    </a:cxn>
                                                    <a:cxn ang="0">
                                                      <a:pos x="connsiteX386" y="connsiteY386"/>
                                                    </a:cxn>
                                                    <a:cxn ang="0">
                                                      <a:pos x="connsiteX387" y="connsiteY387"/>
                                                    </a:cxn>
                                                    <a:cxn ang="0">
                                                      <a:pos x="connsiteX388" y="connsiteY388"/>
                                                    </a:cxn>
                                                    <a:cxn ang="0">
                                                      <a:pos x="connsiteX389" y="connsiteY389"/>
                                                    </a:cxn>
                                                    <a:cxn ang="0">
                                                      <a:pos x="connsiteX390" y="connsiteY390"/>
                                                    </a:cxn>
                                                    <a:cxn ang="0">
                                                      <a:pos x="connsiteX391" y="connsiteY391"/>
                                                    </a:cxn>
                                                    <a:cxn ang="0">
                                                      <a:pos x="connsiteX392" y="connsiteY392"/>
                                                    </a:cxn>
                                                    <a:cxn ang="0">
                                                      <a:pos x="connsiteX393" y="connsiteY393"/>
                                                    </a:cxn>
                                                    <a:cxn ang="0">
                                                      <a:pos x="connsiteX394" y="connsiteY394"/>
                                                    </a:cxn>
                                                    <a:cxn ang="0">
                                                      <a:pos x="connsiteX395" y="connsiteY395"/>
                                                    </a:cxn>
                                                    <a:cxn ang="0">
                                                      <a:pos x="connsiteX396" y="connsiteY396"/>
                                                    </a:cxn>
                                                    <a:cxn ang="0">
                                                      <a:pos x="connsiteX397" y="connsiteY397"/>
                                                    </a:cxn>
                                                    <a:cxn ang="0">
                                                      <a:pos x="connsiteX398" y="connsiteY398"/>
                                                    </a:cxn>
                                                    <a:cxn ang="0">
                                                      <a:pos x="connsiteX399" y="connsiteY399"/>
                                                    </a:cxn>
                                                    <a:cxn ang="0">
                                                      <a:pos x="connsiteX400" y="connsiteY400"/>
                                                    </a:cxn>
                                                    <a:cxn ang="0">
                                                      <a:pos x="connsiteX401" y="connsiteY401"/>
                                                    </a:cxn>
                                                    <a:cxn ang="0">
                                                      <a:pos x="connsiteX402" y="connsiteY402"/>
                                                    </a:cxn>
                                                    <a:cxn ang="0">
                                                      <a:pos x="connsiteX403" y="connsiteY403"/>
                                                    </a:cxn>
                                                    <a:cxn ang="0">
                                                      <a:pos x="connsiteX404" y="connsiteY404"/>
                                                    </a:cxn>
                                                    <a:cxn ang="0">
                                                      <a:pos x="connsiteX405" y="connsiteY405"/>
                                                    </a:cxn>
                                                    <a:cxn ang="0">
                                                      <a:pos x="connsiteX406" y="connsiteY406"/>
                                                    </a:cxn>
                                                    <a:cxn ang="0">
                                                      <a:pos x="connsiteX407" y="connsiteY407"/>
                                                    </a:cxn>
                                                    <a:cxn ang="0">
                                                      <a:pos x="connsiteX408" y="connsiteY408"/>
                                                    </a:cxn>
                                                    <a:cxn ang="0">
                                                      <a:pos x="connsiteX409" y="connsiteY409"/>
                                                    </a:cxn>
                                                    <a:cxn ang="0">
                                                      <a:pos x="connsiteX410" y="connsiteY410"/>
                                                    </a:cxn>
                                                    <a:cxn ang="0">
                                                      <a:pos x="connsiteX411" y="connsiteY411"/>
                                                    </a:cxn>
                                                    <a:cxn ang="0">
                                                      <a:pos x="connsiteX412" y="connsiteY412"/>
                                                    </a:cxn>
                                                    <a:cxn ang="0">
                                                      <a:pos x="connsiteX413" y="connsiteY413"/>
                                                    </a:cxn>
                                                    <a:cxn ang="0">
                                                      <a:pos x="connsiteX414" y="connsiteY414"/>
                                                    </a:cxn>
                                                    <a:cxn ang="0">
                                                      <a:pos x="connsiteX415" y="connsiteY415"/>
                                                    </a:cxn>
                                                    <a:cxn ang="0">
                                                      <a:pos x="connsiteX416" y="connsiteY416"/>
                                                    </a:cxn>
                                                    <a:cxn ang="0">
                                                      <a:pos x="connsiteX417" y="connsiteY417"/>
                                                    </a:cxn>
                                                    <a:cxn ang="0">
                                                      <a:pos x="connsiteX418" y="connsiteY418"/>
                                                    </a:cxn>
                                                    <a:cxn ang="0">
                                                      <a:pos x="connsiteX419" y="connsiteY419"/>
                                                    </a:cxn>
                                                    <a:cxn ang="0">
                                                      <a:pos x="connsiteX420" y="connsiteY420"/>
                                                    </a:cxn>
                                                    <a:cxn ang="0">
                                                      <a:pos x="connsiteX421" y="connsiteY421"/>
                                                    </a:cxn>
                                                    <a:cxn ang="0">
                                                      <a:pos x="connsiteX422" y="connsiteY422"/>
                                                    </a:cxn>
                                                    <a:cxn ang="0">
                                                      <a:pos x="connsiteX423" y="connsiteY423"/>
                                                    </a:cxn>
                                                    <a:cxn ang="0">
                                                      <a:pos x="connsiteX424" y="connsiteY424"/>
                                                    </a:cxn>
                                                    <a:cxn ang="0">
                                                      <a:pos x="connsiteX425" y="connsiteY425"/>
                                                    </a:cxn>
                                                    <a:cxn ang="0">
                                                      <a:pos x="connsiteX426" y="connsiteY426"/>
                                                    </a:cxn>
                                                    <a:cxn ang="0">
                                                      <a:pos x="connsiteX427" y="connsiteY427"/>
                                                    </a:cxn>
                                                    <a:cxn ang="0">
                                                      <a:pos x="connsiteX428" y="connsiteY428"/>
                                                    </a:cxn>
                                                    <a:cxn ang="0">
                                                      <a:pos x="connsiteX429" y="connsiteY429"/>
                                                    </a:cxn>
                                                    <a:cxn ang="0">
                                                      <a:pos x="connsiteX430" y="connsiteY430"/>
                                                    </a:cxn>
                                                    <a:cxn ang="0">
                                                      <a:pos x="connsiteX431" y="connsiteY431"/>
                                                    </a:cxn>
                                                    <a:cxn ang="0">
                                                      <a:pos x="connsiteX432" y="connsiteY432"/>
                                                    </a:cxn>
                                                    <a:cxn ang="0">
                                                      <a:pos x="connsiteX433" y="connsiteY433"/>
                                                    </a:cxn>
                                                    <a:cxn ang="0">
                                                      <a:pos x="connsiteX434" y="connsiteY434"/>
                                                    </a:cxn>
                                                    <a:cxn ang="0">
                                                      <a:pos x="connsiteX435" y="connsiteY435"/>
                                                    </a:cxn>
                                                    <a:cxn ang="0">
                                                      <a:pos x="connsiteX436" y="connsiteY436"/>
                                                    </a:cxn>
                                                    <a:cxn ang="0">
                                                      <a:pos x="connsiteX437" y="connsiteY437"/>
                                                    </a:cxn>
                                                    <a:cxn ang="0">
                                                      <a:pos x="connsiteX438" y="connsiteY438"/>
                                                    </a:cxn>
                                                    <a:cxn ang="0">
                                                      <a:pos x="connsiteX439" y="connsiteY439"/>
                                                    </a:cxn>
                                                    <a:cxn ang="0">
                                                      <a:pos x="connsiteX440" y="connsiteY440"/>
                                                    </a:cxn>
                                                    <a:cxn ang="0">
                                                      <a:pos x="connsiteX441" y="connsiteY441"/>
                                                    </a:cxn>
                                                    <a:cxn ang="0">
                                                      <a:pos x="connsiteX442" y="connsiteY442"/>
                                                    </a:cxn>
                                                    <a:cxn ang="0">
                                                      <a:pos x="connsiteX443" y="connsiteY443"/>
                                                    </a:cxn>
                                                    <a:cxn ang="0">
                                                      <a:pos x="connsiteX444" y="connsiteY444"/>
                                                    </a:cxn>
                                                    <a:cxn ang="0">
                                                      <a:pos x="connsiteX445" y="connsiteY445"/>
                                                    </a:cxn>
                                                    <a:cxn ang="0">
                                                      <a:pos x="connsiteX446" y="connsiteY446"/>
                                                    </a:cxn>
                                                    <a:cxn ang="0">
                                                      <a:pos x="connsiteX447" y="connsiteY447"/>
                                                    </a:cxn>
                                                    <a:cxn ang="0">
                                                      <a:pos x="connsiteX448" y="connsiteY448"/>
                                                    </a:cxn>
                                                    <a:cxn ang="0">
                                                      <a:pos x="connsiteX449" y="connsiteY449"/>
                                                    </a:cxn>
                                                    <a:cxn ang="0">
                                                      <a:pos x="connsiteX450" y="connsiteY450"/>
                                                    </a:cxn>
                                                    <a:cxn ang="0">
                                                      <a:pos x="connsiteX451" y="connsiteY451"/>
                                                    </a:cxn>
                                                    <a:cxn ang="0">
                                                      <a:pos x="connsiteX452" y="connsiteY452"/>
                                                    </a:cxn>
                                                    <a:cxn ang="0">
                                                      <a:pos x="connsiteX453" y="connsiteY453"/>
                                                    </a:cxn>
                                                    <a:cxn ang="0">
                                                      <a:pos x="connsiteX454" y="connsiteY454"/>
                                                    </a:cxn>
                                                    <a:cxn ang="0">
                                                      <a:pos x="connsiteX455" y="connsiteY455"/>
                                                    </a:cxn>
                                                    <a:cxn ang="0">
                                                      <a:pos x="connsiteX456" y="connsiteY456"/>
                                                    </a:cxn>
                                                    <a:cxn ang="0">
                                                      <a:pos x="connsiteX457" y="connsiteY457"/>
                                                    </a:cxn>
                                                    <a:cxn ang="0">
                                                      <a:pos x="connsiteX458" y="connsiteY458"/>
                                                    </a:cxn>
                                                    <a:cxn ang="0">
                                                      <a:pos x="connsiteX459" y="connsiteY459"/>
                                                    </a:cxn>
                                                    <a:cxn ang="0">
                                                      <a:pos x="connsiteX460" y="connsiteY460"/>
                                                    </a:cxn>
                                                    <a:cxn ang="0">
                                                      <a:pos x="connsiteX461" y="connsiteY461"/>
                                                    </a:cxn>
                                                    <a:cxn ang="0">
                                                      <a:pos x="connsiteX462" y="connsiteY462"/>
                                                    </a:cxn>
                                                    <a:cxn ang="0">
                                                      <a:pos x="connsiteX463" y="connsiteY463"/>
                                                    </a:cxn>
                                                    <a:cxn ang="0">
                                                      <a:pos x="connsiteX464" y="connsiteY464"/>
                                                    </a:cxn>
                                                    <a:cxn ang="0">
                                                      <a:pos x="connsiteX465" y="connsiteY465"/>
                                                    </a:cxn>
                                                    <a:cxn ang="0">
                                                      <a:pos x="connsiteX466" y="connsiteY466"/>
                                                    </a:cxn>
                                                    <a:cxn ang="0">
                                                      <a:pos x="connsiteX467" y="connsiteY467"/>
                                                    </a:cxn>
                                                    <a:cxn ang="0">
                                                      <a:pos x="connsiteX468" y="connsiteY468"/>
                                                    </a:cxn>
                                                    <a:cxn ang="0">
                                                      <a:pos x="connsiteX469" y="connsiteY469"/>
                                                    </a:cxn>
                                                    <a:cxn ang="0">
                                                      <a:pos x="connsiteX470" y="connsiteY470"/>
                                                    </a:cxn>
                                                    <a:cxn ang="0">
                                                      <a:pos x="connsiteX471" y="connsiteY471"/>
                                                    </a:cxn>
                                                    <a:cxn ang="0">
                                                      <a:pos x="connsiteX472" y="connsiteY472"/>
                                                    </a:cxn>
                                                    <a:cxn ang="0">
                                                      <a:pos x="connsiteX473" y="connsiteY473"/>
                                                    </a:cxn>
                                                    <a:cxn ang="0">
                                                      <a:pos x="connsiteX474" y="connsiteY474"/>
                                                    </a:cxn>
                                                    <a:cxn ang="0">
                                                      <a:pos x="connsiteX475" y="connsiteY475"/>
                                                    </a:cxn>
                                                    <a:cxn ang="0">
                                                      <a:pos x="connsiteX476" y="connsiteY476"/>
                                                    </a:cxn>
                                                    <a:cxn ang="0">
                                                      <a:pos x="connsiteX477" y="connsiteY477"/>
                                                    </a:cxn>
                                                    <a:cxn ang="0">
                                                      <a:pos x="connsiteX478" y="connsiteY478"/>
                                                    </a:cxn>
                                                    <a:cxn ang="0">
                                                      <a:pos x="connsiteX479" y="connsiteY479"/>
                                                    </a:cxn>
                                                    <a:cxn ang="0">
                                                      <a:pos x="connsiteX480" y="connsiteY480"/>
                                                    </a:cxn>
                                                    <a:cxn ang="0">
                                                      <a:pos x="connsiteX481" y="connsiteY481"/>
                                                    </a:cxn>
                                                    <a:cxn ang="0">
                                                      <a:pos x="connsiteX482" y="connsiteY482"/>
                                                    </a:cxn>
                                                    <a:cxn ang="0">
                                                      <a:pos x="connsiteX483" y="connsiteY483"/>
                                                    </a:cxn>
                                                    <a:cxn ang="0">
                                                      <a:pos x="connsiteX484" y="connsiteY484"/>
                                                    </a:cxn>
                                                    <a:cxn ang="0">
                                                      <a:pos x="connsiteX485" y="connsiteY485"/>
                                                    </a:cxn>
                                                    <a:cxn ang="0">
                                                      <a:pos x="connsiteX486" y="connsiteY486"/>
                                                    </a:cxn>
                                                    <a:cxn ang="0">
                                                      <a:pos x="connsiteX487" y="connsiteY487"/>
                                                    </a:cxn>
                                                    <a:cxn ang="0">
                                                      <a:pos x="connsiteX488" y="connsiteY488"/>
                                                    </a:cxn>
                                                    <a:cxn ang="0">
                                                      <a:pos x="connsiteX489" y="connsiteY489"/>
                                                    </a:cxn>
                                                    <a:cxn ang="0">
                                                      <a:pos x="connsiteX490" y="connsiteY490"/>
                                                    </a:cxn>
                                                    <a:cxn ang="0">
                                                      <a:pos x="connsiteX491" y="connsiteY491"/>
                                                    </a:cxn>
                                                    <a:cxn ang="0">
                                                      <a:pos x="connsiteX492" y="connsiteY492"/>
                                                    </a:cxn>
                                                    <a:cxn ang="0">
                                                      <a:pos x="connsiteX493" y="connsiteY493"/>
                                                    </a:cxn>
                                                    <a:cxn ang="0">
                                                      <a:pos x="connsiteX494" y="connsiteY494"/>
                                                    </a:cxn>
                                                    <a:cxn ang="0">
                                                      <a:pos x="connsiteX495" y="connsiteY495"/>
                                                    </a:cxn>
                                                    <a:cxn ang="0">
                                                      <a:pos x="connsiteX496" y="connsiteY496"/>
                                                    </a:cxn>
                                                    <a:cxn ang="0">
                                                      <a:pos x="connsiteX497" y="connsiteY497"/>
                                                    </a:cxn>
                                                    <a:cxn ang="0">
                                                      <a:pos x="connsiteX498" y="connsiteY498"/>
                                                    </a:cxn>
                                                    <a:cxn ang="0">
                                                      <a:pos x="connsiteX499" y="connsiteY499"/>
                                                    </a:cxn>
                                                    <a:cxn ang="0">
                                                      <a:pos x="connsiteX500" y="connsiteY500"/>
                                                    </a:cxn>
                                                    <a:cxn ang="0">
                                                      <a:pos x="connsiteX501" y="connsiteY501"/>
                                                    </a:cxn>
                                                    <a:cxn ang="0">
                                                      <a:pos x="connsiteX502" y="connsiteY502"/>
                                                    </a:cxn>
                                                    <a:cxn ang="0">
                                                      <a:pos x="connsiteX503" y="connsiteY503"/>
                                                    </a:cxn>
                                                    <a:cxn ang="0">
                                                      <a:pos x="connsiteX504" y="connsiteY504"/>
                                                    </a:cxn>
                                                    <a:cxn ang="0">
                                                      <a:pos x="connsiteX505" y="connsiteY505"/>
                                                    </a:cxn>
                                                    <a:cxn ang="0">
                                                      <a:pos x="connsiteX506" y="connsiteY506"/>
                                                    </a:cxn>
                                                    <a:cxn ang="0">
                                                      <a:pos x="connsiteX507" y="connsiteY507"/>
                                                    </a:cxn>
                                                    <a:cxn ang="0">
                                                      <a:pos x="connsiteX508" y="connsiteY508"/>
                                                    </a:cxn>
                                                    <a:cxn ang="0">
                                                      <a:pos x="connsiteX509" y="connsiteY509"/>
                                                    </a:cxn>
                                                    <a:cxn ang="0">
                                                      <a:pos x="connsiteX510" y="connsiteY510"/>
                                                    </a:cxn>
                                                    <a:cxn ang="0">
                                                      <a:pos x="connsiteX511" y="connsiteY511"/>
                                                    </a:cxn>
                                                    <a:cxn ang="0">
                                                      <a:pos x="connsiteX512" y="connsiteY512"/>
                                                    </a:cxn>
                                                    <a:cxn ang="0">
                                                      <a:pos x="connsiteX513" y="connsiteY513"/>
                                                    </a:cxn>
                                                    <a:cxn ang="0">
                                                      <a:pos x="connsiteX514" y="connsiteY514"/>
                                                    </a:cxn>
                                                    <a:cxn ang="0">
                                                      <a:pos x="connsiteX515" y="connsiteY515"/>
                                                    </a:cxn>
                                                    <a:cxn ang="0">
                                                      <a:pos x="connsiteX516" y="connsiteY516"/>
                                                    </a:cxn>
                                                    <a:cxn ang="0">
                                                      <a:pos x="connsiteX517" y="connsiteY517"/>
                                                    </a:cxn>
                                                    <a:cxn ang="0">
                                                      <a:pos x="connsiteX518" y="connsiteY518"/>
                                                    </a:cxn>
                                                    <a:cxn ang="0">
                                                      <a:pos x="connsiteX519" y="connsiteY519"/>
                                                    </a:cxn>
                                                    <a:cxn ang="0">
                                                      <a:pos x="connsiteX520" y="connsiteY520"/>
                                                    </a:cxn>
                                                    <a:cxn ang="0">
                                                      <a:pos x="connsiteX521" y="connsiteY521"/>
                                                    </a:cxn>
                                                    <a:cxn ang="0">
                                                      <a:pos x="connsiteX522" y="connsiteY522"/>
                                                    </a:cxn>
                                                    <a:cxn ang="0">
                                                      <a:pos x="connsiteX523" y="connsiteY523"/>
                                                    </a:cxn>
                                                    <a:cxn ang="0">
                                                      <a:pos x="connsiteX524" y="connsiteY524"/>
                                                    </a:cxn>
                                                    <a:cxn ang="0">
                                                      <a:pos x="connsiteX525" y="connsiteY525"/>
                                                    </a:cxn>
                                                    <a:cxn ang="0">
                                                      <a:pos x="connsiteX526" y="connsiteY526"/>
                                                    </a:cxn>
                                                    <a:cxn ang="0">
                                                      <a:pos x="connsiteX527" y="connsiteY527"/>
                                                    </a:cxn>
                                                    <a:cxn ang="0">
                                                      <a:pos x="connsiteX528" y="connsiteY528"/>
                                                    </a:cxn>
                                                    <a:cxn ang="0">
                                                      <a:pos x="connsiteX529" y="connsiteY529"/>
                                                    </a:cxn>
                                                    <a:cxn ang="0">
                                                      <a:pos x="connsiteX530" y="connsiteY530"/>
                                                    </a:cxn>
                                                    <a:cxn ang="0">
                                                      <a:pos x="connsiteX531" y="connsiteY531"/>
                                                    </a:cxn>
                                                    <a:cxn ang="0">
                                                      <a:pos x="connsiteX532" y="connsiteY532"/>
                                                    </a:cxn>
                                                    <a:cxn ang="0">
                                                      <a:pos x="connsiteX533" y="connsiteY533"/>
                                                    </a:cxn>
                                                    <a:cxn ang="0">
                                                      <a:pos x="connsiteX534" y="connsiteY534"/>
                                                    </a:cxn>
                                                    <a:cxn ang="0">
                                                      <a:pos x="connsiteX535" y="connsiteY535"/>
                                                    </a:cxn>
                                                    <a:cxn ang="0">
                                                      <a:pos x="connsiteX536" y="connsiteY536"/>
                                                    </a:cxn>
                                                    <a:cxn ang="0">
                                                      <a:pos x="connsiteX537" y="connsiteY537"/>
                                                    </a:cxn>
                                                    <a:cxn ang="0">
                                                      <a:pos x="connsiteX538" y="connsiteY538"/>
                                                    </a:cxn>
                                                    <a:cxn ang="0">
                                                      <a:pos x="connsiteX539" y="connsiteY539"/>
                                                    </a:cxn>
                                                    <a:cxn ang="0">
                                                      <a:pos x="connsiteX540" y="connsiteY540"/>
                                                    </a:cxn>
                                                    <a:cxn ang="0">
                                                      <a:pos x="connsiteX541" y="connsiteY541"/>
                                                    </a:cxn>
                                                    <a:cxn ang="0">
                                                      <a:pos x="connsiteX542" y="connsiteY542"/>
                                                    </a:cxn>
                                                    <a:cxn ang="0">
                                                      <a:pos x="connsiteX543" y="connsiteY543"/>
                                                    </a:cxn>
                                                    <a:cxn ang="0">
                                                      <a:pos x="connsiteX544" y="connsiteY544"/>
                                                    </a:cxn>
                                                    <a:cxn ang="0">
                                                      <a:pos x="connsiteX545" y="connsiteY545"/>
                                                    </a:cxn>
                                                    <a:cxn ang="0">
                                                      <a:pos x="connsiteX546" y="connsiteY546"/>
                                                    </a:cxn>
                                                    <a:cxn ang="0">
                                                      <a:pos x="connsiteX547" y="connsiteY547"/>
                                                    </a:cxn>
                                                    <a:cxn ang="0">
                                                      <a:pos x="connsiteX548" y="connsiteY548"/>
                                                    </a:cxn>
                                                    <a:cxn ang="0">
                                                      <a:pos x="connsiteX549" y="connsiteY549"/>
                                                    </a:cxn>
                                                    <a:cxn ang="0">
                                                      <a:pos x="connsiteX550" y="connsiteY550"/>
                                                    </a:cxn>
                                                    <a:cxn ang="0">
                                                      <a:pos x="connsiteX551" y="connsiteY551"/>
                                                    </a:cxn>
                                                    <a:cxn ang="0">
                                                      <a:pos x="connsiteX552" y="connsiteY552"/>
                                                    </a:cxn>
                                                    <a:cxn ang="0">
                                                      <a:pos x="connsiteX553" y="connsiteY553"/>
                                                    </a:cxn>
                                                    <a:cxn ang="0">
                                                      <a:pos x="connsiteX554" y="connsiteY554"/>
                                                    </a:cxn>
                                                    <a:cxn ang="0">
                                                      <a:pos x="connsiteX555" y="connsiteY555"/>
                                                    </a:cxn>
                                                    <a:cxn ang="0">
                                                      <a:pos x="connsiteX556" y="connsiteY556"/>
                                                    </a:cxn>
                                                    <a:cxn ang="0">
                                                      <a:pos x="connsiteX557" y="connsiteY557"/>
                                                    </a:cxn>
                                                    <a:cxn ang="0">
                                                      <a:pos x="connsiteX558" y="connsiteY558"/>
                                                    </a:cxn>
                                                    <a:cxn ang="0">
                                                      <a:pos x="connsiteX559" y="connsiteY559"/>
                                                    </a:cxn>
                                                    <a:cxn ang="0">
                                                      <a:pos x="connsiteX560" y="connsiteY560"/>
                                                    </a:cxn>
                                                    <a:cxn ang="0">
                                                      <a:pos x="connsiteX561" y="connsiteY561"/>
                                                    </a:cxn>
                                                    <a:cxn ang="0">
                                                      <a:pos x="connsiteX562" y="connsiteY562"/>
                                                    </a:cxn>
                                                    <a:cxn ang="0">
                                                      <a:pos x="connsiteX563" y="connsiteY563"/>
                                                    </a:cxn>
                                                    <a:cxn ang="0">
                                                      <a:pos x="connsiteX564" y="connsiteY564"/>
                                                    </a:cxn>
                                                    <a:cxn ang="0">
                                                      <a:pos x="connsiteX565" y="connsiteY565"/>
                                                    </a:cxn>
                                                    <a:cxn ang="0">
                                                      <a:pos x="connsiteX566" y="connsiteY566"/>
                                                    </a:cxn>
                                                    <a:cxn ang="0">
                                                      <a:pos x="connsiteX567" y="connsiteY567"/>
                                                    </a:cxn>
                                                    <a:cxn ang="0">
                                                      <a:pos x="connsiteX568" y="connsiteY568"/>
                                                    </a:cxn>
                                                    <a:cxn ang="0">
                                                      <a:pos x="connsiteX569" y="connsiteY569"/>
                                                    </a:cxn>
                                                    <a:cxn ang="0">
                                                      <a:pos x="connsiteX570" y="connsiteY570"/>
                                                    </a:cxn>
                                                    <a:cxn ang="0">
                                                      <a:pos x="connsiteX571" y="connsiteY571"/>
                                                    </a:cxn>
                                                    <a:cxn ang="0">
                                                      <a:pos x="connsiteX572" y="connsiteY572"/>
                                                    </a:cxn>
                                                    <a:cxn ang="0">
                                                      <a:pos x="connsiteX573" y="connsiteY573"/>
                                                    </a:cxn>
                                                    <a:cxn ang="0">
                                                      <a:pos x="connsiteX574" y="connsiteY574"/>
                                                    </a:cxn>
                                                    <a:cxn ang="0">
                                                      <a:pos x="connsiteX575" y="connsiteY575"/>
                                                    </a:cxn>
                                                    <a:cxn ang="0">
                                                      <a:pos x="connsiteX576" y="connsiteY576"/>
                                                    </a:cxn>
                                                    <a:cxn ang="0">
                                                      <a:pos x="connsiteX577" y="connsiteY577"/>
                                                    </a:cxn>
                                                    <a:cxn ang="0">
                                                      <a:pos x="connsiteX578" y="connsiteY578"/>
                                                    </a:cxn>
                                                    <a:cxn ang="0">
                                                      <a:pos x="connsiteX579" y="connsiteY579"/>
                                                    </a:cxn>
                                                    <a:cxn ang="0">
                                                      <a:pos x="connsiteX580" y="connsiteY580"/>
                                                    </a:cxn>
                                                    <a:cxn ang="0">
                                                      <a:pos x="connsiteX581" y="connsiteY581"/>
                                                    </a:cxn>
                                                    <a:cxn ang="0">
                                                      <a:pos x="connsiteX582" y="connsiteY582"/>
                                                    </a:cxn>
                                                    <a:cxn ang="0">
                                                      <a:pos x="connsiteX583" y="connsiteY583"/>
                                                    </a:cxn>
                                                    <a:cxn ang="0">
                                                      <a:pos x="connsiteX584" y="connsiteY584"/>
                                                    </a:cxn>
                                                    <a:cxn ang="0">
                                                      <a:pos x="connsiteX585" y="connsiteY585"/>
                                                    </a:cxn>
                                                    <a:cxn ang="0">
                                                      <a:pos x="connsiteX586" y="connsiteY586"/>
                                                    </a:cxn>
                                                    <a:cxn ang="0">
                                                      <a:pos x="connsiteX587" y="connsiteY587"/>
                                                    </a:cxn>
                                                    <a:cxn ang="0">
                                                      <a:pos x="connsiteX588" y="connsiteY588"/>
                                                    </a:cxn>
                                                    <a:cxn ang="0">
                                                      <a:pos x="connsiteX589" y="connsiteY589"/>
                                                    </a:cxn>
                                                    <a:cxn ang="0">
                                                      <a:pos x="connsiteX590" y="connsiteY590"/>
                                                    </a:cxn>
                                                    <a:cxn ang="0">
                                                      <a:pos x="connsiteX591" y="connsiteY591"/>
                                                    </a:cxn>
                                                    <a:cxn ang="0">
                                                      <a:pos x="connsiteX592" y="connsiteY592"/>
                                                    </a:cxn>
                                                    <a:cxn ang="0">
                                                      <a:pos x="connsiteX593" y="connsiteY593"/>
                                                    </a:cxn>
                                                    <a:cxn ang="0">
                                                      <a:pos x="connsiteX594" y="connsiteY594"/>
                                                    </a:cxn>
                                                    <a:cxn ang="0">
                                                      <a:pos x="connsiteX595" y="connsiteY595"/>
                                                    </a:cxn>
                                                    <a:cxn ang="0">
                                                      <a:pos x="connsiteX596" y="connsiteY596"/>
                                                    </a:cxn>
                                                    <a:cxn ang="0">
                                                      <a:pos x="connsiteX597" y="connsiteY597"/>
                                                    </a:cxn>
                                                    <a:cxn ang="0">
                                                      <a:pos x="connsiteX598" y="connsiteY598"/>
                                                    </a:cxn>
                                                    <a:cxn ang="0">
                                                      <a:pos x="connsiteX599" y="connsiteY599"/>
                                                    </a:cxn>
                                                    <a:cxn ang="0">
                                                      <a:pos x="connsiteX600" y="connsiteY600"/>
                                                    </a:cxn>
                                                    <a:cxn ang="0">
                                                      <a:pos x="connsiteX601" y="connsiteY601"/>
                                                    </a:cxn>
                                                    <a:cxn ang="0">
                                                      <a:pos x="connsiteX602" y="connsiteY602"/>
                                                    </a:cxn>
                                                    <a:cxn ang="0">
                                                      <a:pos x="connsiteX603" y="connsiteY603"/>
                                                    </a:cxn>
                                                    <a:cxn ang="0">
                                                      <a:pos x="connsiteX604" y="connsiteY604"/>
                                                    </a:cxn>
                                                    <a:cxn ang="0">
                                                      <a:pos x="connsiteX605" y="connsiteY605"/>
                                                    </a:cxn>
                                                    <a:cxn ang="0">
                                                      <a:pos x="connsiteX606" y="connsiteY606"/>
                                                    </a:cxn>
                                                    <a:cxn ang="0">
                                                      <a:pos x="connsiteX607" y="connsiteY607"/>
                                                    </a:cxn>
                                                    <a:cxn ang="0">
                                                      <a:pos x="connsiteX608" y="connsiteY608"/>
                                                    </a:cxn>
                                                    <a:cxn ang="0">
                                                      <a:pos x="connsiteX609" y="connsiteY609"/>
                                                    </a:cxn>
                                                    <a:cxn ang="0">
                                                      <a:pos x="connsiteX610" y="connsiteY610"/>
                                                    </a:cxn>
                                                    <a:cxn ang="0">
                                                      <a:pos x="connsiteX611" y="connsiteY611"/>
                                                    </a:cxn>
                                                    <a:cxn ang="0">
                                                      <a:pos x="connsiteX612" y="connsiteY612"/>
                                                    </a:cxn>
                                                    <a:cxn ang="0">
                                                      <a:pos x="connsiteX613" y="connsiteY613"/>
                                                    </a:cxn>
                                                    <a:cxn ang="0">
                                                      <a:pos x="connsiteX614" y="connsiteY614"/>
                                                    </a:cxn>
                                                    <a:cxn ang="0">
                                                      <a:pos x="connsiteX615" y="connsiteY615"/>
                                                    </a:cxn>
                                                    <a:cxn ang="0">
                                                      <a:pos x="connsiteX616" y="connsiteY616"/>
                                                    </a:cxn>
                                                    <a:cxn ang="0">
                                                      <a:pos x="connsiteX617" y="connsiteY617"/>
                                                    </a:cxn>
                                                    <a:cxn ang="0">
                                                      <a:pos x="connsiteX618" y="connsiteY618"/>
                                                    </a:cxn>
                                                    <a:cxn ang="0">
                                                      <a:pos x="connsiteX619" y="connsiteY619"/>
                                                    </a:cxn>
                                                    <a:cxn ang="0">
                                                      <a:pos x="connsiteX620" y="connsiteY620"/>
                                                    </a:cxn>
                                                    <a:cxn ang="0">
                                                      <a:pos x="connsiteX621" y="connsiteY621"/>
                                                    </a:cxn>
                                                    <a:cxn ang="0">
                                                      <a:pos x="connsiteX622" y="connsiteY622"/>
                                                    </a:cxn>
                                                    <a:cxn ang="0">
                                                      <a:pos x="connsiteX623" y="connsiteY623"/>
                                                    </a:cxn>
                                                    <a:cxn ang="0">
                                                      <a:pos x="connsiteX624" y="connsiteY624"/>
                                                    </a:cxn>
                                                    <a:cxn ang="0">
                                                      <a:pos x="connsiteX625" y="connsiteY625"/>
                                                    </a:cxn>
                                                    <a:cxn ang="0">
                                                      <a:pos x="connsiteX626" y="connsiteY626"/>
                                                    </a:cxn>
                                                    <a:cxn ang="0">
                                                      <a:pos x="connsiteX627" y="connsiteY627"/>
                                                    </a:cxn>
                                                    <a:cxn ang="0">
                                                      <a:pos x="connsiteX628" y="connsiteY628"/>
                                                    </a:cxn>
                                                    <a:cxn ang="0">
                                                      <a:pos x="connsiteX629" y="connsiteY629"/>
                                                    </a:cxn>
                                                    <a:cxn ang="0">
                                                      <a:pos x="connsiteX630" y="connsiteY630"/>
                                                    </a:cxn>
                                                    <a:cxn ang="0">
                                                      <a:pos x="connsiteX631" y="connsiteY631"/>
                                                    </a:cxn>
                                                    <a:cxn ang="0">
                                                      <a:pos x="connsiteX632" y="connsiteY632"/>
                                                    </a:cxn>
                                                    <a:cxn ang="0">
                                                      <a:pos x="connsiteX633" y="connsiteY633"/>
                                                    </a:cxn>
                                                    <a:cxn ang="0">
                                                      <a:pos x="connsiteX634" y="connsiteY634"/>
                                                    </a:cxn>
                                                    <a:cxn ang="0">
                                                      <a:pos x="connsiteX635" y="connsiteY635"/>
                                                    </a:cxn>
                                                    <a:cxn ang="0">
                                                      <a:pos x="connsiteX636" y="connsiteY636"/>
                                                    </a:cxn>
                                                    <a:cxn ang="0">
                                                      <a:pos x="connsiteX637" y="connsiteY637"/>
                                                    </a:cxn>
                                                    <a:cxn ang="0">
                                                      <a:pos x="connsiteX638" y="connsiteY638"/>
                                                    </a:cxn>
                                                    <a:cxn ang="0">
                                                      <a:pos x="connsiteX639" y="connsiteY639"/>
                                                    </a:cxn>
                                                    <a:cxn ang="0">
                                                      <a:pos x="connsiteX640" y="connsiteY640"/>
                                                    </a:cxn>
                                                    <a:cxn ang="0">
                                                      <a:pos x="connsiteX641" y="connsiteY641"/>
                                                    </a:cxn>
                                                    <a:cxn ang="0">
                                                      <a:pos x="connsiteX642" y="connsiteY642"/>
                                                    </a:cxn>
                                                    <a:cxn ang="0">
                                                      <a:pos x="connsiteX643" y="connsiteY643"/>
                                                    </a:cxn>
                                                    <a:cxn ang="0">
                                                      <a:pos x="connsiteX644" y="connsiteY644"/>
                                                    </a:cxn>
                                                    <a:cxn ang="0">
                                                      <a:pos x="connsiteX645" y="connsiteY645"/>
                                                    </a:cxn>
                                                    <a:cxn ang="0">
                                                      <a:pos x="connsiteX646" y="connsiteY646"/>
                                                    </a:cxn>
                                                    <a:cxn ang="0">
                                                      <a:pos x="connsiteX647" y="connsiteY647"/>
                                                    </a:cxn>
                                                    <a:cxn ang="0">
                                                      <a:pos x="connsiteX648" y="connsiteY648"/>
                                                    </a:cxn>
                                                    <a:cxn ang="0">
                                                      <a:pos x="connsiteX649" y="connsiteY649"/>
                                                    </a:cxn>
                                                    <a:cxn ang="0">
                                                      <a:pos x="connsiteX650" y="connsiteY650"/>
                                                    </a:cxn>
                                                    <a:cxn ang="0">
                                                      <a:pos x="connsiteX651" y="connsiteY651"/>
                                                    </a:cxn>
                                                    <a:cxn ang="0">
                                                      <a:pos x="connsiteX652" y="connsiteY652"/>
                                                    </a:cxn>
                                                    <a:cxn ang="0">
                                                      <a:pos x="connsiteX653" y="connsiteY653"/>
                                                    </a:cxn>
                                                    <a:cxn ang="0">
                                                      <a:pos x="connsiteX654" y="connsiteY654"/>
                                                    </a:cxn>
                                                    <a:cxn ang="0">
                                                      <a:pos x="connsiteX655" y="connsiteY655"/>
                                                    </a:cxn>
                                                    <a:cxn ang="0">
                                                      <a:pos x="connsiteX656" y="connsiteY656"/>
                                                    </a:cxn>
                                                    <a:cxn ang="0">
                                                      <a:pos x="connsiteX657" y="connsiteY657"/>
                                                    </a:cxn>
                                                    <a:cxn ang="0">
                                                      <a:pos x="connsiteX658" y="connsiteY658"/>
                                                    </a:cxn>
                                                    <a:cxn ang="0">
                                                      <a:pos x="connsiteX659" y="connsiteY659"/>
                                                    </a:cxn>
                                                    <a:cxn ang="0">
                                                      <a:pos x="connsiteX660" y="connsiteY660"/>
                                                    </a:cxn>
                                                    <a:cxn ang="0">
                                                      <a:pos x="connsiteX661" y="connsiteY661"/>
                                                    </a:cxn>
                                                    <a:cxn ang="0">
                                                      <a:pos x="connsiteX662" y="connsiteY662"/>
                                                    </a:cxn>
                                                    <a:cxn ang="0">
                                                      <a:pos x="connsiteX663" y="connsiteY663"/>
                                                    </a:cxn>
                                                    <a:cxn ang="0">
                                                      <a:pos x="connsiteX664" y="connsiteY664"/>
                                                    </a:cxn>
                                                    <a:cxn ang="0">
                                                      <a:pos x="connsiteX665" y="connsiteY665"/>
                                                    </a:cxn>
                                                    <a:cxn ang="0">
                                                      <a:pos x="connsiteX666" y="connsiteY666"/>
                                                    </a:cxn>
                                                    <a:cxn ang="0">
                                                      <a:pos x="connsiteX667" y="connsiteY667"/>
                                                    </a:cxn>
                                                    <a:cxn ang="0">
                                                      <a:pos x="connsiteX668" y="connsiteY668"/>
                                                    </a:cxn>
                                                    <a:cxn ang="0">
                                                      <a:pos x="connsiteX669" y="connsiteY669"/>
                                                    </a:cxn>
                                                    <a:cxn ang="0">
                                                      <a:pos x="connsiteX670" y="connsiteY670"/>
                                                    </a:cxn>
                                                    <a:cxn ang="0">
                                                      <a:pos x="connsiteX671" y="connsiteY671"/>
                                                    </a:cxn>
                                                    <a:cxn ang="0">
                                                      <a:pos x="connsiteX672" y="connsiteY672"/>
                                                    </a:cxn>
                                                    <a:cxn ang="0">
                                                      <a:pos x="connsiteX673" y="connsiteY673"/>
                                                    </a:cxn>
                                                    <a:cxn ang="0">
                                                      <a:pos x="connsiteX674" y="connsiteY674"/>
                                                    </a:cxn>
                                                    <a:cxn ang="0">
                                                      <a:pos x="connsiteX675" y="connsiteY675"/>
                                                    </a:cxn>
                                                    <a:cxn ang="0">
                                                      <a:pos x="connsiteX676" y="connsiteY676"/>
                                                    </a:cxn>
                                                    <a:cxn ang="0">
                                                      <a:pos x="connsiteX677" y="connsiteY677"/>
                                                    </a:cxn>
                                                    <a:cxn ang="0">
                                                      <a:pos x="connsiteX678" y="connsiteY678"/>
                                                    </a:cxn>
                                                    <a:cxn ang="0">
                                                      <a:pos x="connsiteX679" y="connsiteY679"/>
                                                    </a:cxn>
                                                    <a:cxn ang="0">
                                                      <a:pos x="connsiteX680" y="connsiteY680"/>
                                                    </a:cxn>
                                                    <a:cxn ang="0">
                                                      <a:pos x="connsiteX681" y="connsiteY681"/>
                                                    </a:cxn>
                                                    <a:cxn ang="0">
                                                      <a:pos x="connsiteX682" y="connsiteY682"/>
                                                    </a:cxn>
                                                    <a:cxn ang="0">
                                                      <a:pos x="connsiteX683" y="connsiteY683"/>
                                                    </a:cxn>
                                                    <a:cxn ang="0">
                                                      <a:pos x="connsiteX684" y="connsiteY684"/>
                                                    </a:cxn>
                                                    <a:cxn ang="0">
                                                      <a:pos x="connsiteX685" y="connsiteY685"/>
                                                    </a:cxn>
                                                    <a:cxn ang="0">
                                                      <a:pos x="connsiteX686" y="connsiteY686"/>
                                                    </a:cxn>
                                                    <a:cxn ang="0">
                                                      <a:pos x="connsiteX687" y="connsiteY687"/>
                                                    </a:cxn>
                                                    <a:cxn ang="0">
                                                      <a:pos x="connsiteX688" y="connsiteY688"/>
                                                    </a:cxn>
                                                    <a:cxn ang="0">
                                                      <a:pos x="connsiteX689" y="connsiteY689"/>
                                                    </a:cxn>
                                                    <a:cxn ang="0">
                                                      <a:pos x="connsiteX690" y="connsiteY690"/>
                                                    </a:cxn>
                                                    <a:cxn ang="0">
                                                      <a:pos x="connsiteX691" y="connsiteY691"/>
                                                    </a:cxn>
                                                    <a:cxn ang="0">
                                                      <a:pos x="connsiteX692" y="connsiteY692"/>
                                                    </a:cxn>
                                                    <a:cxn ang="0">
                                                      <a:pos x="connsiteX693" y="connsiteY693"/>
                                                    </a:cxn>
                                                    <a:cxn ang="0">
                                                      <a:pos x="connsiteX694" y="connsiteY694"/>
                                                    </a:cxn>
                                                    <a:cxn ang="0">
                                                      <a:pos x="connsiteX695" y="connsiteY695"/>
                                                    </a:cxn>
                                                    <a:cxn ang="0">
                                                      <a:pos x="connsiteX696" y="connsiteY696"/>
                                                    </a:cxn>
                                                    <a:cxn ang="0">
                                                      <a:pos x="connsiteX697" y="connsiteY697"/>
                                                    </a:cxn>
                                                    <a:cxn ang="0">
                                                      <a:pos x="connsiteX698" y="connsiteY698"/>
                                                    </a:cxn>
                                                    <a:cxn ang="0">
                                                      <a:pos x="connsiteX699" y="connsiteY699"/>
                                                    </a:cxn>
                                                    <a:cxn ang="0">
                                                      <a:pos x="connsiteX700" y="connsiteY700"/>
                                                    </a:cxn>
                                                    <a:cxn ang="0">
                                                      <a:pos x="connsiteX701" y="connsiteY701"/>
                                                    </a:cxn>
                                                    <a:cxn ang="0">
                                                      <a:pos x="connsiteX702" y="connsiteY702"/>
                                                    </a:cxn>
                                                    <a:cxn ang="0">
                                                      <a:pos x="connsiteX703" y="connsiteY703"/>
                                                    </a:cxn>
                                                    <a:cxn ang="0">
                                                      <a:pos x="connsiteX704" y="connsiteY704"/>
                                                    </a:cxn>
                                                    <a:cxn ang="0">
                                                      <a:pos x="connsiteX705" y="connsiteY705"/>
                                                    </a:cxn>
                                                    <a:cxn ang="0">
                                                      <a:pos x="connsiteX706" y="connsiteY706"/>
                                                    </a:cxn>
                                                    <a:cxn ang="0">
                                                      <a:pos x="connsiteX707" y="connsiteY707"/>
                                                    </a:cxn>
                                                    <a:cxn ang="0">
                                                      <a:pos x="connsiteX708" y="connsiteY708"/>
                                                    </a:cxn>
                                                    <a:cxn ang="0">
                                                      <a:pos x="connsiteX709" y="connsiteY709"/>
                                                    </a:cxn>
                                                    <a:cxn ang="0">
                                                      <a:pos x="connsiteX710" y="connsiteY710"/>
                                                    </a:cxn>
                                                    <a:cxn ang="0">
                                                      <a:pos x="connsiteX711" y="connsiteY711"/>
                                                    </a:cxn>
                                                    <a:cxn ang="0">
                                                      <a:pos x="connsiteX712" y="connsiteY712"/>
                                                    </a:cxn>
                                                    <a:cxn ang="0">
                                                      <a:pos x="connsiteX713" y="connsiteY713"/>
                                                    </a:cxn>
                                                    <a:cxn ang="0">
                                                      <a:pos x="connsiteX714" y="connsiteY714"/>
                                                    </a:cxn>
                                                    <a:cxn ang="0">
                                                      <a:pos x="connsiteX715" y="connsiteY715"/>
                                                    </a:cxn>
                                                    <a:cxn ang="0">
                                                      <a:pos x="connsiteX716" y="connsiteY716"/>
                                                    </a:cxn>
                                                    <a:cxn ang="0">
                                                      <a:pos x="connsiteX717" y="connsiteY717"/>
                                                    </a:cxn>
                                                    <a:cxn ang="0">
                                                      <a:pos x="connsiteX718" y="connsiteY718"/>
                                                    </a:cxn>
                                                    <a:cxn ang="0">
                                                      <a:pos x="connsiteX719" y="connsiteY719"/>
                                                    </a:cxn>
                                                    <a:cxn ang="0">
                                                      <a:pos x="connsiteX720" y="connsiteY720"/>
                                                    </a:cxn>
                                                    <a:cxn ang="0">
                                                      <a:pos x="connsiteX721" y="connsiteY721"/>
                                                    </a:cxn>
                                                    <a:cxn ang="0">
                                                      <a:pos x="connsiteX722" y="connsiteY722"/>
                                                    </a:cxn>
                                                    <a:cxn ang="0">
                                                      <a:pos x="connsiteX723" y="connsiteY723"/>
                                                    </a:cxn>
                                                    <a:cxn ang="0">
                                                      <a:pos x="connsiteX724" y="connsiteY724"/>
                                                    </a:cxn>
                                                    <a:cxn ang="0">
                                                      <a:pos x="connsiteX725" y="connsiteY725"/>
                                                    </a:cxn>
                                                    <a:cxn ang="0">
                                                      <a:pos x="connsiteX726" y="connsiteY726"/>
                                                    </a:cxn>
                                                    <a:cxn ang="0">
                                                      <a:pos x="connsiteX727" y="connsiteY727"/>
                                                    </a:cxn>
                                                    <a:cxn ang="0">
                                                      <a:pos x="connsiteX728" y="connsiteY728"/>
                                                    </a:cxn>
                                                    <a:cxn ang="0">
                                                      <a:pos x="connsiteX729" y="connsiteY729"/>
                                                    </a:cxn>
                                                    <a:cxn ang="0">
                                                      <a:pos x="connsiteX730" y="connsiteY730"/>
                                                    </a:cxn>
                                                    <a:cxn ang="0">
                                                      <a:pos x="connsiteX731" y="connsiteY731"/>
                                                    </a:cxn>
                                                    <a:cxn ang="0">
                                                      <a:pos x="connsiteX732" y="connsiteY732"/>
                                                    </a:cxn>
                                                    <a:cxn ang="0">
                                                      <a:pos x="connsiteX733" y="connsiteY733"/>
                                                    </a:cxn>
                                                    <a:cxn ang="0">
                                                      <a:pos x="connsiteX734" y="connsiteY734"/>
                                                    </a:cxn>
                                                    <a:cxn ang="0">
                                                      <a:pos x="connsiteX735" y="connsiteY735"/>
                                                    </a:cxn>
                                                    <a:cxn ang="0">
                                                      <a:pos x="connsiteX736" y="connsiteY736"/>
                                                    </a:cxn>
                                                    <a:cxn ang="0">
                                                      <a:pos x="connsiteX737" y="connsiteY737"/>
                                                    </a:cxn>
                                                    <a:cxn ang="0">
                                                      <a:pos x="connsiteX738" y="connsiteY738"/>
                                                    </a:cxn>
                                                    <a:cxn ang="0">
                                                      <a:pos x="connsiteX739" y="connsiteY739"/>
                                                    </a:cxn>
                                                    <a:cxn ang="0">
                                                      <a:pos x="connsiteX740" y="connsiteY740"/>
                                                    </a:cxn>
                                                    <a:cxn ang="0">
                                                      <a:pos x="connsiteX741" y="connsiteY741"/>
                                                    </a:cxn>
                                                    <a:cxn ang="0">
                                                      <a:pos x="connsiteX742" y="connsiteY742"/>
                                                    </a:cxn>
                                                    <a:cxn ang="0">
                                                      <a:pos x="connsiteX743" y="connsiteY743"/>
                                                    </a:cxn>
                                                    <a:cxn ang="0">
                                                      <a:pos x="connsiteX744" y="connsiteY744"/>
                                                    </a:cxn>
                                                    <a:cxn ang="0">
                                                      <a:pos x="connsiteX745" y="connsiteY745"/>
                                                    </a:cxn>
                                                    <a:cxn ang="0">
                                                      <a:pos x="connsiteX746" y="connsiteY746"/>
                                                    </a:cxn>
                                                    <a:cxn ang="0">
                                                      <a:pos x="connsiteX747" y="connsiteY747"/>
                                                    </a:cxn>
                                                    <a:cxn ang="0">
                                                      <a:pos x="connsiteX748" y="connsiteY748"/>
                                                    </a:cxn>
                                                    <a:cxn ang="0">
                                                      <a:pos x="connsiteX749" y="connsiteY749"/>
                                                    </a:cxn>
                                                    <a:cxn ang="0">
                                                      <a:pos x="connsiteX750" y="connsiteY750"/>
                                                    </a:cxn>
                                                    <a:cxn ang="0">
                                                      <a:pos x="connsiteX751" y="connsiteY751"/>
                                                    </a:cxn>
                                                    <a:cxn ang="0">
                                                      <a:pos x="connsiteX752" y="connsiteY752"/>
                                                    </a:cxn>
                                                    <a:cxn ang="0">
                                                      <a:pos x="connsiteX753" y="connsiteY753"/>
                                                    </a:cxn>
                                                    <a:cxn ang="0">
                                                      <a:pos x="connsiteX754" y="connsiteY754"/>
                                                    </a:cxn>
                                                    <a:cxn ang="0">
                                                      <a:pos x="connsiteX755" y="connsiteY755"/>
                                                    </a:cxn>
                                                    <a:cxn ang="0">
                                                      <a:pos x="connsiteX756" y="connsiteY756"/>
                                                    </a:cxn>
                                                    <a:cxn ang="0">
                                                      <a:pos x="connsiteX757" y="connsiteY757"/>
                                                    </a:cxn>
                                                    <a:cxn ang="0">
                                                      <a:pos x="connsiteX758" y="connsiteY758"/>
                                                    </a:cxn>
                                                    <a:cxn ang="0">
                                                      <a:pos x="connsiteX759" y="connsiteY759"/>
                                                    </a:cxn>
                                                    <a:cxn ang="0">
                                                      <a:pos x="connsiteX760" y="connsiteY760"/>
                                                    </a:cxn>
                                                    <a:cxn ang="0">
                                                      <a:pos x="connsiteX761" y="connsiteY761"/>
                                                    </a:cxn>
                                                    <a:cxn ang="0">
                                                      <a:pos x="connsiteX762" y="connsiteY762"/>
                                                    </a:cxn>
                                                    <a:cxn ang="0">
                                                      <a:pos x="connsiteX763" y="connsiteY763"/>
                                                    </a:cxn>
                                                    <a:cxn ang="0">
                                                      <a:pos x="connsiteX764" y="connsiteY764"/>
                                                    </a:cxn>
                                                    <a:cxn ang="0">
                                                      <a:pos x="connsiteX765" y="connsiteY765"/>
                                                    </a:cxn>
                                                    <a:cxn ang="0">
                                                      <a:pos x="connsiteX766" y="connsiteY766"/>
                                                    </a:cxn>
                                                    <a:cxn ang="0">
                                                      <a:pos x="connsiteX767" y="connsiteY767"/>
                                                    </a:cxn>
                                                    <a:cxn ang="0">
                                                      <a:pos x="connsiteX768" y="connsiteY768"/>
                                                    </a:cxn>
                                                    <a:cxn ang="0">
                                                      <a:pos x="connsiteX769" y="connsiteY769"/>
                                                    </a:cxn>
                                                    <a:cxn ang="0">
                                                      <a:pos x="connsiteX770" y="connsiteY770"/>
                                                    </a:cxn>
                                                    <a:cxn ang="0">
                                                      <a:pos x="connsiteX771" y="connsiteY771"/>
                                                    </a:cxn>
                                                    <a:cxn ang="0">
                                                      <a:pos x="connsiteX772" y="connsiteY772"/>
                                                    </a:cxn>
                                                    <a:cxn ang="0">
                                                      <a:pos x="connsiteX773" y="connsiteY773"/>
                                                    </a:cxn>
                                                    <a:cxn ang="0">
                                                      <a:pos x="connsiteX774" y="connsiteY774"/>
                                                    </a:cxn>
                                                    <a:cxn ang="0">
                                                      <a:pos x="connsiteX775" y="connsiteY775"/>
                                                    </a:cxn>
                                                    <a:cxn ang="0">
                                                      <a:pos x="connsiteX776" y="connsiteY776"/>
                                                    </a:cxn>
                                                    <a:cxn ang="0">
                                                      <a:pos x="connsiteX777" y="connsiteY777"/>
                                                    </a:cxn>
                                                    <a:cxn ang="0">
                                                      <a:pos x="connsiteX778" y="connsiteY778"/>
                                                    </a:cxn>
                                                    <a:cxn ang="0">
                                                      <a:pos x="connsiteX779" y="connsiteY779"/>
                                                    </a:cxn>
                                                    <a:cxn ang="0">
                                                      <a:pos x="connsiteX780" y="connsiteY780"/>
                                                    </a:cxn>
                                                    <a:cxn ang="0">
                                                      <a:pos x="connsiteX781" y="connsiteY781"/>
                                                    </a:cxn>
                                                    <a:cxn ang="0">
                                                      <a:pos x="connsiteX782" y="connsiteY782"/>
                                                    </a:cxn>
                                                    <a:cxn ang="0">
                                                      <a:pos x="connsiteX783" y="connsiteY783"/>
                                                    </a:cxn>
                                                    <a:cxn ang="0">
                                                      <a:pos x="connsiteX784" y="connsiteY784"/>
                                                    </a:cxn>
                                                    <a:cxn ang="0">
                                                      <a:pos x="connsiteX785" y="connsiteY785"/>
                                                    </a:cxn>
                                                    <a:cxn ang="0">
                                                      <a:pos x="connsiteX786" y="connsiteY786"/>
                                                    </a:cxn>
                                                    <a:cxn ang="0">
                                                      <a:pos x="connsiteX787" y="connsiteY787"/>
                                                    </a:cxn>
                                                    <a:cxn ang="0">
                                                      <a:pos x="connsiteX788" y="connsiteY788"/>
                                                    </a:cxn>
                                                    <a:cxn ang="0">
                                                      <a:pos x="connsiteX789" y="connsiteY789"/>
                                                    </a:cxn>
                                                    <a:cxn ang="0">
                                                      <a:pos x="connsiteX790" y="connsiteY790"/>
                                                    </a:cxn>
                                                    <a:cxn ang="0">
                                                      <a:pos x="connsiteX791" y="connsiteY791"/>
                                                    </a:cxn>
                                                    <a:cxn ang="0">
                                                      <a:pos x="connsiteX792" y="connsiteY792"/>
                                                    </a:cxn>
                                                    <a:cxn ang="0">
                                                      <a:pos x="connsiteX793" y="connsiteY793"/>
                                                    </a:cxn>
                                                    <a:cxn ang="0">
                                                      <a:pos x="connsiteX794" y="connsiteY794"/>
                                                    </a:cxn>
                                                    <a:cxn ang="0">
                                                      <a:pos x="connsiteX795" y="connsiteY795"/>
                                                    </a:cxn>
                                                    <a:cxn ang="0">
                                                      <a:pos x="connsiteX796" y="connsiteY796"/>
                                                    </a:cxn>
                                                    <a:cxn ang="0">
                                                      <a:pos x="connsiteX797" y="connsiteY797"/>
                                                    </a:cxn>
                                                    <a:cxn ang="0">
                                                      <a:pos x="connsiteX798" y="connsiteY798"/>
                                                    </a:cxn>
                                                    <a:cxn ang="0">
                                                      <a:pos x="connsiteX799" y="connsiteY799"/>
                                                    </a:cxn>
                                                    <a:cxn ang="0">
                                                      <a:pos x="connsiteX800" y="connsiteY800"/>
                                                    </a:cxn>
                                                    <a:cxn ang="0">
                                                      <a:pos x="connsiteX801" y="connsiteY801"/>
                                                    </a:cxn>
                                                    <a:cxn ang="0">
                                                      <a:pos x="connsiteX802" y="connsiteY802"/>
                                                    </a:cxn>
                                                    <a:cxn ang="0">
                                                      <a:pos x="connsiteX803" y="connsiteY803"/>
                                                    </a:cxn>
                                                    <a:cxn ang="0">
                                                      <a:pos x="connsiteX804" y="connsiteY804"/>
                                                    </a:cxn>
                                                    <a:cxn ang="0">
                                                      <a:pos x="connsiteX805" y="connsiteY805"/>
                                                    </a:cxn>
                                                    <a:cxn ang="0">
                                                      <a:pos x="connsiteX806" y="connsiteY806"/>
                                                    </a:cxn>
                                                    <a:cxn ang="0">
                                                      <a:pos x="connsiteX807" y="connsiteY807"/>
                                                    </a:cxn>
                                                    <a:cxn ang="0">
                                                      <a:pos x="connsiteX808" y="connsiteY808"/>
                                                    </a:cxn>
                                                    <a:cxn ang="0">
                                                      <a:pos x="connsiteX809" y="connsiteY809"/>
                                                    </a:cxn>
                                                    <a:cxn ang="0">
                                                      <a:pos x="connsiteX810" y="connsiteY810"/>
                                                    </a:cxn>
                                                    <a:cxn ang="0">
                                                      <a:pos x="connsiteX811" y="connsiteY811"/>
                                                    </a:cxn>
                                                    <a:cxn ang="0">
                                                      <a:pos x="connsiteX812" y="connsiteY812"/>
                                                    </a:cxn>
                                                    <a:cxn ang="0">
                                                      <a:pos x="connsiteX813" y="connsiteY813"/>
                                                    </a:cxn>
                                                    <a:cxn ang="0">
                                                      <a:pos x="connsiteX814" y="connsiteY814"/>
                                                    </a:cxn>
                                                    <a:cxn ang="0">
                                                      <a:pos x="connsiteX815" y="connsiteY815"/>
                                                    </a:cxn>
                                                    <a:cxn ang="0">
                                                      <a:pos x="connsiteX816" y="connsiteY816"/>
                                                    </a:cxn>
                                                    <a:cxn ang="0">
                                                      <a:pos x="connsiteX817" y="connsiteY817"/>
                                                    </a:cxn>
                                                    <a:cxn ang="0">
                                                      <a:pos x="connsiteX818" y="connsiteY818"/>
                                                    </a:cxn>
                                                    <a:cxn ang="0">
                                                      <a:pos x="connsiteX819" y="connsiteY819"/>
                                                    </a:cxn>
                                                    <a:cxn ang="0">
                                                      <a:pos x="connsiteX820" y="connsiteY820"/>
                                                    </a:cxn>
                                                    <a:cxn ang="0">
                                                      <a:pos x="connsiteX821" y="connsiteY821"/>
                                                    </a:cxn>
                                                    <a:cxn ang="0">
                                                      <a:pos x="connsiteX822" y="connsiteY822"/>
                                                    </a:cxn>
                                                    <a:cxn ang="0">
                                                      <a:pos x="connsiteX823" y="connsiteY823"/>
                                                    </a:cxn>
                                                    <a:cxn ang="0">
                                                      <a:pos x="connsiteX824" y="connsiteY824"/>
                                                    </a:cxn>
                                                    <a:cxn ang="0">
                                                      <a:pos x="connsiteX825" y="connsiteY825"/>
                                                    </a:cxn>
                                                    <a:cxn ang="0">
                                                      <a:pos x="connsiteX826" y="connsiteY826"/>
                                                    </a:cxn>
                                                    <a:cxn ang="0">
                                                      <a:pos x="connsiteX827" y="connsiteY827"/>
                                                    </a:cxn>
                                                    <a:cxn ang="0">
                                                      <a:pos x="connsiteX828" y="connsiteY828"/>
                                                    </a:cxn>
                                                    <a:cxn ang="0">
                                                      <a:pos x="connsiteX829" y="connsiteY829"/>
                                                    </a:cxn>
                                                    <a:cxn ang="0">
                                                      <a:pos x="connsiteX830" y="connsiteY830"/>
                                                    </a:cxn>
                                                    <a:cxn ang="0">
                                                      <a:pos x="connsiteX831" y="connsiteY831"/>
                                                    </a:cxn>
                                                    <a:cxn ang="0">
                                                      <a:pos x="connsiteX832" y="connsiteY832"/>
                                                    </a:cxn>
                                                    <a:cxn ang="0">
                                                      <a:pos x="connsiteX833" y="connsiteY833"/>
                                                    </a:cxn>
                                                    <a:cxn ang="0">
                                                      <a:pos x="connsiteX834" y="connsiteY834"/>
                                                    </a:cxn>
                                                    <a:cxn ang="0">
                                                      <a:pos x="connsiteX835" y="connsiteY835"/>
                                                    </a:cxn>
                                                    <a:cxn ang="0">
                                                      <a:pos x="connsiteX836" y="connsiteY836"/>
                                                    </a:cxn>
                                                    <a:cxn ang="0">
                                                      <a:pos x="connsiteX837" y="connsiteY837"/>
                                                    </a:cxn>
                                                    <a:cxn ang="0">
                                                      <a:pos x="connsiteX838" y="connsiteY838"/>
                                                    </a:cxn>
                                                    <a:cxn ang="0">
                                                      <a:pos x="connsiteX839" y="connsiteY839"/>
                                                    </a:cxn>
                                                    <a:cxn ang="0">
                                                      <a:pos x="connsiteX840" y="connsiteY840"/>
                                                    </a:cxn>
                                                    <a:cxn ang="0">
                                                      <a:pos x="connsiteX841" y="connsiteY841"/>
                                                    </a:cxn>
                                                    <a:cxn ang="0">
                                                      <a:pos x="connsiteX842" y="connsiteY842"/>
                                                    </a:cxn>
                                                    <a:cxn ang="0">
                                                      <a:pos x="connsiteX843" y="connsiteY843"/>
                                                    </a:cxn>
                                                    <a:cxn ang="0">
                                                      <a:pos x="connsiteX844" y="connsiteY844"/>
                                                    </a:cxn>
                                                    <a:cxn ang="0">
                                                      <a:pos x="connsiteX845" y="connsiteY845"/>
                                                    </a:cxn>
                                                    <a:cxn ang="0">
                                                      <a:pos x="connsiteX846" y="connsiteY846"/>
                                                    </a:cxn>
                                                    <a:cxn ang="0">
                                                      <a:pos x="connsiteX847" y="connsiteY847"/>
                                                    </a:cxn>
                                                    <a:cxn ang="0">
                                                      <a:pos x="connsiteX848" y="connsiteY848"/>
                                                    </a:cxn>
                                                    <a:cxn ang="0">
                                                      <a:pos x="connsiteX849" y="connsiteY849"/>
                                                    </a:cxn>
                                                    <a:cxn ang="0">
                                                      <a:pos x="connsiteX850" y="connsiteY850"/>
                                                    </a:cxn>
                                                    <a:cxn ang="0">
                                                      <a:pos x="connsiteX851" y="connsiteY851"/>
                                                    </a:cxn>
                                                    <a:cxn ang="0">
                                                      <a:pos x="connsiteX852" y="connsiteY852"/>
                                                    </a:cxn>
                                                    <a:cxn ang="0">
                                                      <a:pos x="connsiteX853" y="connsiteY853"/>
                                                    </a:cxn>
                                                    <a:cxn ang="0">
                                                      <a:pos x="connsiteX854" y="connsiteY854"/>
                                                    </a:cxn>
                                                    <a:cxn ang="0">
                                                      <a:pos x="connsiteX855" y="connsiteY855"/>
                                                    </a:cxn>
                                                    <a:cxn ang="0">
                                                      <a:pos x="connsiteX856" y="connsiteY856"/>
                                                    </a:cxn>
                                                    <a:cxn ang="0">
                                                      <a:pos x="connsiteX857" y="connsiteY857"/>
                                                    </a:cxn>
                                                    <a:cxn ang="0">
                                                      <a:pos x="connsiteX858" y="connsiteY858"/>
                                                    </a:cxn>
                                                    <a:cxn ang="0">
                                                      <a:pos x="connsiteX859" y="connsiteY859"/>
                                                    </a:cxn>
                                                    <a:cxn ang="0">
                                                      <a:pos x="connsiteX860" y="connsiteY860"/>
                                                    </a:cxn>
                                                    <a:cxn ang="0">
                                                      <a:pos x="connsiteX861" y="connsiteY861"/>
                                                    </a:cxn>
                                                    <a:cxn ang="0">
                                                      <a:pos x="connsiteX862" y="connsiteY862"/>
                                                    </a:cxn>
                                                    <a:cxn ang="0">
                                                      <a:pos x="connsiteX863" y="connsiteY863"/>
                                                    </a:cxn>
                                                    <a:cxn ang="0">
                                                      <a:pos x="connsiteX864" y="connsiteY864"/>
                                                    </a:cxn>
                                                    <a:cxn ang="0">
                                                      <a:pos x="connsiteX865" y="connsiteY865"/>
                                                    </a:cxn>
                                                    <a:cxn ang="0">
                                                      <a:pos x="connsiteX866" y="connsiteY866"/>
                                                    </a:cxn>
                                                    <a:cxn ang="0">
                                                      <a:pos x="connsiteX867" y="connsiteY867"/>
                                                    </a:cxn>
                                                    <a:cxn ang="0">
                                                      <a:pos x="connsiteX868" y="connsiteY868"/>
                                                    </a:cxn>
                                                    <a:cxn ang="0">
                                                      <a:pos x="connsiteX869" y="connsiteY869"/>
                                                    </a:cxn>
                                                    <a:cxn ang="0">
                                                      <a:pos x="connsiteX870" y="connsiteY870"/>
                                                    </a:cxn>
                                                    <a:cxn ang="0">
                                                      <a:pos x="connsiteX871" y="connsiteY871"/>
                                                    </a:cxn>
                                                    <a:cxn ang="0">
                                                      <a:pos x="connsiteX872" y="connsiteY872"/>
                                                    </a:cxn>
                                                    <a:cxn ang="0">
                                                      <a:pos x="connsiteX873" y="connsiteY873"/>
                                                    </a:cxn>
                                                    <a:cxn ang="0">
                                                      <a:pos x="connsiteX874" y="connsiteY874"/>
                                                    </a:cxn>
                                                    <a:cxn ang="0">
                                                      <a:pos x="connsiteX875" y="connsiteY875"/>
                                                    </a:cxn>
                                                    <a:cxn ang="0">
                                                      <a:pos x="connsiteX876" y="connsiteY876"/>
                                                    </a:cxn>
                                                    <a:cxn ang="0">
                                                      <a:pos x="connsiteX877" y="connsiteY877"/>
                                                    </a:cxn>
                                                    <a:cxn ang="0">
                                                      <a:pos x="connsiteX878" y="connsiteY878"/>
                                                    </a:cxn>
                                                    <a:cxn ang="0">
                                                      <a:pos x="connsiteX879" y="connsiteY879"/>
                                                    </a:cxn>
                                                    <a:cxn ang="0">
                                                      <a:pos x="connsiteX880" y="connsiteY880"/>
                                                    </a:cxn>
                                                    <a:cxn ang="0">
                                                      <a:pos x="connsiteX881" y="connsiteY881"/>
                                                    </a:cxn>
                                                    <a:cxn ang="0">
                                                      <a:pos x="connsiteX882" y="connsiteY882"/>
                                                    </a:cxn>
                                                    <a:cxn ang="0">
                                                      <a:pos x="connsiteX883" y="connsiteY883"/>
                                                    </a:cxn>
                                                    <a:cxn ang="0">
                                                      <a:pos x="connsiteX884" y="connsiteY884"/>
                                                    </a:cxn>
                                                    <a:cxn ang="0">
                                                      <a:pos x="connsiteX885" y="connsiteY885"/>
                                                    </a:cxn>
                                                    <a:cxn ang="0">
                                                      <a:pos x="connsiteX886" y="connsiteY886"/>
                                                    </a:cxn>
                                                    <a:cxn ang="0">
                                                      <a:pos x="connsiteX887" y="connsiteY887"/>
                                                    </a:cxn>
                                                    <a:cxn ang="0">
                                                      <a:pos x="connsiteX888" y="connsiteY888"/>
                                                    </a:cxn>
                                                    <a:cxn ang="0">
                                                      <a:pos x="connsiteX889" y="connsiteY889"/>
                                                    </a:cxn>
                                                    <a:cxn ang="0">
                                                      <a:pos x="connsiteX890" y="connsiteY890"/>
                                                    </a:cxn>
                                                    <a:cxn ang="0">
                                                      <a:pos x="connsiteX891" y="connsiteY891"/>
                                                    </a:cxn>
                                                    <a:cxn ang="0">
                                                      <a:pos x="connsiteX892" y="connsiteY892"/>
                                                    </a:cxn>
                                                    <a:cxn ang="0">
                                                      <a:pos x="connsiteX893" y="connsiteY893"/>
                                                    </a:cxn>
                                                    <a:cxn ang="0">
                                                      <a:pos x="connsiteX894" y="connsiteY894"/>
                                                    </a:cxn>
                                                    <a:cxn ang="0">
                                                      <a:pos x="connsiteX895" y="connsiteY895"/>
                                                    </a:cxn>
                                                    <a:cxn ang="0">
                                                      <a:pos x="connsiteX896" y="connsiteY896"/>
                                                    </a:cxn>
                                                    <a:cxn ang="0">
                                                      <a:pos x="connsiteX897" y="connsiteY897"/>
                                                    </a:cxn>
                                                    <a:cxn ang="0">
                                                      <a:pos x="connsiteX898" y="connsiteY898"/>
                                                    </a:cxn>
                                                    <a:cxn ang="0">
                                                      <a:pos x="connsiteX899" y="connsiteY899"/>
                                                    </a:cxn>
                                                    <a:cxn ang="0">
                                                      <a:pos x="connsiteX900" y="connsiteY900"/>
                                                    </a:cxn>
                                                    <a:cxn ang="0">
                                                      <a:pos x="connsiteX901" y="connsiteY901"/>
                                                    </a:cxn>
                                                    <a:cxn ang="0">
                                                      <a:pos x="connsiteX902" y="connsiteY902"/>
                                                    </a:cxn>
                                                    <a:cxn ang="0">
                                                      <a:pos x="connsiteX903" y="connsiteY903"/>
                                                    </a:cxn>
                                                    <a:cxn ang="0">
                                                      <a:pos x="connsiteX904" y="connsiteY904"/>
                                                    </a:cxn>
                                                    <a:cxn ang="0">
                                                      <a:pos x="connsiteX905" y="connsiteY905"/>
                                                    </a:cxn>
                                                    <a:cxn ang="0">
                                                      <a:pos x="connsiteX906" y="connsiteY906"/>
                                                    </a:cxn>
                                                    <a:cxn ang="0">
                                                      <a:pos x="connsiteX907" y="connsiteY907"/>
                                                    </a:cxn>
                                                    <a:cxn ang="0">
                                                      <a:pos x="connsiteX908" y="connsiteY908"/>
                                                    </a:cxn>
                                                    <a:cxn ang="0">
                                                      <a:pos x="connsiteX909" y="connsiteY909"/>
                                                    </a:cxn>
                                                    <a:cxn ang="0">
                                                      <a:pos x="connsiteX910" y="connsiteY910"/>
                                                    </a:cxn>
                                                    <a:cxn ang="0">
                                                      <a:pos x="connsiteX911" y="connsiteY911"/>
                                                    </a:cxn>
                                                    <a:cxn ang="0">
                                                      <a:pos x="connsiteX912" y="connsiteY912"/>
                                                    </a:cxn>
                                                    <a:cxn ang="0">
                                                      <a:pos x="connsiteX913" y="connsiteY913"/>
                                                    </a:cxn>
                                                    <a:cxn ang="0">
                                                      <a:pos x="connsiteX914" y="connsiteY914"/>
                                                    </a:cxn>
                                                    <a:cxn ang="0">
                                                      <a:pos x="connsiteX915" y="connsiteY915"/>
                                                    </a:cxn>
                                                    <a:cxn ang="0">
                                                      <a:pos x="connsiteX916" y="connsiteY916"/>
                                                    </a:cxn>
                                                    <a:cxn ang="0">
                                                      <a:pos x="connsiteX917" y="connsiteY917"/>
                                                    </a:cxn>
                                                    <a:cxn ang="0">
                                                      <a:pos x="connsiteX918" y="connsiteY918"/>
                                                    </a:cxn>
                                                    <a:cxn ang="0">
                                                      <a:pos x="connsiteX919" y="connsiteY919"/>
                                                    </a:cxn>
                                                    <a:cxn ang="0">
                                                      <a:pos x="connsiteX920" y="connsiteY920"/>
                                                    </a:cxn>
                                                    <a:cxn ang="0">
                                                      <a:pos x="connsiteX921" y="connsiteY921"/>
                                                    </a:cxn>
                                                    <a:cxn ang="0">
                                                      <a:pos x="connsiteX922" y="connsiteY922"/>
                                                    </a:cxn>
                                                    <a:cxn ang="0">
                                                      <a:pos x="connsiteX923" y="connsiteY923"/>
                                                    </a:cxn>
                                                    <a:cxn ang="0">
                                                      <a:pos x="connsiteX924" y="connsiteY924"/>
                                                    </a:cxn>
                                                    <a:cxn ang="0">
                                                      <a:pos x="connsiteX925" y="connsiteY925"/>
                                                    </a:cxn>
                                                    <a:cxn ang="0">
                                                      <a:pos x="connsiteX926" y="connsiteY926"/>
                                                    </a:cxn>
                                                    <a:cxn ang="0">
                                                      <a:pos x="connsiteX927" y="connsiteY927"/>
                                                    </a:cxn>
                                                    <a:cxn ang="0">
                                                      <a:pos x="connsiteX928" y="connsiteY928"/>
                                                    </a:cxn>
                                                    <a:cxn ang="0">
                                                      <a:pos x="connsiteX929" y="connsiteY929"/>
                                                    </a:cxn>
                                                    <a:cxn ang="0">
                                                      <a:pos x="connsiteX930" y="connsiteY930"/>
                                                    </a:cxn>
                                                    <a:cxn ang="0">
                                                      <a:pos x="connsiteX931" y="connsiteY931"/>
                                                    </a:cxn>
                                                    <a:cxn ang="0">
                                                      <a:pos x="connsiteX932" y="connsiteY932"/>
                                                    </a:cxn>
                                                    <a:cxn ang="0">
                                                      <a:pos x="connsiteX933" y="connsiteY933"/>
                                                    </a:cxn>
                                                    <a:cxn ang="0">
                                                      <a:pos x="connsiteX934" y="connsiteY934"/>
                                                    </a:cxn>
                                                    <a:cxn ang="0">
                                                      <a:pos x="connsiteX935" y="connsiteY935"/>
                                                    </a:cxn>
                                                    <a:cxn ang="0">
                                                      <a:pos x="connsiteX936" y="connsiteY936"/>
                                                    </a:cxn>
                                                    <a:cxn ang="0">
                                                      <a:pos x="connsiteX937" y="connsiteY937"/>
                                                    </a:cxn>
                                                    <a:cxn ang="0">
                                                      <a:pos x="connsiteX938" y="connsiteY938"/>
                                                    </a:cxn>
                                                    <a:cxn ang="0">
                                                      <a:pos x="connsiteX939" y="connsiteY939"/>
                                                    </a:cxn>
                                                    <a:cxn ang="0">
                                                      <a:pos x="connsiteX940" y="connsiteY940"/>
                                                    </a:cxn>
                                                    <a:cxn ang="0">
                                                      <a:pos x="connsiteX941" y="connsiteY941"/>
                                                    </a:cxn>
                                                    <a:cxn ang="0">
                                                      <a:pos x="connsiteX942" y="connsiteY942"/>
                                                    </a:cxn>
                                                    <a:cxn ang="0">
                                                      <a:pos x="connsiteX943" y="connsiteY943"/>
                                                    </a:cxn>
                                                    <a:cxn ang="0">
                                                      <a:pos x="connsiteX944" y="connsiteY944"/>
                                                    </a:cxn>
                                                    <a:cxn ang="0">
                                                      <a:pos x="connsiteX945" y="connsiteY945"/>
                                                    </a:cxn>
                                                    <a:cxn ang="0">
                                                      <a:pos x="connsiteX946" y="connsiteY946"/>
                                                    </a:cxn>
                                                    <a:cxn ang="0">
                                                      <a:pos x="connsiteX947" y="connsiteY947"/>
                                                    </a:cxn>
                                                    <a:cxn ang="0">
                                                      <a:pos x="connsiteX948" y="connsiteY948"/>
                                                    </a:cxn>
                                                    <a:cxn ang="0">
                                                      <a:pos x="connsiteX949" y="connsiteY949"/>
                                                    </a:cxn>
                                                    <a:cxn ang="0">
                                                      <a:pos x="connsiteX950" y="connsiteY950"/>
                                                    </a:cxn>
                                                    <a:cxn ang="0">
                                                      <a:pos x="connsiteX951" y="connsiteY951"/>
                                                    </a:cxn>
                                                    <a:cxn ang="0">
                                                      <a:pos x="connsiteX952" y="connsiteY952"/>
                                                    </a:cxn>
                                                    <a:cxn ang="0">
                                                      <a:pos x="connsiteX953" y="connsiteY953"/>
                                                    </a:cxn>
                                                    <a:cxn ang="0">
                                                      <a:pos x="connsiteX954" y="connsiteY954"/>
                                                    </a:cxn>
                                                    <a:cxn ang="0">
                                                      <a:pos x="connsiteX955" y="connsiteY955"/>
                                                    </a:cxn>
                                                    <a:cxn ang="0">
                                                      <a:pos x="connsiteX956" y="connsiteY956"/>
                                                    </a:cxn>
                                                    <a:cxn ang="0">
                                                      <a:pos x="connsiteX957" y="connsiteY957"/>
                                                    </a:cxn>
                                                    <a:cxn ang="0">
                                                      <a:pos x="connsiteX958" y="connsiteY958"/>
                                                    </a:cxn>
                                                    <a:cxn ang="0">
                                                      <a:pos x="connsiteX959" y="connsiteY959"/>
                                                    </a:cxn>
                                                    <a:cxn ang="0">
                                                      <a:pos x="connsiteX960" y="connsiteY960"/>
                                                    </a:cxn>
                                                    <a:cxn ang="0">
                                                      <a:pos x="connsiteX961" y="connsiteY961"/>
                                                    </a:cxn>
                                                    <a:cxn ang="0">
                                                      <a:pos x="connsiteX962" y="connsiteY962"/>
                                                    </a:cxn>
                                                    <a:cxn ang="0">
                                                      <a:pos x="connsiteX963" y="connsiteY963"/>
                                                    </a:cxn>
                                                    <a:cxn ang="0">
                                                      <a:pos x="connsiteX964" y="connsiteY964"/>
                                                    </a:cxn>
                                                    <a:cxn ang="0">
                                                      <a:pos x="connsiteX965" y="connsiteY965"/>
                                                    </a:cxn>
                                                    <a:cxn ang="0">
                                                      <a:pos x="connsiteX966" y="connsiteY966"/>
                                                    </a:cxn>
                                                    <a:cxn ang="0">
                                                      <a:pos x="connsiteX967" y="connsiteY967"/>
                                                    </a:cxn>
                                                    <a:cxn ang="0">
                                                      <a:pos x="connsiteX968" y="connsiteY968"/>
                                                    </a:cxn>
                                                    <a:cxn ang="0">
                                                      <a:pos x="connsiteX969" y="connsiteY969"/>
                                                    </a:cxn>
                                                    <a:cxn ang="0">
                                                      <a:pos x="connsiteX970" y="connsiteY970"/>
                                                    </a:cxn>
                                                    <a:cxn ang="0">
                                                      <a:pos x="connsiteX971" y="connsiteY971"/>
                                                    </a:cxn>
                                                    <a:cxn ang="0">
                                                      <a:pos x="connsiteX972" y="connsiteY972"/>
                                                    </a:cxn>
                                                    <a:cxn ang="0">
                                                      <a:pos x="connsiteX973" y="connsiteY973"/>
                                                    </a:cxn>
                                                    <a:cxn ang="0">
                                                      <a:pos x="connsiteX974" y="connsiteY974"/>
                                                    </a:cxn>
                                                    <a:cxn ang="0">
                                                      <a:pos x="connsiteX975" y="connsiteY975"/>
                                                    </a:cxn>
                                                    <a:cxn ang="0">
                                                      <a:pos x="connsiteX976" y="connsiteY976"/>
                                                    </a:cxn>
                                                    <a:cxn ang="0">
                                                      <a:pos x="connsiteX977" y="connsiteY977"/>
                                                    </a:cxn>
                                                    <a:cxn ang="0">
                                                      <a:pos x="connsiteX978" y="connsiteY978"/>
                                                    </a:cxn>
                                                    <a:cxn ang="0">
                                                      <a:pos x="connsiteX979" y="connsiteY979"/>
                                                    </a:cxn>
                                                    <a:cxn ang="0">
                                                      <a:pos x="connsiteX980" y="connsiteY980"/>
                                                    </a:cxn>
                                                    <a:cxn ang="0">
                                                      <a:pos x="connsiteX981" y="connsiteY981"/>
                                                    </a:cxn>
                                                    <a:cxn ang="0">
                                                      <a:pos x="connsiteX982" y="connsiteY982"/>
                                                    </a:cxn>
                                                    <a:cxn ang="0">
                                                      <a:pos x="connsiteX983" y="connsiteY983"/>
                                                    </a:cxn>
                                                    <a:cxn ang="0">
                                                      <a:pos x="connsiteX984" y="connsiteY984"/>
                                                    </a:cxn>
                                                    <a:cxn ang="0">
                                                      <a:pos x="connsiteX985" y="connsiteY985"/>
                                                    </a:cxn>
                                                    <a:cxn ang="0">
                                                      <a:pos x="connsiteX986" y="connsiteY986"/>
                                                    </a:cxn>
                                                    <a:cxn ang="0">
                                                      <a:pos x="connsiteX987" y="connsiteY987"/>
                                                    </a:cxn>
                                                    <a:cxn ang="0">
                                                      <a:pos x="connsiteX988" y="connsiteY988"/>
                                                    </a:cxn>
                                                    <a:cxn ang="0">
                                                      <a:pos x="connsiteX989" y="connsiteY989"/>
                                                    </a:cxn>
                                                    <a:cxn ang="0">
                                                      <a:pos x="connsiteX990" y="connsiteY990"/>
                                                    </a:cxn>
                                                    <a:cxn ang="0">
                                                      <a:pos x="connsiteX991" y="connsiteY991"/>
                                                    </a:cxn>
                                                    <a:cxn ang="0">
                                                      <a:pos x="connsiteX992" y="connsiteY992"/>
                                                    </a:cxn>
                                                    <a:cxn ang="0">
                                                      <a:pos x="connsiteX993" y="connsiteY993"/>
                                                    </a:cxn>
                                                    <a:cxn ang="0">
                                                      <a:pos x="connsiteX994" y="connsiteY994"/>
                                                    </a:cxn>
                                                    <a:cxn ang="0">
                                                      <a:pos x="connsiteX995" y="connsiteY995"/>
                                                    </a:cxn>
                                                    <a:cxn ang="0">
                                                      <a:pos x="connsiteX996" y="connsiteY996"/>
                                                    </a:cxn>
                                                    <a:cxn ang="0">
                                                      <a:pos x="connsiteX997" y="connsiteY997"/>
                                                    </a:cxn>
                                                    <a:cxn ang="0">
                                                      <a:pos x="connsiteX998" y="connsiteY998"/>
                                                    </a:cxn>
                                                    <a:cxn ang="0">
                                                      <a:pos x="connsiteX999" y="connsiteY999"/>
                                                    </a:cxn>
                                                    <a:cxn ang="0">
                                                      <a:pos x="connsiteX1000" y="connsiteY1000"/>
                                                    </a:cxn>
                                                    <a:cxn ang="0">
                                                      <a:pos x="connsiteX1001" y="connsiteY1001"/>
                                                    </a:cxn>
                                                    <a:cxn ang="0">
                                                      <a:pos x="connsiteX1002" y="connsiteY1002"/>
                                                    </a:cxn>
                                                    <a:cxn ang="0">
                                                      <a:pos x="connsiteX1003" y="connsiteY1003"/>
                                                    </a:cxn>
                                                    <a:cxn ang="0">
                                                      <a:pos x="connsiteX1004" y="connsiteY1004"/>
                                                    </a:cxn>
                                                    <a:cxn ang="0">
                                                      <a:pos x="connsiteX1005" y="connsiteY1005"/>
                                                    </a:cxn>
                                                    <a:cxn ang="0">
                                                      <a:pos x="connsiteX1006" y="connsiteY1006"/>
                                                    </a:cxn>
                                                    <a:cxn ang="0">
                                                      <a:pos x="connsiteX1007" y="connsiteY1007"/>
                                                    </a:cxn>
                                                    <a:cxn ang="0">
                                                      <a:pos x="connsiteX1008" y="connsiteY1008"/>
                                                    </a:cxn>
                                                    <a:cxn ang="0">
                                                      <a:pos x="connsiteX1009" y="connsiteY1009"/>
                                                    </a:cxn>
                                                    <a:cxn ang="0">
                                                      <a:pos x="connsiteX1010" y="connsiteY1010"/>
                                                    </a:cxn>
                                                    <a:cxn ang="0">
                                                      <a:pos x="connsiteX1011" y="connsiteY1011"/>
                                                    </a:cxn>
                                                    <a:cxn ang="0">
                                                      <a:pos x="connsiteX1012" y="connsiteY1012"/>
                                                    </a:cxn>
                                                    <a:cxn ang="0">
                                                      <a:pos x="connsiteX1013" y="connsiteY1013"/>
                                                    </a:cxn>
                                                    <a:cxn ang="0">
                                                      <a:pos x="connsiteX1014" y="connsiteY1014"/>
                                                    </a:cxn>
                                                    <a:cxn ang="0">
                                                      <a:pos x="connsiteX1015" y="connsiteY1015"/>
                                                    </a:cxn>
                                                    <a:cxn ang="0">
                                                      <a:pos x="connsiteX1016" y="connsiteY1016"/>
                                                    </a:cxn>
                                                    <a:cxn ang="0">
                                                      <a:pos x="connsiteX1017" y="connsiteY1017"/>
                                                    </a:cxn>
                                                    <a:cxn ang="0">
                                                      <a:pos x="connsiteX1018" y="connsiteY1018"/>
                                                    </a:cxn>
                                                    <a:cxn ang="0">
                                                      <a:pos x="connsiteX1019" y="connsiteY1019"/>
                                                    </a:cxn>
                                                    <a:cxn ang="0">
                                                      <a:pos x="connsiteX1020" y="connsiteY1020"/>
                                                    </a:cxn>
                                                    <a:cxn ang="0">
                                                      <a:pos x="connsiteX1021" y="connsiteY1021"/>
                                                    </a:cxn>
                                                    <a:cxn ang="0">
                                                      <a:pos x="connsiteX1022" y="connsiteY1022"/>
                                                    </a:cxn>
                                                    <a:cxn ang="0">
                                                      <a:pos x="connsiteX1023" y="connsiteY1023"/>
                                                    </a:cxn>
                                                    <a:cxn ang="0">
                                                      <a:pos x="connsiteX1024" y="connsiteY1024"/>
                                                    </a:cxn>
                                                    <a:cxn ang="0">
                                                      <a:pos x="connsiteX1025" y="connsiteY1025"/>
                                                    </a:cxn>
                                                    <a:cxn ang="0">
                                                      <a:pos x="connsiteX1026" y="connsiteY1026"/>
                                                    </a:cxn>
                                                    <a:cxn ang="0">
                                                      <a:pos x="connsiteX1027" y="connsiteY1027"/>
                                                    </a:cxn>
                                                    <a:cxn ang="0">
                                                      <a:pos x="connsiteX1028" y="connsiteY1028"/>
                                                    </a:cxn>
                                                    <a:cxn ang="0">
                                                      <a:pos x="connsiteX1029" y="connsiteY1029"/>
                                                    </a:cxn>
                                                    <a:cxn ang="0">
                                                      <a:pos x="connsiteX1030" y="connsiteY1030"/>
                                                    </a:cxn>
                                                    <a:cxn ang="0">
                                                      <a:pos x="connsiteX1031" y="connsiteY1031"/>
                                                    </a:cxn>
                                                    <a:cxn ang="0">
                                                      <a:pos x="connsiteX1032" y="connsiteY1032"/>
                                                    </a:cxn>
                                                    <a:cxn ang="0">
                                                      <a:pos x="connsiteX1033" y="connsiteY1033"/>
                                                    </a:cxn>
                                                    <a:cxn ang="0">
                                                      <a:pos x="connsiteX1034" y="connsiteY1034"/>
                                                    </a:cxn>
                                                    <a:cxn ang="0">
                                                      <a:pos x="connsiteX1035" y="connsiteY1035"/>
                                                    </a:cxn>
                                                    <a:cxn ang="0">
                                                      <a:pos x="connsiteX1036" y="connsiteY1036"/>
                                                    </a:cxn>
                                                    <a:cxn ang="0">
                                                      <a:pos x="connsiteX1037" y="connsiteY1037"/>
                                                    </a:cxn>
                                                    <a:cxn ang="0">
                                                      <a:pos x="connsiteX1038" y="connsiteY1038"/>
                                                    </a:cxn>
                                                    <a:cxn ang="0">
                                                      <a:pos x="connsiteX1039" y="connsiteY1039"/>
                                                    </a:cxn>
                                                    <a:cxn ang="0">
                                                      <a:pos x="connsiteX1040" y="connsiteY1040"/>
                                                    </a:cxn>
                                                    <a:cxn ang="0">
                                                      <a:pos x="connsiteX1041" y="connsiteY1041"/>
                                                    </a:cxn>
                                                    <a:cxn ang="0">
                                                      <a:pos x="connsiteX1042" y="connsiteY1042"/>
                                                    </a:cxn>
                                                    <a:cxn ang="0">
                                                      <a:pos x="connsiteX1043" y="connsiteY1043"/>
                                                    </a:cxn>
                                                    <a:cxn ang="0">
                                                      <a:pos x="connsiteX1044" y="connsiteY1044"/>
                                                    </a:cxn>
                                                    <a:cxn ang="0">
                                                      <a:pos x="connsiteX1045" y="connsiteY1045"/>
                                                    </a:cxn>
                                                    <a:cxn ang="0">
                                                      <a:pos x="connsiteX1046" y="connsiteY1046"/>
                                                    </a:cxn>
                                                    <a:cxn ang="0">
                                                      <a:pos x="connsiteX1047" y="connsiteY1047"/>
                                                    </a:cxn>
                                                    <a:cxn ang="0">
                                                      <a:pos x="connsiteX1048" y="connsiteY1048"/>
                                                    </a:cxn>
                                                    <a:cxn ang="0">
                                                      <a:pos x="connsiteX1049" y="connsiteY1049"/>
                                                    </a:cxn>
                                                    <a:cxn ang="0">
                                                      <a:pos x="connsiteX1050" y="connsiteY1050"/>
                                                    </a:cxn>
                                                    <a:cxn ang="0">
                                                      <a:pos x="connsiteX1051" y="connsiteY1051"/>
                                                    </a:cxn>
                                                    <a:cxn ang="0">
                                                      <a:pos x="connsiteX1052" y="connsiteY1052"/>
                                                    </a:cxn>
                                                    <a:cxn ang="0">
                                                      <a:pos x="connsiteX1053" y="connsiteY1053"/>
                                                    </a:cxn>
                                                    <a:cxn ang="0">
                                                      <a:pos x="connsiteX1054" y="connsiteY1054"/>
                                                    </a:cxn>
                                                    <a:cxn ang="0">
                                                      <a:pos x="connsiteX1055" y="connsiteY1055"/>
                                                    </a:cxn>
                                                    <a:cxn ang="0">
                                                      <a:pos x="connsiteX1056" y="connsiteY1056"/>
                                                    </a:cxn>
                                                    <a:cxn ang="0">
                                                      <a:pos x="connsiteX1057" y="connsiteY1057"/>
                                                    </a:cxn>
                                                    <a:cxn ang="0">
                                                      <a:pos x="connsiteX1058" y="connsiteY1058"/>
                                                    </a:cxn>
                                                    <a:cxn ang="0">
                                                      <a:pos x="connsiteX1059" y="connsiteY1059"/>
                                                    </a:cxn>
                                                    <a:cxn ang="0">
                                                      <a:pos x="connsiteX1060" y="connsiteY1060"/>
                                                    </a:cxn>
                                                    <a:cxn ang="0">
                                                      <a:pos x="connsiteX1061" y="connsiteY1061"/>
                                                    </a:cxn>
                                                    <a:cxn ang="0">
                                                      <a:pos x="connsiteX1062" y="connsiteY1062"/>
                                                    </a:cxn>
                                                    <a:cxn ang="0">
                                                      <a:pos x="connsiteX1063" y="connsiteY1063"/>
                                                    </a:cxn>
                                                    <a:cxn ang="0">
                                                      <a:pos x="connsiteX1064" y="connsiteY1064"/>
                                                    </a:cxn>
                                                    <a:cxn ang="0">
                                                      <a:pos x="connsiteX1065" y="connsiteY1065"/>
                                                    </a:cxn>
                                                    <a:cxn ang="0">
                                                      <a:pos x="connsiteX1066" y="connsiteY1066"/>
                                                    </a:cxn>
                                                    <a:cxn ang="0">
                                                      <a:pos x="connsiteX1067" y="connsiteY1067"/>
                                                    </a:cxn>
                                                    <a:cxn ang="0">
                                                      <a:pos x="connsiteX1068" y="connsiteY1068"/>
                                                    </a:cxn>
                                                    <a:cxn ang="0">
                                                      <a:pos x="connsiteX1069" y="connsiteY1069"/>
                                                    </a:cxn>
                                                    <a:cxn ang="0">
                                                      <a:pos x="connsiteX1070" y="connsiteY1070"/>
                                                    </a:cxn>
                                                    <a:cxn ang="0">
                                                      <a:pos x="connsiteX1071" y="connsiteY1071"/>
                                                    </a:cxn>
                                                    <a:cxn ang="0">
                                                      <a:pos x="connsiteX1072" y="connsiteY1072"/>
                                                    </a:cxn>
                                                    <a:cxn ang="0">
                                                      <a:pos x="connsiteX1073" y="connsiteY1073"/>
                                                    </a:cxn>
                                                    <a:cxn ang="0">
                                                      <a:pos x="connsiteX1074" y="connsiteY1074"/>
                                                    </a:cxn>
                                                    <a:cxn ang="0">
                                                      <a:pos x="connsiteX1075" y="connsiteY1075"/>
                                                    </a:cxn>
                                                    <a:cxn ang="0">
                                                      <a:pos x="connsiteX1076" y="connsiteY1076"/>
                                                    </a:cxn>
                                                    <a:cxn ang="0">
                                                      <a:pos x="connsiteX1077" y="connsiteY1077"/>
                                                    </a:cxn>
                                                    <a:cxn ang="0">
                                                      <a:pos x="connsiteX1078" y="connsiteY1078"/>
                                                    </a:cxn>
                                                    <a:cxn ang="0">
                                                      <a:pos x="connsiteX1079" y="connsiteY1079"/>
                                                    </a:cxn>
                                                    <a:cxn ang="0">
                                                      <a:pos x="connsiteX1080" y="connsiteY1080"/>
                                                    </a:cxn>
                                                    <a:cxn ang="0">
                                                      <a:pos x="connsiteX1081" y="connsiteY1081"/>
                                                    </a:cxn>
                                                    <a:cxn ang="0">
                                                      <a:pos x="connsiteX1082" y="connsiteY1082"/>
                                                    </a:cxn>
                                                    <a:cxn ang="0">
                                                      <a:pos x="connsiteX1083" y="connsiteY1083"/>
                                                    </a:cxn>
                                                    <a:cxn ang="0">
                                                      <a:pos x="connsiteX1084" y="connsiteY1084"/>
                                                    </a:cxn>
                                                    <a:cxn ang="0">
                                                      <a:pos x="connsiteX1085" y="connsiteY1085"/>
                                                    </a:cxn>
                                                    <a:cxn ang="0">
                                                      <a:pos x="connsiteX1086" y="connsiteY1086"/>
                                                    </a:cxn>
                                                    <a:cxn ang="0">
                                                      <a:pos x="connsiteX1087" y="connsiteY1087"/>
                                                    </a:cxn>
                                                    <a:cxn ang="0">
                                                      <a:pos x="connsiteX1088" y="connsiteY1088"/>
                                                    </a:cxn>
                                                    <a:cxn ang="0">
                                                      <a:pos x="connsiteX1089" y="connsiteY1089"/>
                                                    </a:cxn>
                                                    <a:cxn ang="0">
                                                      <a:pos x="connsiteX1090" y="connsiteY1090"/>
                                                    </a:cxn>
                                                    <a:cxn ang="0">
                                                      <a:pos x="connsiteX1091" y="connsiteY1091"/>
                                                    </a:cxn>
                                                    <a:cxn ang="0">
                                                      <a:pos x="connsiteX1092" y="connsiteY1092"/>
                                                    </a:cxn>
                                                    <a:cxn ang="0">
                                                      <a:pos x="connsiteX1093" y="connsiteY1093"/>
                                                    </a:cxn>
                                                    <a:cxn ang="0">
                                                      <a:pos x="connsiteX1094" y="connsiteY1094"/>
                                                    </a:cxn>
                                                    <a:cxn ang="0">
                                                      <a:pos x="connsiteX1095" y="connsiteY1095"/>
                                                    </a:cxn>
                                                    <a:cxn ang="0">
                                                      <a:pos x="connsiteX1096" y="connsiteY1096"/>
                                                    </a:cxn>
                                                    <a:cxn ang="0">
                                                      <a:pos x="connsiteX1097" y="connsiteY1097"/>
                                                    </a:cxn>
                                                    <a:cxn ang="0">
                                                      <a:pos x="connsiteX1098" y="connsiteY1098"/>
                                                    </a:cxn>
                                                    <a:cxn ang="0">
                                                      <a:pos x="connsiteX1099" y="connsiteY1099"/>
                                                    </a:cxn>
                                                    <a:cxn ang="0">
                                                      <a:pos x="connsiteX1100" y="connsiteY1100"/>
                                                    </a:cxn>
                                                    <a:cxn ang="0">
                                                      <a:pos x="connsiteX1101" y="connsiteY1101"/>
                                                    </a:cxn>
                                                    <a:cxn ang="0">
                                                      <a:pos x="connsiteX1102" y="connsiteY1102"/>
                                                    </a:cxn>
                                                    <a:cxn ang="0">
                                                      <a:pos x="connsiteX1103" y="connsiteY1103"/>
                                                    </a:cxn>
                                                    <a:cxn ang="0">
                                                      <a:pos x="connsiteX1104" y="connsiteY1104"/>
                                                    </a:cxn>
                                                    <a:cxn ang="0">
                                                      <a:pos x="connsiteX1105" y="connsiteY1105"/>
                                                    </a:cxn>
                                                    <a:cxn ang="0">
                                                      <a:pos x="connsiteX1106" y="connsiteY110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023807" h="1513748">
                                                      <a:moveTo>
                                                        <a:pt x="4021573" y="598245"/>
                                                      </a:moveTo>
                                                      <a:cubicBezTo>
                                                        <a:pt x="4020083" y="596107"/>
                                                        <a:pt x="4017816" y="594229"/>
                                                        <a:pt x="4017427" y="591637"/>
                                                      </a:cubicBezTo>
                                                      <a:cubicBezTo>
                                                        <a:pt x="4017168" y="590471"/>
                                                        <a:pt x="4017427" y="589240"/>
                                                        <a:pt x="4017168" y="588074"/>
                                                      </a:cubicBezTo>
                                                      <a:cubicBezTo>
                                                        <a:pt x="4016520" y="585094"/>
                                                        <a:pt x="4013281" y="583604"/>
                                                        <a:pt x="4010495" y="582502"/>
                                                      </a:cubicBezTo>
                                                      <a:cubicBezTo>
                                                        <a:pt x="3996307" y="576996"/>
                                                        <a:pt x="3981925" y="571424"/>
                                                        <a:pt x="3966830" y="569545"/>
                                                      </a:cubicBezTo>
                                                      <a:cubicBezTo>
                                                        <a:pt x="3965728" y="564621"/>
                                                        <a:pt x="3961129" y="560734"/>
                                                        <a:pt x="3956075" y="560410"/>
                                                      </a:cubicBezTo>
                                                      <a:cubicBezTo>
                                                        <a:pt x="3952447" y="560216"/>
                                                        <a:pt x="3948236" y="561447"/>
                                                        <a:pt x="3945710" y="558855"/>
                                                      </a:cubicBezTo>
                                                      <a:cubicBezTo>
                                                        <a:pt x="3944284" y="557365"/>
                                                        <a:pt x="3944090" y="555098"/>
                                                        <a:pt x="3943312" y="553154"/>
                                                      </a:cubicBezTo>
                                                      <a:cubicBezTo>
                                                        <a:pt x="3941045" y="547324"/>
                                                        <a:pt x="3932688" y="544991"/>
                                                        <a:pt x="3927764" y="548814"/>
                                                      </a:cubicBezTo>
                                                      <a:cubicBezTo>
                                                        <a:pt x="3922840" y="552636"/>
                                                        <a:pt x="3922905" y="561317"/>
                                                        <a:pt x="3927958" y="565010"/>
                                                      </a:cubicBezTo>
                                                      <a:cubicBezTo>
                                                        <a:pt x="3930420" y="566824"/>
                                                        <a:pt x="3934177" y="567990"/>
                                                        <a:pt x="3934502" y="571100"/>
                                                      </a:cubicBezTo>
                                                      <a:cubicBezTo>
                                                        <a:pt x="3934631" y="572461"/>
                                                        <a:pt x="3933983" y="573821"/>
                                                        <a:pt x="3933206" y="574987"/>
                                                      </a:cubicBezTo>
                                                      <a:cubicBezTo>
                                                        <a:pt x="3928930" y="580818"/>
                                                        <a:pt x="3919471" y="581984"/>
                                                        <a:pt x="3913964" y="577255"/>
                                                      </a:cubicBezTo>
                                                      <a:cubicBezTo>
                                                        <a:pt x="3910531" y="574275"/>
                                                        <a:pt x="3908846" y="569740"/>
                                                        <a:pt x="3907551" y="565334"/>
                                                      </a:cubicBezTo>
                                                      <a:cubicBezTo>
                                                        <a:pt x="3904959" y="556199"/>
                                                        <a:pt x="3903469" y="546741"/>
                                                        <a:pt x="3903145" y="537282"/>
                                                      </a:cubicBezTo>
                                                      <a:cubicBezTo>
                                                        <a:pt x="3899842" y="538254"/>
                                                        <a:pt x="3898999" y="532941"/>
                                                        <a:pt x="3897250" y="529961"/>
                                                      </a:cubicBezTo>
                                                      <a:cubicBezTo>
                                                        <a:pt x="3894983" y="526074"/>
                                                        <a:pt x="3889605" y="525815"/>
                                                        <a:pt x="3885135" y="525880"/>
                                                      </a:cubicBezTo>
                                                      <a:cubicBezTo>
                                                        <a:pt x="3865634" y="526139"/>
                                                        <a:pt x="3846134" y="523871"/>
                                                        <a:pt x="3827216" y="519077"/>
                                                      </a:cubicBezTo>
                                                      <a:cubicBezTo>
                                                        <a:pt x="3824301" y="518364"/>
                                                        <a:pt x="3821321" y="517522"/>
                                                        <a:pt x="3818988" y="515643"/>
                                                      </a:cubicBezTo>
                                                      <a:cubicBezTo>
                                                        <a:pt x="3815231" y="512598"/>
                                                        <a:pt x="3813223" y="506962"/>
                                                        <a:pt x="3808558" y="505796"/>
                                                      </a:cubicBezTo>
                                                      <a:cubicBezTo>
                                                        <a:pt x="3805125" y="504889"/>
                                                        <a:pt x="3800784" y="506638"/>
                                                        <a:pt x="3798322" y="504047"/>
                                                      </a:cubicBezTo>
                                                      <a:cubicBezTo>
                                                        <a:pt x="3795990" y="501715"/>
                                                        <a:pt x="3797415" y="497698"/>
                                                        <a:pt x="3796378" y="494523"/>
                                                      </a:cubicBezTo>
                                                      <a:cubicBezTo>
                                                        <a:pt x="3795277" y="491154"/>
                                                        <a:pt x="3791519" y="489340"/>
                                                        <a:pt x="3789900" y="486166"/>
                                                      </a:cubicBezTo>
                                                      <a:cubicBezTo>
                                                        <a:pt x="3788345" y="482991"/>
                                                        <a:pt x="3792491" y="477938"/>
                                                        <a:pt x="3794565" y="480789"/>
                                                      </a:cubicBezTo>
                                                      <a:cubicBezTo>
                                                        <a:pt x="3796313" y="477290"/>
                                                        <a:pt x="3794046" y="472820"/>
                                                        <a:pt x="3790677" y="470876"/>
                                                      </a:cubicBezTo>
                                                      <a:cubicBezTo>
                                                        <a:pt x="3787309" y="468868"/>
                                                        <a:pt x="3783227" y="468674"/>
                                                        <a:pt x="3779275" y="468479"/>
                                                      </a:cubicBezTo>
                                                      <a:cubicBezTo>
                                                        <a:pt x="3780311" y="465046"/>
                                                        <a:pt x="3779081" y="461094"/>
                                                        <a:pt x="3776360" y="458762"/>
                                                      </a:cubicBezTo>
                                                      <a:cubicBezTo>
                                                        <a:pt x="3774610" y="457336"/>
                                                        <a:pt x="3772408" y="456559"/>
                                                        <a:pt x="3770270" y="455781"/>
                                                      </a:cubicBezTo>
                                                      <a:lnTo>
                                                        <a:pt x="3752777" y="449756"/>
                                                      </a:lnTo>
                                                      <a:cubicBezTo>
                                                        <a:pt x="3747530" y="447878"/>
                                                        <a:pt x="3740987" y="443343"/>
                                                        <a:pt x="3743514" y="438354"/>
                                                      </a:cubicBezTo>
                                                      <a:cubicBezTo>
                                                        <a:pt x="3727576" y="431552"/>
                                                        <a:pt x="3710214" y="428053"/>
                                                        <a:pt x="3692916" y="428118"/>
                                                      </a:cubicBezTo>
                                                      <a:cubicBezTo>
                                                        <a:pt x="3692527" y="424231"/>
                                                        <a:pt x="3691231" y="420408"/>
                                                        <a:pt x="3689223" y="416975"/>
                                                      </a:cubicBezTo>
                                                      <a:cubicBezTo>
                                                        <a:pt x="3669139" y="425850"/>
                                                        <a:pt x="3647306" y="430839"/>
                                                        <a:pt x="3625280" y="431681"/>
                                                      </a:cubicBezTo>
                                                      <a:cubicBezTo>
                                                        <a:pt x="3610249" y="432264"/>
                                                        <a:pt x="3595154" y="431163"/>
                                                        <a:pt x="3580707" y="427017"/>
                                                      </a:cubicBezTo>
                                                      <a:cubicBezTo>
                                                        <a:pt x="3581225" y="420732"/>
                                                        <a:pt x="3573516" y="417623"/>
                                                        <a:pt x="3567426" y="416003"/>
                                                      </a:cubicBezTo>
                                                      <a:cubicBezTo>
                                                        <a:pt x="3561336" y="414383"/>
                                                        <a:pt x="3554015" y="409589"/>
                                                        <a:pt x="3556283" y="403758"/>
                                                      </a:cubicBezTo>
                                                      <a:cubicBezTo>
                                                        <a:pt x="3544038" y="402268"/>
                                                        <a:pt x="3532441" y="415226"/>
                                                        <a:pt x="3535292" y="427211"/>
                                                      </a:cubicBezTo>
                                                      <a:cubicBezTo>
                                                        <a:pt x="3538467" y="431681"/>
                                                        <a:pt x="3542224" y="435698"/>
                                                        <a:pt x="3546435" y="439196"/>
                                                      </a:cubicBezTo>
                                                      <a:cubicBezTo>
                                                        <a:pt x="3552136" y="443861"/>
                                                        <a:pt x="3559263" y="448396"/>
                                                        <a:pt x="3560429" y="455652"/>
                                                      </a:cubicBezTo>
                                                      <a:cubicBezTo>
                                                        <a:pt x="3561012" y="459150"/>
                                                        <a:pt x="3559975" y="462908"/>
                                                        <a:pt x="3557643" y="465564"/>
                                                      </a:cubicBezTo>
                                                      <a:cubicBezTo>
                                                        <a:pt x="3552784" y="471330"/>
                                                        <a:pt x="3544038" y="471395"/>
                                                        <a:pt x="3536523" y="470876"/>
                                                      </a:cubicBezTo>
                                                      <a:cubicBezTo>
                                                        <a:pt x="3531016" y="470553"/>
                                                        <a:pt x="3525315" y="470034"/>
                                                        <a:pt x="3520521" y="467313"/>
                                                      </a:cubicBezTo>
                                                      <a:cubicBezTo>
                                                        <a:pt x="3512163" y="462584"/>
                                                        <a:pt x="3507304" y="451506"/>
                                                        <a:pt x="3497781" y="450404"/>
                                                      </a:cubicBezTo>
                                                      <a:cubicBezTo>
                                                        <a:pt x="3494736" y="450080"/>
                                                        <a:pt x="3491238" y="450728"/>
                                                        <a:pt x="3488970" y="448590"/>
                                                      </a:cubicBezTo>
                                                      <a:cubicBezTo>
                                                        <a:pt x="3487675" y="447424"/>
                                                        <a:pt x="3487156" y="445545"/>
                                                        <a:pt x="3485796" y="444444"/>
                                                      </a:cubicBezTo>
                                                      <a:cubicBezTo>
                                                        <a:pt x="3482621" y="441917"/>
                                                        <a:pt x="3478216" y="445092"/>
                                                        <a:pt x="3474976" y="447554"/>
                                                      </a:cubicBezTo>
                                                      <a:cubicBezTo>
                                                        <a:pt x="3461761" y="457660"/>
                                                        <a:pt x="3443426" y="456624"/>
                                                        <a:pt x="3426906" y="455198"/>
                                                      </a:cubicBezTo>
                                                      <a:cubicBezTo>
                                                        <a:pt x="3423731" y="454874"/>
                                                        <a:pt x="3420556" y="454615"/>
                                                        <a:pt x="3417641" y="453384"/>
                                                      </a:cubicBezTo>
                                                      <a:cubicBezTo>
                                                        <a:pt x="3415244" y="452413"/>
                                                        <a:pt x="3413171" y="450922"/>
                                                        <a:pt x="3411033" y="449432"/>
                                                      </a:cubicBezTo>
                                                      <a:cubicBezTo>
                                                        <a:pt x="3387127" y="433430"/>
                                                        <a:pt x="3355642" y="429284"/>
                                                        <a:pt x="3328496" y="438613"/>
                                                      </a:cubicBezTo>
                                                      <a:cubicBezTo>
                                                        <a:pt x="3325969" y="439520"/>
                                                        <a:pt x="3323378" y="440557"/>
                                                        <a:pt x="3321823" y="442695"/>
                                                      </a:cubicBezTo>
                                                      <a:cubicBezTo>
                                                        <a:pt x="3318973" y="446452"/>
                                                        <a:pt x="3320527" y="451765"/>
                                                        <a:pt x="3319880" y="456429"/>
                                                      </a:cubicBezTo>
                                                      <a:cubicBezTo>
                                                        <a:pt x="3319232" y="461094"/>
                                                        <a:pt x="3312689" y="465370"/>
                                                        <a:pt x="3310292" y="461353"/>
                                                      </a:cubicBezTo>
                                                      <a:cubicBezTo>
                                                        <a:pt x="3306275" y="456688"/>
                                                        <a:pt x="3307181" y="449756"/>
                                                        <a:pt x="3307441" y="443602"/>
                                                      </a:cubicBezTo>
                                                      <a:cubicBezTo>
                                                        <a:pt x="3307765" y="437512"/>
                                                        <a:pt x="3306145" y="429932"/>
                                                        <a:pt x="3300249" y="428183"/>
                                                      </a:cubicBezTo>
                                                      <a:cubicBezTo>
                                                        <a:pt x="3292281" y="425786"/>
                                                        <a:pt x="3283405" y="436281"/>
                                                        <a:pt x="3276473" y="431616"/>
                                                      </a:cubicBezTo>
                                                      <a:cubicBezTo>
                                                        <a:pt x="3280101" y="424296"/>
                                                        <a:pt x="3269865" y="414578"/>
                                                        <a:pt x="3274918" y="408229"/>
                                                      </a:cubicBezTo>
                                                      <a:cubicBezTo>
                                                        <a:pt x="3276149" y="406739"/>
                                                        <a:pt x="3278028" y="405896"/>
                                                        <a:pt x="3279259" y="404406"/>
                                                      </a:cubicBezTo>
                                                      <a:cubicBezTo>
                                                        <a:pt x="3283664" y="398964"/>
                                                        <a:pt x="3276667" y="391449"/>
                                                        <a:pt x="3270124" y="388858"/>
                                                      </a:cubicBezTo>
                                                      <a:cubicBezTo>
                                                        <a:pt x="3258139" y="383999"/>
                                                        <a:pt x="3244922" y="382638"/>
                                                        <a:pt x="3232030" y="383545"/>
                                                      </a:cubicBezTo>
                                                      <a:cubicBezTo>
                                                        <a:pt x="3223284" y="384128"/>
                                                        <a:pt x="3214214" y="385748"/>
                                                        <a:pt x="3205792" y="383286"/>
                                                      </a:cubicBezTo>
                                                      <a:cubicBezTo>
                                                        <a:pt x="3201711" y="382120"/>
                                                        <a:pt x="3198017" y="380047"/>
                                                        <a:pt x="3194066" y="378557"/>
                                                      </a:cubicBezTo>
                                                      <a:cubicBezTo>
                                                        <a:pt x="3187652" y="376160"/>
                                                        <a:pt x="3180784" y="375382"/>
                                                        <a:pt x="3173982" y="374734"/>
                                                      </a:cubicBezTo>
                                                      <a:cubicBezTo>
                                                        <a:pt x="3148003" y="372078"/>
                                                        <a:pt x="3121829" y="371042"/>
                                                        <a:pt x="3095656" y="370718"/>
                                                      </a:cubicBezTo>
                                                      <a:cubicBezTo>
                                                        <a:pt x="3091640" y="373180"/>
                                                        <a:pt x="3085549" y="370135"/>
                                                        <a:pt x="3085096" y="365470"/>
                                                      </a:cubicBezTo>
                                                      <a:cubicBezTo>
                                                        <a:pt x="3084772" y="362166"/>
                                                        <a:pt x="3086457" y="358020"/>
                                                        <a:pt x="3083865" y="356011"/>
                                                      </a:cubicBezTo>
                                                      <a:cubicBezTo>
                                                        <a:pt x="3082699" y="355104"/>
                                                        <a:pt x="3081144" y="355040"/>
                                                        <a:pt x="3079913" y="354327"/>
                                                      </a:cubicBezTo>
                                                      <a:cubicBezTo>
                                                        <a:pt x="3078423" y="353485"/>
                                                        <a:pt x="3077646" y="351865"/>
                                                        <a:pt x="3076609" y="350569"/>
                                                      </a:cubicBezTo>
                                                      <a:cubicBezTo>
                                                        <a:pt x="3073240" y="346358"/>
                                                        <a:pt x="3066438" y="345516"/>
                                                        <a:pt x="3062162" y="348820"/>
                                                      </a:cubicBezTo>
                                                      <a:cubicBezTo>
                                                        <a:pt x="3060995" y="349662"/>
                                                        <a:pt x="3059895" y="350829"/>
                                                        <a:pt x="3058469" y="350829"/>
                                                      </a:cubicBezTo>
                                                      <a:cubicBezTo>
                                                        <a:pt x="3055230" y="350958"/>
                                                        <a:pt x="3054906" y="345905"/>
                                                        <a:pt x="3052509" y="343637"/>
                                                      </a:cubicBezTo>
                                                      <a:cubicBezTo>
                                                        <a:pt x="3048557" y="339880"/>
                                                        <a:pt x="3040912" y="345387"/>
                                                        <a:pt x="3036960" y="341629"/>
                                                      </a:cubicBezTo>
                                                      <a:cubicBezTo>
                                                        <a:pt x="3034758" y="339556"/>
                                                        <a:pt x="3035211" y="335798"/>
                                                        <a:pt x="3033461" y="333336"/>
                                                      </a:cubicBezTo>
                                                      <a:cubicBezTo>
                                                        <a:pt x="3029445" y="327830"/>
                                                        <a:pt x="3020311" y="333984"/>
                                                        <a:pt x="3013897" y="331652"/>
                                                      </a:cubicBezTo>
                                                      <a:cubicBezTo>
                                                        <a:pt x="3012925" y="331328"/>
                                                        <a:pt x="3012018" y="330680"/>
                                                        <a:pt x="3011629" y="329773"/>
                                                      </a:cubicBezTo>
                                                      <a:cubicBezTo>
                                                        <a:pt x="3010786" y="327830"/>
                                                        <a:pt x="3012666" y="325756"/>
                                                        <a:pt x="3014674" y="325109"/>
                                                      </a:cubicBezTo>
                                                      <a:cubicBezTo>
                                                        <a:pt x="3016617" y="324461"/>
                                                        <a:pt x="3018820" y="324526"/>
                                                        <a:pt x="3020699" y="323554"/>
                                                      </a:cubicBezTo>
                                                      <a:cubicBezTo>
                                                        <a:pt x="3023938" y="321934"/>
                                                        <a:pt x="3024975" y="317075"/>
                                                        <a:pt x="3022643" y="314225"/>
                                                      </a:cubicBezTo>
                                                      <a:cubicBezTo>
                                                        <a:pt x="3012990" y="313706"/>
                                                        <a:pt x="3003142" y="315974"/>
                                                        <a:pt x="2994590" y="320703"/>
                                                      </a:cubicBezTo>
                                                      <a:cubicBezTo>
                                                        <a:pt x="2990120" y="323165"/>
                                                        <a:pt x="2985132" y="326404"/>
                                                        <a:pt x="2980338" y="324655"/>
                                                      </a:cubicBezTo>
                                                      <a:cubicBezTo>
                                                        <a:pt x="2976061" y="323165"/>
                                                        <a:pt x="2973664" y="318112"/>
                                                        <a:pt x="2969259" y="317075"/>
                                                      </a:cubicBezTo>
                                                      <a:cubicBezTo>
                                                        <a:pt x="2967251" y="316557"/>
                                                        <a:pt x="2964918" y="317075"/>
                                                        <a:pt x="2963039" y="315974"/>
                                                      </a:cubicBezTo>
                                                      <a:cubicBezTo>
                                                        <a:pt x="2958764" y="313512"/>
                                                        <a:pt x="2961291" y="306645"/>
                                                        <a:pt x="2959217" y="302174"/>
                                                      </a:cubicBezTo>
                                                      <a:cubicBezTo>
                                                        <a:pt x="2957015" y="297575"/>
                                                        <a:pt x="2949111" y="297510"/>
                                                        <a:pt x="2946908" y="302110"/>
                                                      </a:cubicBezTo>
                                                      <a:cubicBezTo>
                                                        <a:pt x="2946195" y="303600"/>
                                                        <a:pt x="2946066" y="305219"/>
                                                        <a:pt x="2945872" y="306904"/>
                                                      </a:cubicBezTo>
                                                      <a:cubicBezTo>
                                                        <a:pt x="2945288" y="311633"/>
                                                        <a:pt x="2944187" y="316298"/>
                                                        <a:pt x="2942633" y="320768"/>
                                                      </a:cubicBezTo>
                                                      <a:cubicBezTo>
                                                        <a:pt x="2942179" y="322064"/>
                                                        <a:pt x="2941661" y="323424"/>
                                                        <a:pt x="2940624" y="324331"/>
                                                      </a:cubicBezTo>
                                                      <a:cubicBezTo>
                                                        <a:pt x="2937320" y="327117"/>
                                                        <a:pt x="2930323" y="324590"/>
                                                        <a:pt x="2929222" y="328801"/>
                                                      </a:cubicBezTo>
                                                      <a:cubicBezTo>
                                                        <a:pt x="2928898" y="330162"/>
                                                        <a:pt x="2929546" y="331522"/>
                                                        <a:pt x="2929675" y="332883"/>
                                                      </a:cubicBezTo>
                                                      <a:cubicBezTo>
                                                        <a:pt x="2929869" y="335798"/>
                                                        <a:pt x="2927667" y="338519"/>
                                                        <a:pt x="2925010" y="339750"/>
                                                      </a:cubicBezTo>
                                                      <a:cubicBezTo>
                                                        <a:pt x="2922355" y="340916"/>
                                                        <a:pt x="2919374" y="341046"/>
                                                        <a:pt x="2916394" y="341046"/>
                                                      </a:cubicBezTo>
                                                      <a:cubicBezTo>
                                                        <a:pt x="2915487" y="341046"/>
                                                        <a:pt x="2914450" y="340981"/>
                                                        <a:pt x="2913608" y="340592"/>
                                                      </a:cubicBezTo>
                                                      <a:cubicBezTo>
                                                        <a:pt x="2910240" y="338778"/>
                                                        <a:pt x="2912831" y="333596"/>
                                                        <a:pt x="2912053" y="329838"/>
                                                      </a:cubicBezTo>
                                                      <a:cubicBezTo>
                                                        <a:pt x="2910952" y="324202"/>
                                                        <a:pt x="2903178" y="323748"/>
                                                        <a:pt x="2897476" y="324590"/>
                                                      </a:cubicBezTo>
                                                      <a:cubicBezTo>
                                                        <a:pt x="2896181" y="320768"/>
                                                        <a:pt x="2900651" y="317270"/>
                                                        <a:pt x="2904667" y="316816"/>
                                                      </a:cubicBezTo>
                                                      <a:cubicBezTo>
                                                        <a:pt x="2908749" y="316363"/>
                                                        <a:pt x="2912960" y="317464"/>
                                                        <a:pt x="2916782" y="316103"/>
                                                      </a:cubicBezTo>
                                                      <a:cubicBezTo>
                                                        <a:pt x="2920605" y="314743"/>
                                                        <a:pt x="2923067" y="308847"/>
                                                        <a:pt x="2919633" y="306709"/>
                                                      </a:cubicBezTo>
                                                      <a:cubicBezTo>
                                                        <a:pt x="2909656" y="305867"/>
                                                        <a:pt x="2899809" y="303729"/>
                                                        <a:pt x="2890415" y="300360"/>
                                                      </a:cubicBezTo>
                                                      <a:cubicBezTo>
                                                        <a:pt x="2889508" y="300037"/>
                                                        <a:pt x="2888471" y="299583"/>
                                                        <a:pt x="2888083" y="298676"/>
                                                      </a:cubicBezTo>
                                                      <a:cubicBezTo>
                                                        <a:pt x="2887694" y="297769"/>
                                                        <a:pt x="2888083" y="296732"/>
                                                        <a:pt x="2888212" y="295825"/>
                                                      </a:cubicBezTo>
                                                      <a:cubicBezTo>
                                                        <a:pt x="2888601" y="292586"/>
                                                        <a:pt x="2886074" y="289541"/>
                                                        <a:pt x="2883029" y="288310"/>
                                                      </a:cubicBezTo>
                                                      <a:cubicBezTo>
                                                        <a:pt x="2879985" y="287079"/>
                                                        <a:pt x="2876616" y="287274"/>
                                                        <a:pt x="2873376" y="287403"/>
                                                      </a:cubicBezTo>
                                                      <a:cubicBezTo>
                                                        <a:pt x="2875903" y="283451"/>
                                                        <a:pt x="2873894" y="277880"/>
                                                        <a:pt x="2870137" y="275094"/>
                                                      </a:cubicBezTo>
                                                      <a:cubicBezTo>
                                                        <a:pt x="2866380" y="272243"/>
                                                        <a:pt x="2861456" y="271596"/>
                                                        <a:pt x="2856792" y="271336"/>
                                                      </a:cubicBezTo>
                                                      <a:cubicBezTo>
                                                        <a:pt x="2850961" y="271077"/>
                                                        <a:pt x="2845130" y="271336"/>
                                                        <a:pt x="2839364" y="272114"/>
                                                      </a:cubicBezTo>
                                                      <a:cubicBezTo>
                                                        <a:pt x="2835865" y="272567"/>
                                                        <a:pt x="2832367" y="273280"/>
                                                        <a:pt x="2828868" y="272891"/>
                                                      </a:cubicBezTo>
                                                      <a:cubicBezTo>
                                                        <a:pt x="2824399" y="272308"/>
                                                        <a:pt x="2820382" y="270106"/>
                                                        <a:pt x="2816300" y="268162"/>
                                                      </a:cubicBezTo>
                                                      <a:cubicBezTo>
                                                        <a:pt x="2812219" y="266283"/>
                                                        <a:pt x="2807748" y="264664"/>
                                                        <a:pt x="2803343" y="265441"/>
                                                      </a:cubicBezTo>
                                                      <a:cubicBezTo>
                                                        <a:pt x="2798938" y="266154"/>
                                                        <a:pt x="2794791" y="270235"/>
                                                        <a:pt x="2795439" y="274641"/>
                                                      </a:cubicBezTo>
                                                      <a:cubicBezTo>
                                                        <a:pt x="2795958" y="278269"/>
                                                        <a:pt x="2799327" y="281054"/>
                                                        <a:pt x="2799520" y="284682"/>
                                                      </a:cubicBezTo>
                                                      <a:cubicBezTo>
                                                        <a:pt x="2794014" y="286691"/>
                                                        <a:pt x="2789090" y="284294"/>
                                                        <a:pt x="2783259" y="284034"/>
                                                      </a:cubicBezTo>
                                                      <a:cubicBezTo>
                                                        <a:pt x="2778400" y="283840"/>
                                                        <a:pt x="2773088" y="283775"/>
                                                        <a:pt x="2769007" y="286496"/>
                                                      </a:cubicBezTo>
                                                      <a:cubicBezTo>
                                                        <a:pt x="2764925" y="289153"/>
                                                        <a:pt x="2763176" y="295825"/>
                                                        <a:pt x="2766934" y="298935"/>
                                                      </a:cubicBezTo>
                                                      <a:cubicBezTo>
                                                        <a:pt x="2769331" y="300944"/>
                                                        <a:pt x="2773023" y="300944"/>
                                                        <a:pt x="2774902" y="303405"/>
                                                      </a:cubicBezTo>
                                                      <a:cubicBezTo>
                                                        <a:pt x="2778724" y="308394"/>
                                                        <a:pt x="2770497" y="313771"/>
                                                        <a:pt x="2764342" y="314808"/>
                                                      </a:cubicBezTo>
                                                      <a:cubicBezTo>
                                                        <a:pt x="2766480" y="322452"/>
                                                        <a:pt x="2774060" y="328218"/>
                                                        <a:pt x="2781964" y="328283"/>
                                                      </a:cubicBezTo>
                                                      <a:cubicBezTo>
                                                        <a:pt x="2779178" y="331198"/>
                                                        <a:pt x="2776392" y="334049"/>
                                                        <a:pt x="2773606" y="336900"/>
                                                      </a:cubicBezTo>
                                                      <a:cubicBezTo>
                                                        <a:pt x="2769719" y="340916"/>
                                                        <a:pt x="2765508" y="345063"/>
                                                        <a:pt x="2760066" y="346034"/>
                                                      </a:cubicBezTo>
                                                      <a:cubicBezTo>
                                                        <a:pt x="2752098" y="347460"/>
                                                        <a:pt x="2742185" y="342082"/>
                                                        <a:pt x="2736614" y="347978"/>
                                                      </a:cubicBezTo>
                                                      <a:cubicBezTo>
                                                        <a:pt x="2734929" y="349792"/>
                                                        <a:pt x="2734022" y="352448"/>
                                                        <a:pt x="2731820" y="353679"/>
                                                      </a:cubicBezTo>
                                                      <a:cubicBezTo>
                                                        <a:pt x="2727220" y="356271"/>
                                                        <a:pt x="2722037" y="350310"/>
                                                        <a:pt x="2716789" y="350505"/>
                                                      </a:cubicBezTo>
                                                      <a:cubicBezTo>
                                                        <a:pt x="2713874" y="350634"/>
                                                        <a:pt x="2711412" y="352578"/>
                                                        <a:pt x="2708950" y="354068"/>
                                                      </a:cubicBezTo>
                                                      <a:cubicBezTo>
                                                        <a:pt x="2698002" y="360741"/>
                                                        <a:pt x="2684137" y="359510"/>
                                                        <a:pt x="2671439" y="357307"/>
                                                      </a:cubicBezTo>
                                                      <a:cubicBezTo>
                                                        <a:pt x="2650643" y="353679"/>
                                                        <a:pt x="2630170" y="348043"/>
                                                        <a:pt x="2610346" y="340592"/>
                                                      </a:cubicBezTo>
                                                      <a:cubicBezTo>
                                                        <a:pt x="2601471" y="337224"/>
                                                        <a:pt x="2590976" y="333596"/>
                                                        <a:pt x="2582942" y="338778"/>
                                                      </a:cubicBezTo>
                                                      <a:cubicBezTo>
                                                        <a:pt x="2582877" y="350245"/>
                                                        <a:pt x="2575038" y="361259"/>
                                                        <a:pt x="2564219" y="365081"/>
                                                      </a:cubicBezTo>
                                                      <a:cubicBezTo>
                                                        <a:pt x="2565709" y="369098"/>
                                                        <a:pt x="2567199" y="373050"/>
                                                        <a:pt x="2568689" y="377067"/>
                                                      </a:cubicBezTo>
                                                      <a:cubicBezTo>
                                                        <a:pt x="2561109" y="377715"/>
                                                        <a:pt x="2553335" y="375706"/>
                                                        <a:pt x="2546986" y="371495"/>
                                                      </a:cubicBezTo>
                                                      <a:cubicBezTo>
                                                        <a:pt x="2545820" y="368969"/>
                                                        <a:pt x="2544654" y="366377"/>
                                                        <a:pt x="2543487" y="363850"/>
                                                      </a:cubicBezTo>
                                                      <a:cubicBezTo>
                                                        <a:pt x="2535973" y="362555"/>
                                                        <a:pt x="2528781" y="359704"/>
                                                        <a:pt x="2522497" y="355493"/>
                                                      </a:cubicBezTo>
                                                      <a:cubicBezTo>
                                                        <a:pt x="2515565" y="337677"/>
                                                        <a:pt x="2502996" y="322064"/>
                                                        <a:pt x="2487059" y="311504"/>
                                                      </a:cubicBezTo>
                                                      <a:cubicBezTo>
                                                        <a:pt x="2483755" y="309236"/>
                                                        <a:pt x="2479738" y="306126"/>
                                                        <a:pt x="2480645" y="302174"/>
                                                      </a:cubicBezTo>
                                                      <a:cubicBezTo>
                                                        <a:pt x="2481617" y="297963"/>
                                                        <a:pt x="2487513" y="297186"/>
                                                        <a:pt x="2491594" y="298741"/>
                                                      </a:cubicBezTo>
                                                      <a:cubicBezTo>
                                                        <a:pt x="2495675" y="300296"/>
                                                        <a:pt x="2499368" y="303276"/>
                                                        <a:pt x="2503709" y="303276"/>
                                                      </a:cubicBezTo>
                                                      <a:cubicBezTo>
                                                        <a:pt x="2508050" y="303211"/>
                                                        <a:pt x="2512131" y="297316"/>
                                                        <a:pt x="2508762" y="294659"/>
                                                      </a:cubicBezTo>
                                                      <a:cubicBezTo>
                                                        <a:pt x="2503191" y="292716"/>
                                                        <a:pt x="2497684" y="290772"/>
                                                        <a:pt x="2492177" y="288829"/>
                                                      </a:cubicBezTo>
                                                      <a:cubicBezTo>
                                                        <a:pt x="2495740" y="287209"/>
                                                        <a:pt x="2495999" y="281897"/>
                                                        <a:pt x="2493927" y="278593"/>
                                                      </a:cubicBezTo>
                                                      <a:cubicBezTo>
                                                        <a:pt x="2491853" y="275224"/>
                                                        <a:pt x="2488355" y="273086"/>
                                                        <a:pt x="2485699" y="270170"/>
                                                      </a:cubicBezTo>
                                                      <a:cubicBezTo>
                                                        <a:pt x="2483172" y="267514"/>
                                                        <a:pt x="2481098" y="263951"/>
                                                        <a:pt x="2477601" y="262914"/>
                                                      </a:cubicBezTo>
                                                      <a:cubicBezTo>
                                                        <a:pt x="2472094" y="261295"/>
                                                        <a:pt x="2467235" y="266413"/>
                                                        <a:pt x="2462117" y="268810"/>
                                                      </a:cubicBezTo>
                                                      <a:cubicBezTo>
                                                        <a:pt x="2451492" y="273863"/>
                                                        <a:pt x="2437174" y="264599"/>
                                                        <a:pt x="2437368" y="252937"/>
                                                      </a:cubicBezTo>
                                                      <a:cubicBezTo>
                                                        <a:pt x="2416507" y="253974"/>
                                                        <a:pt x="2397784" y="238555"/>
                                                        <a:pt x="2376858" y="238101"/>
                                                      </a:cubicBezTo>
                                                      <a:cubicBezTo>
                                                        <a:pt x="2370574" y="237972"/>
                                                        <a:pt x="2363059" y="240239"/>
                                                        <a:pt x="2361439" y="246329"/>
                                                      </a:cubicBezTo>
                                                      <a:cubicBezTo>
                                                        <a:pt x="2359690" y="252743"/>
                                                        <a:pt x="2365715" y="260129"/>
                                                        <a:pt x="2362411" y="265959"/>
                                                      </a:cubicBezTo>
                                                      <a:cubicBezTo>
                                                        <a:pt x="2341680" y="254039"/>
                                                        <a:pt x="2315636" y="265571"/>
                                                        <a:pt x="2291795" y="263951"/>
                                                      </a:cubicBezTo>
                                                      <a:cubicBezTo>
                                                        <a:pt x="2278255" y="263044"/>
                                                        <a:pt x="2265492" y="257796"/>
                                                        <a:pt x="2252988" y="252613"/>
                                                      </a:cubicBezTo>
                                                      <a:cubicBezTo>
                                                        <a:pt x="2249231" y="251059"/>
                                                        <a:pt x="2245473" y="249504"/>
                                                        <a:pt x="2242105" y="247171"/>
                                                      </a:cubicBezTo>
                                                      <a:cubicBezTo>
                                                        <a:pt x="2239772" y="245487"/>
                                                        <a:pt x="2237569" y="243414"/>
                                                        <a:pt x="2234719" y="242636"/>
                                                      </a:cubicBezTo>
                                                      <a:cubicBezTo>
                                                        <a:pt x="2228046" y="240887"/>
                                                        <a:pt x="2220530" y="248532"/>
                                                        <a:pt x="2215477" y="243867"/>
                                                      </a:cubicBezTo>
                                                      <a:cubicBezTo>
                                                        <a:pt x="2201678" y="231169"/>
                                                        <a:pt x="2182178" y="224950"/>
                                                        <a:pt x="2163584" y="227412"/>
                                                      </a:cubicBezTo>
                                                      <a:cubicBezTo>
                                                        <a:pt x="2158984" y="228060"/>
                                                        <a:pt x="2154385" y="229161"/>
                                                        <a:pt x="2149785" y="228902"/>
                                                      </a:cubicBezTo>
                                                      <a:cubicBezTo>
                                                        <a:pt x="2145120" y="228643"/>
                                                        <a:pt x="2140650" y="226958"/>
                                                        <a:pt x="2135986" y="226764"/>
                                                      </a:cubicBezTo>
                                                      <a:cubicBezTo>
                                                        <a:pt x="2131320" y="226570"/>
                                                        <a:pt x="2126008" y="228384"/>
                                                        <a:pt x="2124259" y="232724"/>
                                                      </a:cubicBezTo>
                                                      <a:cubicBezTo>
                                                        <a:pt x="2122121" y="238037"/>
                                                        <a:pt x="2126203" y="244904"/>
                                                        <a:pt x="2122769" y="249568"/>
                                                      </a:cubicBezTo>
                                                      <a:cubicBezTo>
                                                        <a:pt x="2119335" y="254168"/>
                                                        <a:pt x="2111302" y="251512"/>
                                                        <a:pt x="2108840" y="246329"/>
                                                      </a:cubicBezTo>
                                                      <a:cubicBezTo>
                                                        <a:pt x="2106443" y="241211"/>
                                                        <a:pt x="2107674" y="235121"/>
                                                        <a:pt x="2108775" y="229550"/>
                                                      </a:cubicBezTo>
                                                      <a:cubicBezTo>
                                                        <a:pt x="2109877" y="223913"/>
                                                        <a:pt x="2110589" y="217629"/>
                                                        <a:pt x="2107415" y="212900"/>
                                                      </a:cubicBezTo>
                                                      <a:cubicBezTo>
                                                        <a:pt x="2104240" y="210956"/>
                                                        <a:pt x="2100224" y="214066"/>
                                                        <a:pt x="2098928" y="217500"/>
                                                      </a:cubicBezTo>
                                                      <a:cubicBezTo>
                                                        <a:pt x="2097567" y="220933"/>
                                                        <a:pt x="2097632" y="224820"/>
                                                        <a:pt x="2095753" y="227995"/>
                                                      </a:cubicBezTo>
                                                      <a:cubicBezTo>
                                                        <a:pt x="2093551" y="231688"/>
                                                        <a:pt x="2088756" y="233631"/>
                                                        <a:pt x="2084610" y="232530"/>
                                                      </a:cubicBezTo>
                                                      <a:cubicBezTo>
                                                        <a:pt x="2080464" y="231364"/>
                                                        <a:pt x="2077354" y="227217"/>
                                                        <a:pt x="2077354" y="222942"/>
                                                      </a:cubicBezTo>
                                                      <a:cubicBezTo>
                                                        <a:pt x="2068349" y="219897"/>
                                                        <a:pt x="2059991" y="214973"/>
                                                        <a:pt x="2052995" y="208559"/>
                                                      </a:cubicBezTo>
                                                      <a:cubicBezTo>
                                                        <a:pt x="2051634" y="207328"/>
                                                        <a:pt x="2050273" y="206032"/>
                                                        <a:pt x="2048525" y="205644"/>
                                                      </a:cubicBezTo>
                                                      <a:cubicBezTo>
                                                        <a:pt x="2047229" y="205385"/>
                                                        <a:pt x="2045804" y="205644"/>
                                                        <a:pt x="2044508" y="205968"/>
                                                      </a:cubicBezTo>
                                                      <a:cubicBezTo>
                                                        <a:pt x="2036280" y="207846"/>
                                                        <a:pt x="2028117" y="209725"/>
                                                        <a:pt x="2019954" y="211604"/>
                                                      </a:cubicBezTo>
                                                      <a:cubicBezTo>
                                                        <a:pt x="2017945" y="216074"/>
                                                        <a:pt x="2020407" y="222035"/>
                                                        <a:pt x="2025008" y="223784"/>
                                                      </a:cubicBezTo>
                                                      <a:cubicBezTo>
                                                        <a:pt x="2030449" y="225857"/>
                                                        <a:pt x="2039390" y="224496"/>
                                                        <a:pt x="2039714" y="230327"/>
                                                      </a:cubicBezTo>
                                                      <a:cubicBezTo>
                                                        <a:pt x="2039908" y="233178"/>
                                                        <a:pt x="2036993" y="235445"/>
                                                        <a:pt x="2034142" y="235834"/>
                                                      </a:cubicBezTo>
                                                      <a:cubicBezTo>
                                                        <a:pt x="2031292" y="236223"/>
                                                        <a:pt x="2028441" y="235316"/>
                                                        <a:pt x="2025590" y="234862"/>
                                                      </a:cubicBezTo>
                                                      <a:cubicBezTo>
                                                        <a:pt x="2002397" y="230716"/>
                                                        <a:pt x="1982767" y="252613"/>
                                                        <a:pt x="1959638" y="256760"/>
                                                      </a:cubicBezTo>
                                                      <a:cubicBezTo>
                                                        <a:pt x="1951799" y="258120"/>
                                                        <a:pt x="1943831" y="257472"/>
                                                        <a:pt x="1935862" y="257408"/>
                                                      </a:cubicBezTo>
                                                      <a:cubicBezTo>
                                                        <a:pt x="1934048" y="257408"/>
                                                        <a:pt x="1932039" y="257472"/>
                                                        <a:pt x="1930549" y="258574"/>
                                                      </a:cubicBezTo>
                                                      <a:cubicBezTo>
                                                        <a:pt x="1925950" y="262007"/>
                                                        <a:pt x="1929319" y="272438"/>
                                                        <a:pt x="1923618" y="273215"/>
                                                      </a:cubicBezTo>
                                                      <a:cubicBezTo>
                                                        <a:pt x="1918824" y="273798"/>
                                                        <a:pt x="1918435" y="266348"/>
                                                        <a:pt x="1920119" y="261813"/>
                                                      </a:cubicBezTo>
                                                      <a:cubicBezTo>
                                                        <a:pt x="1923229" y="253650"/>
                                                        <a:pt x="1926857" y="244839"/>
                                                        <a:pt x="1934372" y="240304"/>
                                                      </a:cubicBezTo>
                                                      <a:cubicBezTo>
                                                        <a:pt x="1940592" y="236611"/>
                                                        <a:pt x="1949467" y="235769"/>
                                                        <a:pt x="1952577" y="229226"/>
                                                      </a:cubicBezTo>
                                                      <a:cubicBezTo>
                                                        <a:pt x="1953419" y="227412"/>
                                                        <a:pt x="1953743" y="225274"/>
                                                        <a:pt x="1955039" y="223654"/>
                                                      </a:cubicBezTo>
                                                      <a:cubicBezTo>
                                                        <a:pt x="1957306" y="220933"/>
                                                        <a:pt x="1961517" y="221128"/>
                                                        <a:pt x="1965146" y="221128"/>
                                                      </a:cubicBezTo>
                                                      <a:cubicBezTo>
                                                        <a:pt x="1975122" y="221128"/>
                                                        <a:pt x="1985099" y="217694"/>
                                                        <a:pt x="1992938" y="211474"/>
                                                      </a:cubicBezTo>
                                                      <a:cubicBezTo>
                                                        <a:pt x="1995141" y="209725"/>
                                                        <a:pt x="1997214" y="207782"/>
                                                        <a:pt x="1999871" y="206939"/>
                                                      </a:cubicBezTo>
                                                      <a:cubicBezTo>
                                                        <a:pt x="2002008" y="206292"/>
                                                        <a:pt x="2004405" y="206421"/>
                                                        <a:pt x="2006414" y="205579"/>
                                                      </a:cubicBezTo>
                                                      <a:cubicBezTo>
                                                        <a:pt x="2009589" y="204283"/>
                                                        <a:pt x="2011402" y="200914"/>
                                                        <a:pt x="2013540" y="198258"/>
                                                      </a:cubicBezTo>
                                                      <a:cubicBezTo>
                                                        <a:pt x="2018594" y="191909"/>
                                                        <a:pt x="2026562" y="188670"/>
                                                        <a:pt x="2034142" y="185625"/>
                                                      </a:cubicBezTo>
                                                      <a:cubicBezTo>
                                                        <a:pt x="2042499" y="182321"/>
                                                        <a:pt x="2050922" y="179017"/>
                                                        <a:pt x="2059279" y="175713"/>
                                                      </a:cubicBezTo>
                                                      <a:cubicBezTo>
                                                        <a:pt x="2063814" y="173964"/>
                                                        <a:pt x="2068543" y="172020"/>
                                                        <a:pt x="2071588" y="168198"/>
                                                      </a:cubicBezTo>
                                                      <a:cubicBezTo>
                                                        <a:pt x="2073791" y="165347"/>
                                                        <a:pt x="2075022" y="161589"/>
                                                        <a:pt x="2078132" y="159711"/>
                                                      </a:cubicBezTo>
                                                      <a:cubicBezTo>
                                                        <a:pt x="2080334" y="158350"/>
                                                        <a:pt x="2083120" y="158221"/>
                                                        <a:pt x="2085388" y="157119"/>
                                                      </a:cubicBezTo>
                                                      <a:cubicBezTo>
                                                        <a:pt x="2090700" y="154528"/>
                                                        <a:pt x="2092320" y="147466"/>
                                                        <a:pt x="2097373" y="144421"/>
                                                      </a:cubicBezTo>
                                                      <a:cubicBezTo>
                                                        <a:pt x="2101261" y="142024"/>
                                                        <a:pt x="2106248" y="142672"/>
                                                        <a:pt x="2110654" y="141635"/>
                                                      </a:cubicBezTo>
                                                      <a:cubicBezTo>
                                                        <a:pt x="2115059" y="140599"/>
                                                        <a:pt x="2119530" y="135870"/>
                                                        <a:pt x="2117262" y="131918"/>
                                                      </a:cubicBezTo>
                                                      <a:cubicBezTo>
                                                        <a:pt x="2116031" y="129844"/>
                                                        <a:pt x="2113311" y="129002"/>
                                                        <a:pt x="2112014" y="126929"/>
                                                      </a:cubicBezTo>
                                                      <a:cubicBezTo>
                                                        <a:pt x="2108710" y="121876"/>
                                                        <a:pt x="2115966" y="116693"/>
                                                        <a:pt x="2121732" y="115009"/>
                                                      </a:cubicBezTo>
                                                      <a:lnTo>
                                                        <a:pt x="2121732" y="107493"/>
                                                      </a:lnTo>
                                                      <a:cubicBezTo>
                                                        <a:pt x="2117392" y="106133"/>
                                                        <a:pt x="2113051" y="104837"/>
                                                        <a:pt x="2108710" y="103541"/>
                                                      </a:cubicBezTo>
                                                      <a:cubicBezTo>
                                                        <a:pt x="2105795" y="95638"/>
                                                        <a:pt x="2096660" y="90649"/>
                                                        <a:pt x="2088367" y="92398"/>
                                                      </a:cubicBezTo>
                                                      <a:cubicBezTo>
                                                        <a:pt x="2088562" y="88576"/>
                                                        <a:pt x="2088692" y="84818"/>
                                                        <a:pt x="2088821" y="81061"/>
                                                      </a:cubicBezTo>
                                                      <a:cubicBezTo>
                                                        <a:pt x="2082083" y="80931"/>
                                                        <a:pt x="2076706" y="75424"/>
                                                        <a:pt x="2070487" y="72639"/>
                                                      </a:cubicBezTo>
                                                      <a:cubicBezTo>
                                                        <a:pt x="2060056" y="67974"/>
                                                        <a:pt x="2047876" y="70954"/>
                                                        <a:pt x="2036604" y="69335"/>
                                                      </a:cubicBezTo>
                                                      <a:cubicBezTo>
                                                        <a:pt x="2024943" y="67715"/>
                                                        <a:pt x="2014383" y="61107"/>
                                                        <a:pt x="2002721" y="59552"/>
                                                      </a:cubicBezTo>
                                                      <a:cubicBezTo>
                                                        <a:pt x="1991060" y="57997"/>
                                                        <a:pt x="1976483" y="64994"/>
                                                        <a:pt x="1977066" y="76785"/>
                                                      </a:cubicBezTo>
                                                      <a:cubicBezTo>
                                                        <a:pt x="1963655" y="76331"/>
                                                        <a:pt x="1950245" y="75878"/>
                                                        <a:pt x="1936898" y="75424"/>
                                                      </a:cubicBezTo>
                                                      <a:cubicBezTo>
                                                        <a:pt x="1938583" y="69011"/>
                                                        <a:pt x="1940786" y="61884"/>
                                                        <a:pt x="1946487" y="58386"/>
                                                      </a:cubicBezTo>
                                                      <a:cubicBezTo>
                                                        <a:pt x="1948236" y="57284"/>
                                                        <a:pt x="1950309" y="56572"/>
                                                        <a:pt x="1951605" y="54952"/>
                                                      </a:cubicBezTo>
                                                      <a:cubicBezTo>
                                                        <a:pt x="1953808" y="52361"/>
                                                        <a:pt x="1953160" y="48538"/>
                                                        <a:pt x="1952447" y="45234"/>
                                                      </a:cubicBezTo>
                                                      <a:cubicBezTo>
                                                        <a:pt x="1938000" y="48150"/>
                                                        <a:pt x="1923164" y="43809"/>
                                                        <a:pt x="1909624" y="38043"/>
                                                      </a:cubicBezTo>
                                                      <a:cubicBezTo>
                                                        <a:pt x="1907227" y="37007"/>
                                                        <a:pt x="1904441" y="35840"/>
                                                        <a:pt x="1901980" y="36747"/>
                                                      </a:cubicBezTo>
                                                      <a:cubicBezTo>
                                                        <a:pt x="1898027" y="38173"/>
                                                        <a:pt x="1896926" y="43679"/>
                                                        <a:pt x="1893104" y="45364"/>
                                                      </a:cubicBezTo>
                                                      <a:cubicBezTo>
                                                        <a:pt x="1887208" y="48085"/>
                                                        <a:pt x="1882220" y="38108"/>
                                                        <a:pt x="1886171" y="32925"/>
                                                      </a:cubicBezTo>
                                                      <a:cubicBezTo>
                                                        <a:pt x="1890058" y="27742"/>
                                                        <a:pt x="1897444" y="27030"/>
                                                        <a:pt x="1903988" y="26965"/>
                                                      </a:cubicBezTo>
                                                      <a:cubicBezTo>
                                                        <a:pt x="1910466" y="26965"/>
                                                        <a:pt x="1917787" y="26706"/>
                                                        <a:pt x="1922193" y="21976"/>
                                                      </a:cubicBezTo>
                                                      <a:cubicBezTo>
                                                        <a:pt x="1924783" y="17247"/>
                                                        <a:pt x="1920378" y="11416"/>
                                                        <a:pt x="1915390" y="9473"/>
                                                      </a:cubicBezTo>
                                                      <a:cubicBezTo>
                                                        <a:pt x="1910401" y="7529"/>
                                                        <a:pt x="1904765" y="7723"/>
                                                        <a:pt x="1899776" y="5845"/>
                                                      </a:cubicBezTo>
                                                      <a:cubicBezTo>
                                                        <a:pt x="1895630" y="4290"/>
                                                        <a:pt x="1892067" y="1310"/>
                                                        <a:pt x="1887726" y="338"/>
                                                      </a:cubicBezTo>
                                                      <a:cubicBezTo>
                                                        <a:pt x="1884034" y="-440"/>
                                                        <a:pt x="1880211" y="273"/>
                                                        <a:pt x="1876518" y="986"/>
                                                      </a:cubicBezTo>
                                                      <a:cubicBezTo>
                                                        <a:pt x="1866995" y="2929"/>
                                                        <a:pt x="1857407" y="4808"/>
                                                        <a:pt x="1847818" y="6687"/>
                                                      </a:cubicBezTo>
                                                      <a:cubicBezTo>
                                                        <a:pt x="1846134" y="7011"/>
                                                        <a:pt x="1844320" y="7464"/>
                                                        <a:pt x="1843218" y="8695"/>
                                                      </a:cubicBezTo>
                                                      <a:cubicBezTo>
                                                        <a:pt x="1842053" y="9991"/>
                                                        <a:pt x="1841858" y="11740"/>
                                                        <a:pt x="1841275" y="13295"/>
                                                      </a:cubicBezTo>
                                                      <a:cubicBezTo>
                                                        <a:pt x="1838749" y="20162"/>
                                                        <a:pt x="1830132" y="22171"/>
                                                        <a:pt x="1822876" y="23078"/>
                                                      </a:cubicBezTo>
                                                      <a:cubicBezTo>
                                                        <a:pt x="1825532" y="26770"/>
                                                        <a:pt x="1823523" y="32018"/>
                                                        <a:pt x="1820414" y="35257"/>
                                                      </a:cubicBezTo>
                                                      <a:cubicBezTo>
                                                        <a:pt x="1817304" y="38561"/>
                                                        <a:pt x="1813158" y="40764"/>
                                                        <a:pt x="1810372" y="44327"/>
                                                      </a:cubicBezTo>
                                                      <a:cubicBezTo>
                                                        <a:pt x="1804412" y="51972"/>
                                                        <a:pt x="1806485" y="62856"/>
                                                        <a:pt x="1808818" y="72250"/>
                                                      </a:cubicBezTo>
                                                      <a:cubicBezTo>
                                                        <a:pt x="1800071" y="72250"/>
                                                        <a:pt x="1792232" y="73092"/>
                                                        <a:pt x="1783616" y="74712"/>
                                                      </a:cubicBezTo>
                                                      <a:cubicBezTo>
                                                        <a:pt x="1778498" y="75619"/>
                                                        <a:pt x="1773444" y="76591"/>
                                                        <a:pt x="1768326" y="77562"/>
                                                      </a:cubicBezTo>
                                                      <a:cubicBezTo>
                                                        <a:pt x="1784782" y="75748"/>
                                                        <a:pt x="1802209" y="88058"/>
                                                        <a:pt x="1804866" y="104578"/>
                                                      </a:cubicBezTo>
                                                      <a:cubicBezTo>
                                                        <a:pt x="1807716" y="121811"/>
                                                        <a:pt x="1796703" y="137943"/>
                                                        <a:pt x="1786336" y="151936"/>
                                                      </a:cubicBezTo>
                                                      <a:cubicBezTo>
                                                        <a:pt x="1784199" y="154787"/>
                                                        <a:pt x="1781996" y="157702"/>
                                                        <a:pt x="1778952" y="159711"/>
                                                      </a:cubicBezTo>
                                                      <a:cubicBezTo>
                                                        <a:pt x="1774093" y="162885"/>
                                                        <a:pt x="1767614" y="163144"/>
                                                        <a:pt x="1762949" y="166643"/>
                                                      </a:cubicBezTo>
                                                      <a:cubicBezTo>
                                                        <a:pt x="1756924" y="171048"/>
                                                        <a:pt x="1755304" y="179470"/>
                                                        <a:pt x="1749992" y="184653"/>
                                                      </a:cubicBezTo>
                                                      <a:cubicBezTo>
                                                        <a:pt x="1743384" y="191002"/>
                                                        <a:pt x="1733083" y="191002"/>
                                                        <a:pt x="1723883" y="190549"/>
                                                      </a:cubicBezTo>
                                                      <a:cubicBezTo>
                                                        <a:pt x="1721421" y="190419"/>
                                                        <a:pt x="1718636" y="190095"/>
                                                        <a:pt x="1717146" y="188152"/>
                                                      </a:cubicBezTo>
                                                      <a:cubicBezTo>
                                                        <a:pt x="1714554" y="184718"/>
                                                        <a:pt x="1718182" y="179600"/>
                                                        <a:pt x="1716757" y="175518"/>
                                                      </a:cubicBezTo>
                                                      <a:cubicBezTo>
                                                        <a:pt x="1715785" y="172603"/>
                                                        <a:pt x="1712611" y="171048"/>
                                                        <a:pt x="1711056" y="168327"/>
                                                      </a:cubicBezTo>
                                                      <a:cubicBezTo>
                                                        <a:pt x="1706974" y="161266"/>
                                                        <a:pt x="1716562" y="154269"/>
                                                        <a:pt x="1724402" y="151742"/>
                                                      </a:cubicBezTo>
                                                      <a:cubicBezTo>
                                                        <a:pt x="1739237" y="147077"/>
                                                        <a:pt x="1755175" y="142607"/>
                                                        <a:pt x="1765670" y="131140"/>
                                                      </a:cubicBezTo>
                                                      <a:cubicBezTo>
                                                        <a:pt x="1776165" y="119608"/>
                                                        <a:pt x="1777461" y="98164"/>
                                                        <a:pt x="1763921" y="90390"/>
                                                      </a:cubicBezTo>
                                                      <a:cubicBezTo>
                                                        <a:pt x="1751288" y="83069"/>
                                                        <a:pt x="1735545" y="91750"/>
                                                        <a:pt x="1724207" y="101015"/>
                                                      </a:cubicBezTo>
                                                      <a:cubicBezTo>
                                                        <a:pt x="1712935" y="110279"/>
                                                        <a:pt x="1699848" y="121163"/>
                                                        <a:pt x="1685595" y="118118"/>
                                                      </a:cubicBezTo>
                                                      <a:cubicBezTo>
                                                        <a:pt x="1679311" y="116823"/>
                                                        <a:pt x="1673998" y="112935"/>
                                                        <a:pt x="1668038" y="110668"/>
                                                      </a:cubicBezTo>
                                                      <a:cubicBezTo>
                                                        <a:pt x="1659745" y="107429"/>
                                                        <a:pt x="1650611" y="107429"/>
                                                        <a:pt x="1641670" y="107429"/>
                                                      </a:cubicBezTo>
                                                      <a:cubicBezTo>
                                                        <a:pt x="1631499" y="107429"/>
                                                        <a:pt x="1621198" y="107493"/>
                                                        <a:pt x="1611415" y="110344"/>
                                                      </a:cubicBezTo>
                                                      <a:cubicBezTo>
                                                        <a:pt x="1597746" y="114361"/>
                                                        <a:pt x="1586343" y="123495"/>
                                                        <a:pt x="1574034" y="130622"/>
                                                      </a:cubicBezTo>
                                                      <a:cubicBezTo>
                                                        <a:pt x="1555505" y="141376"/>
                                                        <a:pt x="1534709" y="147596"/>
                                                        <a:pt x="1513848" y="152260"/>
                                                      </a:cubicBezTo>
                                                      <a:cubicBezTo>
                                                        <a:pt x="1508341" y="153426"/>
                                                        <a:pt x="1502316" y="154917"/>
                                                        <a:pt x="1499206" y="159516"/>
                                                      </a:cubicBezTo>
                                                      <a:cubicBezTo>
                                                        <a:pt x="1497652" y="161849"/>
                                                        <a:pt x="1497068" y="164634"/>
                                                        <a:pt x="1496486" y="167355"/>
                                                      </a:cubicBezTo>
                                                      <a:cubicBezTo>
                                                        <a:pt x="1493959" y="180248"/>
                                                        <a:pt x="1492404" y="193270"/>
                                                        <a:pt x="1491756" y="206356"/>
                                                      </a:cubicBezTo>
                                                      <a:cubicBezTo>
                                                        <a:pt x="1491562" y="209401"/>
                                                        <a:pt x="1491367" y="212641"/>
                                                        <a:pt x="1489294" y="214843"/>
                                                      </a:cubicBezTo>
                                                      <a:cubicBezTo>
                                                        <a:pt x="1487610" y="216528"/>
                                                        <a:pt x="1485213" y="217111"/>
                                                        <a:pt x="1482945" y="217564"/>
                                                      </a:cubicBezTo>
                                                      <a:cubicBezTo>
                                                        <a:pt x="1464870" y="221451"/>
                                                        <a:pt x="1446601" y="224043"/>
                                                        <a:pt x="1428201" y="225209"/>
                                                      </a:cubicBezTo>
                                                      <a:cubicBezTo>
                                                        <a:pt x="1419585" y="225727"/>
                                                        <a:pt x="1410709" y="226051"/>
                                                        <a:pt x="1403064" y="229938"/>
                                                      </a:cubicBezTo>
                                                      <a:cubicBezTo>
                                                        <a:pt x="1398270" y="232400"/>
                                                        <a:pt x="1394189" y="236158"/>
                                                        <a:pt x="1389136" y="237972"/>
                                                      </a:cubicBezTo>
                                                      <a:cubicBezTo>
                                                        <a:pt x="1382074" y="240628"/>
                                                        <a:pt x="1374235" y="239203"/>
                                                        <a:pt x="1366849" y="237648"/>
                                                      </a:cubicBezTo>
                                                      <a:cubicBezTo>
                                                        <a:pt x="1359464" y="236158"/>
                                                        <a:pt x="1351624" y="234668"/>
                                                        <a:pt x="1344498" y="237130"/>
                                                      </a:cubicBezTo>
                                                      <a:cubicBezTo>
                                                        <a:pt x="1337372" y="239591"/>
                                                        <a:pt x="1331606" y="247690"/>
                                                        <a:pt x="1334521" y="254622"/>
                                                      </a:cubicBezTo>
                                                      <a:cubicBezTo>
                                                        <a:pt x="1336724" y="259999"/>
                                                        <a:pt x="1343332" y="263821"/>
                                                        <a:pt x="1342620" y="269522"/>
                                                      </a:cubicBezTo>
                                                      <a:cubicBezTo>
                                                        <a:pt x="1342295" y="272179"/>
                                                        <a:pt x="1340352" y="274511"/>
                                                        <a:pt x="1340417" y="277167"/>
                                                      </a:cubicBezTo>
                                                      <a:cubicBezTo>
                                                        <a:pt x="1340417" y="279953"/>
                                                        <a:pt x="1342749" y="282156"/>
                                                        <a:pt x="1344887" y="283840"/>
                                                      </a:cubicBezTo>
                                                      <a:cubicBezTo>
                                                        <a:pt x="1355771" y="292457"/>
                                                        <a:pt x="1369570" y="297316"/>
                                                        <a:pt x="1383370" y="297380"/>
                                                      </a:cubicBezTo>
                                                      <a:cubicBezTo>
                                                        <a:pt x="1386026" y="308264"/>
                                                        <a:pt x="1386609" y="323295"/>
                                                        <a:pt x="1376049" y="326987"/>
                                                      </a:cubicBezTo>
                                                      <a:cubicBezTo>
                                                        <a:pt x="1372227" y="328283"/>
                                                        <a:pt x="1367951" y="327506"/>
                                                        <a:pt x="1364193" y="325951"/>
                                                      </a:cubicBezTo>
                                                      <a:cubicBezTo>
                                                        <a:pt x="1346895" y="318889"/>
                                                        <a:pt x="1338149" y="297769"/>
                                                        <a:pt x="1320398" y="291809"/>
                                                      </a:cubicBezTo>
                                                      <a:cubicBezTo>
                                                        <a:pt x="1305108" y="286691"/>
                                                        <a:pt x="1285737" y="293947"/>
                                                        <a:pt x="1273493" y="283387"/>
                                                      </a:cubicBezTo>
                                                      <a:cubicBezTo>
                                                        <a:pt x="1271744" y="281897"/>
                                                        <a:pt x="1270189" y="280083"/>
                                                        <a:pt x="1267921" y="279564"/>
                                                      </a:cubicBezTo>
                                                      <a:cubicBezTo>
                                                        <a:pt x="1265719" y="279046"/>
                                                        <a:pt x="1263516" y="280018"/>
                                                        <a:pt x="1261443" y="280990"/>
                                                      </a:cubicBezTo>
                                                      <a:cubicBezTo>
                                                        <a:pt x="1258463" y="282350"/>
                                                        <a:pt x="1255418" y="283775"/>
                                                        <a:pt x="1252438" y="285136"/>
                                                      </a:cubicBezTo>
                                                      <a:cubicBezTo>
                                                        <a:pt x="1250948" y="285848"/>
                                                        <a:pt x="1249263" y="286691"/>
                                                        <a:pt x="1248680" y="288246"/>
                                                      </a:cubicBezTo>
                                                      <a:cubicBezTo>
                                                        <a:pt x="1248162" y="289671"/>
                                                        <a:pt x="1248680" y="291226"/>
                                                        <a:pt x="1249393" y="292586"/>
                                                      </a:cubicBezTo>
                                                      <a:cubicBezTo>
                                                        <a:pt x="1252567" y="298417"/>
                                                        <a:pt x="1259176" y="301462"/>
                                                        <a:pt x="1265460" y="303794"/>
                                                      </a:cubicBezTo>
                                                      <a:cubicBezTo>
                                                        <a:pt x="1271679" y="306126"/>
                                                        <a:pt x="1278417" y="308459"/>
                                                        <a:pt x="1282498" y="313706"/>
                                                      </a:cubicBezTo>
                                                      <a:cubicBezTo>
                                                        <a:pt x="1286580" y="319019"/>
                                                        <a:pt x="1286256" y="328218"/>
                                                        <a:pt x="1280166" y="330939"/>
                                                      </a:cubicBezTo>
                                                      <a:cubicBezTo>
                                                        <a:pt x="1268440" y="325109"/>
                                                        <a:pt x="1256714" y="319278"/>
                                                        <a:pt x="1244923" y="313512"/>
                                                      </a:cubicBezTo>
                                                      <a:cubicBezTo>
                                                        <a:pt x="1239027" y="310532"/>
                                                        <a:pt x="1229309" y="309236"/>
                                                        <a:pt x="1228014" y="315715"/>
                                                      </a:cubicBezTo>
                                                      <a:cubicBezTo>
                                                        <a:pt x="1227365" y="318954"/>
                                                        <a:pt x="1229633" y="321934"/>
                                                        <a:pt x="1231771" y="324396"/>
                                                      </a:cubicBezTo>
                                                      <a:cubicBezTo>
                                                        <a:pt x="1241877" y="336252"/>
                                                        <a:pt x="1254446" y="348820"/>
                                                        <a:pt x="1270059" y="348237"/>
                                                      </a:cubicBezTo>
                                                      <a:cubicBezTo>
                                                        <a:pt x="1266431" y="353031"/>
                                                        <a:pt x="1274011" y="358279"/>
                                                        <a:pt x="1279842" y="359251"/>
                                                      </a:cubicBezTo>
                                                      <a:cubicBezTo>
                                                        <a:pt x="1285737" y="360287"/>
                                                        <a:pt x="1293706" y="364174"/>
                                                        <a:pt x="1291245" y="369616"/>
                                                      </a:cubicBezTo>
                                                      <a:cubicBezTo>
                                                        <a:pt x="1272586" y="369163"/>
                                                        <a:pt x="1253409" y="361000"/>
                                                        <a:pt x="1241359" y="346812"/>
                                                      </a:cubicBezTo>
                                                      <a:cubicBezTo>
                                                        <a:pt x="1234946" y="347848"/>
                                                        <a:pt x="1228273" y="348950"/>
                                                        <a:pt x="1221924" y="347524"/>
                                                      </a:cubicBezTo>
                                                      <a:cubicBezTo>
                                                        <a:pt x="1215510" y="346099"/>
                                                        <a:pt x="1209355" y="341629"/>
                                                        <a:pt x="1207930" y="335280"/>
                                                      </a:cubicBezTo>
                                                      <a:cubicBezTo>
                                                        <a:pt x="1206958" y="330810"/>
                                                        <a:pt x="1208383" y="326275"/>
                                                        <a:pt x="1208643" y="321740"/>
                                                      </a:cubicBezTo>
                                                      <a:cubicBezTo>
                                                        <a:pt x="1208902" y="317205"/>
                                                        <a:pt x="1207476" y="311892"/>
                                                        <a:pt x="1203201" y="310337"/>
                                                      </a:cubicBezTo>
                                                      <a:cubicBezTo>
                                                        <a:pt x="1209614" y="302758"/>
                                                        <a:pt x="1216028" y="293947"/>
                                                        <a:pt x="1215380" y="284034"/>
                                                      </a:cubicBezTo>
                                                      <a:cubicBezTo>
                                                        <a:pt x="1214732" y="274187"/>
                                                        <a:pt x="1202747" y="265311"/>
                                                        <a:pt x="1194778" y="271142"/>
                                                      </a:cubicBezTo>
                                                      <a:cubicBezTo>
                                                        <a:pt x="1195815" y="277945"/>
                                                        <a:pt x="1196916" y="284747"/>
                                                        <a:pt x="1197953" y="291485"/>
                                                      </a:cubicBezTo>
                                                      <a:cubicBezTo>
                                                        <a:pt x="1198277" y="293623"/>
                                                        <a:pt x="1198665" y="295890"/>
                                                        <a:pt x="1198147" y="298028"/>
                                                      </a:cubicBezTo>
                                                      <a:cubicBezTo>
                                                        <a:pt x="1197176" y="301915"/>
                                                        <a:pt x="1193612" y="304507"/>
                                                        <a:pt x="1190373" y="306839"/>
                                                      </a:cubicBezTo>
                                                      <a:cubicBezTo>
                                                        <a:pt x="1179942" y="314095"/>
                                                        <a:pt x="1169577" y="321286"/>
                                                        <a:pt x="1159211" y="328542"/>
                                                      </a:cubicBezTo>
                                                      <a:cubicBezTo>
                                                        <a:pt x="1154611" y="331717"/>
                                                        <a:pt x="1149493" y="337612"/>
                                                        <a:pt x="1152927" y="342082"/>
                                                      </a:cubicBezTo>
                                                      <a:cubicBezTo>
                                                        <a:pt x="1155000" y="344739"/>
                                                        <a:pt x="1159146" y="344933"/>
                                                        <a:pt x="1161479" y="347395"/>
                                                      </a:cubicBezTo>
                                                      <a:cubicBezTo>
                                                        <a:pt x="1164135" y="350310"/>
                                                        <a:pt x="1163293" y="355104"/>
                                                        <a:pt x="1165236" y="358473"/>
                                                      </a:cubicBezTo>
                                                      <a:cubicBezTo>
                                                        <a:pt x="1166921" y="361389"/>
                                                        <a:pt x="1170289" y="362814"/>
                                                        <a:pt x="1173075" y="364693"/>
                                                      </a:cubicBezTo>
                                                      <a:cubicBezTo>
                                                        <a:pt x="1179878" y="369293"/>
                                                        <a:pt x="1183441" y="378168"/>
                                                        <a:pt x="1181821" y="386202"/>
                                                      </a:cubicBezTo>
                                                      <a:cubicBezTo>
                                                        <a:pt x="1180137" y="394235"/>
                                                        <a:pt x="1173334" y="400973"/>
                                                        <a:pt x="1165236" y="402528"/>
                                                      </a:cubicBezTo>
                                                      <a:cubicBezTo>
                                                        <a:pt x="1166078" y="421251"/>
                                                        <a:pt x="1166921" y="439909"/>
                                                        <a:pt x="1167763" y="458632"/>
                                                      </a:cubicBezTo>
                                                      <a:cubicBezTo>
                                                        <a:pt x="1184737" y="447359"/>
                                                        <a:pt x="1205533" y="441917"/>
                                                        <a:pt x="1225876" y="443602"/>
                                                      </a:cubicBezTo>
                                                      <a:cubicBezTo>
                                                        <a:pt x="1228985" y="443861"/>
                                                        <a:pt x="1232224" y="444314"/>
                                                        <a:pt x="1234881" y="445999"/>
                                                      </a:cubicBezTo>
                                                      <a:cubicBezTo>
                                                        <a:pt x="1237731" y="447878"/>
                                                        <a:pt x="1239545" y="451052"/>
                                                        <a:pt x="1241942" y="453514"/>
                                                      </a:cubicBezTo>
                                                      <a:cubicBezTo>
                                                        <a:pt x="1246996" y="458762"/>
                                                        <a:pt x="1254576" y="460835"/>
                                                        <a:pt x="1260730" y="464787"/>
                                                      </a:cubicBezTo>
                                                      <a:cubicBezTo>
                                                        <a:pt x="1266950" y="468739"/>
                                                        <a:pt x="1272068" y="476772"/>
                                                        <a:pt x="1268570" y="483186"/>
                                                      </a:cubicBezTo>
                                                      <a:cubicBezTo>
                                                        <a:pt x="1267209" y="485712"/>
                                                        <a:pt x="1264812" y="487462"/>
                                                        <a:pt x="1263062" y="489664"/>
                                                      </a:cubicBezTo>
                                                      <a:cubicBezTo>
                                                        <a:pt x="1257945" y="496272"/>
                                                        <a:pt x="1259564" y="506249"/>
                                                        <a:pt x="1264747" y="512793"/>
                                                      </a:cubicBezTo>
                                                      <a:cubicBezTo>
                                                        <a:pt x="1269865" y="519336"/>
                                                        <a:pt x="1277704" y="523159"/>
                                                        <a:pt x="1285414" y="526333"/>
                                                      </a:cubicBezTo>
                                                      <a:cubicBezTo>
                                                        <a:pt x="1287746" y="527240"/>
                                                        <a:pt x="1290337" y="528406"/>
                                                        <a:pt x="1291309" y="530674"/>
                                                      </a:cubicBezTo>
                                                      <a:cubicBezTo>
                                                        <a:pt x="1292929" y="534431"/>
                                                        <a:pt x="1289301" y="538448"/>
                                                        <a:pt x="1285543" y="540068"/>
                                                      </a:cubicBezTo>
                                                      <a:cubicBezTo>
                                                        <a:pt x="1273104" y="545380"/>
                                                        <a:pt x="1258139" y="536893"/>
                                                        <a:pt x="1251920" y="524843"/>
                                                      </a:cubicBezTo>
                                                      <a:cubicBezTo>
                                                        <a:pt x="1245700" y="512793"/>
                                                        <a:pt x="1246154" y="498475"/>
                                                        <a:pt x="1247643" y="485000"/>
                                                      </a:cubicBezTo>
                                                      <a:cubicBezTo>
                                                        <a:pt x="1248227" y="480011"/>
                                                        <a:pt x="1248680" y="474310"/>
                                                        <a:pt x="1245311" y="470553"/>
                                                      </a:cubicBezTo>
                                                      <a:cubicBezTo>
                                                        <a:pt x="1236241" y="468803"/>
                                                        <a:pt x="1227236" y="466989"/>
                                                        <a:pt x="1218166" y="465175"/>
                                                      </a:cubicBezTo>
                                                      <a:cubicBezTo>
                                                        <a:pt x="1217324" y="465046"/>
                                                        <a:pt x="1216546" y="464851"/>
                                                        <a:pt x="1215704" y="464722"/>
                                                      </a:cubicBezTo>
                                                      <a:cubicBezTo>
                                                        <a:pt x="1209614" y="463491"/>
                                                        <a:pt x="1203201" y="462325"/>
                                                        <a:pt x="1197176" y="463880"/>
                                                      </a:cubicBezTo>
                                                      <a:cubicBezTo>
                                                        <a:pt x="1191086" y="465434"/>
                                                        <a:pt x="1185514" y="470617"/>
                                                        <a:pt x="1185643" y="476837"/>
                                                      </a:cubicBezTo>
                                                      <a:cubicBezTo>
                                                        <a:pt x="1185643" y="482603"/>
                                                        <a:pt x="1190438" y="487202"/>
                                                        <a:pt x="1192511" y="492580"/>
                                                      </a:cubicBezTo>
                                                      <a:cubicBezTo>
                                                        <a:pt x="1196398" y="502686"/>
                                                        <a:pt x="1190827" y="513765"/>
                                                        <a:pt x="1185384" y="523094"/>
                                                      </a:cubicBezTo>
                                                      <a:cubicBezTo>
                                                        <a:pt x="1183311" y="526592"/>
                                                        <a:pt x="1181303" y="530026"/>
                                                        <a:pt x="1179295" y="533524"/>
                                                      </a:cubicBezTo>
                                                      <a:cubicBezTo>
                                                        <a:pt x="1173140" y="544084"/>
                                                        <a:pt x="1166726" y="555033"/>
                                                        <a:pt x="1156555" y="561836"/>
                                                      </a:cubicBezTo>
                                                      <a:cubicBezTo>
                                                        <a:pt x="1150141" y="566176"/>
                                                        <a:pt x="1142367" y="568768"/>
                                                        <a:pt x="1137573" y="574793"/>
                                                      </a:cubicBezTo>
                                                      <a:cubicBezTo>
                                                        <a:pt x="1133945" y="579328"/>
                                                        <a:pt x="1131936" y="585742"/>
                                                        <a:pt x="1126559" y="587815"/>
                                                      </a:cubicBezTo>
                                                      <a:cubicBezTo>
                                                        <a:pt x="1121376" y="589823"/>
                                                        <a:pt x="1115351" y="586519"/>
                                                        <a:pt x="1112436" y="581854"/>
                                                      </a:cubicBezTo>
                                                      <a:cubicBezTo>
                                                        <a:pt x="1109455" y="577125"/>
                                                        <a:pt x="1108873" y="571424"/>
                                                        <a:pt x="1108354" y="565917"/>
                                                      </a:cubicBezTo>
                                                      <a:cubicBezTo>
                                                        <a:pt x="1108030" y="562678"/>
                                                        <a:pt x="1107771" y="559309"/>
                                                        <a:pt x="1108937" y="556329"/>
                                                      </a:cubicBezTo>
                                                      <a:cubicBezTo>
                                                        <a:pt x="1110427" y="552636"/>
                                                        <a:pt x="1113861" y="550174"/>
                                                        <a:pt x="1116517" y="547194"/>
                                                      </a:cubicBezTo>
                                                      <a:cubicBezTo>
                                                        <a:pt x="1120599" y="542529"/>
                                                        <a:pt x="1122607" y="536504"/>
                                                        <a:pt x="1125069" y="530868"/>
                                                      </a:cubicBezTo>
                                                      <a:cubicBezTo>
                                                        <a:pt x="1131548" y="515773"/>
                                                        <a:pt x="1141395" y="502168"/>
                                                        <a:pt x="1153704" y="491284"/>
                                                      </a:cubicBezTo>
                                                      <a:cubicBezTo>
                                                        <a:pt x="1156231" y="489081"/>
                                                        <a:pt x="1158952" y="486684"/>
                                                        <a:pt x="1159600" y="483380"/>
                                                      </a:cubicBezTo>
                                                      <a:cubicBezTo>
                                                        <a:pt x="1161025" y="475735"/>
                                                        <a:pt x="1150854" y="471978"/>
                                                        <a:pt x="1144829" y="467054"/>
                                                      </a:cubicBezTo>
                                                      <a:cubicBezTo>
                                                        <a:pt x="1136406" y="460187"/>
                                                        <a:pt x="1134917" y="448072"/>
                                                        <a:pt x="1134074" y="437253"/>
                                                      </a:cubicBezTo>
                                                      <a:cubicBezTo>
                                                        <a:pt x="1132843" y="420862"/>
                                                        <a:pt x="1132001" y="402981"/>
                                                        <a:pt x="1141589" y="389635"/>
                                                      </a:cubicBezTo>
                                                      <a:cubicBezTo>
                                                        <a:pt x="1143986" y="386396"/>
                                                        <a:pt x="1146967" y="383351"/>
                                                        <a:pt x="1147679" y="379334"/>
                                                      </a:cubicBezTo>
                                                      <a:cubicBezTo>
                                                        <a:pt x="1148133" y="376678"/>
                                                        <a:pt x="1147420" y="373892"/>
                                                        <a:pt x="1146513" y="371301"/>
                                                      </a:cubicBezTo>
                                                      <a:cubicBezTo>
                                                        <a:pt x="1141654" y="357761"/>
                                                        <a:pt x="1130252" y="346812"/>
                                                        <a:pt x="1116582" y="342406"/>
                                                      </a:cubicBezTo>
                                                      <a:cubicBezTo>
                                                        <a:pt x="1119044" y="329773"/>
                                                        <a:pt x="1126689" y="318112"/>
                                                        <a:pt x="1137378" y="310856"/>
                                                      </a:cubicBezTo>
                                                      <a:cubicBezTo>
                                                        <a:pt x="1130446" y="299130"/>
                                                        <a:pt x="1150789" y="283127"/>
                                                        <a:pt x="1142302" y="272503"/>
                                                      </a:cubicBezTo>
                                                      <a:cubicBezTo>
                                                        <a:pt x="1140618" y="270429"/>
                                                        <a:pt x="1138156" y="269199"/>
                                                        <a:pt x="1135759" y="268162"/>
                                                      </a:cubicBezTo>
                                                      <a:cubicBezTo>
                                                        <a:pt x="1120534" y="261619"/>
                                                        <a:pt x="1103107" y="260323"/>
                                                        <a:pt x="1087105" y="264534"/>
                                                      </a:cubicBezTo>
                                                      <a:cubicBezTo>
                                                        <a:pt x="1084837" y="265117"/>
                                                        <a:pt x="1082570" y="265894"/>
                                                        <a:pt x="1080691" y="267255"/>
                                                      </a:cubicBezTo>
                                                      <a:cubicBezTo>
                                                        <a:pt x="1076804" y="270235"/>
                                                        <a:pt x="1075443" y="275353"/>
                                                        <a:pt x="1074277" y="280147"/>
                                                      </a:cubicBezTo>
                                                      <a:cubicBezTo>
                                                        <a:pt x="1071362" y="292327"/>
                                                        <a:pt x="1067798" y="304766"/>
                                                        <a:pt x="1060542" y="315002"/>
                                                      </a:cubicBezTo>
                                                      <a:cubicBezTo>
                                                        <a:pt x="1054388" y="323683"/>
                                                        <a:pt x="1045836" y="330356"/>
                                                        <a:pt x="1037414" y="336835"/>
                                                      </a:cubicBezTo>
                                                      <a:cubicBezTo>
                                                        <a:pt x="1027826" y="344285"/>
                                                        <a:pt x="1018237" y="351736"/>
                                                        <a:pt x="1008714" y="359121"/>
                                                      </a:cubicBezTo>
                                                      <a:cubicBezTo>
                                                        <a:pt x="1004114" y="362684"/>
                                                        <a:pt x="999320" y="366507"/>
                                                        <a:pt x="997571" y="372013"/>
                                                      </a:cubicBezTo>
                                                      <a:cubicBezTo>
                                                        <a:pt x="995433" y="378686"/>
                                                        <a:pt x="998283" y="385878"/>
                                                        <a:pt x="999385" y="392810"/>
                                                      </a:cubicBezTo>
                                                      <a:cubicBezTo>
                                                        <a:pt x="1000486" y="399742"/>
                                                        <a:pt x="998218" y="408747"/>
                                                        <a:pt x="991286" y="410107"/>
                                                      </a:cubicBezTo>
                                                      <a:cubicBezTo>
                                                        <a:pt x="986492" y="416262"/>
                                                        <a:pt x="995433" y="424296"/>
                                                        <a:pt x="1003207" y="425332"/>
                                                      </a:cubicBezTo>
                                                      <a:cubicBezTo>
                                                        <a:pt x="1010981" y="426369"/>
                                                        <a:pt x="1020634" y="426045"/>
                                                        <a:pt x="1024457" y="432912"/>
                                                      </a:cubicBezTo>
                                                      <a:cubicBezTo>
                                                        <a:pt x="1026659" y="436929"/>
                                                        <a:pt x="1025817" y="441852"/>
                                                        <a:pt x="1026595" y="446323"/>
                                                      </a:cubicBezTo>
                                                      <a:cubicBezTo>
                                                        <a:pt x="1027437" y="450793"/>
                                                        <a:pt x="1031713" y="455587"/>
                                                        <a:pt x="1035859" y="453643"/>
                                                      </a:cubicBezTo>
                                                      <a:cubicBezTo>
                                                        <a:pt x="1040653" y="460316"/>
                                                        <a:pt x="1045188" y="467119"/>
                                                        <a:pt x="1049529" y="474116"/>
                                                      </a:cubicBezTo>
                                                      <a:cubicBezTo>
                                                        <a:pt x="1042661" y="475347"/>
                                                        <a:pt x="1037997" y="483445"/>
                                                        <a:pt x="1040264" y="490053"/>
                                                      </a:cubicBezTo>
                                                      <a:cubicBezTo>
                                                        <a:pt x="1031259" y="491414"/>
                                                        <a:pt x="1023161" y="485000"/>
                                                        <a:pt x="1015970" y="479493"/>
                                                      </a:cubicBezTo>
                                                      <a:cubicBezTo>
                                                        <a:pt x="999255" y="466795"/>
                                                        <a:pt x="980597" y="457012"/>
                                                        <a:pt x="962003" y="447294"/>
                                                      </a:cubicBezTo>
                                                      <a:cubicBezTo>
                                                        <a:pt x="953905" y="443019"/>
                                                        <a:pt x="945742" y="438743"/>
                                                        <a:pt x="936996" y="436216"/>
                                                      </a:cubicBezTo>
                                                      <a:cubicBezTo>
                                                        <a:pt x="924427" y="432653"/>
                                                        <a:pt x="911211" y="432718"/>
                                                        <a:pt x="898189" y="433430"/>
                                                      </a:cubicBezTo>
                                                      <a:cubicBezTo>
                                                        <a:pt x="890674" y="433884"/>
                                                        <a:pt x="881993" y="434013"/>
                                                        <a:pt x="877005" y="428377"/>
                                                      </a:cubicBezTo>
                                                      <a:cubicBezTo>
                                                        <a:pt x="875061" y="426174"/>
                                                        <a:pt x="873895" y="423194"/>
                                                        <a:pt x="871692" y="421186"/>
                                                      </a:cubicBezTo>
                                                      <a:cubicBezTo>
                                                        <a:pt x="867222" y="417299"/>
                                                        <a:pt x="860549" y="418465"/>
                                                        <a:pt x="854589" y="418400"/>
                                                      </a:cubicBezTo>
                                                      <a:cubicBezTo>
                                                        <a:pt x="844223" y="418270"/>
                                                        <a:pt x="834440" y="413606"/>
                                                        <a:pt x="825694" y="407905"/>
                                                      </a:cubicBezTo>
                                                      <a:cubicBezTo>
                                                        <a:pt x="813061" y="399742"/>
                                                        <a:pt x="798420" y="388858"/>
                                                        <a:pt x="784620" y="394818"/>
                                                      </a:cubicBezTo>
                                                      <a:cubicBezTo>
                                                        <a:pt x="784620" y="403499"/>
                                                        <a:pt x="791423" y="411014"/>
                                                        <a:pt x="799456" y="414448"/>
                                                      </a:cubicBezTo>
                                                      <a:cubicBezTo>
                                                        <a:pt x="807489" y="417817"/>
                                                        <a:pt x="816430" y="417882"/>
                                                        <a:pt x="825176" y="417947"/>
                                                      </a:cubicBezTo>
                                                      <a:cubicBezTo>
                                                        <a:pt x="823815" y="424619"/>
                                                        <a:pt x="826018" y="431552"/>
                                                        <a:pt x="829063" y="437641"/>
                                                      </a:cubicBezTo>
                                                      <a:cubicBezTo>
                                                        <a:pt x="832043" y="443537"/>
                                                        <a:pt x="835930" y="448914"/>
                                                        <a:pt x="840401" y="453708"/>
                                                      </a:cubicBezTo>
                                                      <a:cubicBezTo>
                                                        <a:pt x="842798" y="456170"/>
                                                        <a:pt x="845324" y="458502"/>
                                                        <a:pt x="847915" y="460835"/>
                                                      </a:cubicBezTo>
                                                      <a:cubicBezTo>
                                                        <a:pt x="840206" y="468091"/>
                                                        <a:pt x="830359" y="473079"/>
                                                        <a:pt x="819993" y="475088"/>
                                                      </a:cubicBezTo>
                                                      <a:lnTo>
                                                        <a:pt x="820187" y="490247"/>
                                                      </a:lnTo>
                                                      <a:cubicBezTo>
                                                        <a:pt x="809627" y="495495"/>
                                                        <a:pt x="799326" y="478780"/>
                                                        <a:pt x="787600" y="480206"/>
                                                      </a:cubicBezTo>
                                                      <a:cubicBezTo>
                                                        <a:pt x="792589" y="475606"/>
                                                        <a:pt x="797512" y="471071"/>
                                                        <a:pt x="802436" y="466471"/>
                                                      </a:cubicBezTo>
                                                      <a:cubicBezTo>
                                                        <a:pt x="800817" y="460316"/>
                                                        <a:pt x="794014" y="456688"/>
                                                        <a:pt x="787665" y="456624"/>
                                                      </a:cubicBezTo>
                                                      <a:cubicBezTo>
                                                        <a:pt x="781251" y="456559"/>
                                                        <a:pt x="777105" y="460446"/>
                                                        <a:pt x="770756" y="459928"/>
                                                      </a:cubicBezTo>
                                                      <a:cubicBezTo>
                                                        <a:pt x="766933" y="459604"/>
                                                        <a:pt x="764536" y="463815"/>
                                                        <a:pt x="762852" y="467313"/>
                                                      </a:cubicBezTo>
                                                      <a:cubicBezTo>
                                                        <a:pt x="761168" y="470747"/>
                                                        <a:pt x="757669" y="474634"/>
                                                        <a:pt x="754171" y="473079"/>
                                                      </a:cubicBezTo>
                                                      <a:cubicBezTo>
                                                        <a:pt x="757215" y="477096"/>
                                                        <a:pt x="753652" y="483510"/>
                                                        <a:pt x="748729" y="484741"/>
                                                      </a:cubicBezTo>
                                                      <a:cubicBezTo>
                                                        <a:pt x="743805" y="485972"/>
                                                        <a:pt x="738752" y="483574"/>
                                                        <a:pt x="734605" y="480724"/>
                                                      </a:cubicBezTo>
                                                      <a:cubicBezTo>
                                                        <a:pt x="730395" y="477809"/>
                                                        <a:pt x="726572" y="474310"/>
                                                        <a:pt x="721778" y="472690"/>
                                                      </a:cubicBezTo>
                                                      <a:cubicBezTo>
                                                        <a:pt x="713226" y="469840"/>
                                                        <a:pt x="702861" y="474504"/>
                                                        <a:pt x="699427" y="482797"/>
                                                      </a:cubicBezTo>
                                                      <a:cubicBezTo>
                                                        <a:pt x="698973" y="483963"/>
                                                        <a:pt x="698584" y="485129"/>
                                                        <a:pt x="697807" y="486101"/>
                                                      </a:cubicBezTo>
                                                      <a:cubicBezTo>
                                                        <a:pt x="696058" y="488109"/>
                                                        <a:pt x="692624" y="488369"/>
                                                        <a:pt x="691199" y="490701"/>
                                                      </a:cubicBezTo>
                                                      <a:cubicBezTo>
                                                        <a:pt x="689450" y="493551"/>
                                                        <a:pt x="691782" y="498086"/>
                                                        <a:pt x="689255" y="500354"/>
                                                      </a:cubicBezTo>
                                                      <a:cubicBezTo>
                                                        <a:pt x="688348" y="501131"/>
                                                        <a:pt x="687118" y="501326"/>
                                                        <a:pt x="685951" y="501520"/>
                                                      </a:cubicBezTo>
                                                      <a:cubicBezTo>
                                                        <a:pt x="676169" y="503010"/>
                                                        <a:pt x="665090" y="504241"/>
                                                        <a:pt x="657316" y="498151"/>
                                                      </a:cubicBezTo>
                                                      <a:cubicBezTo>
                                                        <a:pt x="658612" y="494005"/>
                                                        <a:pt x="654789" y="489146"/>
                                                        <a:pt x="650449" y="489405"/>
                                                      </a:cubicBezTo>
                                                      <a:cubicBezTo>
                                                        <a:pt x="648246" y="487008"/>
                                                        <a:pt x="650773" y="482991"/>
                                                        <a:pt x="653883" y="481890"/>
                                                      </a:cubicBezTo>
                                                      <a:cubicBezTo>
                                                        <a:pt x="656927" y="480789"/>
                                                        <a:pt x="660426" y="481177"/>
                                                        <a:pt x="663471" y="479882"/>
                                                      </a:cubicBezTo>
                                                      <a:cubicBezTo>
                                                        <a:pt x="667617" y="478068"/>
                                                        <a:pt x="669884" y="473338"/>
                                                        <a:pt x="670079" y="468803"/>
                                                      </a:cubicBezTo>
                                                      <a:cubicBezTo>
                                                        <a:pt x="670273" y="464268"/>
                                                        <a:pt x="668783" y="459798"/>
                                                        <a:pt x="667358" y="455522"/>
                                                      </a:cubicBezTo>
                                                      <a:cubicBezTo>
                                                        <a:pt x="666904" y="454291"/>
                                                        <a:pt x="666386" y="452931"/>
                                                        <a:pt x="665285" y="452348"/>
                                                      </a:cubicBezTo>
                                                      <a:cubicBezTo>
                                                        <a:pt x="661851" y="450534"/>
                                                        <a:pt x="659908" y="456559"/>
                                                        <a:pt x="656927" y="459021"/>
                                                      </a:cubicBezTo>
                                                      <a:cubicBezTo>
                                                        <a:pt x="655049" y="460511"/>
                                                        <a:pt x="652457" y="460576"/>
                                                        <a:pt x="650125" y="461159"/>
                                                      </a:cubicBezTo>
                                                      <a:cubicBezTo>
                                                        <a:pt x="641184" y="463361"/>
                                                        <a:pt x="635872" y="474699"/>
                                                        <a:pt x="639889" y="482927"/>
                                                      </a:cubicBezTo>
                                                      <a:cubicBezTo>
                                                        <a:pt x="634187" y="487397"/>
                                                        <a:pt x="624470" y="484546"/>
                                                        <a:pt x="622073" y="477744"/>
                                                      </a:cubicBezTo>
                                                      <a:cubicBezTo>
                                                        <a:pt x="621554" y="476383"/>
                                                        <a:pt x="621295" y="474828"/>
                                                        <a:pt x="620259" y="473727"/>
                                                      </a:cubicBezTo>
                                                      <a:cubicBezTo>
                                                        <a:pt x="618315" y="471783"/>
                                                        <a:pt x="615076" y="472626"/>
                                                        <a:pt x="612549" y="473792"/>
                                                      </a:cubicBezTo>
                                                      <a:cubicBezTo>
                                                        <a:pt x="600499" y="479299"/>
                                                        <a:pt x="589615" y="488628"/>
                                                        <a:pt x="576399" y="489600"/>
                                                      </a:cubicBezTo>
                                                      <a:cubicBezTo>
                                                        <a:pt x="574390" y="489729"/>
                                                        <a:pt x="572317" y="489664"/>
                                                        <a:pt x="570439" y="490507"/>
                                                      </a:cubicBezTo>
                                                      <a:cubicBezTo>
                                                        <a:pt x="568042" y="491608"/>
                                                        <a:pt x="566486" y="493875"/>
                                                        <a:pt x="564867" y="495949"/>
                                                      </a:cubicBezTo>
                                                      <a:cubicBezTo>
                                                        <a:pt x="560591" y="501391"/>
                                                        <a:pt x="554955" y="505796"/>
                                                        <a:pt x="548606" y="508582"/>
                                                      </a:cubicBezTo>
                                                      <a:cubicBezTo>
                                                        <a:pt x="546856" y="509359"/>
                                                        <a:pt x="544978" y="510007"/>
                                                        <a:pt x="543552" y="511238"/>
                                                      </a:cubicBezTo>
                                                      <a:cubicBezTo>
                                                        <a:pt x="540896" y="513505"/>
                                                        <a:pt x="539989" y="517069"/>
                                                        <a:pt x="539212" y="520438"/>
                                                      </a:cubicBezTo>
                                                      <a:cubicBezTo>
                                                        <a:pt x="534742" y="521409"/>
                                                        <a:pt x="530206" y="520178"/>
                                                        <a:pt x="525736" y="519919"/>
                                                      </a:cubicBezTo>
                                                      <a:cubicBezTo>
                                                        <a:pt x="521201" y="519660"/>
                                                        <a:pt x="515954" y="520956"/>
                                                        <a:pt x="513945" y="524973"/>
                                                      </a:cubicBezTo>
                                                      <a:cubicBezTo>
                                                        <a:pt x="513233" y="526398"/>
                                                        <a:pt x="512974" y="528018"/>
                                                        <a:pt x="512779" y="529637"/>
                                                      </a:cubicBezTo>
                                                      <a:cubicBezTo>
                                                        <a:pt x="511678" y="537800"/>
                                                        <a:pt x="510577" y="545963"/>
                                                        <a:pt x="509475" y="554191"/>
                                                      </a:cubicBezTo>
                                                      <a:cubicBezTo>
                                                        <a:pt x="495935" y="554515"/>
                                                        <a:pt x="482459" y="554644"/>
                                                        <a:pt x="468919" y="554580"/>
                                                      </a:cubicBezTo>
                                                      <a:cubicBezTo>
                                                        <a:pt x="464643" y="554515"/>
                                                        <a:pt x="459849" y="554256"/>
                                                        <a:pt x="456934" y="551146"/>
                                                      </a:cubicBezTo>
                                                      <a:cubicBezTo>
                                                        <a:pt x="453824" y="547777"/>
                                                        <a:pt x="453695" y="541882"/>
                                                        <a:pt x="449678" y="539679"/>
                                                      </a:cubicBezTo>
                                                      <a:cubicBezTo>
                                                        <a:pt x="447540" y="538448"/>
                                                        <a:pt x="444624" y="538578"/>
                                                        <a:pt x="443005" y="536764"/>
                                                      </a:cubicBezTo>
                                                      <a:cubicBezTo>
                                                        <a:pt x="441645" y="535273"/>
                                                        <a:pt x="441645" y="533136"/>
                                                        <a:pt x="441709" y="531127"/>
                                                      </a:cubicBezTo>
                                                      <a:cubicBezTo>
                                                        <a:pt x="441968" y="525102"/>
                                                        <a:pt x="442552" y="519012"/>
                                                        <a:pt x="443458" y="513052"/>
                                                      </a:cubicBezTo>
                                                      <a:cubicBezTo>
                                                        <a:pt x="443653" y="511821"/>
                                                        <a:pt x="443912" y="510461"/>
                                                        <a:pt x="444884" y="509618"/>
                                                      </a:cubicBezTo>
                                                      <a:cubicBezTo>
                                                        <a:pt x="446698" y="507999"/>
                                                        <a:pt x="449483" y="509294"/>
                                                        <a:pt x="451880" y="509100"/>
                                                      </a:cubicBezTo>
                                                      <a:cubicBezTo>
                                                        <a:pt x="455185" y="508841"/>
                                                        <a:pt x="457582" y="505796"/>
                                                        <a:pt x="460756" y="504759"/>
                                                      </a:cubicBezTo>
                                                      <a:cubicBezTo>
                                                        <a:pt x="468401" y="502038"/>
                                                        <a:pt x="477147" y="511368"/>
                                                        <a:pt x="484144" y="507286"/>
                                                      </a:cubicBezTo>
                                                      <a:cubicBezTo>
                                                        <a:pt x="484533" y="503723"/>
                                                        <a:pt x="481617" y="500160"/>
                                                        <a:pt x="478054" y="499706"/>
                                                      </a:cubicBezTo>
                                                      <a:cubicBezTo>
                                                        <a:pt x="479155" y="495819"/>
                                                        <a:pt x="477082" y="491673"/>
                                                        <a:pt x="474037" y="489081"/>
                                                      </a:cubicBezTo>
                                                      <a:cubicBezTo>
                                                        <a:pt x="470992" y="486425"/>
                                                        <a:pt x="467105" y="485065"/>
                                                        <a:pt x="463348" y="483769"/>
                                                      </a:cubicBezTo>
                                                      <a:cubicBezTo>
                                                        <a:pt x="465874" y="480724"/>
                                                        <a:pt x="464060" y="475735"/>
                                                        <a:pt x="460692" y="473597"/>
                                                      </a:cubicBezTo>
                                                      <a:cubicBezTo>
                                                        <a:pt x="457323" y="471524"/>
                                                        <a:pt x="453111" y="471460"/>
                                                        <a:pt x="449095" y="471524"/>
                                                      </a:cubicBezTo>
                                                      <a:cubicBezTo>
                                                        <a:pt x="442746" y="471524"/>
                                                        <a:pt x="436656" y="470941"/>
                                                        <a:pt x="430566" y="472690"/>
                                                      </a:cubicBezTo>
                                                      <a:cubicBezTo>
                                                        <a:pt x="428104" y="473403"/>
                                                        <a:pt x="425642" y="474181"/>
                                                        <a:pt x="423180" y="474893"/>
                                                      </a:cubicBezTo>
                                                      <a:cubicBezTo>
                                                        <a:pt x="418775" y="480789"/>
                                                        <a:pt x="416896" y="488498"/>
                                                        <a:pt x="418192" y="495754"/>
                                                      </a:cubicBezTo>
                                                      <a:cubicBezTo>
                                                        <a:pt x="419552" y="503399"/>
                                                        <a:pt x="424023" y="512080"/>
                                                        <a:pt x="419164" y="518235"/>
                                                      </a:cubicBezTo>
                                                      <a:cubicBezTo>
                                                        <a:pt x="414629" y="524066"/>
                                                        <a:pt x="403227" y="524713"/>
                                                        <a:pt x="403097" y="532164"/>
                                                      </a:cubicBezTo>
                                                      <a:cubicBezTo>
                                                        <a:pt x="402967" y="536958"/>
                                                        <a:pt x="408409" y="539938"/>
                                                        <a:pt x="413139" y="540780"/>
                                                      </a:cubicBezTo>
                                                      <a:cubicBezTo>
                                                        <a:pt x="417933" y="541622"/>
                                                        <a:pt x="423245" y="541622"/>
                                                        <a:pt x="426808" y="544862"/>
                                                      </a:cubicBezTo>
                                                      <a:cubicBezTo>
                                                        <a:pt x="431149" y="548943"/>
                                                        <a:pt x="430566" y="555875"/>
                                                        <a:pt x="429594" y="561771"/>
                                                      </a:cubicBezTo>
                                                      <a:cubicBezTo>
                                                        <a:pt x="429141" y="564945"/>
                                                        <a:pt x="428623" y="568185"/>
                                                        <a:pt x="428104" y="571359"/>
                                                      </a:cubicBezTo>
                                                      <a:cubicBezTo>
                                                        <a:pt x="420330" y="574080"/>
                                                        <a:pt x="415665" y="583539"/>
                                                        <a:pt x="418192" y="591443"/>
                                                      </a:cubicBezTo>
                                                      <a:cubicBezTo>
                                                        <a:pt x="416184" y="591508"/>
                                                        <a:pt x="414111" y="591572"/>
                                                        <a:pt x="412102" y="591637"/>
                                                      </a:cubicBezTo>
                                                      <a:cubicBezTo>
                                                        <a:pt x="409576" y="585547"/>
                                                        <a:pt x="407049" y="579393"/>
                                                        <a:pt x="404587" y="573238"/>
                                                      </a:cubicBezTo>
                                                      <a:cubicBezTo>
                                                        <a:pt x="403680" y="571100"/>
                                                        <a:pt x="402773" y="568833"/>
                                                        <a:pt x="401024" y="567213"/>
                                                      </a:cubicBezTo>
                                                      <a:cubicBezTo>
                                                        <a:pt x="398886" y="565204"/>
                                                        <a:pt x="395906" y="564492"/>
                                                        <a:pt x="393055" y="563844"/>
                                                      </a:cubicBezTo>
                                                      <a:cubicBezTo>
                                                        <a:pt x="384633" y="561965"/>
                                                        <a:pt x="375174" y="560281"/>
                                                        <a:pt x="367983" y="565010"/>
                                                      </a:cubicBezTo>
                                                      <a:cubicBezTo>
                                                        <a:pt x="361699" y="569092"/>
                                                        <a:pt x="358200" y="577449"/>
                                                        <a:pt x="350945" y="579133"/>
                                                      </a:cubicBezTo>
                                                      <a:cubicBezTo>
                                                        <a:pt x="349130" y="579522"/>
                                                        <a:pt x="347122" y="579587"/>
                                                        <a:pt x="345826" y="580947"/>
                                                      </a:cubicBezTo>
                                                      <a:cubicBezTo>
                                                        <a:pt x="344142" y="582697"/>
                                                        <a:pt x="344855" y="585677"/>
                                                        <a:pt x="343818" y="587944"/>
                                                      </a:cubicBezTo>
                                                      <a:cubicBezTo>
                                                        <a:pt x="342522" y="590601"/>
                                                        <a:pt x="339153" y="591313"/>
                                                        <a:pt x="336238" y="592220"/>
                                                      </a:cubicBezTo>
                                                      <a:cubicBezTo>
                                                        <a:pt x="323216" y="596043"/>
                                                        <a:pt x="313952" y="609842"/>
                                                        <a:pt x="315183" y="623382"/>
                                                      </a:cubicBezTo>
                                                      <a:cubicBezTo>
                                                        <a:pt x="315571" y="627140"/>
                                                        <a:pt x="316673" y="630897"/>
                                                        <a:pt x="319070" y="633748"/>
                                                      </a:cubicBezTo>
                                                      <a:cubicBezTo>
                                                        <a:pt x="321661" y="636793"/>
                                                        <a:pt x="325419" y="638542"/>
                                                        <a:pt x="328270" y="641393"/>
                                                      </a:cubicBezTo>
                                                      <a:cubicBezTo>
                                                        <a:pt x="331120" y="644178"/>
                                                        <a:pt x="332740" y="649102"/>
                                                        <a:pt x="330083" y="652082"/>
                                                      </a:cubicBezTo>
                                                      <a:cubicBezTo>
                                                        <a:pt x="328917" y="653378"/>
                                                        <a:pt x="327103" y="654026"/>
                                                        <a:pt x="325354" y="654479"/>
                                                      </a:cubicBezTo>
                                                      <a:cubicBezTo>
                                                        <a:pt x="307732" y="658561"/>
                                                        <a:pt x="290823" y="645021"/>
                                                        <a:pt x="272748" y="643336"/>
                                                      </a:cubicBezTo>
                                                      <a:cubicBezTo>
                                                        <a:pt x="271387" y="643207"/>
                                                        <a:pt x="269898" y="643142"/>
                                                        <a:pt x="268667" y="642494"/>
                                                      </a:cubicBezTo>
                                                      <a:cubicBezTo>
                                                        <a:pt x="267241" y="641716"/>
                                                        <a:pt x="266270" y="640226"/>
                                                        <a:pt x="265298" y="638866"/>
                                                      </a:cubicBezTo>
                                                      <a:cubicBezTo>
                                                        <a:pt x="260374" y="631804"/>
                                                        <a:pt x="252859" y="626621"/>
                                                        <a:pt x="244566" y="624483"/>
                                                      </a:cubicBezTo>
                                                      <a:cubicBezTo>
                                                        <a:pt x="236403" y="628630"/>
                                                        <a:pt x="230508" y="637052"/>
                                                        <a:pt x="229406" y="646122"/>
                                                      </a:cubicBezTo>
                                                      <a:cubicBezTo>
                                                        <a:pt x="229277" y="647223"/>
                                                        <a:pt x="229212" y="648389"/>
                                                        <a:pt x="229730" y="649361"/>
                                                      </a:cubicBezTo>
                                                      <a:cubicBezTo>
                                                        <a:pt x="231350" y="652212"/>
                                                        <a:pt x="236144" y="650786"/>
                                                        <a:pt x="238541" y="652989"/>
                                                      </a:cubicBezTo>
                                                      <a:cubicBezTo>
                                                        <a:pt x="240485" y="654674"/>
                                                        <a:pt x="240096" y="657718"/>
                                                        <a:pt x="241197" y="659986"/>
                                                      </a:cubicBezTo>
                                                      <a:cubicBezTo>
                                                        <a:pt x="245538" y="668862"/>
                                                        <a:pt x="262771" y="657330"/>
                                                        <a:pt x="268148" y="665622"/>
                                                      </a:cubicBezTo>
                                                      <a:cubicBezTo>
                                                        <a:pt x="271906" y="671453"/>
                                                        <a:pt x="264585" y="680653"/>
                                                        <a:pt x="269509" y="685512"/>
                                                      </a:cubicBezTo>
                                                      <a:cubicBezTo>
                                                        <a:pt x="265686" y="690630"/>
                                                        <a:pt x="258171" y="691213"/>
                                                        <a:pt x="251952" y="689917"/>
                                                      </a:cubicBezTo>
                                                      <a:cubicBezTo>
                                                        <a:pt x="245668" y="688686"/>
                                                        <a:pt x="239578" y="685965"/>
                                                        <a:pt x="233229" y="686159"/>
                                                      </a:cubicBezTo>
                                                      <a:cubicBezTo>
                                                        <a:pt x="231868" y="686224"/>
                                                        <a:pt x="230443" y="686419"/>
                                                        <a:pt x="229147" y="685900"/>
                                                      </a:cubicBezTo>
                                                      <a:cubicBezTo>
                                                        <a:pt x="227657" y="685317"/>
                                                        <a:pt x="226686" y="683892"/>
                                                        <a:pt x="225778" y="682531"/>
                                                      </a:cubicBezTo>
                                                      <a:cubicBezTo>
                                                        <a:pt x="222345" y="677413"/>
                                                        <a:pt x="218976" y="672230"/>
                                                        <a:pt x="215542" y="667112"/>
                                                      </a:cubicBezTo>
                                                      <a:cubicBezTo>
                                                        <a:pt x="207444" y="666724"/>
                                                        <a:pt x="199281" y="666400"/>
                                                        <a:pt x="191183" y="666011"/>
                                                      </a:cubicBezTo>
                                                      <a:cubicBezTo>
                                                        <a:pt x="189758" y="665946"/>
                                                        <a:pt x="188203" y="665817"/>
                                                        <a:pt x="187166" y="664845"/>
                                                      </a:cubicBezTo>
                                                      <a:cubicBezTo>
                                                        <a:pt x="186259" y="664003"/>
                                                        <a:pt x="186000" y="662707"/>
                                                        <a:pt x="185870" y="661541"/>
                                                      </a:cubicBezTo>
                                                      <a:cubicBezTo>
                                                        <a:pt x="185352" y="656228"/>
                                                        <a:pt x="186972" y="650851"/>
                                                        <a:pt x="186259" y="645539"/>
                                                      </a:cubicBezTo>
                                                      <a:cubicBezTo>
                                                        <a:pt x="185546" y="640291"/>
                                                        <a:pt x="180947" y="634720"/>
                                                        <a:pt x="175829" y="636080"/>
                                                      </a:cubicBezTo>
                                                      <a:cubicBezTo>
                                                        <a:pt x="178031" y="631934"/>
                                                        <a:pt x="175829" y="626945"/>
                                                        <a:pt x="174274" y="622540"/>
                                                      </a:cubicBezTo>
                                                      <a:cubicBezTo>
                                                        <a:pt x="172719" y="618070"/>
                                                        <a:pt x="172460" y="611980"/>
                                                        <a:pt x="176671" y="609907"/>
                                                      </a:cubicBezTo>
                                                      <a:cubicBezTo>
                                                        <a:pt x="178485" y="609000"/>
                                                        <a:pt x="180882" y="609064"/>
                                                        <a:pt x="182242" y="607574"/>
                                                      </a:cubicBezTo>
                                                      <a:cubicBezTo>
                                                        <a:pt x="183279" y="606408"/>
                                                        <a:pt x="183409" y="604789"/>
                                                        <a:pt x="183473" y="603234"/>
                                                      </a:cubicBezTo>
                                                      <a:cubicBezTo>
                                                        <a:pt x="183733" y="596885"/>
                                                        <a:pt x="183992" y="590471"/>
                                                        <a:pt x="184251" y="584057"/>
                                                      </a:cubicBezTo>
                                                      <a:cubicBezTo>
                                                        <a:pt x="178874" y="587232"/>
                                                        <a:pt x="172006" y="584251"/>
                                                        <a:pt x="166953" y="580623"/>
                                                      </a:cubicBezTo>
                                                      <a:cubicBezTo>
                                                        <a:pt x="161835" y="576996"/>
                                                        <a:pt x="156523" y="572590"/>
                                                        <a:pt x="150303" y="572914"/>
                                                      </a:cubicBezTo>
                                                      <a:cubicBezTo>
                                                        <a:pt x="151793" y="568962"/>
                                                        <a:pt x="148100" y="564816"/>
                                                        <a:pt x="144213" y="563261"/>
                                                      </a:cubicBezTo>
                                                      <a:cubicBezTo>
                                                        <a:pt x="140261" y="561706"/>
                                                        <a:pt x="135791" y="561512"/>
                                                        <a:pt x="132098" y="559439"/>
                                                      </a:cubicBezTo>
                                                      <a:cubicBezTo>
                                                        <a:pt x="128470" y="557365"/>
                                                        <a:pt x="126008" y="551988"/>
                                                        <a:pt x="128924" y="548943"/>
                                                      </a:cubicBezTo>
                                                      <a:cubicBezTo>
                                                        <a:pt x="124000" y="547324"/>
                                                        <a:pt x="118947" y="544797"/>
                                                        <a:pt x="116420" y="540262"/>
                                                      </a:cubicBezTo>
                                                      <a:cubicBezTo>
                                                        <a:pt x="113893" y="535727"/>
                                                        <a:pt x="115189" y="528860"/>
                                                        <a:pt x="120048" y="527046"/>
                                                      </a:cubicBezTo>
                                                      <a:cubicBezTo>
                                                        <a:pt x="124648" y="525297"/>
                                                        <a:pt x="129571" y="528665"/>
                                                        <a:pt x="132681" y="532423"/>
                                                      </a:cubicBezTo>
                                                      <a:cubicBezTo>
                                                        <a:pt x="135791" y="536180"/>
                                                        <a:pt x="138383" y="540780"/>
                                                        <a:pt x="142853" y="542789"/>
                                                      </a:cubicBezTo>
                                                      <a:cubicBezTo>
                                                        <a:pt x="145509" y="543955"/>
                                                        <a:pt x="148813" y="544279"/>
                                                        <a:pt x="150562" y="546611"/>
                                                      </a:cubicBezTo>
                                                      <a:cubicBezTo>
                                                        <a:pt x="151405" y="547777"/>
                                                        <a:pt x="151728" y="549332"/>
                                                        <a:pt x="152571" y="550498"/>
                                                      </a:cubicBezTo>
                                                      <a:cubicBezTo>
                                                        <a:pt x="154384" y="553025"/>
                                                        <a:pt x="158012" y="553284"/>
                                                        <a:pt x="161122" y="553608"/>
                                                      </a:cubicBezTo>
                                                      <a:cubicBezTo>
                                                        <a:pt x="171747" y="554580"/>
                                                        <a:pt x="181724" y="558985"/>
                                                        <a:pt x="191636" y="562807"/>
                                                      </a:cubicBezTo>
                                                      <a:cubicBezTo>
                                                        <a:pt x="200188" y="566176"/>
                                                        <a:pt x="208869" y="569156"/>
                                                        <a:pt x="217615" y="571813"/>
                                                      </a:cubicBezTo>
                                                      <a:cubicBezTo>
                                                        <a:pt x="225455" y="574210"/>
                                                        <a:pt x="233618" y="576348"/>
                                                        <a:pt x="241780" y="575829"/>
                                                      </a:cubicBezTo>
                                                      <a:cubicBezTo>
                                                        <a:pt x="245797" y="575570"/>
                                                        <a:pt x="250073" y="574728"/>
                                                        <a:pt x="253636" y="576542"/>
                                                      </a:cubicBezTo>
                                                      <a:cubicBezTo>
                                                        <a:pt x="255839" y="577643"/>
                                                        <a:pt x="257459" y="579587"/>
                                                        <a:pt x="259596" y="580883"/>
                                                      </a:cubicBezTo>
                                                      <a:cubicBezTo>
                                                        <a:pt x="262965" y="582826"/>
                                                        <a:pt x="267112" y="582826"/>
                                                        <a:pt x="271064" y="582761"/>
                                                      </a:cubicBezTo>
                                                      <a:cubicBezTo>
                                                        <a:pt x="278384" y="582567"/>
                                                        <a:pt x="285705" y="582437"/>
                                                        <a:pt x="293026" y="582243"/>
                                                      </a:cubicBezTo>
                                                      <a:cubicBezTo>
                                                        <a:pt x="294711" y="582243"/>
                                                        <a:pt x="296589" y="582114"/>
                                                        <a:pt x="297755" y="580947"/>
                                                      </a:cubicBezTo>
                                                      <a:cubicBezTo>
                                                        <a:pt x="299051" y="579652"/>
                                                        <a:pt x="299116" y="577708"/>
                                                        <a:pt x="299764" y="576024"/>
                                                      </a:cubicBezTo>
                                                      <a:cubicBezTo>
                                                        <a:pt x="301707" y="571359"/>
                                                        <a:pt x="307862" y="570582"/>
                                                        <a:pt x="312915" y="570452"/>
                                                      </a:cubicBezTo>
                                                      <a:cubicBezTo>
                                                        <a:pt x="312138" y="566630"/>
                                                        <a:pt x="315183" y="562807"/>
                                                        <a:pt x="318876" y="561382"/>
                                                      </a:cubicBezTo>
                                                      <a:cubicBezTo>
                                                        <a:pt x="322503" y="559957"/>
                                                        <a:pt x="326585" y="560410"/>
                                                        <a:pt x="330537" y="560799"/>
                                                      </a:cubicBezTo>
                                                      <a:lnTo>
                                                        <a:pt x="330537" y="551988"/>
                                                      </a:lnTo>
                                                      <a:cubicBezTo>
                                                        <a:pt x="335396" y="549980"/>
                                                        <a:pt x="340514" y="547907"/>
                                                        <a:pt x="343948" y="543825"/>
                                                      </a:cubicBezTo>
                                                      <a:cubicBezTo>
                                                        <a:pt x="347317" y="539808"/>
                                                        <a:pt x="348288" y="533200"/>
                                                        <a:pt x="344595" y="529378"/>
                                                      </a:cubicBezTo>
                                                      <a:cubicBezTo>
                                                        <a:pt x="342328" y="527111"/>
                                                        <a:pt x="338959" y="526333"/>
                                                        <a:pt x="336368" y="524390"/>
                                                      </a:cubicBezTo>
                                                      <a:cubicBezTo>
                                                        <a:pt x="331574" y="520761"/>
                                                        <a:pt x="327686" y="512534"/>
                                                        <a:pt x="322244" y="515190"/>
                                                      </a:cubicBezTo>
                                                      <a:cubicBezTo>
                                                        <a:pt x="320689" y="508258"/>
                                                        <a:pt x="313628" y="503982"/>
                                                        <a:pt x="306761" y="502362"/>
                                                      </a:cubicBezTo>
                                                      <a:cubicBezTo>
                                                        <a:pt x="299828" y="500808"/>
                                                        <a:pt x="292573" y="501002"/>
                                                        <a:pt x="285835" y="498799"/>
                                                      </a:cubicBezTo>
                                                      <a:cubicBezTo>
                                                        <a:pt x="279097" y="496661"/>
                                                        <a:pt x="272618" y="491090"/>
                                                        <a:pt x="272748" y="484028"/>
                                                      </a:cubicBezTo>
                                                      <a:cubicBezTo>
                                                        <a:pt x="267565" y="483445"/>
                                                        <a:pt x="262901" y="479623"/>
                                                        <a:pt x="261346" y="474699"/>
                                                      </a:cubicBezTo>
                                                      <a:cubicBezTo>
                                                        <a:pt x="260633" y="472367"/>
                                                        <a:pt x="260374" y="469581"/>
                                                        <a:pt x="258365" y="468220"/>
                                                      </a:cubicBezTo>
                                                      <a:cubicBezTo>
                                                        <a:pt x="255968" y="466601"/>
                                                        <a:pt x="252470" y="468026"/>
                                                        <a:pt x="249943" y="466601"/>
                                                      </a:cubicBezTo>
                                                      <a:cubicBezTo>
                                                        <a:pt x="247417" y="465240"/>
                                                        <a:pt x="247028" y="461871"/>
                                                        <a:pt x="245733" y="459345"/>
                                                      </a:cubicBezTo>
                                                      <a:cubicBezTo>
                                                        <a:pt x="242558" y="453190"/>
                                                        <a:pt x="234265" y="452089"/>
                                                        <a:pt x="227398" y="452607"/>
                                                      </a:cubicBezTo>
                                                      <a:cubicBezTo>
                                                        <a:pt x="220531" y="453190"/>
                                                        <a:pt x="213015" y="454551"/>
                                                        <a:pt x="207185" y="450793"/>
                                                      </a:cubicBezTo>
                                                      <a:cubicBezTo>
                                                        <a:pt x="205306" y="449627"/>
                                                        <a:pt x="203751" y="448007"/>
                                                        <a:pt x="201743" y="447230"/>
                                                      </a:cubicBezTo>
                                                      <a:cubicBezTo>
                                                        <a:pt x="196755" y="445221"/>
                                                        <a:pt x="189174" y="448201"/>
                                                        <a:pt x="186648" y="443407"/>
                                                      </a:cubicBezTo>
                                                      <a:cubicBezTo>
                                                        <a:pt x="186648" y="440686"/>
                                                        <a:pt x="186583" y="437965"/>
                                                        <a:pt x="186518" y="435180"/>
                                                      </a:cubicBezTo>
                                                      <a:cubicBezTo>
                                                        <a:pt x="172460" y="435244"/>
                                                        <a:pt x="158401" y="435309"/>
                                                        <a:pt x="144408" y="435374"/>
                                                      </a:cubicBezTo>
                                                      <a:cubicBezTo>
                                                        <a:pt x="138447" y="435374"/>
                                                        <a:pt x="132163" y="435309"/>
                                                        <a:pt x="126980" y="432394"/>
                                                      </a:cubicBezTo>
                                                      <a:cubicBezTo>
                                                        <a:pt x="121797" y="429478"/>
                                                        <a:pt x="118364" y="422611"/>
                                                        <a:pt x="121214" y="417363"/>
                                                      </a:cubicBezTo>
                                                      <a:cubicBezTo>
                                                        <a:pt x="125879" y="417558"/>
                                                        <a:pt x="130543" y="415485"/>
                                                        <a:pt x="133459" y="411857"/>
                                                      </a:cubicBezTo>
                                                      <a:cubicBezTo>
                                                        <a:pt x="128211" y="407710"/>
                                                        <a:pt x="121214" y="406026"/>
                                                        <a:pt x="114671" y="407257"/>
                                                      </a:cubicBezTo>
                                                      <a:cubicBezTo>
                                                        <a:pt x="116485" y="412051"/>
                                                        <a:pt x="112339" y="417493"/>
                                                        <a:pt x="107350" y="418789"/>
                                                      </a:cubicBezTo>
                                                      <a:cubicBezTo>
                                                        <a:pt x="102427" y="420084"/>
                                                        <a:pt x="97049" y="418206"/>
                                                        <a:pt x="92320" y="416197"/>
                                                      </a:cubicBezTo>
                                                      <a:cubicBezTo>
                                                        <a:pt x="90571" y="413800"/>
                                                        <a:pt x="88757" y="411274"/>
                                                        <a:pt x="86036" y="410107"/>
                                                      </a:cubicBezTo>
                                                      <a:cubicBezTo>
                                                        <a:pt x="84675" y="409460"/>
                                                        <a:pt x="82991" y="409395"/>
                                                        <a:pt x="81565" y="409784"/>
                                                      </a:cubicBezTo>
                                                      <a:cubicBezTo>
                                                        <a:pt x="80464" y="410626"/>
                                                        <a:pt x="79427" y="411533"/>
                                                        <a:pt x="78326" y="412440"/>
                                                      </a:cubicBezTo>
                                                      <a:cubicBezTo>
                                                        <a:pt x="77937" y="413606"/>
                                                        <a:pt x="77873" y="414966"/>
                                                        <a:pt x="77160" y="416003"/>
                                                      </a:cubicBezTo>
                                                      <a:cubicBezTo>
                                                        <a:pt x="76253" y="417299"/>
                                                        <a:pt x="74568" y="417558"/>
                                                        <a:pt x="72949" y="417687"/>
                                                      </a:cubicBezTo>
                                                      <a:cubicBezTo>
                                                        <a:pt x="68025" y="422935"/>
                                                        <a:pt x="63879" y="428831"/>
                                                        <a:pt x="60705" y="435244"/>
                                                      </a:cubicBezTo>
                                                      <a:cubicBezTo>
                                                        <a:pt x="56817" y="434856"/>
                                                        <a:pt x="52865" y="434467"/>
                                                        <a:pt x="48914" y="434273"/>
                                                      </a:cubicBezTo>
                                                      <a:cubicBezTo>
                                                        <a:pt x="48914" y="434402"/>
                                                        <a:pt x="48914" y="434467"/>
                                                        <a:pt x="48914" y="434596"/>
                                                      </a:cubicBezTo>
                                                      <a:cubicBezTo>
                                                        <a:pt x="48914" y="435180"/>
                                                        <a:pt x="48914" y="435698"/>
                                                        <a:pt x="48784" y="436151"/>
                                                      </a:cubicBezTo>
                                                      <a:cubicBezTo>
                                                        <a:pt x="48784" y="436605"/>
                                                        <a:pt x="48654" y="436994"/>
                                                        <a:pt x="48589" y="437382"/>
                                                      </a:cubicBezTo>
                                                      <a:cubicBezTo>
                                                        <a:pt x="48460" y="437965"/>
                                                        <a:pt x="48330" y="438548"/>
                                                        <a:pt x="48071" y="439067"/>
                                                      </a:cubicBezTo>
                                                      <a:cubicBezTo>
                                                        <a:pt x="47942" y="439585"/>
                                                        <a:pt x="47683" y="440038"/>
                                                        <a:pt x="47423" y="440492"/>
                                                      </a:cubicBezTo>
                                                      <a:cubicBezTo>
                                                        <a:pt x="47294" y="440751"/>
                                                        <a:pt x="47164" y="441010"/>
                                                        <a:pt x="46970" y="441205"/>
                                                      </a:cubicBezTo>
                                                      <a:cubicBezTo>
                                                        <a:pt x="46775" y="441529"/>
                                                        <a:pt x="46516" y="441852"/>
                                                        <a:pt x="46257" y="442112"/>
                                                      </a:cubicBezTo>
                                                      <a:cubicBezTo>
                                                        <a:pt x="45933" y="442500"/>
                                                        <a:pt x="45609" y="442759"/>
                                                        <a:pt x="45221" y="443083"/>
                                                      </a:cubicBezTo>
                                                      <a:cubicBezTo>
                                                        <a:pt x="44832" y="443343"/>
                                                        <a:pt x="44443" y="443602"/>
                                                        <a:pt x="44055" y="443796"/>
                                                      </a:cubicBezTo>
                                                      <a:cubicBezTo>
                                                        <a:pt x="43471" y="444120"/>
                                                        <a:pt x="42759" y="444314"/>
                                                        <a:pt x="42046" y="444509"/>
                                                      </a:cubicBezTo>
                                                      <a:cubicBezTo>
                                                        <a:pt x="35956" y="445999"/>
                                                        <a:pt x="40232" y="456429"/>
                                                        <a:pt x="36215" y="461223"/>
                                                      </a:cubicBezTo>
                                                      <a:cubicBezTo>
                                                        <a:pt x="35373" y="462195"/>
                                                        <a:pt x="34272" y="462843"/>
                                                        <a:pt x="33365" y="463685"/>
                                                      </a:cubicBezTo>
                                                      <a:cubicBezTo>
                                                        <a:pt x="29478" y="467119"/>
                                                        <a:pt x="29089" y="473403"/>
                                                        <a:pt x="31162" y="478197"/>
                                                      </a:cubicBezTo>
                                                      <a:cubicBezTo>
                                                        <a:pt x="33235" y="482991"/>
                                                        <a:pt x="37122" y="486684"/>
                                                        <a:pt x="40945" y="490312"/>
                                                      </a:cubicBezTo>
                                                      <a:cubicBezTo>
                                                        <a:pt x="47618" y="496532"/>
                                                        <a:pt x="54290" y="502816"/>
                                                        <a:pt x="61028" y="509100"/>
                                                      </a:cubicBezTo>
                                                      <a:cubicBezTo>
                                                        <a:pt x="63944" y="511886"/>
                                                        <a:pt x="67248" y="515708"/>
                                                        <a:pt x="65758" y="519531"/>
                                                      </a:cubicBezTo>
                                                      <a:cubicBezTo>
                                                        <a:pt x="63425" y="525750"/>
                                                        <a:pt x="51246" y="524454"/>
                                                        <a:pt x="50662" y="531127"/>
                                                      </a:cubicBezTo>
                                                      <a:cubicBezTo>
                                                        <a:pt x="50533" y="532812"/>
                                                        <a:pt x="51375" y="534496"/>
                                                        <a:pt x="51375" y="536245"/>
                                                      </a:cubicBezTo>
                                                      <a:cubicBezTo>
                                                        <a:pt x="51375" y="540132"/>
                                                        <a:pt x="47423" y="542918"/>
                                                        <a:pt x="46063" y="546611"/>
                                                      </a:cubicBezTo>
                                                      <a:cubicBezTo>
                                                        <a:pt x="45091" y="549202"/>
                                                        <a:pt x="45545" y="552118"/>
                                                        <a:pt x="46257" y="554839"/>
                                                      </a:cubicBezTo>
                                                      <a:cubicBezTo>
                                                        <a:pt x="48136" y="561771"/>
                                                        <a:pt x="51958" y="568249"/>
                                                        <a:pt x="57206" y="573238"/>
                                                      </a:cubicBezTo>
                                                      <a:cubicBezTo>
                                                        <a:pt x="60186" y="576089"/>
                                                        <a:pt x="63749" y="578486"/>
                                                        <a:pt x="66017" y="581984"/>
                                                      </a:cubicBezTo>
                                                      <a:cubicBezTo>
                                                        <a:pt x="68349" y="585482"/>
                                                        <a:pt x="69062" y="590471"/>
                                                        <a:pt x="66276" y="593581"/>
                                                      </a:cubicBezTo>
                                                      <a:cubicBezTo>
                                                        <a:pt x="64462" y="595589"/>
                                                        <a:pt x="61417" y="596561"/>
                                                        <a:pt x="60510" y="599087"/>
                                                      </a:cubicBezTo>
                                                      <a:cubicBezTo>
                                                        <a:pt x="58955" y="603363"/>
                                                        <a:pt x="64721" y="607121"/>
                                                        <a:pt x="64851" y="611656"/>
                                                      </a:cubicBezTo>
                                                      <a:cubicBezTo>
                                                        <a:pt x="65045" y="617811"/>
                                                        <a:pt x="55133" y="621957"/>
                                                        <a:pt x="57400" y="627658"/>
                                                      </a:cubicBezTo>
                                                      <a:cubicBezTo>
                                                        <a:pt x="58567" y="630573"/>
                                                        <a:pt x="62259" y="631415"/>
                                                        <a:pt x="64721" y="633359"/>
                                                      </a:cubicBezTo>
                                                      <a:cubicBezTo>
                                                        <a:pt x="71135" y="638412"/>
                                                        <a:pt x="67442" y="648843"/>
                                                        <a:pt x="62130" y="655062"/>
                                                      </a:cubicBezTo>
                                                      <a:cubicBezTo>
                                                        <a:pt x="68803" y="659856"/>
                                                        <a:pt x="74893" y="665363"/>
                                                        <a:pt x="80399" y="671518"/>
                                                      </a:cubicBezTo>
                                                      <a:cubicBezTo>
                                                        <a:pt x="77484" y="676182"/>
                                                        <a:pt x="68673" y="675081"/>
                                                        <a:pt x="67183" y="680329"/>
                                                      </a:cubicBezTo>
                                                      <a:cubicBezTo>
                                                        <a:pt x="66211" y="683503"/>
                                                        <a:pt x="68803" y="686483"/>
                                                        <a:pt x="71135" y="688751"/>
                                                      </a:cubicBezTo>
                                                      <a:cubicBezTo>
                                                        <a:pt x="77354" y="694841"/>
                                                        <a:pt x="83509" y="700866"/>
                                                        <a:pt x="89728" y="706891"/>
                                                      </a:cubicBezTo>
                                                      <a:cubicBezTo>
                                                        <a:pt x="93875" y="710908"/>
                                                        <a:pt x="98086" y="715119"/>
                                                        <a:pt x="100224" y="720496"/>
                                                      </a:cubicBezTo>
                                                      <a:cubicBezTo>
                                                        <a:pt x="102362" y="725873"/>
                                                        <a:pt x="101714" y="732740"/>
                                                        <a:pt x="97243" y="736368"/>
                                                      </a:cubicBezTo>
                                                      <a:cubicBezTo>
                                                        <a:pt x="95430" y="737794"/>
                                                        <a:pt x="93227" y="738636"/>
                                                        <a:pt x="91413" y="740061"/>
                                                      </a:cubicBezTo>
                                                      <a:cubicBezTo>
                                                        <a:pt x="87914" y="742782"/>
                                                        <a:pt x="86554" y="747447"/>
                                                        <a:pt x="83962" y="751075"/>
                                                      </a:cubicBezTo>
                                                      <a:cubicBezTo>
                                                        <a:pt x="81436" y="754768"/>
                                                        <a:pt x="76123" y="757553"/>
                                                        <a:pt x="72625" y="754768"/>
                                                      </a:cubicBezTo>
                                                      <a:cubicBezTo>
                                                        <a:pt x="72755" y="761440"/>
                                                        <a:pt x="68220" y="768049"/>
                                                        <a:pt x="61936" y="770316"/>
                                                      </a:cubicBezTo>
                                                      <a:cubicBezTo>
                                                        <a:pt x="59862" y="771093"/>
                                                        <a:pt x="57530" y="771417"/>
                                                        <a:pt x="55716" y="772648"/>
                                                      </a:cubicBezTo>
                                                      <a:cubicBezTo>
                                                        <a:pt x="51505" y="775369"/>
                                                        <a:pt x="51051" y="781135"/>
                                                        <a:pt x="49432" y="785865"/>
                                                      </a:cubicBezTo>
                                                      <a:cubicBezTo>
                                                        <a:pt x="47812" y="790529"/>
                                                        <a:pt x="42046" y="795064"/>
                                                        <a:pt x="38289" y="791825"/>
                                                      </a:cubicBezTo>
                                                      <a:cubicBezTo>
                                                        <a:pt x="36863" y="795518"/>
                                                        <a:pt x="33430" y="797980"/>
                                                        <a:pt x="30385" y="800506"/>
                                                      </a:cubicBezTo>
                                                      <a:cubicBezTo>
                                                        <a:pt x="27016" y="803357"/>
                                                        <a:pt x="23971" y="806661"/>
                                                        <a:pt x="21315" y="810159"/>
                                                      </a:cubicBezTo>
                                                      <a:cubicBezTo>
                                                        <a:pt x="21444" y="810224"/>
                                                        <a:pt x="21574" y="810159"/>
                                                        <a:pt x="21703" y="810224"/>
                                                      </a:cubicBezTo>
                                                      <a:cubicBezTo>
                                                        <a:pt x="26498" y="813269"/>
                                                        <a:pt x="29996" y="818322"/>
                                                        <a:pt x="31162" y="823894"/>
                                                      </a:cubicBezTo>
                                                      <a:cubicBezTo>
                                                        <a:pt x="34531" y="823829"/>
                                                        <a:pt x="38483" y="824088"/>
                                                        <a:pt x="40167" y="826939"/>
                                                      </a:cubicBezTo>
                                                      <a:cubicBezTo>
                                                        <a:pt x="40815" y="828040"/>
                                                        <a:pt x="41009" y="829336"/>
                                                        <a:pt x="41463" y="830502"/>
                                                      </a:cubicBezTo>
                                                      <a:cubicBezTo>
                                                        <a:pt x="43148" y="834519"/>
                                                        <a:pt x="48006" y="836268"/>
                                                        <a:pt x="52412" y="836592"/>
                                                      </a:cubicBezTo>
                                                      <a:cubicBezTo>
                                                        <a:pt x="56817" y="836981"/>
                                                        <a:pt x="61417" y="836592"/>
                                                        <a:pt x="65434" y="838406"/>
                                                      </a:cubicBezTo>
                                                      <a:cubicBezTo>
                                                        <a:pt x="66794" y="839054"/>
                                                        <a:pt x="68155" y="840155"/>
                                                        <a:pt x="68284" y="841645"/>
                                                      </a:cubicBezTo>
                                                      <a:cubicBezTo>
                                                        <a:pt x="68479" y="844625"/>
                                                        <a:pt x="64268" y="845403"/>
                                                        <a:pt x="61287" y="845273"/>
                                                      </a:cubicBezTo>
                                                      <a:cubicBezTo>
                                                        <a:pt x="50274" y="844884"/>
                                                        <a:pt x="39455" y="847670"/>
                                                        <a:pt x="28765" y="850391"/>
                                                      </a:cubicBezTo>
                                                      <a:cubicBezTo>
                                                        <a:pt x="26109" y="851104"/>
                                                        <a:pt x="23193" y="852011"/>
                                                        <a:pt x="21898" y="854408"/>
                                                      </a:cubicBezTo>
                                                      <a:cubicBezTo>
                                                        <a:pt x="20602" y="856870"/>
                                                        <a:pt x="21574" y="860109"/>
                                                        <a:pt x="20408" y="862636"/>
                                                      </a:cubicBezTo>
                                                      <a:cubicBezTo>
                                                        <a:pt x="19954" y="863672"/>
                                                        <a:pt x="19242" y="864385"/>
                                                        <a:pt x="18399" y="864968"/>
                                                      </a:cubicBezTo>
                                                      <a:cubicBezTo>
                                                        <a:pt x="18205" y="870086"/>
                                                        <a:pt x="14901" y="874880"/>
                                                        <a:pt x="11467" y="878897"/>
                                                      </a:cubicBezTo>
                                                      <a:cubicBezTo>
                                                        <a:pt x="7515" y="883561"/>
                                                        <a:pt x="2980" y="888550"/>
                                                        <a:pt x="2656" y="894705"/>
                                                      </a:cubicBezTo>
                                                      <a:cubicBezTo>
                                                        <a:pt x="2268" y="902349"/>
                                                        <a:pt x="8487" y="908958"/>
                                                        <a:pt x="8811" y="916537"/>
                                                      </a:cubicBezTo>
                                                      <a:cubicBezTo>
                                                        <a:pt x="9005" y="920878"/>
                                                        <a:pt x="7321" y="925089"/>
                                                        <a:pt x="5637" y="929106"/>
                                                      </a:cubicBezTo>
                                                      <a:cubicBezTo>
                                                        <a:pt x="4082" y="932799"/>
                                                        <a:pt x="2268" y="936621"/>
                                                        <a:pt x="0" y="940119"/>
                                                      </a:cubicBezTo>
                                                      <a:lnTo>
                                                        <a:pt x="0" y="940119"/>
                                                      </a:lnTo>
                                                      <a:cubicBezTo>
                                                        <a:pt x="713" y="940314"/>
                                                        <a:pt x="1361" y="940508"/>
                                                        <a:pt x="2009" y="940702"/>
                                                      </a:cubicBezTo>
                                                      <a:lnTo>
                                                        <a:pt x="2138" y="940702"/>
                                                      </a:lnTo>
                                                      <a:cubicBezTo>
                                                        <a:pt x="2721" y="940962"/>
                                                        <a:pt x="3369" y="941221"/>
                                                        <a:pt x="3952" y="941545"/>
                                                      </a:cubicBezTo>
                                                      <a:cubicBezTo>
                                                        <a:pt x="5248" y="942193"/>
                                                        <a:pt x="6349" y="943035"/>
                                                        <a:pt x="7321" y="944136"/>
                                                      </a:cubicBezTo>
                                                      <a:cubicBezTo>
                                                        <a:pt x="13799" y="951392"/>
                                                        <a:pt x="8228" y="962924"/>
                                                        <a:pt x="10431" y="972383"/>
                                                      </a:cubicBezTo>
                                                      <a:cubicBezTo>
                                                        <a:pt x="16586" y="972512"/>
                                                        <a:pt x="19825" y="979704"/>
                                                        <a:pt x="20602" y="985729"/>
                                                      </a:cubicBezTo>
                                                      <a:cubicBezTo>
                                                        <a:pt x="20926" y="987866"/>
                                                        <a:pt x="21055" y="990004"/>
                                                        <a:pt x="21055" y="992142"/>
                                                      </a:cubicBezTo>
                                                      <a:cubicBezTo>
                                                        <a:pt x="21768" y="992337"/>
                                                        <a:pt x="22546" y="992661"/>
                                                        <a:pt x="23258" y="992985"/>
                                                      </a:cubicBezTo>
                                                      <a:cubicBezTo>
                                                        <a:pt x="24100" y="993308"/>
                                                        <a:pt x="24878" y="993697"/>
                                                        <a:pt x="25720" y="994086"/>
                                                      </a:cubicBezTo>
                                                      <a:cubicBezTo>
                                                        <a:pt x="25914" y="994151"/>
                                                        <a:pt x="26174" y="994280"/>
                                                        <a:pt x="26433" y="994345"/>
                                                      </a:cubicBezTo>
                                                      <a:cubicBezTo>
                                                        <a:pt x="27016" y="994604"/>
                                                        <a:pt x="27599" y="994863"/>
                                                        <a:pt x="28182" y="995058"/>
                                                      </a:cubicBezTo>
                                                      <a:cubicBezTo>
                                                        <a:pt x="34077" y="997001"/>
                                                        <a:pt x="41528" y="995058"/>
                                                        <a:pt x="45933" y="999463"/>
                                                      </a:cubicBezTo>
                                                      <a:cubicBezTo>
                                                        <a:pt x="47747" y="1001277"/>
                                                        <a:pt x="48654" y="1003933"/>
                                                        <a:pt x="50662" y="1005618"/>
                                                      </a:cubicBezTo>
                                                      <a:cubicBezTo>
                                                        <a:pt x="53902" y="1008339"/>
                                                        <a:pt x="58826" y="1007497"/>
                                                        <a:pt x="62713" y="1005877"/>
                                                      </a:cubicBezTo>
                                                      <a:cubicBezTo>
                                                        <a:pt x="66665" y="1004257"/>
                                                        <a:pt x="70487" y="1001925"/>
                                                        <a:pt x="74698" y="1002055"/>
                                                      </a:cubicBezTo>
                                                      <a:cubicBezTo>
                                                        <a:pt x="82278" y="1002249"/>
                                                        <a:pt x="87396" y="1010153"/>
                                                        <a:pt x="88433" y="1017668"/>
                                                      </a:cubicBezTo>
                                                      <a:cubicBezTo>
                                                        <a:pt x="89405" y="1025118"/>
                                                        <a:pt x="87720" y="1032763"/>
                                                        <a:pt x="88562" y="1040213"/>
                                                      </a:cubicBezTo>
                                                      <a:cubicBezTo>
                                                        <a:pt x="89728" y="1051292"/>
                                                        <a:pt x="96401" y="1061333"/>
                                                        <a:pt x="105342" y="1067877"/>
                                                      </a:cubicBezTo>
                                                      <a:cubicBezTo>
                                                        <a:pt x="109942" y="1071246"/>
                                                        <a:pt x="115059" y="1073772"/>
                                                        <a:pt x="119530" y="1077141"/>
                                                      </a:cubicBezTo>
                                                      <a:cubicBezTo>
                                                        <a:pt x="124065" y="1080510"/>
                                                        <a:pt x="128146" y="1085045"/>
                                                        <a:pt x="129248" y="1090617"/>
                                                      </a:cubicBezTo>
                                                      <a:cubicBezTo>
                                                        <a:pt x="130284" y="1096188"/>
                                                        <a:pt x="127563" y="1102667"/>
                                                        <a:pt x="122186" y="1104416"/>
                                                      </a:cubicBezTo>
                                                      <a:cubicBezTo>
                                                        <a:pt x="116744" y="1106100"/>
                                                        <a:pt x="110201" y="1102796"/>
                                                        <a:pt x="105342" y="1105777"/>
                                                      </a:cubicBezTo>
                                                      <a:cubicBezTo>
                                                        <a:pt x="100224" y="1108886"/>
                                                        <a:pt x="100871" y="1116337"/>
                                                        <a:pt x="101779" y="1122297"/>
                                                      </a:cubicBezTo>
                                                      <a:cubicBezTo>
                                                        <a:pt x="102750" y="1128257"/>
                                                        <a:pt x="103333" y="1134217"/>
                                                        <a:pt x="103722" y="1140243"/>
                                                      </a:cubicBezTo>
                                                      <a:cubicBezTo>
                                                        <a:pt x="105536" y="1139595"/>
                                                        <a:pt x="107415" y="1138947"/>
                                                        <a:pt x="109358" y="1138364"/>
                                                      </a:cubicBezTo>
                                                      <a:cubicBezTo>
                                                        <a:pt x="113116" y="1137262"/>
                                                        <a:pt x="116939" y="1136226"/>
                                                        <a:pt x="120761" y="1135319"/>
                                                      </a:cubicBezTo>
                                                      <a:cubicBezTo>
                                                        <a:pt x="122704" y="1134865"/>
                                                        <a:pt x="124583" y="1134477"/>
                                                        <a:pt x="126462" y="1134023"/>
                                                      </a:cubicBezTo>
                                                      <a:cubicBezTo>
                                                        <a:pt x="136245" y="1131885"/>
                                                        <a:pt x="147323" y="1129877"/>
                                                        <a:pt x="155810" y="1135319"/>
                                                      </a:cubicBezTo>
                                                      <a:cubicBezTo>
                                                        <a:pt x="166823" y="1142380"/>
                                                        <a:pt x="167795" y="1157864"/>
                                                        <a:pt x="167536" y="1170951"/>
                                                      </a:cubicBezTo>
                                                      <a:cubicBezTo>
                                                        <a:pt x="180558" y="1174903"/>
                                                        <a:pt x="195135" y="1180151"/>
                                                        <a:pt x="200706" y="1192654"/>
                                                      </a:cubicBezTo>
                                                      <a:cubicBezTo>
                                                        <a:pt x="201678" y="1194857"/>
                                                        <a:pt x="202326" y="1197254"/>
                                                        <a:pt x="203622" y="1199392"/>
                                                      </a:cubicBezTo>
                                                      <a:cubicBezTo>
                                                        <a:pt x="207898" y="1206777"/>
                                                        <a:pt x="217810" y="1208527"/>
                                                        <a:pt x="226297" y="1207685"/>
                                                      </a:cubicBezTo>
                                                      <a:cubicBezTo>
                                                        <a:pt x="234784" y="1206777"/>
                                                        <a:pt x="243206" y="1204121"/>
                                                        <a:pt x="251628" y="1205547"/>
                                                      </a:cubicBezTo>
                                                      <a:cubicBezTo>
                                                        <a:pt x="248907" y="1208786"/>
                                                        <a:pt x="251304" y="1214098"/>
                                                        <a:pt x="255062" y="1216042"/>
                                                      </a:cubicBezTo>
                                                      <a:cubicBezTo>
                                                        <a:pt x="258819" y="1217985"/>
                                                        <a:pt x="263289" y="1217726"/>
                                                        <a:pt x="267500" y="1217856"/>
                                                      </a:cubicBezTo>
                                                      <a:cubicBezTo>
                                                        <a:pt x="271776" y="1217985"/>
                                                        <a:pt x="276441" y="1218828"/>
                                                        <a:pt x="279032" y="1222132"/>
                                                      </a:cubicBezTo>
                                                      <a:cubicBezTo>
                                                        <a:pt x="280263" y="1223816"/>
                                                        <a:pt x="280911" y="1225889"/>
                                                        <a:pt x="282207" y="1227509"/>
                                                      </a:cubicBezTo>
                                                      <a:cubicBezTo>
                                                        <a:pt x="287908" y="1234441"/>
                                                        <a:pt x="300152" y="1227315"/>
                                                        <a:pt x="307927" y="1231785"/>
                                                      </a:cubicBezTo>
                                                      <a:cubicBezTo>
                                                        <a:pt x="314470" y="1235542"/>
                                                        <a:pt x="314146" y="1245454"/>
                                                        <a:pt x="310194" y="1251804"/>
                                                      </a:cubicBezTo>
                                                      <a:cubicBezTo>
                                                        <a:pt x="306825" y="1257310"/>
                                                        <a:pt x="301254" y="1263206"/>
                                                        <a:pt x="303845" y="1269101"/>
                                                      </a:cubicBezTo>
                                                      <a:cubicBezTo>
                                                        <a:pt x="304752" y="1271045"/>
                                                        <a:pt x="306437" y="1272535"/>
                                                        <a:pt x="307473" y="1274479"/>
                                                      </a:cubicBezTo>
                                                      <a:cubicBezTo>
                                                        <a:pt x="309741" y="1278560"/>
                                                        <a:pt x="308315" y="1283937"/>
                                                        <a:pt x="304946" y="1287177"/>
                                                      </a:cubicBezTo>
                                                      <a:cubicBezTo>
                                                        <a:pt x="301578" y="1290351"/>
                                                        <a:pt x="296719" y="1291647"/>
                                                        <a:pt x="292054" y="1291517"/>
                                                      </a:cubicBezTo>
                                                      <a:cubicBezTo>
                                                        <a:pt x="287584" y="1291452"/>
                                                        <a:pt x="281883" y="1290804"/>
                                                        <a:pt x="279810" y="1294821"/>
                                                      </a:cubicBezTo>
                                                      <a:cubicBezTo>
                                                        <a:pt x="279032" y="1296441"/>
                                                        <a:pt x="279097" y="1298449"/>
                                                        <a:pt x="277931" y="1299810"/>
                                                      </a:cubicBezTo>
                                                      <a:cubicBezTo>
                                                        <a:pt x="276635" y="1301365"/>
                                                        <a:pt x="274433" y="1301494"/>
                                                        <a:pt x="272554" y="1302077"/>
                                                      </a:cubicBezTo>
                                                      <a:cubicBezTo>
                                                        <a:pt x="268926" y="1303243"/>
                                                        <a:pt x="266334" y="1306418"/>
                                                        <a:pt x="264974" y="1310111"/>
                                                      </a:cubicBezTo>
                                                      <a:cubicBezTo>
                                                        <a:pt x="267500" y="1309268"/>
                                                        <a:pt x="270027" y="1308685"/>
                                                        <a:pt x="272683" y="1308491"/>
                                                      </a:cubicBezTo>
                                                      <a:cubicBezTo>
                                                        <a:pt x="278838" y="1307973"/>
                                                        <a:pt x="285122" y="1309592"/>
                                                        <a:pt x="290305" y="1312896"/>
                                                      </a:cubicBezTo>
                                                      <a:cubicBezTo>
                                                        <a:pt x="292314" y="1314192"/>
                                                        <a:pt x="294322" y="1316330"/>
                                                        <a:pt x="293674" y="1318598"/>
                                                      </a:cubicBezTo>
                                                      <a:cubicBezTo>
                                                        <a:pt x="293091" y="1320671"/>
                                                        <a:pt x="290694" y="1321578"/>
                                                        <a:pt x="288556" y="1322096"/>
                                                      </a:cubicBezTo>
                                                      <a:cubicBezTo>
                                                        <a:pt x="283956" y="1323327"/>
                                                        <a:pt x="279292" y="1324558"/>
                                                        <a:pt x="274692" y="1325789"/>
                                                      </a:cubicBezTo>
                                                      <a:cubicBezTo>
                                                        <a:pt x="276117" y="1333434"/>
                                                        <a:pt x="265621" y="1338357"/>
                                                        <a:pt x="258236" y="1336090"/>
                                                      </a:cubicBezTo>
                                                      <a:cubicBezTo>
                                                        <a:pt x="258171" y="1338616"/>
                                                        <a:pt x="258171" y="1341208"/>
                                                        <a:pt x="258171" y="1343799"/>
                                                      </a:cubicBezTo>
                                                      <a:cubicBezTo>
                                                        <a:pt x="263289" y="1346585"/>
                                                        <a:pt x="268990" y="1348269"/>
                                                        <a:pt x="274821" y="1348658"/>
                                                      </a:cubicBezTo>
                                                      <a:cubicBezTo>
                                                        <a:pt x="273720" y="1355202"/>
                                                        <a:pt x="267954" y="1358376"/>
                                                        <a:pt x="261540" y="1359931"/>
                                                      </a:cubicBezTo>
                                                      <a:cubicBezTo>
                                                        <a:pt x="258754" y="1360579"/>
                                                        <a:pt x="256033" y="1361227"/>
                                                        <a:pt x="253312" y="1361939"/>
                                                      </a:cubicBezTo>
                                                      <a:cubicBezTo>
                                                        <a:pt x="252859" y="1367835"/>
                                                        <a:pt x="252405" y="1373730"/>
                                                        <a:pt x="251887" y="1379626"/>
                                                      </a:cubicBezTo>
                                                      <a:cubicBezTo>
                                                        <a:pt x="246445" y="1374832"/>
                                                        <a:pt x="237181" y="1382088"/>
                                                        <a:pt x="238023" y="1389279"/>
                                                      </a:cubicBezTo>
                                                      <a:cubicBezTo>
                                                        <a:pt x="238930" y="1396470"/>
                                                        <a:pt x="245797" y="1401459"/>
                                                        <a:pt x="252600" y="1403985"/>
                                                      </a:cubicBezTo>
                                                      <a:cubicBezTo>
                                                        <a:pt x="259467" y="1406447"/>
                                                        <a:pt x="266917" y="1407354"/>
                                                        <a:pt x="273137" y="1411112"/>
                                                      </a:cubicBezTo>
                                                      <a:cubicBezTo>
                                                        <a:pt x="278838" y="1414480"/>
                                                        <a:pt x="282984" y="1419858"/>
                                                        <a:pt x="286936" y="1425105"/>
                                                      </a:cubicBezTo>
                                                      <a:cubicBezTo>
                                                        <a:pt x="288426" y="1426984"/>
                                                        <a:pt x="289916" y="1428928"/>
                                                        <a:pt x="291342" y="1430871"/>
                                                      </a:cubicBezTo>
                                                      <a:cubicBezTo>
                                                        <a:pt x="298144" y="1439747"/>
                                                        <a:pt x="308251" y="1449659"/>
                                                        <a:pt x="318617" y="1445578"/>
                                                      </a:cubicBezTo>
                                                      <a:cubicBezTo>
                                                        <a:pt x="320560" y="1453222"/>
                                                        <a:pt x="328010" y="1458729"/>
                                                        <a:pt x="335784" y="1459247"/>
                                                      </a:cubicBezTo>
                                                      <a:cubicBezTo>
                                                        <a:pt x="337599" y="1457498"/>
                                                        <a:pt x="339283" y="1455684"/>
                                                        <a:pt x="340838" y="1453741"/>
                                                      </a:cubicBezTo>
                                                      <a:cubicBezTo>
                                                        <a:pt x="341874" y="1452315"/>
                                                        <a:pt x="343040" y="1450825"/>
                                                        <a:pt x="344725" y="1450307"/>
                                                      </a:cubicBezTo>
                                                      <a:cubicBezTo>
                                                        <a:pt x="347057" y="1449529"/>
                                                        <a:pt x="349454" y="1450890"/>
                                                        <a:pt x="351722" y="1451732"/>
                                                      </a:cubicBezTo>
                                                      <a:cubicBezTo>
                                                        <a:pt x="358200" y="1454129"/>
                                                        <a:pt x="365327" y="1452834"/>
                                                        <a:pt x="372194" y="1452639"/>
                                                      </a:cubicBezTo>
                                                      <a:cubicBezTo>
                                                        <a:pt x="379061" y="1452445"/>
                                                        <a:pt x="386901" y="1454000"/>
                                                        <a:pt x="390464" y="1459895"/>
                                                      </a:cubicBezTo>
                                                      <a:cubicBezTo>
                                                        <a:pt x="391176" y="1461126"/>
                                                        <a:pt x="391695" y="1462487"/>
                                                        <a:pt x="392796" y="1463458"/>
                                                      </a:cubicBezTo>
                                                      <a:cubicBezTo>
                                                        <a:pt x="396100" y="1466503"/>
                                                        <a:pt x="401736" y="1463264"/>
                                                        <a:pt x="405818" y="1465208"/>
                                                      </a:cubicBezTo>
                                                      <a:cubicBezTo>
                                                        <a:pt x="406855" y="1465726"/>
                                                        <a:pt x="407761" y="1466503"/>
                                                        <a:pt x="408733" y="1467151"/>
                                                      </a:cubicBezTo>
                                                      <a:cubicBezTo>
                                                        <a:pt x="412102" y="1469354"/>
                                                        <a:pt x="416443" y="1469224"/>
                                                        <a:pt x="420459" y="1469289"/>
                                                      </a:cubicBezTo>
                                                      <a:cubicBezTo>
                                                        <a:pt x="432510" y="1469484"/>
                                                        <a:pt x="444495" y="1472334"/>
                                                        <a:pt x="455379" y="1477646"/>
                                                      </a:cubicBezTo>
                                                      <a:cubicBezTo>
                                                        <a:pt x="456480" y="1478165"/>
                                                        <a:pt x="457711" y="1478813"/>
                                                        <a:pt x="458230" y="1479979"/>
                                                      </a:cubicBezTo>
                                                      <a:cubicBezTo>
                                                        <a:pt x="458812" y="1481080"/>
                                                        <a:pt x="458618" y="1482505"/>
                                                        <a:pt x="458553" y="1483736"/>
                                                      </a:cubicBezTo>
                                                      <a:cubicBezTo>
                                                        <a:pt x="458230" y="1490021"/>
                                                        <a:pt x="463024" y="1496175"/>
                                                        <a:pt x="469243" y="1497406"/>
                                                      </a:cubicBezTo>
                                                      <a:cubicBezTo>
                                                        <a:pt x="470086" y="1497601"/>
                                                        <a:pt x="470992" y="1497730"/>
                                                        <a:pt x="471705" y="1498313"/>
                                                      </a:cubicBezTo>
                                                      <a:cubicBezTo>
                                                        <a:pt x="472223" y="1498832"/>
                                                        <a:pt x="472483" y="1499544"/>
                                                        <a:pt x="472677" y="1500321"/>
                                                      </a:cubicBezTo>
                                                      <a:cubicBezTo>
                                                        <a:pt x="472936" y="1501488"/>
                                                        <a:pt x="473195" y="1502654"/>
                                                        <a:pt x="473389" y="1503885"/>
                                                      </a:cubicBezTo>
                                                      <a:lnTo>
                                                        <a:pt x="473389" y="1503885"/>
                                                      </a:lnTo>
                                                      <a:cubicBezTo>
                                                        <a:pt x="477860" y="1504533"/>
                                                        <a:pt x="482330" y="1504857"/>
                                                        <a:pt x="486865" y="1504792"/>
                                                      </a:cubicBezTo>
                                                      <a:cubicBezTo>
                                                        <a:pt x="488290" y="1504792"/>
                                                        <a:pt x="489780" y="1504792"/>
                                                        <a:pt x="491011" y="1505504"/>
                                                      </a:cubicBezTo>
                                                      <a:cubicBezTo>
                                                        <a:pt x="492242" y="1506282"/>
                                                        <a:pt x="492890" y="1507707"/>
                                                        <a:pt x="493797" y="1508873"/>
                                                      </a:cubicBezTo>
                                                      <a:cubicBezTo>
                                                        <a:pt x="496194" y="1511789"/>
                                                        <a:pt x="500340" y="1512566"/>
                                                        <a:pt x="504098" y="1512501"/>
                                                      </a:cubicBezTo>
                                                      <a:cubicBezTo>
                                                        <a:pt x="507855" y="1512436"/>
                                                        <a:pt x="511743" y="1511853"/>
                                                        <a:pt x="515371" y="1512825"/>
                                                      </a:cubicBezTo>
                                                      <a:cubicBezTo>
                                                        <a:pt x="516925" y="1513214"/>
                                                        <a:pt x="518415" y="1513862"/>
                                                        <a:pt x="519970" y="1513732"/>
                                                      </a:cubicBezTo>
                                                      <a:cubicBezTo>
                                                        <a:pt x="521331" y="1513538"/>
                                                        <a:pt x="522497" y="1512760"/>
                                                        <a:pt x="523663" y="1512048"/>
                                                      </a:cubicBezTo>
                                                      <a:cubicBezTo>
                                                        <a:pt x="526838" y="1509975"/>
                                                        <a:pt x="529947" y="1507837"/>
                                                        <a:pt x="533122" y="1505763"/>
                                                      </a:cubicBezTo>
                                                      <a:cubicBezTo>
                                                        <a:pt x="530854" y="1500516"/>
                                                        <a:pt x="522886" y="1502848"/>
                                                        <a:pt x="520294" y="1498119"/>
                                                      </a:cubicBezTo>
                                                      <a:cubicBezTo>
                                                        <a:pt x="517638" y="1493325"/>
                                                        <a:pt x="515954" y="1487688"/>
                                                        <a:pt x="511483" y="1484579"/>
                                                      </a:cubicBezTo>
                                                      <a:cubicBezTo>
                                                        <a:pt x="508050" y="1482182"/>
                                                        <a:pt x="503061" y="1481274"/>
                                                        <a:pt x="501442" y="1477387"/>
                                                      </a:cubicBezTo>
                                                      <a:cubicBezTo>
                                                        <a:pt x="500405" y="1474796"/>
                                                        <a:pt x="501377" y="1471816"/>
                                                        <a:pt x="500988" y="1469030"/>
                                                      </a:cubicBezTo>
                                                      <a:cubicBezTo>
                                                        <a:pt x="500470" y="1464365"/>
                                                        <a:pt x="496389" y="1460997"/>
                                                        <a:pt x="494186" y="1456850"/>
                                                      </a:cubicBezTo>
                                                      <a:cubicBezTo>
                                                        <a:pt x="488484" y="1446031"/>
                                                        <a:pt x="495611" y="1431649"/>
                                                        <a:pt x="489586" y="1420959"/>
                                                      </a:cubicBezTo>
                                                      <a:cubicBezTo>
                                                        <a:pt x="485764" y="1414092"/>
                                                        <a:pt x="476953" y="1409881"/>
                                                        <a:pt x="476175" y="1402042"/>
                                                      </a:cubicBezTo>
                                                      <a:cubicBezTo>
                                                        <a:pt x="475592" y="1396211"/>
                                                        <a:pt x="479868" y="1391093"/>
                                                        <a:pt x="483885" y="1386817"/>
                                                      </a:cubicBezTo>
                                                      <a:cubicBezTo>
                                                        <a:pt x="497166" y="1372629"/>
                                                        <a:pt x="511483" y="1357987"/>
                                                        <a:pt x="529753" y="1351897"/>
                                                      </a:cubicBezTo>
                                                      <a:cubicBezTo>
                                                        <a:pt x="529429" y="1342957"/>
                                                        <a:pt x="530206" y="1333887"/>
                                                        <a:pt x="532215" y="1325141"/>
                                                      </a:cubicBezTo>
                                                      <a:cubicBezTo>
                                                        <a:pt x="526255" y="1326890"/>
                                                        <a:pt x="521201" y="1320541"/>
                                                        <a:pt x="518934" y="1314775"/>
                                                      </a:cubicBezTo>
                                                      <a:cubicBezTo>
                                                        <a:pt x="516666" y="1309009"/>
                                                        <a:pt x="514334" y="1302077"/>
                                                        <a:pt x="508374" y="1300458"/>
                                                      </a:cubicBezTo>
                                                      <a:cubicBezTo>
                                                        <a:pt x="505329" y="1299615"/>
                                                        <a:pt x="502089" y="1300393"/>
                                                        <a:pt x="498980" y="1299810"/>
                                                      </a:cubicBezTo>
                                                      <a:cubicBezTo>
                                                        <a:pt x="491853" y="1298320"/>
                                                        <a:pt x="488679" y="1290157"/>
                                                        <a:pt x="486023" y="1283419"/>
                                                      </a:cubicBezTo>
                                                      <a:cubicBezTo>
                                                        <a:pt x="483302" y="1276616"/>
                                                        <a:pt x="477795" y="1269036"/>
                                                        <a:pt x="470668" y="1270527"/>
                                                      </a:cubicBezTo>
                                                      <a:cubicBezTo>
                                                        <a:pt x="473260" y="1265797"/>
                                                        <a:pt x="477406" y="1262040"/>
                                                        <a:pt x="482330" y="1259967"/>
                                                      </a:cubicBezTo>
                                                      <a:cubicBezTo>
                                                        <a:pt x="479803" y="1256468"/>
                                                        <a:pt x="477082" y="1252646"/>
                                                        <a:pt x="476758" y="1248305"/>
                                                      </a:cubicBezTo>
                                                      <a:cubicBezTo>
                                                        <a:pt x="476370" y="1243964"/>
                                                        <a:pt x="479414" y="1239041"/>
                                                        <a:pt x="483755" y="1239041"/>
                                                      </a:cubicBezTo>
                                                      <a:cubicBezTo>
                                                        <a:pt x="483755" y="1232303"/>
                                                        <a:pt x="483949" y="1225501"/>
                                                        <a:pt x="484014" y="1218763"/>
                                                      </a:cubicBezTo>
                                                      <a:cubicBezTo>
                                                        <a:pt x="488679" y="1214422"/>
                                                        <a:pt x="493602" y="1209887"/>
                                                        <a:pt x="499757" y="1208203"/>
                                                      </a:cubicBezTo>
                                                      <a:cubicBezTo>
                                                        <a:pt x="505977" y="1206454"/>
                                                        <a:pt x="513686" y="1208591"/>
                                                        <a:pt x="516213" y="1214422"/>
                                                      </a:cubicBezTo>
                                                      <a:cubicBezTo>
                                                        <a:pt x="517962" y="1218374"/>
                                                        <a:pt x="517314" y="1223686"/>
                                                        <a:pt x="520748" y="1226278"/>
                                                      </a:cubicBezTo>
                                                      <a:cubicBezTo>
                                                        <a:pt x="524570" y="1229193"/>
                                                        <a:pt x="530401" y="1225824"/>
                                                        <a:pt x="532085" y="1221354"/>
                                                      </a:cubicBezTo>
                                                      <a:cubicBezTo>
                                                        <a:pt x="533770" y="1216819"/>
                                                        <a:pt x="532863" y="1211831"/>
                                                        <a:pt x="532668" y="1207037"/>
                                                      </a:cubicBezTo>
                                                      <a:cubicBezTo>
                                                        <a:pt x="532474" y="1202242"/>
                                                        <a:pt x="533511" y="1196800"/>
                                                        <a:pt x="537592" y="1194274"/>
                                                      </a:cubicBezTo>
                                                      <a:cubicBezTo>
                                                        <a:pt x="542969" y="1191035"/>
                                                        <a:pt x="550290" y="1194663"/>
                                                        <a:pt x="555862" y="1191942"/>
                                                      </a:cubicBezTo>
                                                      <a:cubicBezTo>
                                                        <a:pt x="562275" y="1188832"/>
                                                        <a:pt x="563053" y="1179308"/>
                                                        <a:pt x="569208" y="1175680"/>
                                                      </a:cubicBezTo>
                                                      <a:cubicBezTo>
                                                        <a:pt x="573937" y="1172830"/>
                                                        <a:pt x="579962" y="1174644"/>
                                                        <a:pt x="585469" y="1174061"/>
                                                      </a:cubicBezTo>
                                                      <a:cubicBezTo>
                                                        <a:pt x="591299" y="1173478"/>
                                                        <a:pt x="596482" y="1170109"/>
                                                        <a:pt x="601924" y="1167971"/>
                                                      </a:cubicBezTo>
                                                      <a:cubicBezTo>
                                                        <a:pt x="620583" y="1160585"/>
                                                        <a:pt x="642156" y="1167258"/>
                                                        <a:pt x="658871" y="1178336"/>
                                                      </a:cubicBezTo>
                                                      <a:cubicBezTo>
                                                        <a:pt x="665868" y="1183001"/>
                                                        <a:pt x="672994" y="1188573"/>
                                                        <a:pt x="681352" y="1188378"/>
                                                      </a:cubicBezTo>
                                                      <a:lnTo>
                                                        <a:pt x="681352" y="1201206"/>
                                                      </a:lnTo>
                                                      <a:cubicBezTo>
                                                        <a:pt x="685498" y="1201983"/>
                                                        <a:pt x="689839" y="1201335"/>
                                                        <a:pt x="693531" y="1199457"/>
                                                      </a:cubicBezTo>
                                                      <a:cubicBezTo>
                                                        <a:pt x="694568" y="1203797"/>
                                                        <a:pt x="700528" y="1205093"/>
                                                        <a:pt x="704545" y="1203214"/>
                                                      </a:cubicBezTo>
                                                      <a:cubicBezTo>
                                                        <a:pt x="708562" y="1201335"/>
                                                        <a:pt x="711283" y="1197578"/>
                                                        <a:pt x="714457" y="1194468"/>
                                                      </a:cubicBezTo>
                                                      <a:cubicBezTo>
                                                        <a:pt x="722102" y="1187083"/>
                                                        <a:pt x="733310" y="1183584"/>
                                                        <a:pt x="743740" y="1185269"/>
                                                      </a:cubicBezTo>
                                                      <a:cubicBezTo>
                                                        <a:pt x="744647" y="1187795"/>
                                                        <a:pt x="745554" y="1190257"/>
                                                        <a:pt x="746396" y="1192784"/>
                                                      </a:cubicBezTo>
                                                      <a:cubicBezTo>
                                                        <a:pt x="755855" y="1189998"/>
                                                        <a:pt x="765314" y="1187212"/>
                                                        <a:pt x="774708" y="1184491"/>
                                                      </a:cubicBezTo>
                                                      <a:cubicBezTo>
                                                        <a:pt x="777947" y="1192654"/>
                                                        <a:pt x="788572" y="1196865"/>
                                                        <a:pt x="796476" y="1193172"/>
                                                      </a:cubicBezTo>
                                                      <a:cubicBezTo>
                                                        <a:pt x="797124" y="1198031"/>
                                                        <a:pt x="798938" y="1202696"/>
                                                        <a:pt x="801659" y="1206777"/>
                                                      </a:cubicBezTo>
                                                      <a:cubicBezTo>
                                                        <a:pt x="811571" y="1203473"/>
                                                        <a:pt x="821483" y="1200169"/>
                                                        <a:pt x="831395" y="1196865"/>
                                                      </a:cubicBezTo>
                                                      <a:cubicBezTo>
                                                        <a:pt x="831655" y="1202372"/>
                                                        <a:pt x="837032" y="1207231"/>
                                                        <a:pt x="842539" y="1206842"/>
                                                      </a:cubicBezTo>
                                                      <a:cubicBezTo>
                                                        <a:pt x="853099" y="1202437"/>
                                                        <a:pt x="855884" y="1186176"/>
                                                        <a:pt x="847397" y="1178466"/>
                                                      </a:cubicBezTo>
                                                      <a:cubicBezTo>
                                                        <a:pt x="840271" y="1171988"/>
                                                        <a:pt x="828609" y="1172376"/>
                                                        <a:pt x="821742" y="1165639"/>
                                                      </a:cubicBezTo>
                                                      <a:cubicBezTo>
                                                        <a:pt x="821742" y="1162399"/>
                                                        <a:pt x="821742" y="1159095"/>
                                                        <a:pt x="821742" y="1155856"/>
                                                      </a:cubicBezTo>
                                                      <a:cubicBezTo>
                                                        <a:pt x="826536" y="1153653"/>
                                                        <a:pt x="831330" y="1151386"/>
                                                        <a:pt x="836125" y="1149118"/>
                                                      </a:cubicBezTo>
                                                      <a:cubicBezTo>
                                                        <a:pt x="833080" y="1145296"/>
                                                        <a:pt x="832756" y="1139595"/>
                                                        <a:pt x="835283" y="1135384"/>
                                                      </a:cubicBezTo>
                                                      <a:cubicBezTo>
                                                        <a:pt x="836643" y="1133181"/>
                                                        <a:pt x="838781" y="1131302"/>
                                                        <a:pt x="839429" y="1128711"/>
                                                      </a:cubicBezTo>
                                                      <a:cubicBezTo>
                                                        <a:pt x="840012" y="1126378"/>
                                                        <a:pt x="839170" y="1123917"/>
                                                        <a:pt x="839429" y="1121584"/>
                                                      </a:cubicBezTo>
                                                      <a:cubicBezTo>
                                                        <a:pt x="839947" y="1116596"/>
                                                        <a:pt x="845065" y="1113162"/>
                                                        <a:pt x="850054" y="1112773"/>
                                                      </a:cubicBezTo>
                                                      <a:cubicBezTo>
                                                        <a:pt x="855042" y="1112385"/>
                                                        <a:pt x="859901" y="1114263"/>
                                                        <a:pt x="864501" y="1116142"/>
                                                      </a:cubicBezTo>
                                                      <a:cubicBezTo>
                                                        <a:pt x="866445" y="1109534"/>
                                                        <a:pt x="860095" y="1103639"/>
                                                        <a:pt x="854653" y="1099363"/>
                                                      </a:cubicBezTo>
                                                      <a:cubicBezTo>
                                                        <a:pt x="849211" y="1095087"/>
                                                        <a:pt x="843381" y="1088220"/>
                                                        <a:pt x="846620" y="1082065"/>
                                                      </a:cubicBezTo>
                                                      <a:cubicBezTo>
                                                        <a:pt x="851220" y="1074032"/>
                                                        <a:pt x="863076" y="1075457"/>
                                                        <a:pt x="871951" y="1078307"/>
                                                      </a:cubicBezTo>
                                                      <a:cubicBezTo>
                                                        <a:pt x="880762" y="1081158"/>
                                                        <a:pt x="892229" y="1083555"/>
                                                        <a:pt x="897801" y="1076169"/>
                                                      </a:cubicBezTo>
                                                      <a:cubicBezTo>
                                                        <a:pt x="909268" y="1073772"/>
                                                        <a:pt x="921901" y="1066257"/>
                                                        <a:pt x="933303" y="1063860"/>
                                                      </a:cubicBezTo>
                                                      <a:cubicBezTo>
                                                        <a:pt x="954099" y="1059520"/>
                                                        <a:pt x="974896" y="1055179"/>
                                                        <a:pt x="995821" y="1052004"/>
                                                      </a:cubicBezTo>
                                                      <a:cubicBezTo>
                                                        <a:pt x="1008196" y="1050126"/>
                                                        <a:pt x="1021542" y="1048247"/>
                                                        <a:pt x="1030676" y="1039695"/>
                                                      </a:cubicBezTo>
                                                      <a:cubicBezTo>
                                                        <a:pt x="1034887" y="1035808"/>
                                                        <a:pt x="1038062" y="1030496"/>
                                                        <a:pt x="1043245" y="1028098"/>
                                                      </a:cubicBezTo>
                                                      <a:cubicBezTo>
                                                        <a:pt x="1047974" y="1025831"/>
                                                        <a:pt x="1053546" y="1026349"/>
                                                        <a:pt x="1058793" y="1026997"/>
                                                      </a:cubicBezTo>
                                                      <a:cubicBezTo>
                                                        <a:pt x="1068381" y="1028098"/>
                                                        <a:pt x="1078164" y="1029265"/>
                                                        <a:pt x="1086780" y="1033605"/>
                                                      </a:cubicBezTo>
                                                      <a:cubicBezTo>
                                                        <a:pt x="1095397" y="1038011"/>
                                                        <a:pt x="1102653" y="1046303"/>
                                                        <a:pt x="1102977" y="1055956"/>
                                                      </a:cubicBezTo>
                                                      <a:cubicBezTo>
                                                        <a:pt x="1103236" y="1064314"/>
                                                        <a:pt x="1099608" y="1075457"/>
                                                        <a:pt x="1107123" y="1079214"/>
                                                      </a:cubicBezTo>
                                                      <a:cubicBezTo>
                                                        <a:pt x="1115545" y="1083425"/>
                                                        <a:pt x="1125523" y="1070404"/>
                                                        <a:pt x="1133815" y="1074874"/>
                                                      </a:cubicBezTo>
                                                      <a:cubicBezTo>
                                                        <a:pt x="1138156" y="1083555"/>
                                                        <a:pt x="1149234" y="1088284"/>
                                                        <a:pt x="1158498" y="1085304"/>
                                                      </a:cubicBezTo>
                                                      <a:cubicBezTo>
                                                        <a:pt x="1159989" y="1089710"/>
                                                        <a:pt x="1161479" y="1094180"/>
                                                        <a:pt x="1162904" y="1098585"/>
                                                      </a:cubicBezTo>
                                                      <a:cubicBezTo>
                                                        <a:pt x="1182987" y="1093921"/>
                                                        <a:pt x="1202099" y="1084980"/>
                                                        <a:pt x="1218555" y="1072541"/>
                                                      </a:cubicBezTo>
                                                      <a:cubicBezTo>
                                                        <a:pt x="1222766" y="1069367"/>
                                                        <a:pt x="1228532" y="1065868"/>
                                                        <a:pt x="1232743" y="1069043"/>
                                                      </a:cubicBezTo>
                                                      <a:cubicBezTo>
                                                        <a:pt x="1238185" y="1073125"/>
                                                        <a:pt x="1233455" y="1082454"/>
                                                        <a:pt x="1236695" y="1088414"/>
                                                      </a:cubicBezTo>
                                                      <a:cubicBezTo>
                                                        <a:pt x="1240582" y="1095476"/>
                                                        <a:pt x="1252243" y="1093208"/>
                                                        <a:pt x="1257556" y="1099233"/>
                                                      </a:cubicBezTo>
                                                      <a:cubicBezTo>
                                                        <a:pt x="1261637" y="1103963"/>
                                                        <a:pt x="1260082" y="1111737"/>
                                                        <a:pt x="1264034" y="1116596"/>
                                                      </a:cubicBezTo>
                                                      <a:cubicBezTo>
                                                        <a:pt x="1266950" y="1120224"/>
                                                        <a:pt x="1272392" y="1121455"/>
                                                        <a:pt x="1274789" y="1125471"/>
                                                      </a:cubicBezTo>
                                                      <a:cubicBezTo>
                                                        <a:pt x="1276214" y="1127933"/>
                                                        <a:pt x="1276279" y="1130913"/>
                                                        <a:pt x="1276862" y="1133699"/>
                                                      </a:cubicBezTo>
                                                      <a:cubicBezTo>
                                                        <a:pt x="1277769" y="1137975"/>
                                                        <a:pt x="1280036" y="1141733"/>
                                                        <a:pt x="1282239" y="1145490"/>
                                                      </a:cubicBezTo>
                                                      <a:cubicBezTo>
                                                        <a:pt x="1290143" y="1158512"/>
                                                        <a:pt x="1298047" y="1171599"/>
                                                        <a:pt x="1305886" y="1184621"/>
                                                      </a:cubicBezTo>
                                                      <a:cubicBezTo>
                                                        <a:pt x="1309061" y="1189933"/>
                                                        <a:pt x="1313855" y="1195958"/>
                                                        <a:pt x="1319880" y="1194663"/>
                                                      </a:cubicBezTo>
                                                      <a:cubicBezTo>
                                                        <a:pt x="1325127" y="1193561"/>
                                                        <a:pt x="1327460" y="1187601"/>
                                                        <a:pt x="1330375" y="1183066"/>
                                                      </a:cubicBezTo>
                                                      <a:cubicBezTo>
                                                        <a:pt x="1333355" y="1178596"/>
                                                        <a:pt x="1340676" y="1175356"/>
                                                        <a:pt x="1343526" y="1179891"/>
                                                      </a:cubicBezTo>
                                                      <a:cubicBezTo>
                                                        <a:pt x="1341389" y="1187212"/>
                                                        <a:pt x="1347673" y="1194922"/>
                                                        <a:pt x="1355058" y="1196865"/>
                                                      </a:cubicBezTo>
                                                      <a:cubicBezTo>
                                                        <a:pt x="1362444" y="1198809"/>
                                                        <a:pt x="1370218" y="1196541"/>
                                                        <a:pt x="1377345" y="1193756"/>
                                                      </a:cubicBezTo>
                                                      <a:cubicBezTo>
                                                        <a:pt x="1385313" y="1190581"/>
                                                        <a:pt x="1394513" y="1186694"/>
                                                        <a:pt x="1401963" y="1190905"/>
                                                      </a:cubicBezTo>
                                                      <a:cubicBezTo>
                                                        <a:pt x="1411098" y="1196023"/>
                                                        <a:pt x="1411616" y="1210017"/>
                                                        <a:pt x="1420298" y="1215912"/>
                                                      </a:cubicBezTo>
                                                      <a:cubicBezTo>
                                                        <a:pt x="1423990" y="1218374"/>
                                                        <a:pt x="1428849" y="1219152"/>
                                                        <a:pt x="1431829" y="1222520"/>
                                                      </a:cubicBezTo>
                                                      <a:cubicBezTo>
                                                        <a:pt x="1434421" y="1225436"/>
                                                        <a:pt x="1434939" y="1229647"/>
                                                        <a:pt x="1437142" y="1232951"/>
                                                      </a:cubicBezTo>
                                                      <a:cubicBezTo>
                                                        <a:pt x="1443815" y="1242798"/>
                                                        <a:pt x="1458910" y="1237939"/>
                                                        <a:pt x="1470636" y="1239948"/>
                                                      </a:cubicBezTo>
                                                      <a:cubicBezTo>
                                                        <a:pt x="1477957" y="1241179"/>
                                                        <a:pt x="1484111" y="1246102"/>
                                                        <a:pt x="1487869" y="1252516"/>
                                                      </a:cubicBezTo>
                                                      <a:cubicBezTo>
                                                        <a:pt x="1488063" y="1252516"/>
                                                        <a:pt x="1488323" y="1252451"/>
                                                        <a:pt x="1488517" y="1252451"/>
                                                      </a:cubicBezTo>
                                                      <a:cubicBezTo>
                                                        <a:pt x="1488905" y="1252451"/>
                                                        <a:pt x="1489230" y="1252516"/>
                                                        <a:pt x="1489553" y="1252581"/>
                                                      </a:cubicBezTo>
                                                      <a:cubicBezTo>
                                                        <a:pt x="1489877" y="1252646"/>
                                                        <a:pt x="1490201" y="1252711"/>
                                                        <a:pt x="1490461" y="1252840"/>
                                                      </a:cubicBezTo>
                                                      <a:cubicBezTo>
                                                        <a:pt x="1490784" y="1252905"/>
                                                        <a:pt x="1491043" y="1253035"/>
                                                        <a:pt x="1491302" y="1253229"/>
                                                      </a:cubicBezTo>
                                                      <a:cubicBezTo>
                                                        <a:pt x="1491562" y="1253358"/>
                                                        <a:pt x="1491821" y="1253553"/>
                                                        <a:pt x="1492080" y="1253747"/>
                                                      </a:cubicBezTo>
                                                      <a:cubicBezTo>
                                                        <a:pt x="1492339" y="1253941"/>
                                                        <a:pt x="1492533" y="1254136"/>
                                                        <a:pt x="1492793" y="1254395"/>
                                                      </a:cubicBezTo>
                                                      <a:cubicBezTo>
                                                        <a:pt x="1493246" y="1254848"/>
                                                        <a:pt x="1493635" y="1255367"/>
                                                        <a:pt x="1493959" y="1255950"/>
                                                      </a:cubicBezTo>
                                                      <a:cubicBezTo>
                                                        <a:pt x="1494089" y="1256209"/>
                                                        <a:pt x="1494283" y="1256403"/>
                                                        <a:pt x="1494477" y="1256727"/>
                                                      </a:cubicBezTo>
                                                      <a:cubicBezTo>
                                                        <a:pt x="1494801" y="1255626"/>
                                                        <a:pt x="1494995" y="1254654"/>
                                                        <a:pt x="1495384" y="1253553"/>
                                                      </a:cubicBezTo>
                                                      <a:cubicBezTo>
                                                        <a:pt x="1512099" y="1250702"/>
                                                        <a:pt x="1527129" y="1241827"/>
                                                        <a:pt x="1541706" y="1233080"/>
                                                      </a:cubicBezTo>
                                                      <a:cubicBezTo>
                                                        <a:pt x="1546111" y="1230424"/>
                                                        <a:pt x="1551035" y="1227055"/>
                                                        <a:pt x="1551424" y="1221937"/>
                                                      </a:cubicBezTo>
                                                      <a:cubicBezTo>
                                                        <a:pt x="1551618" y="1219994"/>
                                                        <a:pt x="1551165" y="1217856"/>
                                                        <a:pt x="1552266" y="1216236"/>
                                                      </a:cubicBezTo>
                                                      <a:cubicBezTo>
                                                        <a:pt x="1554469" y="1213062"/>
                                                        <a:pt x="1559263" y="1215653"/>
                                                        <a:pt x="1563020" y="1216431"/>
                                                      </a:cubicBezTo>
                                                      <a:cubicBezTo>
                                                        <a:pt x="1572673" y="1218374"/>
                                                        <a:pt x="1579152" y="1206713"/>
                                                        <a:pt x="1587898" y="1202242"/>
                                                      </a:cubicBezTo>
                                                      <a:cubicBezTo>
                                                        <a:pt x="1604224" y="1193950"/>
                                                        <a:pt x="1625668" y="1211831"/>
                                                        <a:pt x="1641282" y="1202372"/>
                                                      </a:cubicBezTo>
                                                      <a:cubicBezTo>
                                                        <a:pt x="1643160" y="1208915"/>
                                                        <a:pt x="1645104" y="1215524"/>
                                                        <a:pt x="1646983" y="1222067"/>
                                                      </a:cubicBezTo>
                                                      <a:cubicBezTo>
                                                        <a:pt x="1653980" y="1217143"/>
                                                        <a:pt x="1661689" y="1227509"/>
                                                        <a:pt x="1669917" y="1229906"/>
                                                      </a:cubicBezTo>
                                                      <a:cubicBezTo>
                                                        <a:pt x="1673610" y="1231007"/>
                                                        <a:pt x="1677561" y="1230360"/>
                                                        <a:pt x="1681449" y="1230165"/>
                                                      </a:cubicBezTo>
                                                      <a:cubicBezTo>
                                                        <a:pt x="1693175" y="1229776"/>
                                                        <a:pt x="1705031" y="1234247"/>
                                                        <a:pt x="1716562" y="1231914"/>
                                                      </a:cubicBezTo>
                                                      <a:cubicBezTo>
                                                        <a:pt x="1728095" y="1229647"/>
                                                        <a:pt x="1738071" y="1214746"/>
                                                        <a:pt x="1729779" y="1206389"/>
                                                      </a:cubicBezTo>
                                                      <a:cubicBezTo>
                                                        <a:pt x="1727446" y="1204056"/>
                                                        <a:pt x="1724013" y="1202696"/>
                                                        <a:pt x="1722393" y="1199845"/>
                                                      </a:cubicBezTo>
                                                      <a:cubicBezTo>
                                                        <a:pt x="1721098" y="1197578"/>
                                                        <a:pt x="1721098" y="1194792"/>
                                                        <a:pt x="1721486" y="1192201"/>
                                                      </a:cubicBezTo>
                                                      <a:cubicBezTo>
                                                        <a:pt x="1724078" y="1173737"/>
                                                        <a:pt x="1739626" y="1160326"/>
                                                        <a:pt x="1754138" y="1148665"/>
                                                      </a:cubicBezTo>
                                                      <a:cubicBezTo>
                                                        <a:pt x="1778562" y="1161751"/>
                                                        <a:pt x="1804153" y="1175097"/>
                                                        <a:pt x="1831881" y="1175551"/>
                                                      </a:cubicBezTo>
                                                      <a:cubicBezTo>
                                                        <a:pt x="1833306" y="1185657"/>
                                                        <a:pt x="1834797" y="1195764"/>
                                                        <a:pt x="1836222" y="1205870"/>
                                                      </a:cubicBezTo>
                                                      <a:cubicBezTo>
                                                        <a:pt x="1841081" y="1204575"/>
                                                        <a:pt x="1846523" y="1209304"/>
                                                        <a:pt x="1845940" y="1214293"/>
                                                      </a:cubicBezTo>
                                                      <a:cubicBezTo>
                                                        <a:pt x="1852289" y="1213710"/>
                                                        <a:pt x="1857601" y="1218504"/>
                                                        <a:pt x="1862914" y="1222132"/>
                                                      </a:cubicBezTo>
                                                      <a:cubicBezTo>
                                                        <a:pt x="1868161" y="1225695"/>
                                                        <a:pt x="1876065" y="1227962"/>
                                                        <a:pt x="1880341" y="1223233"/>
                                                      </a:cubicBezTo>
                                                      <a:cubicBezTo>
                                                        <a:pt x="1881831" y="1221613"/>
                                                        <a:pt x="1882544" y="1219475"/>
                                                        <a:pt x="1883774" y="1217597"/>
                                                      </a:cubicBezTo>
                                                      <a:cubicBezTo>
                                                        <a:pt x="1887403" y="1212284"/>
                                                        <a:pt x="1894464" y="1210794"/>
                                                        <a:pt x="1900878" y="1210341"/>
                                                      </a:cubicBezTo>
                                                      <a:cubicBezTo>
                                                        <a:pt x="1930549" y="1208203"/>
                                                        <a:pt x="1960870" y="1219022"/>
                                                        <a:pt x="1982443" y="1239429"/>
                                                      </a:cubicBezTo>
                                                      <a:cubicBezTo>
                                                        <a:pt x="1985359" y="1242215"/>
                                                        <a:pt x="1988339" y="1245260"/>
                                                        <a:pt x="1992161" y="1246426"/>
                                                      </a:cubicBezTo>
                                                      <a:cubicBezTo>
                                                        <a:pt x="1997020" y="1247852"/>
                                                        <a:pt x="2002203" y="1246038"/>
                                                        <a:pt x="2007256" y="1246167"/>
                                                      </a:cubicBezTo>
                                                      <a:cubicBezTo>
                                                        <a:pt x="2020667" y="1246426"/>
                                                        <a:pt x="2033106" y="1260096"/>
                                                        <a:pt x="2045544" y="1255043"/>
                                                      </a:cubicBezTo>
                                                      <a:cubicBezTo>
                                                        <a:pt x="2049691" y="1253358"/>
                                                        <a:pt x="2052865" y="1249730"/>
                                                        <a:pt x="2057011" y="1247916"/>
                                                      </a:cubicBezTo>
                                                      <a:cubicBezTo>
                                                        <a:pt x="2062065" y="1245778"/>
                                                        <a:pt x="2067896" y="1246556"/>
                                                        <a:pt x="2073402" y="1246361"/>
                                                      </a:cubicBezTo>
                                                      <a:cubicBezTo>
                                                        <a:pt x="2089987" y="1245714"/>
                                                        <a:pt x="2104370" y="1235542"/>
                                                        <a:pt x="2119012" y="1227833"/>
                                                      </a:cubicBezTo>
                                                      <a:cubicBezTo>
                                                        <a:pt x="2133717" y="1220123"/>
                                                        <a:pt x="2152311" y="1214940"/>
                                                        <a:pt x="2166305" y="1223816"/>
                                                      </a:cubicBezTo>
                                                      <a:cubicBezTo>
                                                        <a:pt x="2169414" y="1225824"/>
                                                        <a:pt x="2172265" y="1228481"/>
                                                        <a:pt x="2175764" y="1229582"/>
                                                      </a:cubicBezTo>
                                                      <a:cubicBezTo>
                                                        <a:pt x="2180299" y="1230943"/>
                                                        <a:pt x="2185417" y="1229582"/>
                                                        <a:pt x="2189822" y="1231266"/>
                                                      </a:cubicBezTo>
                                                      <a:cubicBezTo>
                                                        <a:pt x="2193774" y="1232757"/>
                                                        <a:pt x="2196301" y="1236255"/>
                                                        <a:pt x="2198503" y="1240142"/>
                                                      </a:cubicBezTo>
                                                      <a:cubicBezTo>
                                                        <a:pt x="2198957" y="1240077"/>
                                                        <a:pt x="2199410" y="1239948"/>
                                                        <a:pt x="2199864" y="1239883"/>
                                                      </a:cubicBezTo>
                                                      <a:cubicBezTo>
                                                        <a:pt x="2200317" y="1239818"/>
                                                        <a:pt x="2200771" y="1239689"/>
                                                        <a:pt x="2201224" y="1239689"/>
                                                      </a:cubicBezTo>
                                                      <a:cubicBezTo>
                                                        <a:pt x="2202714" y="1239559"/>
                                                        <a:pt x="2204204" y="1239624"/>
                                                        <a:pt x="2205695" y="1239689"/>
                                                      </a:cubicBezTo>
                                                      <a:lnTo>
                                                        <a:pt x="2206861" y="1239689"/>
                                                      </a:lnTo>
                                                      <a:cubicBezTo>
                                                        <a:pt x="2208740" y="1239818"/>
                                                        <a:pt x="2210683" y="1240013"/>
                                                        <a:pt x="2212562" y="1240207"/>
                                                      </a:cubicBezTo>
                                                      <a:cubicBezTo>
                                                        <a:pt x="2213534" y="1240336"/>
                                                        <a:pt x="2214441" y="1240401"/>
                                                        <a:pt x="2215413" y="1240466"/>
                                                      </a:cubicBezTo>
                                                      <a:cubicBezTo>
                                                        <a:pt x="2228111" y="1241308"/>
                                                        <a:pt x="2241068" y="1237356"/>
                                                        <a:pt x="2251109" y="1229582"/>
                                                      </a:cubicBezTo>
                                                      <a:cubicBezTo>
                                                        <a:pt x="2266658" y="1217532"/>
                                                        <a:pt x="2274238" y="1197902"/>
                                                        <a:pt x="2277931" y="1178596"/>
                                                      </a:cubicBezTo>
                                                      <a:cubicBezTo>
                                                        <a:pt x="2278708" y="1174708"/>
                                                        <a:pt x="2279421" y="1170627"/>
                                                        <a:pt x="2281559" y="1167258"/>
                                                      </a:cubicBezTo>
                                                      <a:cubicBezTo>
                                                        <a:pt x="2284086" y="1163241"/>
                                                        <a:pt x="2288426" y="1160715"/>
                                                        <a:pt x="2291406" y="1157022"/>
                                                      </a:cubicBezTo>
                                                      <a:cubicBezTo>
                                                        <a:pt x="2298338" y="1148341"/>
                                                        <a:pt x="2295229" y="1133699"/>
                                                        <a:pt x="2285381" y="1128581"/>
                                                      </a:cubicBezTo>
                                                      <a:cubicBezTo>
                                                        <a:pt x="2281947" y="1122426"/>
                                                        <a:pt x="2284150" y="1113486"/>
                                                        <a:pt x="2289917" y="1109469"/>
                                                      </a:cubicBezTo>
                                                      <a:cubicBezTo>
                                                        <a:pt x="2295747" y="1105453"/>
                                                        <a:pt x="2303067" y="1104610"/>
                                                        <a:pt x="2310065" y="1103833"/>
                                                      </a:cubicBezTo>
                                                      <a:cubicBezTo>
                                                        <a:pt x="2331573" y="1101565"/>
                                                        <a:pt x="2353536" y="1099687"/>
                                                        <a:pt x="2374850" y="1103768"/>
                                                      </a:cubicBezTo>
                                                      <a:cubicBezTo>
                                                        <a:pt x="2396100" y="1107785"/>
                                                        <a:pt x="2417026" y="1118604"/>
                                                        <a:pt x="2428752" y="1136809"/>
                                                      </a:cubicBezTo>
                                                      <a:cubicBezTo>
                                                        <a:pt x="2434323" y="1145490"/>
                                                        <a:pt x="2437627" y="1155467"/>
                                                        <a:pt x="2443393" y="1163954"/>
                                                      </a:cubicBezTo>
                                                      <a:cubicBezTo>
                                                        <a:pt x="2445855" y="1167517"/>
                                                        <a:pt x="2448706" y="1170821"/>
                                                        <a:pt x="2450261" y="1174838"/>
                                                      </a:cubicBezTo>
                                                      <a:cubicBezTo>
                                                        <a:pt x="2451297" y="1177559"/>
                                                        <a:pt x="2451686" y="1180410"/>
                                                        <a:pt x="2452139" y="1183325"/>
                                                      </a:cubicBezTo>
                                                      <a:cubicBezTo>
                                                        <a:pt x="2454536" y="1197060"/>
                                                        <a:pt x="2459525" y="1210276"/>
                                                        <a:pt x="2466846" y="1222196"/>
                                                      </a:cubicBezTo>
                                                      <a:cubicBezTo>
                                                        <a:pt x="2468466" y="1224917"/>
                                                        <a:pt x="2470280" y="1227574"/>
                                                        <a:pt x="2471252" y="1230619"/>
                                                      </a:cubicBezTo>
                                                      <a:cubicBezTo>
                                                        <a:pt x="2472223" y="1233923"/>
                                                        <a:pt x="2472288" y="1237810"/>
                                                        <a:pt x="2474491" y="1240531"/>
                                                      </a:cubicBezTo>
                                                      <a:cubicBezTo>
                                                        <a:pt x="2475981" y="1242280"/>
                                                        <a:pt x="2478183" y="1243317"/>
                                                        <a:pt x="2480321" y="1244224"/>
                                                      </a:cubicBezTo>
                                                      <a:cubicBezTo>
                                                        <a:pt x="2488419" y="1247722"/>
                                                        <a:pt x="2496517" y="1251285"/>
                                                        <a:pt x="2504616" y="1254784"/>
                                                      </a:cubicBezTo>
                                                      <a:cubicBezTo>
                                                        <a:pt x="2515695" y="1259643"/>
                                                        <a:pt x="2527162" y="1264696"/>
                                                        <a:pt x="2535325" y="1273636"/>
                                                      </a:cubicBezTo>
                                                      <a:cubicBezTo>
                                                        <a:pt x="2544265" y="1283289"/>
                                                        <a:pt x="2549188" y="1297413"/>
                                                        <a:pt x="2561109" y="1302984"/>
                                                      </a:cubicBezTo>
                                                      <a:cubicBezTo>
                                                        <a:pt x="2568948" y="1306612"/>
                                                        <a:pt x="2578083" y="1305705"/>
                                                        <a:pt x="2586570" y="1303891"/>
                                                      </a:cubicBezTo>
                                                      <a:cubicBezTo>
                                                        <a:pt x="2599721" y="1301170"/>
                                                        <a:pt x="2612484" y="1296635"/>
                                                        <a:pt x="2624469" y="1290416"/>
                                                      </a:cubicBezTo>
                                                      <a:cubicBezTo>
                                                        <a:pt x="2627126" y="1289055"/>
                                                        <a:pt x="2629847" y="1287565"/>
                                                        <a:pt x="2632827" y="1287565"/>
                                                      </a:cubicBezTo>
                                                      <a:cubicBezTo>
                                                        <a:pt x="2638593" y="1287565"/>
                                                        <a:pt x="2643063" y="1293331"/>
                                                        <a:pt x="2643646" y="1299032"/>
                                                      </a:cubicBezTo>
                                                      <a:cubicBezTo>
                                                        <a:pt x="2644294" y="1304798"/>
                                                        <a:pt x="2642092" y="1310435"/>
                                                        <a:pt x="2639953" y="1315812"/>
                                                      </a:cubicBezTo>
                                                      <a:cubicBezTo>
                                                        <a:pt x="2634706" y="1328834"/>
                                                        <a:pt x="2629458" y="1341921"/>
                                                        <a:pt x="2624211" y="1355007"/>
                                                      </a:cubicBezTo>
                                                      <a:cubicBezTo>
                                                        <a:pt x="2617927" y="1370685"/>
                                                        <a:pt x="2608792" y="1388760"/>
                                                        <a:pt x="2591947" y="1391028"/>
                                                      </a:cubicBezTo>
                                                      <a:cubicBezTo>
                                                        <a:pt x="2584627" y="1392065"/>
                                                        <a:pt x="2576917" y="1389668"/>
                                                        <a:pt x="2569920" y="1392129"/>
                                                      </a:cubicBezTo>
                                                      <a:cubicBezTo>
                                                        <a:pt x="2566746" y="1393231"/>
                                                        <a:pt x="2564024" y="1395304"/>
                                                        <a:pt x="2561627" y="1397636"/>
                                                      </a:cubicBezTo>
                                                      <a:cubicBezTo>
                                                        <a:pt x="2552428" y="1406706"/>
                                                        <a:pt x="2549123" y="1420441"/>
                                                        <a:pt x="2549837" y="1433333"/>
                                                      </a:cubicBezTo>
                                                      <a:cubicBezTo>
                                                        <a:pt x="2550355" y="1442662"/>
                                                        <a:pt x="2552817" y="1451732"/>
                                                        <a:pt x="2555732" y="1460673"/>
                                                      </a:cubicBezTo>
                                                      <a:cubicBezTo>
                                                        <a:pt x="2558000" y="1459183"/>
                                                        <a:pt x="2560397" y="1457887"/>
                                                        <a:pt x="2562923" y="1456915"/>
                                                      </a:cubicBezTo>
                                                      <a:cubicBezTo>
                                                        <a:pt x="2576139" y="1451927"/>
                                                        <a:pt x="2591947" y="1454712"/>
                                                        <a:pt x="2602636" y="1463847"/>
                                                      </a:cubicBezTo>
                                                      <a:cubicBezTo>
                                                        <a:pt x="2604840" y="1465726"/>
                                                        <a:pt x="2606913" y="1467929"/>
                                                        <a:pt x="2609504" y="1469224"/>
                                                      </a:cubicBezTo>
                                                      <a:cubicBezTo>
                                                        <a:pt x="2617602" y="1473306"/>
                                                        <a:pt x="2627450" y="1467410"/>
                                                        <a:pt x="2632957" y="1460154"/>
                                                      </a:cubicBezTo>
                                                      <a:cubicBezTo>
                                                        <a:pt x="2638398" y="1452834"/>
                                                        <a:pt x="2641767" y="1443828"/>
                                                        <a:pt x="2648635" y="1437868"/>
                                                      </a:cubicBezTo>
                                                      <a:cubicBezTo>
                                                        <a:pt x="2653040" y="1434110"/>
                                                        <a:pt x="2658482" y="1431843"/>
                                                        <a:pt x="2663341" y="1428798"/>
                                                      </a:cubicBezTo>
                                                      <a:cubicBezTo>
                                                        <a:pt x="2667746" y="1426077"/>
                                                        <a:pt x="2671763" y="1422708"/>
                                                        <a:pt x="2675456" y="1419080"/>
                                                      </a:cubicBezTo>
                                                      <a:cubicBezTo>
                                                        <a:pt x="2682453" y="1412213"/>
                                                        <a:pt x="2688413" y="1404439"/>
                                                        <a:pt x="2694308" y="1396600"/>
                                                      </a:cubicBezTo>
                                                      <a:cubicBezTo>
                                                        <a:pt x="2706553" y="1380598"/>
                                                        <a:pt x="2718733" y="1364531"/>
                                                        <a:pt x="2730977" y="1348464"/>
                                                      </a:cubicBezTo>
                                                      <a:cubicBezTo>
                                                        <a:pt x="2735124" y="1342957"/>
                                                        <a:pt x="2739464" y="1337126"/>
                                                        <a:pt x="2740241" y="1330259"/>
                                                      </a:cubicBezTo>
                                                      <a:cubicBezTo>
                                                        <a:pt x="2740825" y="1324817"/>
                                                        <a:pt x="2739335" y="1318598"/>
                                                        <a:pt x="2742898" y="1314451"/>
                                                      </a:cubicBezTo>
                                                      <a:cubicBezTo>
                                                        <a:pt x="2746137" y="1310694"/>
                                                        <a:pt x="2752098" y="1310694"/>
                                                        <a:pt x="2755985" y="1307454"/>
                                                      </a:cubicBezTo>
                                                      <a:cubicBezTo>
                                                        <a:pt x="2761815" y="1302596"/>
                                                        <a:pt x="2760584" y="1292295"/>
                                                        <a:pt x="2766674" y="1287695"/>
                                                      </a:cubicBezTo>
                                                      <a:cubicBezTo>
                                                        <a:pt x="2769784" y="1285298"/>
                                                        <a:pt x="2774060" y="1285103"/>
                                                        <a:pt x="2777429" y="1283160"/>
                                                      </a:cubicBezTo>
                                                      <a:cubicBezTo>
                                                        <a:pt x="2783324" y="1279726"/>
                                                        <a:pt x="2785008" y="1272017"/>
                                                        <a:pt x="2785851" y="1265214"/>
                                                      </a:cubicBezTo>
                                                      <a:cubicBezTo>
                                                        <a:pt x="2789738" y="1235283"/>
                                                        <a:pt x="2790645" y="1204899"/>
                                                        <a:pt x="2788442" y="1174773"/>
                                                      </a:cubicBezTo>
                                                      <a:cubicBezTo>
                                                        <a:pt x="2794273" y="1174968"/>
                                                        <a:pt x="2797771" y="1168489"/>
                                                        <a:pt x="2799780" y="1163047"/>
                                                      </a:cubicBezTo>
                                                      <a:cubicBezTo>
                                                        <a:pt x="2803926" y="1152033"/>
                                                        <a:pt x="2808073" y="1140566"/>
                                                        <a:pt x="2806647" y="1128905"/>
                                                      </a:cubicBezTo>
                                                      <a:cubicBezTo>
                                                        <a:pt x="2805740" y="1121519"/>
                                                        <a:pt x="2802695" y="1114587"/>
                                                        <a:pt x="2799456" y="1107914"/>
                                                      </a:cubicBezTo>
                                                      <a:cubicBezTo>
                                                        <a:pt x="2796216" y="1101047"/>
                                                        <a:pt x="2789544" y="1093079"/>
                                                        <a:pt x="2782741" y="1096383"/>
                                                      </a:cubicBezTo>
                                                      <a:cubicBezTo>
                                                        <a:pt x="2784101" y="1088803"/>
                                                        <a:pt x="2778984" y="1081158"/>
                                                        <a:pt x="2772181" y="1077530"/>
                                                      </a:cubicBezTo>
                                                      <a:cubicBezTo>
                                                        <a:pt x="2765378" y="1073967"/>
                                                        <a:pt x="2757280" y="1073708"/>
                                                        <a:pt x="2749636" y="1074420"/>
                                                      </a:cubicBezTo>
                                                      <a:cubicBezTo>
                                                        <a:pt x="2748599" y="1083814"/>
                                                        <a:pt x="2740436" y="1091912"/>
                                                        <a:pt x="2731042" y="1092819"/>
                                                      </a:cubicBezTo>
                                                      <a:cubicBezTo>
                                                        <a:pt x="2732079" y="1097160"/>
                                                        <a:pt x="2732532" y="1102861"/>
                                                        <a:pt x="2728645" y="1104870"/>
                                                      </a:cubicBezTo>
                                                      <a:cubicBezTo>
                                                        <a:pt x="2722555" y="1107979"/>
                                                        <a:pt x="2718280" y="1098132"/>
                                                        <a:pt x="2719122" y="1091394"/>
                                                      </a:cubicBezTo>
                                                      <a:cubicBezTo>
                                                        <a:pt x="2719899" y="1084656"/>
                                                        <a:pt x="2719251" y="1074809"/>
                                                        <a:pt x="2712449" y="1074744"/>
                                                      </a:cubicBezTo>
                                                      <a:cubicBezTo>
                                                        <a:pt x="2705258" y="1074679"/>
                                                        <a:pt x="2704869" y="1085434"/>
                                                        <a:pt x="2707136" y="1092236"/>
                                                      </a:cubicBezTo>
                                                      <a:cubicBezTo>
                                                        <a:pt x="2700464" y="1094310"/>
                                                        <a:pt x="2693466" y="1088543"/>
                                                        <a:pt x="2691588" y="1081871"/>
                                                      </a:cubicBezTo>
                                                      <a:cubicBezTo>
                                                        <a:pt x="2689644" y="1075133"/>
                                                        <a:pt x="2691393" y="1068006"/>
                                                        <a:pt x="2693078" y="1061269"/>
                                                      </a:cubicBezTo>
                                                      <a:cubicBezTo>
                                                        <a:pt x="2686664" y="1062305"/>
                                                        <a:pt x="2679926" y="1063342"/>
                                                        <a:pt x="2673642" y="1061398"/>
                                                      </a:cubicBezTo>
                                                      <a:cubicBezTo>
                                                        <a:pt x="2667422" y="1059520"/>
                                                        <a:pt x="2661786" y="1053754"/>
                                                        <a:pt x="2662370" y="1047210"/>
                                                      </a:cubicBezTo>
                                                      <a:cubicBezTo>
                                                        <a:pt x="2662888" y="1041185"/>
                                                        <a:pt x="2668200" y="1036780"/>
                                                        <a:pt x="2673188" y="1033216"/>
                                                      </a:cubicBezTo>
                                                      <a:cubicBezTo>
                                                        <a:pt x="2687182" y="1023369"/>
                                                        <a:pt x="2702925" y="1013327"/>
                                                        <a:pt x="2708238" y="997066"/>
                                                      </a:cubicBezTo>
                                                      <a:cubicBezTo>
                                                        <a:pt x="2710440" y="990328"/>
                                                        <a:pt x="2710764" y="982813"/>
                                                        <a:pt x="2714911" y="977112"/>
                                                      </a:cubicBezTo>
                                                      <a:cubicBezTo>
                                                        <a:pt x="2720288" y="969856"/>
                                                        <a:pt x="2730588" y="967783"/>
                                                        <a:pt x="2736679" y="961045"/>
                                                      </a:cubicBezTo>
                                                      <a:cubicBezTo>
                                                        <a:pt x="2743027" y="954178"/>
                                                        <a:pt x="2744064" y="943229"/>
                                                        <a:pt x="2751450" y="937463"/>
                                                      </a:cubicBezTo>
                                                      <a:cubicBezTo>
                                                        <a:pt x="2758964" y="931568"/>
                                                        <a:pt x="2770626" y="932993"/>
                                                        <a:pt x="2777493" y="926385"/>
                                                      </a:cubicBezTo>
                                                      <a:cubicBezTo>
                                                        <a:pt x="2781639" y="922433"/>
                                                        <a:pt x="2783065" y="916537"/>
                                                        <a:pt x="2786175" y="911743"/>
                                                      </a:cubicBezTo>
                                                      <a:cubicBezTo>
                                                        <a:pt x="2794597" y="898786"/>
                                                        <a:pt x="2813709" y="896259"/>
                                                        <a:pt x="2822325" y="883367"/>
                                                      </a:cubicBezTo>
                                                      <a:cubicBezTo>
                                                        <a:pt x="2825500" y="878638"/>
                                                        <a:pt x="2827314" y="872548"/>
                                                        <a:pt x="2832237" y="869633"/>
                                                      </a:cubicBezTo>
                                                      <a:cubicBezTo>
                                                        <a:pt x="2835671" y="867689"/>
                                                        <a:pt x="2839882" y="867754"/>
                                                        <a:pt x="2843834" y="867948"/>
                                                      </a:cubicBezTo>
                                                      <a:cubicBezTo>
                                                        <a:pt x="2858929" y="868531"/>
                                                        <a:pt x="2872793" y="869244"/>
                                                        <a:pt x="2887888" y="869827"/>
                                                      </a:cubicBezTo>
                                                      <a:cubicBezTo>
                                                        <a:pt x="2899744" y="865810"/>
                                                        <a:pt x="2910498" y="877277"/>
                                                        <a:pt x="2921577" y="883043"/>
                                                      </a:cubicBezTo>
                                                      <a:cubicBezTo>
                                                        <a:pt x="2926630" y="885699"/>
                                                        <a:pt x="2932461" y="887190"/>
                                                        <a:pt x="2937967" y="885829"/>
                                                      </a:cubicBezTo>
                                                      <a:cubicBezTo>
                                                        <a:pt x="2943410" y="884404"/>
                                                        <a:pt x="2948204" y="879545"/>
                                                        <a:pt x="2948204" y="873844"/>
                                                      </a:cubicBezTo>
                                                      <a:cubicBezTo>
                                                        <a:pt x="2960189" y="869050"/>
                                                        <a:pt x="2974961" y="872094"/>
                                                        <a:pt x="2984095" y="881229"/>
                                                      </a:cubicBezTo>
                                                      <a:cubicBezTo>
                                                        <a:pt x="2985391" y="882525"/>
                                                        <a:pt x="2986622" y="883950"/>
                                                        <a:pt x="2988306" y="884663"/>
                                                      </a:cubicBezTo>
                                                      <a:cubicBezTo>
                                                        <a:pt x="2992388" y="886412"/>
                                                        <a:pt x="2997052" y="883043"/>
                                                        <a:pt x="2998996" y="879091"/>
                                                      </a:cubicBezTo>
                                                      <a:cubicBezTo>
                                                        <a:pt x="3000940" y="875075"/>
                                                        <a:pt x="3001263" y="870475"/>
                                                        <a:pt x="3003013" y="866393"/>
                                                      </a:cubicBezTo>
                                                      <a:cubicBezTo>
                                                        <a:pt x="3006057" y="859072"/>
                                                        <a:pt x="3013832" y="854019"/>
                                                        <a:pt x="3021736" y="854149"/>
                                                      </a:cubicBezTo>
                                                      <a:cubicBezTo>
                                                        <a:pt x="3029704" y="854278"/>
                                                        <a:pt x="3037284" y="859656"/>
                                                        <a:pt x="3040070" y="867041"/>
                                                      </a:cubicBezTo>
                                                      <a:cubicBezTo>
                                                        <a:pt x="3040782" y="868920"/>
                                                        <a:pt x="3041366" y="871123"/>
                                                        <a:pt x="3043179" y="872030"/>
                                                      </a:cubicBezTo>
                                                      <a:cubicBezTo>
                                                        <a:pt x="3044346" y="872613"/>
                                                        <a:pt x="3045706" y="872483"/>
                                                        <a:pt x="3047002" y="872354"/>
                                                      </a:cubicBezTo>
                                                      <a:cubicBezTo>
                                                        <a:pt x="3054582" y="871511"/>
                                                        <a:pt x="3062097" y="870604"/>
                                                        <a:pt x="3069612" y="869762"/>
                                                      </a:cubicBezTo>
                                                      <a:cubicBezTo>
                                                        <a:pt x="3067345" y="873001"/>
                                                        <a:pt x="3067409" y="877731"/>
                                                        <a:pt x="3069807" y="880905"/>
                                                      </a:cubicBezTo>
                                                      <a:cubicBezTo>
                                                        <a:pt x="3070843" y="882266"/>
                                                        <a:pt x="3072333" y="883432"/>
                                                        <a:pt x="3073110" y="884987"/>
                                                      </a:cubicBezTo>
                                                      <a:cubicBezTo>
                                                        <a:pt x="3076091" y="891271"/>
                                                        <a:pt x="3066761" y="895936"/>
                                                        <a:pt x="3059895" y="896713"/>
                                                      </a:cubicBezTo>
                                                      <a:cubicBezTo>
                                                        <a:pt x="3061514" y="901378"/>
                                                        <a:pt x="3063199" y="906042"/>
                                                        <a:pt x="3064818" y="910707"/>
                                                      </a:cubicBezTo>
                                                      <a:cubicBezTo>
                                                        <a:pt x="3072074" y="901766"/>
                                                        <a:pt x="3081338" y="894186"/>
                                                        <a:pt x="3092158" y="890299"/>
                                                      </a:cubicBezTo>
                                                      <a:cubicBezTo>
                                                        <a:pt x="3109650" y="883950"/>
                                                        <a:pt x="3129020" y="887708"/>
                                                        <a:pt x="3147226" y="891530"/>
                                                      </a:cubicBezTo>
                                                      <a:cubicBezTo>
                                                        <a:pt x="3149882" y="885635"/>
                                                        <a:pt x="3150011" y="878638"/>
                                                        <a:pt x="3147485" y="872613"/>
                                                      </a:cubicBezTo>
                                                      <a:cubicBezTo>
                                                        <a:pt x="3142172" y="873131"/>
                                                        <a:pt x="3136730" y="869827"/>
                                                        <a:pt x="3134657" y="864968"/>
                                                      </a:cubicBezTo>
                                                      <a:cubicBezTo>
                                                        <a:pt x="3132584" y="860044"/>
                                                        <a:pt x="3134009" y="853825"/>
                                                        <a:pt x="3138091" y="850391"/>
                                                      </a:cubicBezTo>
                                                      <a:cubicBezTo>
                                                        <a:pt x="3141524" y="847476"/>
                                                        <a:pt x="3146383" y="846375"/>
                                                        <a:pt x="3149234" y="842941"/>
                                                      </a:cubicBezTo>
                                                      <a:cubicBezTo>
                                                        <a:pt x="3151113" y="840544"/>
                                                        <a:pt x="3151825" y="837499"/>
                                                        <a:pt x="3153445" y="834972"/>
                                                      </a:cubicBezTo>
                                                      <a:cubicBezTo>
                                                        <a:pt x="3155972" y="831020"/>
                                                        <a:pt x="3160377" y="828947"/>
                                                        <a:pt x="3164524" y="826744"/>
                                                      </a:cubicBezTo>
                                                      <a:cubicBezTo>
                                                        <a:pt x="3174435" y="821497"/>
                                                        <a:pt x="3183700" y="814953"/>
                                                        <a:pt x="3191928" y="807373"/>
                                                      </a:cubicBezTo>
                                                      <a:cubicBezTo>
                                                        <a:pt x="3193936" y="805495"/>
                                                        <a:pt x="3195880" y="803551"/>
                                                        <a:pt x="3196917" y="800960"/>
                                                      </a:cubicBezTo>
                                                      <a:cubicBezTo>
                                                        <a:pt x="3199054" y="795647"/>
                                                        <a:pt x="3196917" y="788262"/>
                                                        <a:pt x="3201516" y="784893"/>
                                                      </a:cubicBezTo>
                                                      <a:cubicBezTo>
                                                        <a:pt x="3203201" y="783727"/>
                                                        <a:pt x="3205338" y="783468"/>
                                                        <a:pt x="3207347" y="783273"/>
                                                      </a:cubicBezTo>
                                                      <a:cubicBezTo>
                                                        <a:pt x="3218814" y="782107"/>
                                                        <a:pt x="3230216" y="780941"/>
                                                        <a:pt x="3241618" y="779775"/>
                                                      </a:cubicBezTo>
                                                      <a:cubicBezTo>
                                                        <a:pt x="3251271" y="778803"/>
                                                        <a:pt x="3260989" y="777831"/>
                                                        <a:pt x="3270643" y="776795"/>
                                                      </a:cubicBezTo>
                                                      <a:cubicBezTo>
                                                        <a:pt x="3279064" y="775952"/>
                                                        <a:pt x="3291050" y="778155"/>
                                                        <a:pt x="3290661" y="786642"/>
                                                      </a:cubicBezTo>
                                                      <a:cubicBezTo>
                                                        <a:pt x="3290337" y="792797"/>
                                                        <a:pt x="3283405" y="795777"/>
                                                        <a:pt x="3278222" y="799081"/>
                                                      </a:cubicBezTo>
                                                      <a:cubicBezTo>
                                                        <a:pt x="3273104" y="802385"/>
                                                        <a:pt x="3269347" y="811001"/>
                                                        <a:pt x="3274788" y="813787"/>
                                                      </a:cubicBezTo>
                                                      <a:cubicBezTo>
                                                        <a:pt x="3277899" y="815407"/>
                                                        <a:pt x="3281915" y="813593"/>
                                                        <a:pt x="3285025" y="815213"/>
                                                      </a:cubicBezTo>
                                                      <a:cubicBezTo>
                                                        <a:pt x="3287098" y="816314"/>
                                                        <a:pt x="3288199" y="818776"/>
                                                        <a:pt x="3290272" y="820007"/>
                                                      </a:cubicBezTo>
                                                      <a:cubicBezTo>
                                                        <a:pt x="3293447" y="821950"/>
                                                        <a:pt x="3297593" y="820266"/>
                                                        <a:pt x="3300703" y="818258"/>
                                                      </a:cubicBezTo>
                                                      <a:cubicBezTo>
                                                        <a:pt x="3316446" y="808216"/>
                                                        <a:pt x="3327783" y="789622"/>
                                                        <a:pt x="3346247" y="787160"/>
                                                      </a:cubicBezTo>
                                                      <a:cubicBezTo>
                                                        <a:pt x="3349163" y="786772"/>
                                                        <a:pt x="3352531" y="786642"/>
                                                        <a:pt x="3354540" y="784439"/>
                                                      </a:cubicBezTo>
                                                      <a:cubicBezTo>
                                                        <a:pt x="3355642" y="783208"/>
                                                        <a:pt x="3356095" y="781524"/>
                                                        <a:pt x="3356484" y="779904"/>
                                                      </a:cubicBezTo>
                                                      <a:cubicBezTo>
                                                        <a:pt x="3359334" y="768826"/>
                                                        <a:pt x="3362184" y="757812"/>
                                                        <a:pt x="3365035" y="746734"/>
                                                      </a:cubicBezTo>
                                                      <a:cubicBezTo>
                                                        <a:pt x="3379094" y="740126"/>
                                                        <a:pt x="3396197" y="740385"/>
                                                        <a:pt x="3410126" y="747447"/>
                                                      </a:cubicBezTo>
                                                      <a:cubicBezTo>
                                                        <a:pt x="3413365" y="749066"/>
                                                        <a:pt x="3416669" y="753407"/>
                                                        <a:pt x="3413884" y="755739"/>
                                                      </a:cubicBezTo>
                                                      <a:cubicBezTo>
                                                        <a:pt x="3412264" y="757100"/>
                                                        <a:pt x="3409737" y="756322"/>
                                                        <a:pt x="3407599" y="755869"/>
                                                      </a:cubicBezTo>
                                                      <a:cubicBezTo>
                                                        <a:pt x="3399566" y="754184"/>
                                                        <a:pt x="3391403" y="759562"/>
                                                        <a:pt x="3387192" y="766688"/>
                                                      </a:cubicBezTo>
                                                      <a:cubicBezTo>
                                                        <a:pt x="3382981" y="773750"/>
                                                        <a:pt x="3381944" y="782172"/>
                                                        <a:pt x="3380907" y="790335"/>
                                                      </a:cubicBezTo>
                                                      <a:cubicBezTo>
                                                        <a:pt x="3380260" y="795583"/>
                                                        <a:pt x="3379677" y="800830"/>
                                                        <a:pt x="3379029" y="806078"/>
                                                      </a:cubicBezTo>
                                                      <a:cubicBezTo>
                                                        <a:pt x="3378770" y="808151"/>
                                                        <a:pt x="3378445" y="810354"/>
                                                        <a:pt x="3377020" y="811908"/>
                                                      </a:cubicBezTo>
                                                      <a:cubicBezTo>
                                                        <a:pt x="3374883" y="814176"/>
                                                        <a:pt x="3371254" y="814046"/>
                                                        <a:pt x="3368469" y="815407"/>
                                                      </a:cubicBezTo>
                                                      <a:cubicBezTo>
                                                        <a:pt x="3365100" y="817027"/>
                                                        <a:pt x="3363156" y="821108"/>
                                                        <a:pt x="3364063" y="824736"/>
                                                      </a:cubicBezTo>
                                                      <a:cubicBezTo>
                                                        <a:pt x="3345664" y="824412"/>
                                                        <a:pt x="3327848" y="837304"/>
                                                        <a:pt x="3322406" y="854861"/>
                                                      </a:cubicBezTo>
                                                      <a:cubicBezTo>
                                                        <a:pt x="3319167" y="851298"/>
                                                        <a:pt x="3313077" y="854797"/>
                                                        <a:pt x="3310745" y="859008"/>
                                                      </a:cubicBezTo>
                                                      <a:cubicBezTo>
                                                        <a:pt x="3308348" y="863284"/>
                                                        <a:pt x="3306858" y="868726"/>
                                                        <a:pt x="3302387" y="870540"/>
                                                      </a:cubicBezTo>
                                                      <a:cubicBezTo>
                                                        <a:pt x="3300314" y="871382"/>
                                                        <a:pt x="3297852" y="871317"/>
                                                        <a:pt x="3295973" y="872613"/>
                                                      </a:cubicBezTo>
                                                      <a:cubicBezTo>
                                                        <a:pt x="3292346" y="875269"/>
                                                        <a:pt x="3293447" y="881747"/>
                                                        <a:pt x="3289689" y="884274"/>
                                                      </a:cubicBezTo>
                                                      <a:cubicBezTo>
                                                        <a:pt x="3286255" y="886542"/>
                                                        <a:pt x="3281332" y="883756"/>
                                                        <a:pt x="3277510" y="885311"/>
                                                      </a:cubicBezTo>
                                                      <a:cubicBezTo>
                                                        <a:pt x="3274530" y="886542"/>
                                                        <a:pt x="3273233" y="889975"/>
                                                        <a:pt x="3272003" y="892891"/>
                                                      </a:cubicBezTo>
                                                      <a:cubicBezTo>
                                                        <a:pt x="3266042" y="907014"/>
                                                        <a:pt x="3254317" y="918611"/>
                                                        <a:pt x="3240193" y="924441"/>
                                                      </a:cubicBezTo>
                                                      <a:cubicBezTo>
                                                        <a:pt x="3237601" y="925478"/>
                                                        <a:pt x="3234946" y="926385"/>
                                                        <a:pt x="3232872" y="928199"/>
                                                      </a:cubicBezTo>
                                                      <a:cubicBezTo>
                                                        <a:pt x="3230216" y="930531"/>
                                                        <a:pt x="3228855" y="934224"/>
                                                        <a:pt x="3225876" y="936168"/>
                                                      </a:cubicBezTo>
                                                      <a:cubicBezTo>
                                                        <a:pt x="3222117" y="938629"/>
                                                        <a:pt x="3217065" y="937463"/>
                                                        <a:pt x="3212659" y="938305"/>
                                                      </a:cubicBezTo>
                                                      <a:cubicBezTo>
                                                        <a:pt x="3200220" y="940702"/>
                                                        <a:pt x="3196722" y="957029"/>
                                                        <a:pt x="3198665" y="969597"/>
                                                      </a:cubicBezTo>
                                                      <a:cubicBezTo>
                                                        <a:pt x="3193936" y="966552"/>
                                                        <a:pt x="3186615" y="970374"/>
                                                        <a:pt x="3186292" y="975946"/>
                                                      </a:cubicBezTo>
                                                      <a:cubicBezTo>
                                                        <a:pt x="3186032" y="981582"/>
                                                        <a:pt x="3192900" y="986052"/>
                                                        <a:pt x="3197953" y="983655"/>
                                                      </a:cubicBezTo>
                                                      <a:cubicBezTo>
                                                        <a:pt x="3193936" y="986959"/>
                                                        <a:pt x="3198924" y="993179"/>
                                                        <a:pt x="3203848" y="994993"/>
                                                      </a:cubicBezTo>
                                                      <a:cubicBezTo>
                                                        <a:pt x="3208707" y="996742"/>
                                                        <a:pt x="3215251" y="999204"/>
                                                        <a:pt x="3214668" y="1004387"/>
                                                      </a:cubicBezTo>
                                                      <a:cubicBezTo>
                                                        <a:pt x="3214149" y="1009764"/>
                                                        <a:pt x="3207282" y="1015271"/>
                                                        <a:pt x="3209290" y="1020259"/>
                                                      </a:cubicBezTo>
                                                      <a:cubicBezTo>
                                                        <a:pt x="3210910" y="1024276"/>
                                                        <a:pt x="3206828" y="1029394"/>
                                                        <a:pt x="3202553" y="1028617"/>
                                                      </a:cubicBezTo>
                                                      <a:cubicBezTo>
                                                        <a:pt x="3198536" y="1034123"/>
                                                        <a:pt x="3198342" y="1041444"/>
                                                        <a:pt x="3198277" y="1048247"/>
                                                      </a:cubicBezTo>
                                                      <a:cubicBezTo>
                                                        <a:pt x="3198277" y="1054725"/>
                                                        <a:pt x="3198277" y="1061269"/>
                                                        <a:pt x="3198147" y="1067812"/>
                                                      </a:cubicBezTo>
                                                      <a:cubicBezTo>
                                                        <a:pt x="3198147" y="1070080"/>
                                                        <a:pt x="3198017" y="1072671"/>
                                                        <a:pt x="3196463" y="1074355"/>
                                                      </a:cubicBezTo>
                                                      <a:cubicBezTo>
                                                        <a:pt x="3195620" y="1075262"/>
                                                        <a:pt x="3194584" y="1075781"/>
                                                        <a:pt x="3193741" y="1076623"/>
                                                      </a:cubicBezTo>
                                                      <a:cubicBezTo>
                                                        <a:pt x="3191280" y="1079020"/>
                                                        <a:pt x="3191539" y="1082972"/>
                                                        <a:pt x="3191928" y="1086406"/>
                                                      </a:cubicBezTo>
                                                      <a:cubicBezTo>
                                                        <a:pt x="3193741" y="1103639"/>
                                                        <a:pt x="3192900" y="1121131"/>
                                                        <a:pt x="3189531" y="1138169"/>
                                                      </a:cubicBezTo>
                                                      <a:cubicBezTo>
                                                        <a:pt x="3188170" y="1145166"/>
                                                        <a:pt x="3186356" y="1152228"/>
                                                        <a:pt x="3186485" y="1159419"/>
                                                      </a:cubicBezTo>
                                                      <a:cubicBezTo>
                                                        <a:pt x="3186485" y="1161816"/>
                                                        <a:pt x="3186810" y="1164343"/>
                                                        <a:pt x="3188105" y="1166351"/>
                                                      </a:cubicBezTo>
                                                      <a:cubicBezTo>
                                                        <a:pt x="3189919" y="1169331"/>
                                                        <a:pt x="3193548" y="1170951"/>
                                                        <a:pt x="3195037" y="1174125"/>
                                                      </a:cubicBezTo>
                                                      <a:cubicBezTo>
                                                        <a:pt x="3197175" y="1178725"/>
                                                        <a:pt x="3194260" y="1185333"/>
                                                        <a:pt x="3198147" y="1188573"/>
                                                      </a:cubicBezTo>
                                                      <a:cubicBezTo>
                                                        <a:pt x="3200285" y="1190387"/>
                                                        <a:pt x="3203848" y="1189933"/>
                                                        <a:pt x="3205921" y="1187990"/>
                                                      </a:cubicBezTo>
                                                      <a:cubicBezTo>
                                                        <a:pt x="3207995" y="1186111"/>
                                                        <a:pt x="3208902" y="1183131"/>
                                                        <a:pt x="3208837" y="1180280"/>
                                                      </a:cubicBezTo>
                                                      <a:cubicBezTo>
                                                        <a:pt x="3212076" y="1180928"/>
                                                        <a:pt x="3216416" y="1181058"/>
                                                        <a:pt x="3217583" y="1177948"/>
                                                      </a:cubicBezTo>
                                                      <a:cubicBezTo>
                                                        <a:pt x="3218166" y="1176458"/>
                                                        <a:pt x="3217648" y="1174708"/>
                                                        <a:pt x="3217972" y="1173154"/>
                                                      </a:cubicBezTo>
                                                      <a:cubicBezTo>
                                                        <a:pt x="3218490" y="1170433"/>
                                                        <a:pt x="3221211" y="1168748"/>
                                                        <a:pt x="3223802" y="1167841"/>
                                                      </a:cubicBezTo>
                                                      <a:cubicBezTo>
                                                        <a:pt x="3226394" y="1166934"/>
                                                        <a:pt x="3229245" y="1166416"/>
                                                        <a:pt x="3231317" y="1164667"/>
                                                      </a:cubicBezTo>
                                                      <a:cubicBezTo>
                                                        <a:pt x="3233779" y="1162529"/>
                                                        <a:pt x="3234621" y="1159095"/>
                                                        <a:pt x="3234751" y="1155856"/>
                                                      </a:cubicBezTo>
                                                      <a:cubicBezTo>
                                                        <a:pt x="3234881" y="1152552"/>
                                                        <a:pt x="3234362" y="1149313"/>
                                                        <a:pt x="3234751" y="1146073"/>
                                                      </a:cubicBezTo>
                                                      <a:cubicBezTo>
                                                        <a:pt x="3235139" y="1142640"/>
                                                        <a:pt x="3236436" y="1139336"/>
                                                        <a:pt x="3237018" y="1135902"/>
                                                      </a:cubicBezTo>
                                                      <a:cubicBezTo>
                                                        <a:pt x="3237601" y="1132468"/>
                                                        <a:pt x="3237861" y="1127609"/>
                                                        <a:pt x="3235464" y="1125018"/>
                                                      </a:cubicBezTo>
                                                      <a:cubicBezTo>
                                                        <a:pt x="3235788" y="1125990"/>
                                                        <a:pt x="3235529" y="1127156"/>
                                                        <a:pt x="3234751" y="1127868"/>
                                                      </a:cubicBezTo>
                                                      <a:cubicBezTo>
                                                        <a:pt x="3234103" y="1126897"/>
                                                        <a:pt x="3234621" y="1125860"/>
                                                        <a:pt x="3235464" y="1125018"/>
                                                      </a:cubicBezTo>
                                                      <a:cubicBezTo>
                                                        <a:pt x="3236111" y="1124370"/>
                                                        <a:pt x="3236954" y="1123787"/>
                                                        <a:pt x="3237796" y="1123463"/>
                                                      </a:cubicBezTo>
                                                      <a:cubicBezTo>
                                                        <a:pt x="3246542" y="1120029"/>
                                                        <a:pt x="3255677" y="1117503"/>
                                                        <a:pt x="3264942" y="1115883"/>
                                                      </a:cubicBezTo>
                                                      <a:cubicBezTo>
                                                        <a:pt x="3268958" y="1115235"/>
                                                        <a:pt x="3273493" y="1114393"/>
                                                        <a:pt x="3275566" y="1110895"/>
                                                      </a:cubicBezTo>
                                                      <a:cubicBezTo>
                                                        <a:pt x="3276473" y="1109340"/>
                                                        <a:pt x="3276732" y="1107396"/>
                                                        <a:pt x="3276797" y="1105517"/>
                                                      </a:cubicBezTo>
                                                      <a:cubicBezTo>
                                                        <a:pt x="3277121" y="1094050"/>
                                                        <a:pt x="3270966" y="1083102"/>
                                                        <a:pt x="3271614" y="1071635"/>
                                                      </a:cubicBezTo>
                                                      <a:cubicBezTo>
                                                        <a:pt x="3272003" y="1064184"/>
                                                        <a:pt x="3275177" y="1057252"/>
                                                        <a:pt x="3278352" y="1050514"/>
                                                      </a:cubicBezTo>
                                                      <a:cubicBezTo>
                                                        <a:pt x="3278935" y="1049219"/>
                                                        <a:pt x="3279582" y="1047923"/>
                                                        <a:pt x="3280749" y="1047210"/>
                                                      </a:cubicBezTo>
                                                      <a:cubicBezTo>
                                                        <a:pt x="3282304" y="1046303"/>
                                                        <a:pt x="3284377" y="1046757"/>
                                                        <a:pt x="3286061" y="1046044"/>
                                                      </a:cubicBezTo>
                                                      <a:cubicBezTo>
                                                        <a:pt x="3289495" y="1044684"/>
                                                        <a:pt x="3289624" y="1040019"/>
                                                        <a:pt x="3289236" y="1036326"/>
                                                      </a:cubicBezTo>
                                                      <a:cubicBezTo>
                                                        <a:pt x="3291827" y="1038982"/>
                                                        <a:pt x="3296492" y="1037363"/>
                                                        <a:pt x="3299148" y="1034707"/>
                                                      </a:cubicBezTo>
                                                      <a:cubicBezTo>
                                                        <a:pt x="3301804" y="1032050"/>
                                                        <a:pt x="3303748" y="1028487"/>
                                                        <a:pt x="3307116" y="1026803"/>
                                                      </a:cubicBezTo>
                                                      <a:cubicBezTo>
                                                        <a:pt x="3310097" y="1025377"/>
                                                        <a:pt x="3313725" y="1025766"/>
                                                        <a:pt x="3316964" y="1024794"/>
                                                      </a:cubicBezTo>
                                                      <a:cubicBezTo>
                                                        <a:pt x="3327978" y="1021490"/>
                                                        <a:pt x="3330051" y="1004776"/>
                                                        <a:pt x="3340935" y="1001148"/>
                                                      </a:cubicBezTo>
                                                      <a:cubicBezTo>
                                                        <a:pt x="3342360" y="1000694"/>
                                                        <a:pt x="3343915" y="1000435"/>
                                                        <a:pt x="3344887" y="999334"/>
                                                      </a:cubicBezTo>
                                                      <a:cubicBezTo>
                                                        <a:pt x="3345794" y="998297"/>
                                                        <a:pt x="3345988" y="996807"/>
                                                        <a:pt x="3346830" y="995770"/>
                                                      </a:cubicBezTo>
                                                      <a:cubicBezTo>
                                                        <a:pt x="3350069" y="991689"/>
                                                        <a:pt x="3357196" y="998427"/>
                                                        <a:pt x="3361601" y="995706"/>
                                                      </a:cubicBezTo>
                                                      <a:cubicBezTo>
                                                        <a:pt x="3363415" y="991041"/>
                                                        <a:pt x="3360629" y="985146"/>
                                                        <a:pt x="3355900" y="983526"/>
                                                      </a:cubicBezTo>
                                                      <a:cubicBezTo>
                                                        <a:pt x="3351301" y="981971"/>
                                                        <a:pt x="3344563" y="983202"/>
                                                        <a:pt x="3342943" y="978667"/>
                                                      </a:cubicBezTo>
                                                      <a:cubicBezTo>
                                                        <a:pt x="3341000" y="973290"/>
                                                        <a:pt x="3349940" y="967524"/>
                                                        <a:pt x="3346701" y="962794"/>
                                                      </a:cubicBezTo>
                                                      <a:cubicBezTo>
                                                        <a:pt x="3346117" y="961952"/>
                                                        <a:pt x="3345210" y="961369"/>
                                                        <a:pt x="3344757" y="960397"/>
                                                      </a:cubicBezTo>
                                                      <a:cubicBezTo>
                                                        <a:pt x="3344045" y="958843"/>
                                                        <a:pt x="3345146" y="956899"/>
                                                        <a:pt x="3346636" y="955992"/>
                                                      </a:cubicBezTo>
                                                      <a:cubicBezTo>
                                                        <a:pt x="3348126" y="955085"/>
                                                        <a:pt x="3349940" y="954826"/>
                                                        <a:pt x="3351625" y="954437"/>
                                                      </a:cubicBezTo>
                                                      <a:cubicBezTo>
                                                        <a:pt x="3354864" y="953660"/>
                                                        <a:pt x="3358167" y="951846"/>
                                                        <a:pt x="3359399" y="948736"/>
                                                      </a:cubicBezTo>
                                                      <a:cubicBezTo>
                                                        <a:pt x="3360565" y="945626"/>
                                                        <a:pt x="3358297" y="941286"/>
                                                        <a:pt x="3354993" y="941545"/>
                                                      </a:cubicBezTo>
                                                      <a:cubicBezTo>
                                                        <a:pt x="3353762" y="941609"/>
                                                        <a:pt x="3352596" y="942257"/>
                                                        <a:pt x="3351365" y="942193"/>
                                                      </a:cubicBezTo>
                                                      <a:cubicBezTo>
                                                        <a:pt x="3348904" y="941998"/>
                                                        <a:pt x="3346766" y="938889"/>
                                                        <a:pt x="3344498" y="939925"/>
                                                      </a:cubicBezTo>
                                                      <a:cubicBezTo>
                                                        <a:pt x="3341971" y="941091"/>
                                                        <a:pt x="3342360" y="946339"/>
                                                        <a:pt x="3339574" y="946015"/>
                                                      </a:cubicBezTo>
                                                      <a:cubicBezTo>
                                                        <a:pt x="3340028" y="943747"/>
                                                        <a:pt x="3337825" y="941804"/>
                                                        <a:pt x="3335622" y="941026"/>
                                                      </a:cubicBezTo>
                                                      <a:cubicBezTo>
                                                        <a:pt x="3333420" y="940314"/>
                                                        <a:pt x="3330958" y="940184"/>
                                                        <a:pt x="3329014" y="938889"/>
                                                      </a:cubicBezTo>
                                                      <a:cubicBezTo>
                                                        <a:pt x="3326164" y="936880"/>
                                                        <a:pt x="3325646" y="932928"/>
                                                        <a:pt x="3325321" y="929495"/>
                                                      </a:cubicBezTo>
                                                      <a:cubicBezTo>
                                                        <a:pt x="3324932" y="924830"/>
                                                        <a:pt x="3324544" y="920101"/>
                                                        <a:pt x="3325516" y="915566"/>
                                                      </a:cubicBezTo>
                                                      <a:cubicBezTo>
                                                        <a:pt x="3326552" y="910966"/>
                                                        <a:pt x="3329208" y="906560"/>
                                                        <a:pt x="3333420" y="904552"/>
                                                      </a:cubicBezTo>
                                                      <a:cubicBezTo>
                                                        <a:pt x="3336141" y="903256"/>
                                                        <a:pt x="3339963" y="902479"/>
                                                        <a:pt x="3340481" y="899434"/>
                                                      </a:cubicBezTo>
                                                      <a:cubicBezTo>
                                                        <a:pt x="3340676" y="898138"/>
                                                        <a:pt x="3340093" y="896778"/>
                                                        <a:pt x="3340158" y="895482"/>
                                                      </a:cubicBezTo>
                                                      <a:cubicBezTo>
                                                        <a:pt x="3340546" y="889911"/>
                                                        <a:pt x="3350588" y="890299"/>
                                                        <a:pt x="3352208" y="884987"/>
                                                      </a:cubicBezTo>
                                                      <a:cubicBezTo>
                                                        <a:pt x="3352661" y="883561"/>
                                                        <a:pt x="3352337" y="882007"/>
                                                        <a:pt x="3352726" y="880581"/>
                                                      </a:cubicBezTo>
                                                      <a:cubicBezTo>
                                                        <a:pt x="3353115" y="878962"/>
                                                        <a:pt x="3354216" y="877666"/>
                                                        <a:pt x="3355317" y="876435"/>
                                                      </a:cubicBezTo>
                                                      <a:cubicBezTo>
                                                        <a:pt x="3358686" y="872613"/>
                                                        <a:pt x="3360565" y="868985"/>
                                                        <a:pt x="3364582" y="865810"/>
                                                      </a:cubicBezTo>
                                                      <a:cubicBezTo>
                                                        <a:pt x="3368922" y="862377"/>
                                                        <a:pt x="3367950" y="855185"/>
                                                        <a:pt x="3371514" y="850845"/>
                                                      </a:cubicBezTo>
                                                      <a:cubicBezTo>
                                                        <a:pt x="3375077" y="846504"/>
                                                        <a:pt x="3381944" y="846763"/>
                                                        <a:pt x="3387321" y="848448"/>
                                                      </a:cubicBezTo>
                                                      <a:cubicBezTo>
                                                        <a:pt x="3392764" y="850132"/>
                                                        <a:pt x="3398205" y="852853"/>
                                                        <a:pt x="3403842" y="852205"/>
                                                      </a:cubicBezTo>
                                                      <a:cubicBezTo>
                                                        <a:pt x="3412717" y="851104"/>
                                                        <a:pt x="3418289" y="842228"/>
                                                        <a:pt x="3422241" y="834130"/>
                                                      </a:cubicBezTo>
                                                      <a:cubicBezTo>
                                                        <a:pt x="3423990" y="830696"/>
                                                        <a:pt x="3428590" y="826874"/>
                                                        <a:pt x="3430793" y="830048"/>
                                                      </a:cubicBezTo>
                                                      <a:cubicBezTo>
                                                        <a:pt x="3431376" y="830891"/>
                                                        <a:pt x="3431440" y="831992"/>
                                                        <a:pt x="3431894" y="832899"/>
                                                      </a:cubicBezTo>
                                                      <a:cubicBezTo>
                                                        <a:pt x="3433643" y="836333"/>
                                                        <a:pt x="3439086" y="835296"/>
                                                        <a:pt x="3441871" y="837952"/>
                                                      </a:cubicBezTo>
                                                      <a:cubicBezTo>
                                                        <a:pt x="3444916" y="840803"/>
                                                        <a:pt x="3443491" y="847022"/>
                                                        <a:pt x="3447184" y="849096"/>
                                                      </a:cubicBezTo>
                                                      <a:cubicBezTo>
                                                        <a:pt x="3450358" y="850845"/>
                                                        <a:pt x="3454115" y="847929"/>
                                                        <a:pt x="3455735" y="844755"/>
                                                      </a:cubicBezTo>
                                                      <a:cubicBezTo>
                                                        <a:pt x="3457355" y="841580"/>
                                                        <a:pt x="3458327" y="837693"/>
                                                        <a:pt x="3461307" y="835750"/>
                                                      </a:cubicBezTo>
                                                      <a:cubicBezTo>
                                                        <a:pt x="3464158" y="833806"/>
                                                        <a:pt x="3468109" y="834324"/>
                                                        <a:pt x="3471349" y="832964"/>
                                                      </a:cubicBezTo>
                                                      <a:cubicBezTo>
                                                        <a:pt x="3474004" y="831862"/>
                                                        <a:pt x="3476013" y="829530"/>
                                                        <a:pt x="3478410" y="827911"/>
                                                      </a:cubicBezTo>
                                                      <a:cubicBezTo>
                                                        <a:pt x="3485083" y="823311"/>
                                                        <a:pt x="3494024" y="824542"/>
                                                        <a:pt x="3502057" y="825902"/>
                                                      </a:cubicBezTo>
                                                      <a:cubicBezTo>
                                                        <a:pt x="3503935" y="826291"/>
                                                        <a:pt x="3506009" y="826680"/>
                                                        <a:pt x="3507304" y="828170"/>
                                                      </a:cubicBezTo>
                                                      <a:cubicBezTo>
                                                        <a:pt x="3509054" y="830113"/>
                                                        <a:pt x="3508859" y="833482"/>
                                                        <a:pt x="3510933" y="835102"/>
                                                      </a:cubicBezTo>
                                                      <a:cubicBezTo>
                                                        <a:pt x="3513265" y="836981"/>
                                                        <a:pt x="3517541" y="835620"/>
                                                        <a:pt x="3519290" y="838147"/>
                                                      </a:cubicBezTo>
                                                      <a:cubicBezTo>
                                                        <a:pt x="3520456" y="839896"/>
                                                        <a:pt x="3519614" y="842682"/>
                                                        <a:pt x="3521169" y="844107"/>
                                                      </a:cubicBezTo>
                                                      <a:cubicBezTo>
                                                        <a:pt x="3522140" y="844949"/>
                                                        <a:pt x="3523630" y="844884"/>
                                                        <a:pt x="3524927" y="844690"/>
                                                      </a:cubicBezTo>
                                                      <a:cubicBezTo>
                                                        <a:pt x="3529656" y="844172"/>
                                                        <a:pt x="3534515" y="843265"/>
                                                        <a:pt x="3538596" y="840803"/>
                                                      </a:cubicBezTo>
                                                      <a:cubicBezTo>
                                                        <a:pt x="3542678" y="838276"/>
                                                        <a:pt x="3545852" y="833806"/>
                                                        <a:pt x="3545593" y="829012"/>
                                                      </a:cubicBezTo>
                                                      <a:cubicBezTo>
                                                        <a:pt x="3548638" y="828753"/>
                                                        <a:pt x="3551682" y="828494"/>
                                                        <a:pt x="3554728" y="828234"/>
                                                      </a:cubicBezTo>
                                                      <a:cubicBezTo>
                                                        <a:pt x="3556930" y="822469"/>
                                                        <a:pt x="3559717" y="816055"/>
                                                        <a:pt x="3565482" y="813787"/>
                                                      </a:cubicBezTo>
                                                      <a:cubicBezTo>
                                                        <a:pt x="3567944" y="812815"/>
                                                        <a:pt x="3570795" y="812751"/>
                                                        <a:pt x="3573192" y="811585"/>
                                                      </a:cubicBezTo>
                                                      <a:cubicBezTo>
                                                        <a:pt x="3579087" y="808734"/>
                                                        <a:pt x="3580707" y="800312"/>
                                                        <a:pt x="3586732" y="797785"/>
                                                      </a:cubicBezTo>
                                                      <a:cubicBezTo>
                                                        <a:pt x="3591655" y="795712"/>
                                                        <a:pt x="3598717" y="797720"/>
                                                        <a:pt x="3601438" y="793185"/>
                                                      </a:cubicBezTo>
                                                      <a:cubicBezTo>
                                                        <a:pt x="3602410" y="791501"/>
                                                        <a:pt x="3602345" y="789363"/>
                                                        <a:pt x="3603058" y="787549"/>
                                                      </a:cubicBezTo>
                                                      <a:cubicBezTo>
                                                        <a:pt x="3605714" y="781006"/>
                                                        <a:pt x="3615302" y="782431"/>
                                                        <a:pt x="3621846" y="784958"/>
                                                      </a:cubicBezTo>
                                                      <a:cubicBezTo>
                                                        <a:pt x="3623530" y="778285"/>
                                                        <a:pt x="3630462" y="774009"/>
                                                        <a:pt x="3637265" y="773037"/>
                                                      </a:cubicBezTo>
                                                      <a:cubicBezTo>
                                                        <a:pt x="3644067" y="772001"/>
                                                        <a:pt x="3650935" y="773491"/>
                                                        <a:pt x="3657737" y="774462"/>
                                                      </a:cubicBezTo>
                                                      <a:cubicBezTo>
                                                        <a:pt x="3660393" y="774851"/>
                                                        <a:pt x="3663438" y="775045"/>
                                                        <a:pt x="3665382" y="773231"/>
                                                      </a:cubicBezTo>
                                                      <a:cubicBezTo>
                                                        <a:pt x="3667325" y="771482"/>
                                                        <a:pt x="3667584" y="768243"/>
                                                        <a:pt x="3669658" y="766623"/>
                                                      </a:cubicBezTo>
                                                      <a:cubicBezTo>
                                                        <a:pt x="3671990" y="764744"/>
                                                        <a:pt x="3675489" y="765781"/>
                                                        <a:pt x="3678274" y="764809"/>
                                                      </a:cubicBezTo>
                                                      <a:cubicBezTo>
                                                        <a:pt x="3684170" y="762801"/>
                                                        <a:pt x="3685465" y="753277"/>
                                                        <a:pt x="3691685" y="752694"/>
                                                      </a:cubicBezTo>
                                                      <a:cubicBezTo>
                                                        <a:pt x="3694470" y="752435"/>
                                                        <a:pt x="3697515" y="754379"/>
                                                        <a:pt x="3700107" y="753148"/>
                                                      </a:cubicBezTo>
                                                      <a:cubicBezTo>
                                                        <a:pt x="3702893" y="751852"/>
                                                        <a:pt x="3703022" y="748095"/>
                                                        <a:pt x="3703346" y="745050"/>
                                                      </a:cubicBezTo>
                                                      <a:cubicBezTo>
                                                        <a:pt x="3703605" y="742005"/>
                                                        <a:pt x="3705678" y="738182"/>
                                                        <a:pt x="3708659" y="738960"/>
                                                      </a:cubicBezTo>
                                                      <a:cubicBezTo>
                                                        <a:pt x="3709954" y="739284"/>
                                                        <a:pt x="3710861" y="740450"/>
                                                        <a:pt x="3711898" y="741292"/>
                                                      </a:cubicBezTo>
                                                      <a:cubicBezTo>
                                                        <a:pt x="3713841" y="742847"/>
                                                        <a:pt x="3716368" y="743430"/>
                                                        <a:pt x="3718765" y="744013"/>
                                                      </a:cubicBezTo>
                                                      <a:cubicBezTo>
                                                        <a:pt x="3723948" y="745179"/>
                                                        <a:pt x="3729131" y="746345"/>
                                                        <a:pt x="3734314" y="747511"/>
                                                      </a:cubicBezTo>
                                                      <a:cubicBezTo>
                                                        <a:pt x="3736840" y="748095"/>
                                                        <a:pt x="3739626" y="748807"/>
                                                        <a:pt x="3741245" y="750816"/>
                                                      </a:cubicBezTo>
                                                      <a:cubicBezTo>
                                                        <a:pt x="3742217" y="751982"/>
                                                        <a:pt x="3742671" y="753472"/>
                                                        <a:pt x="3743578" y="754703"/>
                                                      </a:cubicBezTo>
                                                      <a:cubicBezTo>
                                                        <a:pt x="3747076" y="759562"/>
                                                        <a:pt x="3754527" y="758266"/>
                                                        <a:pt x="3760228" y="756387"/>
                                                      </a:cubicBezTo>
                                                      <a:cubicBezTo>
                                                        <a:pt x="3760487" y="754832"/>
                                                        <a:pt x="3761459" y="753213"/>
                                                        <a:pt x="3761200" y="751593"/>
                                                      </a:cubicBezTo>
                                                      <a:cubicBezTo>
                                                        <a:pt x="3760811" y="749909"/>
                                                        <a:pt x="3760487" y="748224"/>
                                                        <a:pt x="3760163" y="746540"/>
                                                      </a:cubicBezTo>
                                                      <a:cubicBezTo>
                                                        <a:pt x="3766836" y="746086"/>
                                                        <a:pt x="3775906" y="742588"/>
                                                        <a:pt x="3774092" y="736174"/>
                                                      </a:cubicBezTo>
                                                      <a:cubicBezTo>
                                                        <a:pt x="3766577" y="738377"/>
                                                        <a:pt x="3758219" y="737534"/>
                                                        <a:pt x="3751288" y="733907"/>
                                                      </a:cubicBezTo>
                                                      <a:cubicBezTo>
                                                        <a:pt x="3744550" y="730343"/>
                                                        <a:pt x="3739173" y="723929"/>
                                                        <a:pt x="3737553" y="716479"/>
                                                      </a:cubicBezTo>
                                                      <a:cubicBezTo>
                                                        <a:pt x="3735350" y="716155"/>
                                                        <a:pt x="3733082" y="715896"/>
                                                        <a:pt x="3730880" y="715572"/>
                                                      </a:cubicBezTo>
                                                      <a:cubicBezTo>
                                                        <a:pt x="3732046" y="709288"/>
                                                        <a:pt x="3724466" y="703328"/>
                                                        <a:pt x="3718635" y="705854"/>
                                                      </a:cubicBezTo>
                                                      <a:cubicBezTo>
                                                        <a:pt x="3718312" y="701060"/>
                                                        <a:pt x="3718635" y="696201"/>
                                                        <a:pt x="3719672" y="691537"/>
                                                      </a:cubicBezTo>
                                                      <a:cubicBezTo>
                                                        <a:pt x="3715137" y="692703"/>
                                                        <a:pt x="3710343" y="689528"/>
                                                        <a:pt x="3708270" y="685317"/>
                                                      </a:cubicBezTo>
                                                      <a:cubicBezTo>
                                                        <a:pt x="3706197" y="681106"/>
                                                        <a:pt x="3706327" y="676118"/>
                                                        <a:pt x="3706974" y="671518"/>
                                                      </a:cubicBezTo>
                                                      <a:cubicBezTo>
                                                        <a:pt x="3707427" y="668473"/>
                                                        <a:pt x="3707881" y="664910"/>
                                                        <a:pt x="3705613" y="662901"/>
                                                      </a:cubicBezTo>
                                                      <a:cubicBezTo>
                                                        <a:pt x="3703087" y="660634"/>
                                                        <a:pt x="3699135" y="661994"/>
                                                        <a:pt x="3695767" y="661411"/>
                                                      </a:cubicBezTo>
                                                      <a:cubicBezTo>
                                                        <a:pt x="3687797" y="660116"/>
                                                        <a:pt x="3686632" y="647741"/>
                                                        <a:pt x="3692333" y="642040"/>
                                                      </a:cubicBezTo>
                                                      <a:cubicBezTo>
                                                        <a:pt x="3698099" y="636339"/>
                                                        <a:pt x="3706974" y="635627"/>
                                                        <a:pt x="3715073" y="635238"/>
                                                      </a:cubicBezTo>
                                                      <a:cubicBezTo>
                                                        <a:pt x="3713388" y="640874"/>
                                                        <a:pt x="3719348" y="646381"/>
                                                        <a:pt x="3725179" y="646511"/>
                                                      </a:cubicBezTo>
                                                      <a:cubicBezTo>
                                                        <a:pt x="3731074" y="646640"/>
                                                        <a:pt x="3736258" y="643077"/>
                                                        <a:pt x="3740857" y="639384"/>
                                                      </a:cubicBezTo>
                                                      <a:cubicBezTo>
                                                        <a:pt x="3743578" y="637181"/>
                                                        <a:pt x="3746558" y="633813"/>
                                                        <a:pt x="3745198" y="630508"/>
                                                      </a:cubicBezTo>
                                                      <a:cubicBezTo>
                                                        <a:pt x="3758155" y="632193"/>
                                                        <a:pt x="3771371" y="632128"/>
                                                        <a:pt x="3784328" y="630379"/>
                                                      </a:cubicBezTo>
                                                      <a:cubicBezTo>
                                                        <a:pt x="3792361" y="629278"/>
                                                        <a:pt x="3802598" y="623965"/>
                                                        <a:pt x="3800136" y="616256"/>
                                                      </a:cubicBezTo>
                                                      <a:cubicBezTo>
                                                        <a:pt x="3798646" y="611526"/>
                                                        <a:pt x="3793139" y="609647"/>
                                                        <a:pt x="3788799" y="607186"/>
                                                      </a:cubicBezTo>
                                                      <a:cubicBezTo>
                                                        <a:pt x="3784523" y="604724"/>
                                                        <a:pt x="3780765" y="598699"/>
                                                        <a:pt x="3784263" y="595200"/>
                                                      </a:cubicBezTo>
                                                      <a:cubicBezTo>
                                                        <a:pt x="3793528" y="586584"/>
                                                        <a:pt x="3805383" y="580947"/>
                                                        <a:pt x="3817823" y="579133"/>
                                                      </a:cubicBezTo>
                                                      <a:cubicBezTo>
                                                        <a:pt x="3820155" y="578809"/>
                                                        <a:pt x="3822682" y="578615"/>
                                                        <a:pt x="3824625" y="579846"/>
                                                      </a:cubicBezTo>
                                                      <a:cubicBezTo>
                                                        <a:pt x="3830067" y="583215"/>
                                                        <a:pt x="3825986" y="591572"/>
                                                        <a:pt x="3821515" y="596107"/>
                                                      </a:cubicBezTo>
                                                      <a:cubicBezTo>
                                                        <a:pt x="3817045" y="600642"/>
                                                        <a:pt x="3812575" y="608676"/>
                                                        <a:pt x="3817758" y="612433"/>
                                                      </a:cubicBezTo>
                                                      <a:cubicBezTo>
                                                        <a:pt x="3819248" y="613535"/>
                                                        <a:pt x="3821256" y="613794"/>
                                                        <a:pt x="3822746" y="614830"/>
                                                      </a:cubicBezTo>
                                                      <a:cubicBezTo>
                                                        <a:pt x="3826309" y="617227"/>
                                                        <a:pt x="3826763" y="622864"/>
                                                        <a:pt x="3830520" y="624807"/>
                                                      </a:cubicBezTo>
                                                      <a:cubicBezTo>
                                                        <a:pt x="3833760" y="626362"/>
                                                        <a:pt x="3837453" y="624548"/>
                                                        <a:pt x="3840757" y="623188"/>
                                                      </a:cubicBezTo>
                                                      <a:cubicBezTo>
                                                        <a:pt x="3853455" y="617681"/>
                                                        <a:pt x="3868679" y="618653"/>
                                                        <a:pt x="3880600" y="625650"/>
                                                      </a:cubicBezTo>
                                                      <a:cubicBezTo>
                                                        <a:pt x="3886820" y="630703"/>
                                                        <a:pt x="3890512" y="638672"/>
                                                        <a:pt x="3890382" y="646705"/>
                                                      </a:cubicBezTo>
                                                      <a:cubicBezTo>
                                                        <a:pt x="3902109" y="650916"/>
                                                        <a:pt x="3914612" y="653054"/>
                                                        <a:pt x="3927116" y="652989"/>
                                                      </a:cubicBezTo>
                                                      <a:lnTo>
                                                        <a:pt x="3927116" y="661800"/>
                                                      </a:lnTo>
                                                      <a:cubicBezTo>
                                                        <a:pt x="3930873" y="662513"/>
                                                        <a:pt x="3934631" y="663225"/>
                                                        <a:pt x="3938389" y="663938"/>
                                                      </a:cubicBezTo>
                                                      <a:cubicBezTo>
                                                        <a:pt x="3942405" y="675081"/>
                                                        <a:pt x="3959832" y="677996"/>
                                                        <a:pt x="3967348" y="668732"/>
                                                      </a:cubicBezTo>
                                                      <a:cubicBezTo>
                                                        <a:pt x="3965858" y="665558"/>
                                                        <a:pt x="3962943" y="663031"/>
                                                        <a:pt x="3959509" y="662124"/>
                                                      </a:cubicBezTo>
                                                      <a:cubicBezTo>
                                                        <a:pt x="3959379" y="659209"/>
                                                        <a:pt x="3959314" y="656293"/>
                                                        <a:pt x="3959185" y="653378"/>
                                                      </a:cubicBezTo>
                                                      <a:cubicBezTo>
                                                        <a:pt x="3964951" y="654674"/>
                                                        <a:pt x="3971364" y="652017"/>
                                                        <a:pt x="3974604" y="647029"/>
                                                      </a:cubicBezTo>
                                                      <a:cubicBezTo>
                                                        <a:pt x="3977778" y="642040"/>
                                                        <a:pt x="3977455" y="635043"/>
                                                        <a:pt x="3973826" y="630379"/>
                                                      </a:cubicBezTo>
                                                      <a:cubicBezTo>
                                                        <a:pt x="3969615" y="624872"/>
                                                        <a:pt x="3961064" y="621115"/>
                                                        <a:pt x="3962100" y="614247"/>
                                                      </a:cubicBezTo>
                                                      <a:cubicBezTo>
                                                        <a:pt x="3965858" y="610814"/>
                                                        <a:pt x="3971818" y="611785"/>
                                                        <a:pt x="3976418" y="613859"/>
                                                      </a:cubicBezTo>
                                                      <a:cubicBezTo>
                                                        <a:pt x="3981017" y="615932"/>
                                                        <a:pt x="3985488" y="618977"/>
                                                        <a:pt x="3990542" y="619171"/>
                                                      </a:cubicBezTo>
                                                      <a:cubicBezTo>
                                                        <a:pt x="3995594" y="619365"/>
                                                        <a:pt x="4001231" y="614766"/>
                                                        <a:pt x="3999546" y="609971"/>
                                                      </a:cubicBezTo>
                                                      <a:cubicBezTo>
                                                        <a:pt x="4003304" y="609259"/>
                                                        <a:pt x="4007256" y="612757"/>
                                                        <a:pt x="4006997" y="616515"/>
                                                      </a:cubicBezTo>
                                                      <a:cubicBezTo>
                                                        <a:pt x="4011855" y="618523"/>
                                                        <a:pt x="4017881" y="616968"/>
                                                        <a:pt x="4021185" y="612887"/>
                                                      </a:cubicBezTo>
                                                      <a:cubicBezTo>
                                                        <a:pt x="4024489" y="608805"/>
                                                        <a:pt x="4024683" y="602586"/>
                                                        <a:pt x="4021703" y="598245"/>
                                                      </a:cubicBezTo>
                                                      <a:close/>
                                                      <a:moveTo>
                                                        <a:pt x="1997344" y="1117373"/>
                                                      </a:moveTo>
                                                      <a:cubicBezTo>
                                                        <a:pt x="1989116" y="1117373"/>
                                                        <a:pt x="1980888" y="1118151"/>
                                                        <a:pt x="1972790" y="1119705"/>
                                                      </a:cubicBezTo>
                                                      <a:cubicBezTo>
                                                        <a:pt x="1974021" y="1123010"/>
                                                        <a:pt x="1971753" y="1126702"/>
                                                        <a:pt x="1968838" y="1128646"/>
                                                      </a:cubicBezTo>
                                                      <a:cubicBezTo>
                                                        <a:pt x="1965858" y="1130525"/>
                                                        <a:pt x="1962295" y="1131237"/>
                                                        <a:pt x="1959055" y="1132663"/>
                                                      </a:cubicBezTo>
                                                      <a:cubicBezTo>
                                                        <a:pt x="1947912" y="1137327"/>
                                                        <a:pt x="1941564" y="1148989"/>
                                                        <a:pt x="1932493" y="1156892"/>
                                                      </a:cubicBezTo>
                                                      <a:cubicBezTo>
                                                        <a:pt x="1920184" y="1167647"/>
                                                        <a:pt x="1903405" y="1171145"/>
                                                        <a:pt x="1887403" y="1174320"/>
                                                      </a:cubicBezTo>
                                                      <a:cubicBezTo>
                                                        <a:pt x="1885199" y="1174773"/>
                                                        <a:pt x="1882932" y="1175162"/>
                                                        <a:pt x="1880859" y="1174514"/>
                                                      </a:cubicBezTo>
                                                      <a:cubicBezTo>
                                                        <a:pt x="1875741" y="1172895"/>
                                                        <a:pt x="1874704" y="1165509"/>
                                                        <a:pt x="1877750" y="1161168"/>
                                                      </a:cubicBezTo>
                                                      <a:cubicBezTo>
                                                        <a:pt x="1880859" y="1156828"/>
                                                        <a:pt x="1886366" y="1155014"/>
                                                        <a:pt x="1891613" y="1154171"/>
                                                      </a:cubicBezTo>
                                                      <a:cubicBezTo>
                                                        <a:pt x="1896861" y="1153264"/>
                                                        <a:pt x="1902368" y="1152940"/>
                                                        <a:pt x="1907097" y="1150543"/>
                                                      </a:cubicBezTo>
                                                      <a:cubicBezTo>
                                                        <a:pt x="1914872" y="1146592"/>
                                                        <a:pt x="1919082" y="1136679"/>
                                                        <a:pt x="1916492" y="1128322"/>
                                                      </a:cubicBezTo>
                                                      <a:cubicBezTo>
                                                        <a:pt x="1941174" y="1118928"/>
                                                        <a:pt x="1961842" y="1099363"/>
                                                        <a:pt x="1972531" y="1075198"/>
                                                      </a:cubicBezTo>
                                                      <a:cubicBezTo>
                                                        <a:pt x="1974345" y="1071181"/>
                                                        <a:pt x="1975964" y="1066840"/>
                                                        <a:pt x="1979463" y="1064184"/>
                                                      </a:cubicBezTo>
                                                      <a:cubicBezTo>
                                                        <a:pt x="1982248" y="1062111"/>
                                                        <a:pt x="1985747" y="1061398"/>
                                                        <a:pt x="1988663" y="1059584"/>
                                                      </a:cubicBezTo>
                                                      <a:cubicBezTo>
                                                        <a:pt x="1997085" y="1054401"/>
                                                        <a:pt x="1997927" y="1042805"/>
                                                        <a:pt x="1999482" y="1033022"/>
                                                      </a:cubicBezTo>
                                                      <a:cubicBezTo>
                                                        <a:pt x="2001101" y="1023240"/>
                                                        <a:pt x="2007385" y="1011643"/>
                                                        <a:pt x="2017233" y="1012939"/>
                                                      </a:cubicBezTo>
                                                      <a:cubicBezTo>
                                                        <a:pt x="2025979" y="1014105"/>
                                                        <a:pt x="2029802" y="1024794"/>
                                                        <a:pt x="2029477" y="1033605"/>
                                                      </a:cubicBezTo>
                                                      <a:cubicBezTo>
                                                        <a:pt x="2028505" y="1063731"/>
                                                        <a:pt x="2002526" y="1087701"/>
                                                        <a:pt x="1997344" y="111737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6" name="Freeform: Shape 78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B01993A-56E4-4621-8A53-01471B2D19D9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915790" y="3749223"/>
                                                  <a:ext cx="259280" cy="9522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002 w 259280"/>
                                                    <a:gd name="connsiteY0" fmla="*/ 29158 h 95229"/>
                                                    <a:gd name="connsiteX1" fmla="*/ 22221 w 259280"/>
                                                    <a:gd name="connsiteY1" fmla="*/ 19505 h 95229"/>
                                                    <a:gd name="connsiteX2" fmla="*/ 32846 w 259280"/>
                                                    <a:gd name="connsiteY2" fmla="*/ 13286 h 95229"/>
                                                    <a:gd name="connsiteX3" fmla="*/ 36669 w 259280"/>
                                                    <a:gd name="connsiteY3" fmla="*/ 6483 h 95229"/>
                                                    <a:gd name="connsiteX4" fmla="*/ 56752 w 259280"/>
                                                    <a:gd name="connsiteY4" fmla="*/ 5 h 95229"/>
                                                    <a:gd name="connsiteX5" fmla="*/ 83703 w 259280"/>
                                                    <a:gd name="connsiteY5" fmla="*/ 393 h 95229"/>
                                                    <a:gd name="connsiteX6" fmla="*/ 100159 w 259280"/>
                                                    <a:gd name="connsiteY6" fmla="*/ 3568 h 95229"/>
                                                    <a:gd name="connsiteX7" fmla="*/ 109682 w 259280"/>
                                                    <a:gd name="connsiteY7" fmla="*/ 9787 h 95229"/>
                                                    <a:gd name="connsiteX8" fmla="*/ 126656 w 259280"/>
                                                    <a:gd name="connsiteY8" fmla="*/ 12573 h 95229"/>
                                                    <a:gd name="connsiteX9" fmla="*/ 129895 w 259280"/>
                                                    <a:gd name="connsiteY9" fmla="*/ 18728 h 95229"/>
                                                    <a:gd name="connsiteX10" fmla="*/ 147647 w 259280"/>
                                                    <a:gd name="connsiteY10" fmla="*/ 24558 h 95229"/>
                                                    <a:gd name="connsiteX11" fmla="*/ 152182 w 259280"/>
                                                    <a:gd name="connsiteY11" fmla="*/ 29806 h 95229"/>
                                                    <a:gd name="connsiteX12" fmla="*/ 161640 w 259280"/>
                                                    <a:gd name="connsiteY12" fmla="*/ 32138 h 95229"/>
                                                    <a:gd name="connsiteX13" fmla="*/ 181076 w 259280"/>
                                                    <a:gd name="connsiteY13" fmla="*/ 46132 h 95229"/>
                                                    <a:gd name="connsiteX14" fmla="*/ 183214 w 259280"/>
                                                    <a:gd name="connsiteY14" fmla="*/ 51963 h 95229"/>
                                                    <a:gd name="connsiteX15" fmla="*/ 207314 w 259280"/>
                                                    <a:gd name="connsiteY15" fmla="*/ 57988 h 95229"/>
                                                    <a:gd name="connsiteX16" fmla="*/ 239901 w 259280"/>
                                                    <a:gd name="connsiteY16" fmla="*/ 62523 h 95229"/>
                                                    <a:gd name="connsiteX17" fmla="*/ 246769 w 259280"/>
                                                    <a:gd name="connsiteY17" fmla="*/ 71334 h 95229"/>
                                                    <a:gd name="connsiteX18" fmla="*/ 259272 w 259280"/>
                                                    <a:gd name="connsiteY18" fmla="*/ 81764 h 95229"/>
                                                    <a:gd name="connsiteX19" fmla="*/ 248712 w 259280"/>
                                                    <a:gd name="connsiteY19" fmla="*/ 90122 h 95229"/>
                                                    <a:gd name="connsiteX20" fmla="*/ 188915 w 259280"/>
                                                    <a:gd name="connsiteY20" fmla="*/ 95175 h 95229"/>
                                                    <a:gd name="connsiteX21" fmla="*/ 178225 w 259280"/>
                                                    <a:gd name="connsiteY21" fmla="*/ 91741 h 95229"/>
                                                    <a:gd name="connsiteX22" fmla="*/ 175699 w 259280"/>
                                                    <a:gd name="connsiteY22" fmla="*/ 73731 h 95229"/>
                                                    <a:gd name="connsiteX23" fmla="*/ 146740 w 259280"/>
                                                    <a:gd name="connsiteY23" fmla="*/ 60191 h 95229"/>
                                                    <a:gd name="connsiteX24" fmla="*/ 137281 w 259280"/>
                                                    <a:gd name="connsiteY24" fmla="*/ 45225 h 95229"/>
                                                    <a:gd name="connsiteX25" fmla="*/ 124324 w 259280"/>
                                                    <a:gd name="connsiteY25" fmla="*/ 39848 h 95229"/>
                                                    <a:gd name="connsiteX26" fmla="*/ 93097 w 259280"/>
                                                    <a:gd name="connsiteY26" fmla="*/ 38293 h 95229"/>
                                                    <a:gd name="connsiteX27" fmla="*/ 80658 w 259280"/>
                                                    <a:gd name="connsiteY27" fmla="*/ 37451 h 95229"/>
                                                    <a:gd name="connsiteX28" fmla="*/ 75670 w 259280"/>
                                                    <a:gd name="connsiteY28" fmla="*/ 27409 h 95229"/>
                                                    <a:gd name="connsiteX29" fmla="*/ 67831 w 259280"/>
                                                    <a:gd name="connsiteY29" fmla="*/ 23975 h 95229"/>
                                                    <a:gd name="connsiteX30" fmla="*/ 63231 w 259280"/>
                                                    <a:gd name="connsiteY30" fmla="*/ 15942 h 95229"/>
                                                    <a:gd name="connsiteX31" fmla="*/ 47553 w 259280"/>
                                                    <a:gd name="connsiteY31" fmla="*/ 12638 h 95229"/>
                                                    <a:gd name="connsiteX32" fmla="*/ 33494 w 259280"/>
                                                    <a:gd name="connsiteY32" fmla="*/ 21902 h 95229"/>
                                                    <a:gd name="connsiteX33" fmla="*/ 0 w 259280"/>
                                                    <a:gd name="connsiteY33" fmla="*/ 38228 h 95229"/>
                                                    <a:gd name="connsiteX34" fmla="*/ 130 w 259280"/>
                                                    <a:gd name="connsiteY34" fmla="*/ 32592 h 95229"/>
                                                    <a:gd name="connsiteX35" fmla="*/ 16132 w 259280"/>
                                                    <a:gd name="connsiteY35" fmla="*/ 29158 h 9522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59280" h="95229">
                                                      <a:moveTo>
                                                        <a:pt x="16002" y="29158"/>
                                                      </a:moveTo>
                                                      <a:cubicBezTo>
                                                        <a:pt x="14836" y="25142"/>
                                                        <a:pt x="18464" y="21384"/>
                                                        <a:pt x="22221" y="19505"/>
                                                      </a:cubicBezTo>
                                                      <a:cubicBezTo>
                                                        <a:pt x="25914" y="17626"/>
                                                        <a:pt x="30255" y="16525"/>
                                                        <a:pt x="32846" y="13286"/>
                                                      </a:cubicBezTo>
                                                      <a:cubicBezTo>
                                                        <a:pt x="34466" y="11277"/>
                                                        <a:pt x="35179" y="8621"/>
                                                        <a:pt x="36669" y="6483"/>
                                                      </a:cubicBezTo>
                                                      <a:cubicBezTo>
                                                        <a:pt x="40815" y="458"/>
                                                        <a:pt x="49432" y="-60"/>
                                                        <a:pt x="56752" y="5"/>
                                                      </a:cubicBezTo>
                                                      <a:lnTo>
                                                        <a:pt x="83703" y="393"/>
                                                      </a:lnTo>
                                                      <a:cubicBezTo>
                                                        <a:pt x="89340" y="458"/>
                                                        <a:pt x="95300" y="653"/>
                                                        <a:pt x="100159" y="3568"/>
                                                      </a:cubicBezTo>
                                                      <a:cubicBezTo>
                                                        <a:pt x="103398" y="5576"/>
                                                        <a:pt x="106054" y="8751"/>
                                                        <a:pt x="109682" y="9787"/>
                                                      </a:cubicBezTo>
                                                      <a:cubicBezTo>
                                                        <a:pt x="115318" y="11472"/>
                                                        <a:pt x="122834" y="8038"/>
                                                        <a:pt x="126656" y="12573"/>
                                                      </a:cubicBezTo>
                                                      <a:cubicBezTo>
                                                        <a:pt x="128146" y="14322"/>
                                                        <a:pt x="128470" y="16849"/>
                                                        <a:pt x="129895" y="18728"/>
                                                      </a:cubicBezTo>
                                                      <a:cubicBezTo>
                                                        <a:pt x="133847" y="23781"/>
                                                        <a:pt x="142788" y="20412"/>
                                                        <a:pt x="147647" y="24558"/>
                                                      </a:cubicBezTo>
                                                      <a:cubicBezTo>
                                                        <a:pt x="149396" y="26049"/>
                                                        <a:pt x="150368" y="28381"/>
                                                        <a:pt x="152182" y="29806"/>
                                                      </a:cubicBezTo>
                                                      <a:cubicBezTo>
                                                        <a:pt x="154773" y="31815"/>
                                                        <a:pt x="158401" y="31555"/>
                                                        <a:pt x="161640" y="32138"/>
                                                      </a:cubicBezTo>
                                                      <a:cubicBezTo>
                                                        <a:pt x="169674" y="33499"/>
                                                        <a:pt x="175699" y="39977"/>
                                                        <a:pt x="181076" y="46132"/>
                                                      </a:cubicBezTo>
                                                      <a:cubicBezTo>
                                                        <a:pt x="182501" y="47752"/>
                                                        <a:pt x="184056" y="49955"/>
                                                        <a:pt x="183214" y="51963"/>
                                                      </a:cubicBezTo>
                                                      <a:cubicBezTo>
                                                        <a:pt x="190535" y="56044"/>
                                                        <a:pt x="198957" y="58118"/>
                                                        <a:pt x="207314" y="57988"/>
                                                      </a:cubicBezTo>
                                                      <a:cubicBezTo>
                                                        <a:pt x="218716" y="57794"/>
                                                        <a:pt x="232192" y="54166"/>
                                                        <a:pt x="239901" y="62523"/>
                                                      </a:cubicBezTo>
                                                      <a:cubicBezTo>
                                                        <a:pt x="242428" y="65244"/>
                                                        <a:pt x="243853" y="69002"/>
                                                        <a:pt x="246769" y="71334"/>
                                                      </a:cubicBezTo>
                                                      <a:cubicBezTo>
                                                        <a:pt x="251174" y="74962"/>
                                                        <a:pt x="259013" y="76128"/>
                                                        <a:pt x="259272" y="81764"/>
                                                      </a:cubicBezTo>
                                                      <a:cubicBezTo>
                                                        <a:pt x="259532" y="86688"/>
                                                        <a:pt x="253507" y="89150"/>
                                                        <a:pt x="248712" y="90122"/>
                                                      </a:cubicBezTo>
                                                      <a:cubicBezTo>
                                                        <a:pt x="229018" y="93879"/>
                                                        <a:pt x="208934" y="95564"/>
                                                        <a:pt x="188915" y="95175"/>
                                                      </a:cubicBezTo>
                                                      <a:cubicBezTo>
                                                        <a:pt x="185028" y="95110"/>
                                                        <a:pt x="180687" y="94721"/>
                                                        <a:pt x="178225" y="91741"/>
                                                      </a:cubicBezTo>
                                                      <a:cubicBezTo>
                                                        <a:pt x="174274" y="86947"/>
                                                        <a:pt x="177966" y="79432"/>
                                                        <a:pt x="175699" y="73731"/>
                                                      </a:cubicBezTo>
                                                      <a:cubicBezTo>
                                                        <a:pt x="171682" y="63430"/>
                                                        <a:pt x="154838" y="67706"/>
                                                        <a:pt x="146740" y="60191"/>
                                                      </a:cubicBezTo>
                                                      <a:cubicBezTo>
                                                        <a:pt x="142399" y="56174"/>
                                                        <a:pt x="141492" y="49371"/>
                                                        <a:pt x="137281" y="45225"/>
                                                      </a:cubicBezTo>
                                                      <a:cubicBezTo>
                                                        <a:pt x="133912" y="41856"/>
                                                        <a:pt x="129053" y="40690"/>
                                                        <a:pt x="124324" y="39848"/>
                                                      </a:cubicBezTo>
                                                      <a:cubicBezTo>
                                                        <a:pt x="114023" y="38034"/>
                                                        <a:pt x="103527" y="37516"/>
                                                        <a:pt x="93097" y="38293"/>
                                                      </a:cubicBezTo>
                                                      <a:cubicBezTo>
                                                        <a:pt x="88886" y="38617"/>
                                                        <a:pt x="84545" y="39071"/>
                                                        <a:pt x="80658" y="37451"/>
                                                      </a:cubicBezTo>
                                                      <a:cubicBezTo>
                                                        <a:pt x="76771" y="35831"/>
                                                        <a:pt x="73856" y="31167"/>
                                                        <a:pt x="75670" y="27409"/>
                                                      </a:cubicBezTo>
                                                      <a:cubicBezTo>
                                                        <a:pt x="72819" y="28640"/>
                                                        <a:pt x="69580" y="26567"/>
                                                        <a:pt x="67831" y="23975"/>
                                                      </a:cubicBezTo>
                                                      <a:cubicBezTo>
                                                        <a:pt x="66081" y="21384"/>
                                                        <a:pt x="65239" y="18274"/>
                                                        <a:pt x="63231" y="15942"/>
                                                      </a:cubicBezTo>
                                                      <a:cubicBezTo>
                                                        <a:pt x="59538" y="11601"/>
                                                        <a:pt x="52930" y="10889"/>
                                                        <a:pt x="47553" y="12638"/>
                                                      </a:cubicBezTo>
                                                      <a:cubicBezTo>
                                                        <a:pt x="42175" y="14387"/>
                                                        <a:pt x="37770" y="18210"/>
                                                        <a:pt x="33494" y="21902"/>
                                                      </a:cubicBezTo>
                                                      <a:cubicBezTo>
                                                        <a:pt x="29154" y="35054"/>
                                                        <a:pt x="13022" y="42958"/>
                                                        <a:pt x="0" y="38228"/>
                                                      </a:cubicBezTo>
                                                      <a:cubicBezTo>
                                                        <a:pt x="0" y="36349"/>
                                                        <a:pt x="65" y="34471"/>
                                                        <a:pt x="130" y="32592"/>
                                                      </a:cubicBezTo>
                                                      <a:cubicBezTo>
                                                        <a:pt x="4924" y="29806"/>
                                                        <a:pt x="10625" y="28640"/>
                                                        <a:pt x="16132" y="2915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7" name="Freeform: Shape 78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05EB79E-6DAB-4257-98A1-B7C0A5E5EE9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70440" y="3879569"/>
                                                  <a:ext cx="39318" cy="1915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9318 w 39318"/>
                                                    <a:gd name="connsiteY0" fmla="*/ 5838 h 19158"/>
                                                    <a:gd name="connsiteX1" fmla="*/ 38800 w 39318"/>
                                                    <a:gd name="connsiteY1" fmla="*/ 2534 h 19158"/>
                                                    <a:gd name="connsiteX2" fmla="*/ 31868 w 39318"/>
                                                    <a:gd name="connsiteY2" fmla="*/ 7 h 19158"/>
                                                    <a:gd name="connsiteX3" fmla="*/ 11007 w 39318"/>
                                                    <a:gd name="connsiteY3" fmla="*/ 267 h 19158"/>
                                                    <a:gd name="connsiteX4" fmla="*/ 3427 w 39318"/>
                                                    <a:gd name="connsiteY4" fmla="*/ 1692 h 19158"/>
                                                    <a:gd name="connsiteX5" fmla="*/ 900 w 39318"/>
                                                    <a:gd name="connsiteY5" fmla="*/ 11604 h 19158"/>
                                                    <a:gd name="connsiteX6" fmla="*/ 31738 w 39318"/>
                                                    <a:gd name="connsiteY6" fmla="*/ 17694 h 19158"/>
                                                    <a:gd name="connsiteX7" fmla="*/ 36532 w 39318"/>
                                                    <a:gd name="connsiteY7" fmla="*/ 15102 h 19158"/>
                                                    <a:gd name="connsiteX8" fmla="*/ 39253 w 39318"/>
                                                    <a:gd name="connsiteY8" fmla="*/ 5838 h 1915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9318" h="19158">
                                                      <a:moveTo>
                                                        <a:pt x="39318" y="5838"/>
                                                      </a:moveTo>
                                                      <a:cubicBezTo>
                                                        <a:pt x="39318" y="4737"/>
                                                        <a:pt x="39318" y="3506"/>
                                                        <a:pt x="38800" y="2534"/>
                                                      </a:cubicBezTo>
                                                      <a:cubicBezTo>
                                                        <a:pt x="37634" y="267"/>
                                                        <a:pt x="34459" y="-57"/>
                                                        <a:pt x="31868" y="7"/>
                                                      </a:cubicBezTo>
                                                      <a:cubicBezTo>
                                                        <a:pt x="24936" y="72"/>
                                                        <a:pt x="17939" y="202"/>
                                                        <a:pt x="11007" y="267"/>
                                                      </a:cubicBezTo>
                                                      <a:cubicBezTo>
                                                        <a:pt x="8415" y="267"/>
                                                        <a:pt x="5630" y="396"/>
                                                        <a:pt x="3427" y="1692"/>
                                                      </a:cubicBezTo>
                                                      <a:cubicBezTo>
                                                        <a:pt x="188" y="3635"/>
                                                        <a:pt x="-978" y="8300"/>
                                                        <a:pt x="900" y="11604"/>
                                                      </a:cubicBezTo>
                                                      <a:cubicBezTo>
                                                        <a:pt x="9258" y="18601"/>
                                                        <a:pt x="21308" y="20998"/>
                                                        <a:pt x="31738" y="17694"/>
                                                      </a:cubicBezTo>
                                                      <a:cubicBezTo>
                                                        <a:pt x="33488" y="17111"/>
                                                        <a:pt x="35237" y="16398"/>
                                                        <a:pt x="36532" y="15102"/>
                                                      </a:cubicBezTo>
                                                      <a:cubicBezTo>
                                                        <a:pt x="38865" y="12770"/>
                                                        <a:pt x="39189" y="9142"/>
                                                        <a:pt x="39253" y="583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8" name="Freeform: Shape 78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CCFE601-49A6-4558-AEB4-1A2FAC521F7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348308" y="3875979"/>
                                                  <a:ext cx="47259" cy="2311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963 w 47259"/>
                                                    <a:gd name="connsiteY0" fmla="*/ 7290 h 23118"/>
                                                    <a:gd name="connsiteX1" fmla="*/ 1675 w 47259"/>
                                                    <a:gd name="connsiteY1" fmla="*/ 19211 h 23118"/>
                                                    <a:gd name="connsiteX2" fmla="*/ 12365 w 47259"/>
                                                    <a:gd name="connsiteY2" fmla="*/ 21996 h 23118"/>
                                                    <a:gd name="connsiteX3" fmla="*/ 14050 w 47259"/>
                                                    <a:gd name="connsiteY3" fmla="*/ 17008 h 23118"/>
                                                    <a:gd name="connsiteX4" fmla="*/ 20139 w 47259"/>
                                                    <a:gd name="connsiteY4" fmla="*/ 12797 h 23118"/>
                                                    <a:gd name="connsiteX5" fmla="*/ 29469 w 47259"/>
                                                    <a:gd name="connsiteY5" fmla="*/ 19923 h 23118"/>
                                                    <a:gd name="connsiteX6" fmla="*/ 42296 w 47259"/>
                                                    <a:gd name="connsiteY6" fmla="*/ 22061 h 23118"/>
                                                    <a:gd name="connsiteX7" fmla="*/ 47220 w 47259"/>
                                                    <a:gd name="connsiteY7" fmla="*/ 11696 h 23118"/>
                                                    <a:gd name="connsiteX8" fmla="*/ 39705 w 47259"/>
                                                    <a:gd name="connsiteY8" fmla="*/ 6189 h 23118"/>
                                                    <a:gd name="connsiteX9" fmla="*/ 18390 w 47259"/>
                                                    <a:gd name="connsiteY9" fmla="*/ 1071 h 23118"/>
                                                    <a:gd name="connsiteX10" fmla="*/ 3425 w 47259"/>
                                                    <a:gd name="connsiteY10" fmla="*/ 2690 h 23118"/>
                                                    <a:gd name="connsiteX11" fmla="*/ 898 w 47259"/>
                                                    <a:gd name="connsiteY11" fmla="*/ 7225 h 2311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7259" h="23118">
                                                      <a:moveTo>
                                                        <a:pt x="963" y="7290"/>
                                                      </a:moveTo>
                                                      <a:cubicBezTo>
                                                        <a:pt x="-333" y="11177"/>
                                                        <a:pt x="-527" y="15777"/>
                                                        <a:pt x="1675" y="19211"/>
                                                      </a:cubicBezTo>
                                                      <a:cubicBezTo>
                                                        <a:pt x="3878" y="22709"/>
                                                        <a:pt x="8996" y="24393"/>
                                                        <a:pt x="12365" y="21996"/>
                                                      </a:cubicBezTo>
                                                      <a:cubicBezTo>
                                                        <a:pt x="12948" y="20312"/>
                                                        <a:pt x="13467" y="18692"/>
                                                        <a:pt x="14050" y="17008"/>
                                                      </a:cubicBezTo>
                                                      <a:cubicBezTo>
                                                        <a:pt x="14762" y="14416"/>
                                                        <a:pt x="17483" y="12538"/>
                                                        <a:pt x="20139" y="12797"/>
                                                      </a:cubicBezTo>
                                                      <a:cubicBezTo>
                                                        <a:pt x="24091" y="13186"/>
                                                        <a:pt x="26424" y="17397"/>
                                                        <a:pt x="29469" y="19923"/>
                                                      </a:cubicBezTo>
                                                      <a:cubicBezTo>
                                                        <a:pt x="32967" y="22839"/>
                                                        <a:pt x="38020" y="23681"/>
                                                        <a:pt x="42296" y="22061"/>
                                                      </a:cubicBezTo>
                                                      <a:cubicBezTo>
                                                        <a:pt x="43009" y="18174"/>
                                                        <a:pt x="47738" y="15583"/>
                                                        <a:pt x="47220" y="11696"/>
                                                      </a:cubicBezTo>
                                                      <a:cubicBezTo>
                                                        <a:pt x="46766" y="8391"/>
                                                        <a:pt x="42879" y="6966"/>
                                                        <a:pt x="39705" y="6189"/>
                                                      </a:cubicBezTo>
                                                      <a:cubicBezTo>
                                                        <a:pt x="32578" y="4504"/>
                                                        <a:pt x="25452" y="2820"/>
                                                        <a:pt x="18390" y="1071"/>
                                                      </a:cubicBezTo>
                                                      <a:cubicBezTo>
                                                        <a:pt x="13272" y="-160"/>
                                                        <a:pt x="7117" y="-1067"/>
                                                        <a:pt x="3425" y="2690"/>
                                                      </a:cubicBezTo>
                                                      <a:cubicBezTo>
                                                        <a:pt x="2194" y="3921"/>
                                                        <a:pt x="1481" y="5541"/>
                                                        <a:pt x="898" y="722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89" name="Freeform: Shape 78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17BD023-04D0-42CE-8741-368A97F18D9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11040" y="1314629"/>
                                                  <a:ext cx="1512381" cy="122291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1312 w 1512381"/>
                                                    <a:gd name="connsiteY0" fmla="*/ 411211 h 1222911"/>
                                                    <a:gd name="connsiteX1" fmla="*/ 59322 w 1512381"/>
                                                    <a:gd name="connsiteY1" fmla="*/ 400651 h 1222911"/>
                                                    <a:gd name="connsiteX2" fmla="*/ 81738 w 1512381"/>
                                                    <a:gd name="connsiteY2" fmla="*/ 402984 h 1222911"/>
                                                    <a:gd name="connsiteX3" fmla="*/ 123330 w 1512381"/>
                                                    <a:gd name="connsiteY3" fmla="*/ 393071 h 1222911"/>
                                                    <a:gd name="connsiteX4" fmla="*/ 143738 w 1512381"/>
                                                    <a:gd name="connsiteY4" fmla="*/ 401688 h 1222911"/>
                                                    <a:gd name="connsiteX5" fmla="*/ 164081 w 1512381"/>
                                                    <a:gd name="connsiteY5" fmla="*/ 398449 h 1222911"/>
                                                    <a:gd name="connsiteX6" fmla="*/ 158120 w 1512381"/>
                                                    <a:gd name="connsiteY6" fmla="*/ 390091 h 1222911"/>
                                                    <a:gd name="connsiteX7" fmla="*/ 165182 w 1512381"/>
                                                    <a:gd name="connsiteY7" fmla="*/ 385427 h 1222911"/>
                                                    <a:gd name="connsiteX8" fmla="*/ 131623 w 1512381"/>
                                                    <a:gd name="connsiteY8" fmla="*/ 367416 h 1222911"/>
                                                    <a:gd name="connsiteX9" fmla="*/ 116463 w 1512381"/>
                                                    <a:gd name="connsiteY9" fmla="*/ 376292 h 1222911"/>
                                                    <a:gd name="connsiteX10" fmla="*/ 67550 w 1512381"/>
                                                    <a:gd name="connsiteY10" fmla="*/ 371627 h 1222911"/>
                                                    <a:gd name="connsiteX11" fmla="*/ 756 w 1512381"/>
                                                    <a:gd name="connsiteY11" fmla="*/ 351673 h 1222911"/>
                                                    <a:gd name="connsiteX12" fmla="*/ 16110 w 1512381"/>
                                                    <a:gd name="connsiteY12" fmla="*/ 326860 h 1222911"/>
                                                    <a:gd name="connsiteX13" fmla="*/ 47466 w 1512381"/>
                                                    <a:gd name="connsiteY13" fmla="*/ 319604 h 1222911"/>
                                                    <a:gd name="connsiteX14" fmla="*/ 88411 w 1512381"/>
                                                    <a:gd name="connsiteY14" fmla="*/ 297318 h 1222911"/>
                                                    <a:gd name="connsiteX15" fmla="*/ 166089 w 1512381"/>
                                                    <a:gd name="connsiteY15" fmla="*/ 293301 h 1222911"/>
                                                    <a:gd name="connsiteX16" fmla="*/ 179953 w 1512381"/>
                                                    <a:gd name="connsiteY16" fmla="*/ 289803 h 1222911"/>
                                                    <a:gd name="connsiteX17" fmla="*/ 182415 w 1512381"/>
                                                    <a:gd name="connsiteY17" fmla="*/ 274060 h 1222911"/>
                                                    <a:gd name="connsiteX18" fmla="*/ 194724 w 1512381"/>
                                                    <a:gd name="connsiteY18" fmla="*/ 253847 h 1222911"/>
                                                    <a:gd name="connsiteX19" fmla="*/ 195955 w 1512381"/>
                                                    <a:gd name="connsiteY19" fmla="*/ 232079 h 1222911"/>
                                                    <a:gd name="connsiteX20" fmla="*/ 182804 w 1512381"/>
                                                    <a:gd name="connsiteY20" fmla="*/ 228775 h 1222911"/>
                                                    <a:gd name="connsiteX21" fmla="*/ 137583 w 1512381"/>
                                                    <a:gd name="connsiteY21" fmla="*/ 228257 h 1222911"/>
                                                    <a:gd name="connsiteX22" fmla="*/ 133178 w 1512381"/>
                                                    <a:gd name="connsiteY22" fmla="*/ 218344 h 1222911"/>
                                                    <a:gd name="connsiteX23" fmla="*/ 159481 w 1512381"/>
                                                    <a:gd name="connsiteY23" fmla="*/ 202990 h 1222911"/>
                                                    <a:gd name="connsiteX24" fmla="*/ 166996 w 1512381"/>
                                                    <a:gd name="connsiteY24" fmla="*/ 196576 h 1222911"/>
                                                    <a:gd name="connsiteX25" fmla="*/ 178658 w 1512381"/>
                                                    <a:gd name="connsiteY25" fmla="*/ 189450 h 1222911"/>
                                                    <a:gd name="connsiteX26" fmla="*/ 208524 w 1512381"/>
                                                    <a:gd name="connsiteY26" fmla="*/ 173124 h 1222911"/>
                                                    <a:gd name="connsiteX27" fmla="*/ 242342 w 1512381"/>
                                                    <a:gd name="connsiteY27" fmla="*/ 158871 h 1222911"/>
                                                    <a:gd name="connsiteX28" fmla="*/ 277067 w 1512381"/>
                                                    <a:gd name="connsiteY28" fmla="*/ 166451 h 1222911"/>
                                                    <a:gd name="connsiteX29" fmla="*/ 286526 w 1512381"/>
                                                    <a:gd name="connsiteY29" fmla="*/ 173124 h 1222911"/>
                                                    <a:gd name="connsiteX30" fmla="*/ 298446 w 1512381"/>
                                                    <a:gd name="connsiteY30" fmla="*/ 154207 h 1222911"/>
                                                    <a:gd name="connsiteX31" fmla="*/ 282509 w 1512381"/>
                                                    <a:gd name="connsiteY31" fmla="*/ 124016 h 1222911"/>
                                                    <a:gd name="connsiteX32" fmla="*/ 338614 w 1512381"/>
                                                    <a:gd name="connsiteY32" fmla="*/ 116566 h 1222911"/>
                                                    <a:gd name="connsiteX33" fmla="*/ 364593 w 1512381"/>
                                                    <a:gd name="connsiteY33" fmla="*/ 132309 h 1222911"/>
                                                    <a:gd name="connsiteX34" fmla="*/ 351895 w 1512381"/>
                                                    <a:gd name="connsiteY34" fmla="*/ 104321 h 1222911"/>
                                                    <a:gd name="connsiteX35" fmla="*/ 441558 w 1512381"/>
                                                    <a:gd name="connsiteY35" fmla="*/ 85339 h 1222911"/>
                                                    <a:gd name="connsiteX36" fmla="*/ 467861 w 1512381"/>
                                                    <a:gd name="connsiteY36" fmla="*/ 86117 h 1222911"/>
                                                    <a:gd name="connsiteX37" fmla="*/ 473303 w 1512381"/>
                                                    <a:gd name="connsiteY37" fmla="*/ 130171 h 1222911"/>
                                                    <a:gd name="connsiteX38" fmla="*/ 470906 w 1512381"/>
                                                    <a:gd name="connsiteY38" fmla="*/ 138658 h 1222911"/>
                                                    <a:gd name="connsiteX39" fmla="*/ 491508 w 1512381"/>
                                                    <a:gd name="connsiteY39" fmla="*/ 142869 h 1222911"/>
                                                    <a:gd name="connsiteX40" fmla="*/ 497533 w 1512381"/>
                                                    <a:gd name="connsiteY40" fmla="*/ 117603 h 1222911"/>
                                                    <a:gd name="connsiteX41" fmla="*/ 497015 w 1512381"/>
                                                    <a:gd name="connsiteY41" fmla="*/ 94668 h 1222911"/>
                                                    <a:gd name="connsiteX42" fmla="*/ 502910 w 1512381"/>
                                                    <a:gd name="connsiteY42" fmla="*/ 82618 h 1222911"/>
                                                    <a:gd name="connsiteX43" fmla="*/ 510361 w 1512381"/>
                                                    <a:gd name="connsiteY43" fmla="*/ 85922 h 1222911"/>
                                                    <a:gd name="connsiteX44" fmla="*/ 542365 w 1512381"/>
                                                    <a:gd name="connsiteY44" fmla="*/ 110671 h 1222911"/>
                                                    <a:gd name="connsiteX45" fmla="*/ 581366 w 1512381"/>
                                                    <a:gd name="connsiteY45" fmla="*/ 115141 h 1222911"/>
                                                    <a:gd name="connsiteX46" fmla="*/ 575276 w 1512381"/>
                                                    <a:gd name="connsiteY46" fmla="*/ 102378 h 1222911"/>
                                                    <a:gd name="connsiteX47" fmla="*/ 547094 w 1512381"/>
                                                    <a:gd name="connsiteY47" fmla="*/ 77695 h 1222911"/>
                                                    <a:gd name="connsiteX48" fmla="*/ 599247 w 1512381"/>
                                                    <a:gd name="connsiteY48" fmla="*/ 78407 h 1222911"/>
                                                    <a:gd name="connsiteX49" fmla="*/ 648872 w 1512381"/>
                                                    <a:gd name="connsiteY49" fmla="*/ 103674 h 1222911"/>
                                                    <a:gd name="connsiteX50" fmla="*/ 663773 w 1512381"/>
                                                    <a:gd name="connsiteY50" fmla="*/ 106395 h 1222911"/>
                                                    <a:gd name="connsiteX51" fmla="*/ 674463 w 1512381"/>
                                                    <a:gd name="connsiteY51" fmla="*/ 114363 h 1222911"/>
                                                    <a:gd name="connsiteX52" fmla="*/ 714759 w 1512381"/>
                                                    <a:gd name="connsiteY52" fmla="*/ 135807 h 1222911"/>
                                                    <a:gd name="connsiteX53" fmla="*/ 704523 w 1512381"/>
                                                    <a:gd name="connsiteY53" fmla="*/ 111448 h 1222911"/>
                                                    <a:gd name="connsiteX54" fmla="*/ 655869 w 1512381"/>
                                                    <a:gd name="connsiteY54" fmla="*/ 87477 h 1222911"/>
                                                    <a:gd name="connsiteX55" fmla="*/ 646605 w 1512381"/>
                                                    <a:gd name="connsiteY55" fmla="*/ 80999 h 1222911"/>
                                                    <a:gd name="connsiteX56" fmla="*/ 659108 w 1512381"/>
                                                    <a:gd name="connsiteY56" fmla="*/ 67523 h 1222911"/>
                                                    <a:gd name="connsiteX57" fmla="*/ 680812 w 1512381"/>
                                                    <a:gd name="connsiteY57" fmla="*/ 69791 h 1222911"/>
                                                    <a:gd name="connsiteX58" fmla="*/ 686837 w 1512381"/>
                                                    <a:gd name="connsiteY58" fmla="*/ 67070 h 1222911"/>
                                                    <a:gd name="connsiteX59" fmla="*/ 674333 w 1512381"/>
                                                    <a:gd name="connsiteY59" fmla="*/ 51780 h 1222911"/>
                                                    <a:gd name="connsiteX60" fmla="*/ 659368 w 1512381"/>
                                                    <a:gd name="connsiteY60" fmla="*/ 37592 h 1222911"/>
                                                    <a:gd name="connsiteX61" fmla="*/ 723894 w 1512381"/>
                                                    <a:gd name="connsiteY61" fmla="*/ 34482 h 1222911"/>
                                                    <a:gd name="connsiteX62" fmla="*/ 791401 w 1512381"/>
                                                    <a:gd name="connsiteY62" fmla="*/ 29494 h 1222911"/>
                                                    <a:gd name="connsiteX63" fmla="*/ 826061 w 1512381"/>
                                                    <a:gd name="connsiteY63" fmla="*/ 21137 h 1222911"/>
                                                    <a:gd name="connsiteX64" fmla="*/ 845756 w 1512381"/>
                                                    <a:gd name="connsiteY64" fmla="*/ 43747 h 1222911"/>
                                                    <a:gd name="connsiteX65" fmla="*/ 861564 w 1512381"/>
                                                    <a:gd name="connsiteY65" fmla="*/ 46533 h 1222911"/>
                                                    <a:gd name="connsiteX66" fmla="*/ 868172 w 1512381"/>
                                                    <a:gd name="connsiteY66" fmla="*/ 25283 h 1222911"/>
                                                    <a:gd name="connsiteX67" fmla="*/ 865645 w 1512381"/>
                                                    <a:gd name="connsiteY67" fmla="*/ 17573 h 1222911"/>
                                                    <a:gd name="connsiteX68" fmla="*/ 877695 w 1512381"/>
                                                    <a:gd name="connsiteY68" fmla="*/ 9864 h 1222911"/>
                                                    <a:gd name="connsiteX69" fmla="*/ 1004481 w 1512381"/>
                                                    <a:gd name="connsiteY69" fmla="*/ 405 h 1222911"/>
                                                    <a:gd name="connsiteX70" fmla="*/ 1087018 w 1512381"/>
                                                    <a:gd name="connsiteY70" fmla="*/ 7143 h 1222911"/>
                                                    <a:gd name="connsiteX71" fmla="*/ 1114746 w 1512381"/>
                                                    <a:gd name="connsiteY71" fmla="*/ 14788 h 1222911"/>
                                                    <a:gd name="connsiteX72" fmla="*/ 1165409 w 1512381"/>
                                                    <a:gd name="connsiteY72" fmla="*/ 20618 h 1222911"/>
                                                    <a:gd name="connsiteX73" fmla="*/ 1198709 w 1512381"/>
                                                    <a:gd name="connsiteY73" fmla="*/ 31243 h 1222911"/>
                                                    <a:gd name="connsiteX74" fmla="*/ 1202596 w 1512381"/>
                                                    <a:gd name="connsiteY74" fmla="*/ 49642 h 1222911"/>
                                                    <a:gd name="connsiteX75" fmla="*/ 1273406 w 1512381"/>
                                                    <a:gd name="connsiteY75" fmla="*/ 54566 h 1222911"/>
                                                    <a:gd name="connsiteX76" fmla="*/ 1282800 w 1512381"/>
                                                    <a:gd name="connsiteY76" fmla="*/ 66616 h 1222911"/>
                                                    <a:gd name="connsiteX77" fmla="*/ 1221449 w 1512381"/>
                                                    <a:gd name="connsiteY77" fmla="*/ 81776 h 1222911"/>
                                                    <a:gd name="connsiteX78" fmla="*/ 1206094 w 1512381"/>
                                                    <a:gd name="connsiteY78" fmla="*/ 85080 h 1222911"/>
                                                    <a:gd name="connsiteX79" fmla="*/ 1187825 w 1512381"/>
                                                    <a:gd name="connsiteY79" fmla="*/ 86441 h 1222911"/>
                                                    <a:gd name="connsiteX80" fmla="*/ 1093367 w 1512381"/>
                                                    <a:gd name="connsiteY80" fmla="*/ 90133 h 1222911"/>
                                                    <a:gd name="connsiteX81" fmla="*/ 1076912 w 1512381"/>
                                                    <a:gd name="connsiteY81" fmla="*/ 102831 h 1222911"/>
                                                    <a:gd name="connsiteX82" fmla="*/ 1007785 w 1512381"/>
                                                    <a:gd name="connsiteY82" fmla="*/ 114946 h 1222911"/>
                                                    <a:gd name="connsiteX83" fmla="*/ 1001112 w 1512381"/>
                                                    <a:gd name="connsiteY83" fmla="*/ 134706 h 1222911"/>
                                                    <a:gd name="connsiteX84" fmla="*/ 1166186 w 1512381"/>
                                                    <a:gd name="connsiteY84" fmla="*/ 107431 h 1222911"/>
                                                    <a:gd name="connsiteX85" fmla="*/ 1180958 w 1512381"/>
                                                    <a:gd name="connsiteY85" fmla="*/ 114493 h 1222911"/>
                                                    <a:gd name="connsiteX86" fmla="*/ 1145196 w 1512381"/>
                                                    <a:gd name="connsiteY86" fmla="*/ 133669 h 1222911"/>
                                                    <a:gd name="connsiteX87" fmla="*/ 1134636 w 1512381"/>
                                                    <a:gd name="connsiteY87" fmla="*/ 144165 h 1222911"/>
                                                    <a:gd name="connsiteX88" fmla="*/ 1147334 w 1512381"/>
                                                    <a:gd name="connsiteY88" fmla="*/ 157122 h 1222911"/>
                                                    <a:gd name="connsiteX89" fmla="*/ 1166381 w 1512381"/>
                                                    <a:gd name="connsiteY89" fmla="*/ 149672 h 1222911"/>
                                                    <a:gd name="connsiteX90" fmla="*/ 1227474 w 1512381"/>
                                                    <a:gd name="connsiteY90" fmla="*/ 110671 h 1222911"/>
                                                    <a:gd name="connsiteX91" fmla="*/ 1256368 w 1512381"/>
                                                    <a:gd name="connsiteY91" fmla="*/ 103609 h 1222911"/>
                                                    <a:gd name="connsiteX92" fmla="*/ 1269390 w 1512381"/>
                                                    <a:gd name="connsiteY92" fmla="*/ 129005 h 1222911"/>
                                                    <a:gd name="connsiteX93" fmla="*/ 1215747 w 1512381"/>
                                                    <a:gd name="connsiteY93" fmla="*/ 195993 h 1222911"/>
                                                    <a:gd name="connsiteX94" fmla="*/ 1240819 w 1512381"/>
                                                    <a:gd name="connsiteY94" fmla="*/ 189450 h 1222911"/>
                                                    <a:gd name="connsiteX95" fmla="*/ 1290121 w 1512381"/>
                                                    <a:gd name="connsiteY95" fmla="*/ 145396 h 1222911"/>
                                                    <a:gd name="connsiteX96" fmla="*/ 1315582 w 1512381"/>
                                                    <a:gd name="connsiteY96" fmla="*/ 131532 h 1222911"/>
                                                    <a:gd name="connsiteX97" fmla="*/ 1318951 w 1512381"/>
                                                    <a:gd name="connsiteY97" fmla="*/ 145525 h 1222911"/>
                                                    <a:gd name="connsiteX98" fmla="*/ 1345837 w 1512381"/>
                                                    <a:gd name="connsiteY98" fmla="*/ 141185 h 1222911"/>
                                                    <a:gd name="connsiteX99" fmla="*/ 1373954 w 1512381"/>
                                                    <a:gd name="connsiteY99" fmla="*/ 145137 h 1222911"/>
                                                    <a:gd name="connsiteX100" fmla="*/ 1382895 w 1512381"/>
                                                    <a:gd name="connsiteY100" fmla="*/ 123433 h 1222911"/>
                                                    <a:gd name="connsiteX101" fmla="*/ 1505664 w 1512381"/>
                                                    <a:gd name="connsiteY101" fmla="*/ 128487 h 1222911"/>
                                                    <a:gd name="connsiteX102" fmla="*/ 1511300 w 1512381"/>
                                                    <a:gd name="connsiteY102" fmla="*/ 133281 h 1222911"/>
                                                    <a:gd name="connsiteX103" fmla="*/ 1498537 w 1512381"/>
                                                    <a:gd name="connsiteY103" fmla="*/ 151809 h 1222911"/>
                                                    <a:gd name="connsiteX104" fmla="*/ 1468477 w 1512381"/>
                                                    <a:gd name="connsiteY104" fmla="*/ 165414 h 1222911"/>
                                                    <a:gd name="connsiteX105" fmla="*/ 1445737 w 1512381"/>
                                                    <a:gd name="connsiteY105" fmla="*/ 175132 h 1222911"/>
                                                    <a:gd name="connsiteX106" fmla="*/ 1345059 w 1512381"/>
                                                    <a:gd name="connsiteY106" fmla="*/ 193985 h 1222911"/>
                                                    <a:gd name="connsiteX107" fmla="*/ 1408355 w 1512381"/>
                                                    <a:gd name="connsiteY107" fmla="*/ 201954 h 1222911"/>
                                                    <a:gd name="connsiteX108" fmla="*/ 1407254 w 1512381"/>
                                                    <a:gd name="connsiteY108" fmla="*/ 214263 h 1222911"/>
                                                    <a:gd name="connsiteX109" fmla="*/ 1393714 w 1512381"/>
                                                    <a:gd name="connsiteY109" fmla="*/ 218020 h 1222911"/>
                                                    <a:gd name="connsiteX110" fmla="*/ 1341691 w 1512381"/>
                                                    <a:gd name="connsiteY110" fmla="*/ 221519 h 1222911"/>
                                                    <a:gd name="connsiteX111" fmla="*/ 1302366 w 1512381"/>
                                                    <a:gd name="connsiteY111" fmla="*/ 243028 h 1222911"/>
                                                    <a:gd name="connsiteX112" fmla="*/ 1331131 w 1512381"/>
                                                    <a:gd name="connsiteY112" fmla="*/ 243481 h 1222911"/>
                                                    <a:gd name="connsiteX113" fmla="*/ 1358859 w 1512381"/>
                                                    <a:gd name="connsiteY113" fmla="*/ 230200 h 1222911"/>
                                                    <a:gd name="connsiteX114" fmla="*/ 1376999 w 1512381"/>
                                                    <a:gd name="connsiteY114" fmla="*/ 248211 h 1222911"/>
                                                    <a:gd name="connsiteX115" fmla="*/ 1348169 w 1512381"/>
                                                    <a:gd name="connsiteY115" fmla="*/ 250867 h 1222911"/>
                                                    <a:gd name="connsiteX116" fmla="*/ 1329576 w 1512381"/>
                                                    <a:gd name="connsiteY116" fmla="*/ 271339 h 1222911"/>
                                                    <a:gd name="connsiteX117" fmla="*/ 1328993 w 1512381"/>
                                                    <a:gd name="connsiteY117" fmla="*/ 287665 h 1222911"/>
                                                    <a:gd name="connsiteX118" fmla="*/ 1292518 w 1512381"/>
                                                    <a:gd name="connsiteY118" fmla="*/ 297577 h 1222911"/>
                                                    <a:gd name="connsiteX119" fmla="*/ 1267641 w 1512381"/>
                                                    <a:gd name="connsiteY119" fmla="*/ 371887 h 1222911"/>
                                                    <a:gd name="connsiteX120" fmla="*/ 1294851 w 1512381"/>
                                                    <a:gd name="connsiteY120" fmla="*/ 360160 h 1222911"/>
                                                    <a:gd name="connsiteX121" fmla="*/ 1323097 w 1512381"/>
                                                    <a:gd name="connsiteY121" fmla="*/ 352969 h 1222911"/>
                                                    <a:gd name="connsiteX122" fmla="*/ 1335277 w 1512381"/>
                                                    <a:gd name="connsiteY122" fmla="*/ 375385 h 1222911"/>
                                                    <a:gd name="connsiteX123" fmla="*/ 1314286 w 1512381"/>
                                                    <a:gd name="connsiteY123" fmla="*/ 373895 h 1222911"/>
                                                    <a:gd name="connsiteX124" fmla="*/ 1303078 w 1512381"/>
                                                    <a:gd name="connsiteY124" fmla="*/ 389508 h 1222911"/>
                                                    <a:gd name="connsiteX125" fmla="*/ 1318562 w 1512381"/>
                                                    <a:gd name="connsiteY125" fmla="*/ 389249 h 1222911"/>
                                                    <a:gd name="connsiteX126" fmla="*/ 1321931 w 1512381"/>
                                                    <a:gd name="connsiteY126" fmla="*/ 403178 h 1222911"/>
                                                    <a:gd name="connsiteX127" fmla="*/ 1359118 w 1512381"/>
                                                    <a:gd name="connsiteY127" fmla="*/ 390998 h 1222911"/>
                                                    <a:gd name="connsiteX128" fmla="*/ 1366957 w 1512381"/>
                                                    <a:gd name="connsiteY128" fmla="*/ 406093 h 1222911"/>
                                                    <a:gd name="connsiteX129" fmla="*/ 1359766 w 1512381"/>
                                                    <a:gd name="connsiteY129" fmla="*/ 420152 h 1222911"/>
                                                    <a:gd name="connsiteX130" fmla="*/ 1349983 w 1512381"/>
                                                    <a:gd name="connsiteY130" fmla="*/ 419504 h 1222911"/>
                                                    <a:gd name="connsiteX131" fmla="*/ 1329640 w 1512381"/>
                                                    <a:gd name="connsiteY131" fmla="*/ 414321 h 1222911"/>
                                                    <a:gd name="connsiteX132" fmla="*/ 1304050 w 1512381"/>
                                                    <a:gd name="connsiteY132" fmla="*/ 412248 h 1222911"/>
                                                    <a:gd name="connsiteX133" fmla="*/ 1290121 w 1512381"/>
                                                    <a:gd name="connsiteY133" fmla="*/ 431165 h 1222911"/>
                                                    <a:gd name="connsiteX134" fmla="*/ 1273406 w 1512381"/>
                                                    <a:gd name="connsiteY134" fmla="*/ 420735 h 1222911"/>
                                                    <a:gd name="connsiteX135" fmla="*/ 1260125 w 1512381"/>
                                                    <a:gd name="connsiteY135" fmla="*/ 431684 h 1222911"/>
                                                    <a:gd name="connsiteX136" fmla="*/ 1274637 w 1512381"/>
                                                    <a:gd name="connsiteY136" fmla="*/ 443540 h 1222911"/>
                                                    <a:gd name="connsiteX137" fmla="*/ 1303273 w 1512381"/>
                                                    <a:gd name="connsiteY137" fmla="*/ 461096 h 1222911"/>
                                                    <a:gd name="connsiteX138" fmla="*/ 1331714 w 1512381"/>
                                                    <a:gd name="connsiteY138" fmla="*/ 460902 h 1222911"/>
                                                    <a:gd name="connsiteX139" fmla="*/ 1346679 w 1512381"/>
                                                    <a:gd name="connsiteY139" fmla="*/ 489213 h 1222911"/>
                                                    <a:gd name="connsiteX140" fmla="*/ 1342662 w 1512381"/>
                                                    <a:gd name="connsiteY140" fmla="*/ 500292 h 1222911"/>
                                                    <a:gd name="connsiteX141" fmla="*/ 1333722 w 1512381"/>
                                                    <a:gd name="connsiteY141" fmla="*/ 504568 h 1222911"/>
                                                    <a:gd name="connsiteX142" fmla="*/ 1332102 w 1512381"/>
                                                    <a:gd name="connsiteY142" fmla="*/ 513249 h 1222911"/>
                                                    <a:gd name="connsiteX143" fmla="*/ 1320895 w 1512381"/>
                                                    <a:gd name="connsiteY143" fmla="*/ 510139 h 1222911"/>
                                                    <a:gd name="connsiteX144" fmla="*/ 1290121 w 1512381"/>
                                                    <a:gd name="connsiteY144" fmla="*/ 507030 h 1222911"/>
                                                    <a:gd name="connsiteX145" fmla="*/ 1298867 w 1512381"/>
                                                    <a:gd name="connsiteY145" fmla="*/ 532620 h 1222911"/>
                                                    <a:gd name="connsiteX146" fmla="*/ 1307160 w 1512381"/>
                                                    <a:gd name="connsiteY146" fmla="*/ 537673 h 1222911"/>
                                                    <a:gd name="connsiteX147" fmla="*/ 1309103 w 1512381"/>
                                                    <a:gd name="connsiteY147" fmla="*/ 545771 h 1222911"/>
                                                    <a:gd name="connsiteX148" fmla="*/ 1315193 w 1512381"/>
                                                    <a:gd name="connsiteY148" fmla="*/ 547715 h 1222911"/>
                                                    <a:gd name="connsiteX149" fmla="*/ 1345513 w 1512381"/>
                                                    <a:gd name="connsiteY149" fmla="*/ 548363 h 1222911"/>
                                                    <a:gd name="connsiteX150" fmla="*/ 1339099 w 1512381"/>
                                                    <a:gd name="connsiteY150" fmla="*/ 562551 h 1222911"/>
                                                    <a:gd name="connsiteX151" fmla="*/ 1322255 w 1512381"/>
                                                    <a:gd name="connsiteY151" fmla="*/ 564365 h 1222911"/>
                                                    <a:gd name="connsiteX152" fmla="*/ 1275091 w 1512381"/>
                                                    <a:gd name="connsiteY152" fmla="*/ 553999 h 1222911"/>
                                                    <a:gd name="connsiteX153" fmla="*/ 1284939 w 1512381"/>
                                                    <a:gd name="connsiteY153" fmla="*/ 575249 h 1222911"/>
                                                    <a:gd name="connsiteX154" fmla="*/ 1306706 w 1512381"/>
                                                    <a:gd name="connsiteY154" fmla="*/ 586068 h 1222911"/>
                                                    <a:gd name="connsiteX155" fmla="*/ 1308974 w 1512381"/>
                                                    <a:gd name="connsiteY155" fmla="*/ 602135 h 1222911"/>
                                                    <a:gd name="connsiteX156" fmla="*/ 1250796 w 1512381"/>
                                                    <a:gd name="connsiteY156" fmla="*/ 612306 h 1222911"/>
                                                    <a:gd name="connsiteX157" fmla="*/ 1233693 w 1512381"/>
                                                    <a:gd name="connsiteY157" fmla="*/ 603560 h 1222911"/>
                                                    <a:gd name="connsiteX158" fmla="*/ 1231361 w 1512381"/>
                                                    <a:gd name="connsiteY158" fmla="*/ 592223 h 1222911"/>
                                                    <a:gd name="connsiteX159" fmla="*/ 1212314 w 1512381"/>
                                                    <a:gd name="connsiteY159" fmla="*/ 593518 h 1222911"/>
                                                    <a:gd name="connsiteX160" fmla="*/ 1208167 w 1512381"/>
                                                    <a:gd name="connsiteY160" fmla="*/ 610687 h 1222911"/>
                                                    <a:gd name="connsiteX161" fmla="*/ 1189444 w 1512381"/>
                                                    <a:gd name="connsiteY161" fmla="*/ 613472 h 1222911"/>
                                                    <a:gd name="connsiteX162" fmla="*/ 1186594 w 1512381"/>
                                                    <a:gd name="connsiteY162" fmla="*/ 632779 h 1222911"/>
                                                    <a:gd name="connsiteX163" fmla="*/ 1205122 w 1512381"/>
                                                    <a:gd name="connsiteY163" fmla="*/ 638804 h 1222911"/>
                                                    <a:gd name="connsiteX164" fmla="*/ 1224688 w 1512381"/>
                                                    <a:gd name="connsiteY164" fmla="*/ 631872 h 1222911"/>
                                                    <a:gd name="connsiteX165" fmla="*/ 1263235 w 1512381"/>
                                                    <a:gd name="connsiteY165" fmla="*/ 632714 h 1222911"/>
                                                    <a:gd name="connsiteX166" fmla="*/ 1270621 w 1512381"/>
                                                    <a:gd name="connsiteY166" fmla="*/ 636147 h 1222911"/>
                                                    <a:gd name="connsiteX167" fmla="*/ 1271398 w 1512381"/>
                                                    <a:gd name="connsiteY167" fmla="*/ 656037 h 1222911"/>
                                                    <a:gd name="connsiteX168" fmla="*/ 1244771 w 1512381"/>
                                                    <a:gd name="connsiteY168" fmla="*/ 659989 h 1222911"/>
                                                    <a:gd name="connsiteX169" fmla="*/ 1225271 w 1512381"/>
                                                    <a:gd name="connsiteY169" fmla="*/ 648781 h 1222911"/>
                                                    <a:gd name="connsiteX170" fmla="*/ 1209917 w 1512381"/>
                                                    <a:gd name="connsiteY170" fmla="*/ 658434 h 1222911"/>
                                                    <a:gd name="connsiteX171" fmla="*/ 1213674 w 1512381"/>
                                                    <a:gd name="connsiteY171" fmla="*/ 663617 h 1222911"/>
                                                    <a:gd name="connsiteX172" fmla="*/ 1242309 w 1512381"/>
                                                    <a:gd name="connsiteY172" fmla="*/ 680137 h 1222911"/>
                                                    <a:gd name="connsiteX173" fmla="*/ 1256951 w 1512381"/>
                                                    <a:gd name="connsiteY173" fmla="*/ 692381 h 1222911"/>
                                                    <a:gd name="connsiteX174" fmla="*/ 1267965 w 1512381"/>
                                                    <a:gd name="connsiteY174" fmla="*/ 706958 h 1222911"/>
                                                    <a:gd name="connsiteX175" fmla="*/ 1277294 w 1512381"/>
                                                    <a:gd name="connsiteY175" fmla="*/ 708902 h 1222911"/>
                                                    <a:gd name="connsiteX176" fmla="*/ 1278006 w 1512381"/>
                                                    <a:gd name="connsiteY176" fmla="*/ 719915 h 1222911"/>
                                                    <a:gd name="connsiteX177" fmla="*/ 1273536 w 1512381"/>
                                                    <a:gd name="connsiteY177" fmla="*/ 748875 h 1222911"/>
                                                    <a:gd name="connsiteX178" fmla="*/ 1269131 w 1512381"/>
                                                    <a:gd name="connsiteY178" fmla="*/ 758398 h 1222911"/>
                                                    <a:gd name="connsiteX179" fmla="*/ 1246715 w 1512381"/>
                                                    <a:gd name="connsiteY179" fmla="*/ 751531 h 1222911"/>
                                                    <a:gd name="connsiteX180" fmla="*/ 1235637 w 1512381"/>
                                                    <a:gd name="connsiteY180" fmla="*/ 751466 h 1222911"/>
                                                    <a:gd name="connsiteX181" fmla="*/ 1226826 w 1512381"/>
                                                    <a:gd name="connsiteY181" fmla="*/ 738315 h 1222911"/>
                                                    <a:gd name="connsiteX182" fmla="*/ 1217237 w 1512381"/>
                                                    <a:gd name="connsiteY182" fmla="*/ 733391 h 1222911"/>
                                                    <a:gd name="connsiteX183" fmla="*/ 1201883 w 1512381"/>
                                                    <a:gd name="connsiteY183" fmla="*/ 718749 h 1222911"/>
                                                    <a:gd name="connsiteX184" fmla="*/ 1182771 w 1512381"/>
                                                    <a:gd name="connsiteY184" fmla="*/ 713761 h 1222911"/>
                                                    <a:gd name="connsiteX185" fmla="*/ 1181476 w 1512381"/>
                                                    <a:gd name="connsiteY185" fmla="*/ 738055 h 1222911"/>
                                                    <a:gd name="connsiteX186" fmla="*/ 1163595 w 1512381"/>
                                                    <a:gd name="connsiteY186" fmla="*/ 752373 h 1222911"/>
                                                    <a:gd name="connsiteX187" fmla="*/ 1158930 w 1512381"/>
                                                    <a:gd name="connsiteY187" fmla="*/ 767274 h 1222911"/>
                                                    <a:gd name="connsiteX188" fmla="*/ 1167741 w 1512381"/>
                                                    <a:gd name="connsiteY188" fmla="*/ 774918 h 1222911"/>
                                                    <a:gd name="connsiteX189" fmla="*/ 1169944 w 1512381"/>
                                                    <a:gd name="connsiteY189" fmla="*/ 769282 h 1222911"/>
                                                    <a:gd name="connsiteX190" fmla="*/ 1181087 w 1512381"/>
                                                    <a:gd name="connsiteY190" fmla="*/ 764682 h 1222911"/>
                                                    <a:gd name="connsiteX191" fmla="*/ 1193072 w 1512381"/>
                                                    <a:gd name="connsiteY191" fmla="*/ 769541 h 1222911"/>
                                                    <a:gd name="connsiteX192" fmla="*/ 1250472 w 1512381"/>
                                                    <a:gd name="connsiteY192" fmla="*/ 772781 h 1222911"/>
                                                    <a:gd name="connsiteX193" fmla="*/ 1260384 w 1512381"/>
                                                    <a:gd name="connsiteY193" fmla="*/ 780684 h 1222911"/>
                                                    <a:gd name="connsiteX194" fmla="*/ 1250343 w 1512381"/>
                                                    <a:gd name="connsiteY194" fmla="*/ 786645 h 1222911"/>
                                                    <a:gd name="connsiteX195" fmla="*/ 1203827 w 1512381"/>
                                                    <a:gd name="connsiteY195" fmla="*/ 804331 h 1222911"/>
                                                    <a:gd name="connsiteX196" fmla="*/ 1192100 w 1512381"/>
                                                    <a:gd name="connsiteY196" fmla="*/ 821435 h 1222911"/>
                                                    <a:gd name="connsiteX197" fmla="*/ 1175127 w 1512381"/>
                                                    <a:gd name="connsiteY197" fmla="*/ 824156 h 1222911"/>
                                                    <a:gd name="connsiteX198" fmla="*/ 1159967 w 1512381"/>
                                                    <a:gd name="connsiteY198" fmla="*/ 834392 h 1222911"/>
                                                    <a:gd name="connsiteX199" fmla="*/ 1147269 w 1512381"/>
                                                    <a:gd name="connsiteY199" fmla="*/ 835687 h 1222911"/>
                                                    <a:gd name="connsiteX200" fmla="*/ 1133211 w 1512381"/>
                                                    <a:gd name="connsiteY200" fmla="*/ 841518 h 1222911"/>
                                                    <a:gd name="connsiteX201" fmla="*/ 1091683 w 1512381"/>
                                                    <a:gd name="connsiteY201" fmla="*/ 841842 h 1222911"/>
                                                    <a:gd name="connsiteX202" fmla="*/ 1084038 w 1512381"/>
                                                    <a:gd name="connsiteY202" fmla="*/ 843721 h 1222911"/>
                                                    <a:gd name="connsiteX203" fmla="*/ 1073024 w 1512381"/>
                                                    <a:gd name="connsiteY203" fmla="*/ 864452 h 1222911"/>
                                                    <a:gd name="connsiteX204" fmla="*/ 1037392 w 1512381"/>
                                                    <a:gd name="connsiteY204" fmla="*/ 867173 h 1222911"/>
                                                    <a:gd name="connsiteX205" fmla="*/ 1033375 w 1512381"/>
                                                    <a:gd name="connsiteY205" fmla="*/ 857650 h 1222911"/>
                                                    <a:gd name="connsiteX206" fmla="*/ 1015171 w 1512381"/>
                                                    <a:gd name="connsiteY206" fmla="*/ 854994 h 1222911"/>
                                                    <a:gd name="connsiteX207" fmla="*/ 1011543 w 1512381"/>
                                                    <a:gd name="connsiteY207" fmla="*/ 877086 h 1222911"/>
                                                    <a:gd name="connsiteX208" fmla="*/ 982065 w 1512381"/>
                                                    <a:gd name="connsiteY208" fmla="*/ 896262 h 1222911"/>
                                                    <a:gd name="connsiteX209" fmla="*/ 977530 w 1512381"/>
                                                    <a:gd name="connsiteY209" fmla="*/ 923666 h 1222911"/>
                                                    <a:gd name="connsiteX210" fmla="*/ 945073 w 1512381"/>
                                                    <a:gd name="connsiteY210" fmla="*/ 950941 h 1222911"/>
                                                    <a:gd name="connsiteX211" fmla="*/ 901925 w 1512381"/>
                                                    <a:gd name="connsiteY211" fmla="*/ 967008 h 1222911"/>
                                                    <a:gd name="connsiteX212" fmla="*/ 878473 w 1512381"/>
                                                    <a:gd name="connsiteY212" fmla="*/ 973875 h 1222911"/>
                                                    <a:gd name="connsiteX213" fmla="*/ 864479 w 1512381"/>
                                                    <a:gd name="connsiteY213" fmla="*/ 944074 h 1222911"/>
                                                    <a:gd name="connsiteX214" fmla="*/ 855733 w 1512381"/>
                                                    <a:gd name="connsiteY214" fmla="*/ 974005 h 1222911"/>
                                                    <a:gd name="connsiteX215" fmla="*/ 822563 w 1512381"/>
                                                    <a:gd name="connsiteY215" fmla="*/ 976985 h 1222911"/>
                                                    <a:gd name="connsiteX216" fmla="*/ 818417 w 1512381"/>
                                                    <a:gd name="connsiteY216" fmla="*/ 1006527 h 1222911"/>
                                                    <a:gd name="connsiteX217" fmla="*/ 786866 w 1512381"/>
                                                    <a:gd name="connsiteY217" fmla="*/ 992015 h 1222911"/>
                                                    <a:gd name="connsiteX218" fmla="*/ 800924 w 1512381"/>
                                                    <a:gd name="connsiteY218" fmla="*/ 1007175 h 1222911"/>
                                                    <a:gd name="connsiteX219" fmla="*/ 810383 w 1512381"/>
                                                    <a:gd name="connsiteY219" fmla="*/ 1024279 h 1222911"/>
                                                    <a:gd name="connsiteX220" fmla="*/ 800341 w 1512381"/>
                                                    <a:gd name="connsiteY220" fmla="*/ 1021428 h 1222911"/>
                                                    <a:gd name="connsiteX221" fmla="*/ 811938 w 1512381"/>
                                                    <a:gd name="connsiteY221" fmla="*/ 1036394 h 1222911"/>
                                                    <a:gd name="connsiteX222" fmla="*/ 792826 w 1512381"/>
                                                    <a:gd name="connsiteY222" fmla="*/ 1042224 h 1222911"/>
                                                    <a:gd name="connsiteX223" fmla="*/ 802868 w 1512381"/>
                                                    <a:gd name="connsiteY223" fmla="*/ 1055052 h 1222911"/>
                                                    <a:gd name="connsiteX224" fmla="*/ 785181 w 1512381"/>
                                                    <a:gd name="connsiteY224" fmla="*/ 1068398 h 1222911"/>
                                                    <a:gd name="connsiteX225" fmla="*/ 788032 w 1512381"/>
                                                    <a:gd name="connsiteY225" fmla="*/ 1088805 h 1222911"/>
                                                    <a:gd name="connsiteX226" fmla="*/ 767560 w 1512381"/>
                                                    <a:gd name="connsiteY226" fmla="*/ 1100078 h 1222911"/>
                                                    <a:gd name="connsiteX227" fmla="*/ 749290 w 1512381"/>
                                                    <a:gd name="connsiteY227" fmla="*/ 1105779 h 1222911"/>
                                                    <a:gd name="connsiteX228" fmla="*/ 753696 w 1512381"/>
                                                    <a:gd name="connsiteY228" fmla="*/ 1125668 h 1222911"/>
                                                    <a:gd name="connsiteX229" fmla="*/ 762766 w 1512381"/>
                                                    <a:gd name="connsiteY229" fmla="*/ 1144521 h 1222911"/>
                                                    <a:gd name="connsiteX230" fmla="*/ 750521 w 1512381"/>
                                                    <a:gd name="connsiteY230" fmla="*/ 1157802 h 1222911"/>
                                                    <a:gd name="connsiteX231" fmla="*/ 751817 w 1512381"/>
                                                    <a:gd name="connsiteY231" fmla="*/ 1189223 h 1222911"/>
                                                    <a:gd name="connsiteX232" fmla="*/ 731409 w 1512381"/>
                                                    <a:gd name="connsiteY232" fmla="*/ 1210926 h 1222911"/>
                                                    <a:gd name="connsiteX233" fmla="*/ 726809 w 1512381"/>
                                                    <a:gd name="connsiteY233" fmla="*/ 1222912 h 1222911"/>
                                                    <a:gd name="connsiteX234" fmla="*/ 712881 w 1512381"/>
                                                    <a:gd name="connsiteY234" fmla="*/ 1209177 h 1222911"/>
                                                    <a:gd name="connsiteX235" fmla="*/ 685282 w 1512381"/>
                                                    <a:gd name="connsiteY235" fmla="*/ 1202504 h 1222911"/>
                                                    <a:gd name="connsiteX236" fmla="*/ 679062 w 1512381"/>
                                                    <a:gd name="connsiteY236" fmla="*/ 1192462 h 1222911"/>
                                                    <a:gd name="connsiteX237" fmla="*/ 644856 w 1512381"/>
                                                    <a:gd name="connsiteY237" fmla="*/ 1186632 h 1222911"/>
                                                    <a:gd name="connsiteX238" fmla="*/ 622634 w 1512381"/>
                                                    <a:gd name="connsiteY238" fmla="*/ 1173675 h 1222911"/>
                                                    <a:gd name="connsiteX239" fmla="*/ 598404 w 1512381"/>
                                                    <a:gd name="connsiteY239" fmla="*/ 1170370 h 1222911"/>
                                                    <a:gd name="connsiteX240" fmla="*/ 592962 w 1512381"/>
                                                    <a:gd name="connsiteY240" fmla="*/ 1144391 h 1222911"/>
                                                    <a:gd name="connsiteX241" fmla="*/ 573332 w 1512381"/>
                                                    <a:gd name="connsiteY241" fmla="*/ 1123854 h 1222911"/>
                                                    <a:gd name="connsiteX242" fmla="*/ 569575 w 1512381"/>
                                                    <a:gd name="connsiteY242" fmla="*/ 1081549 h 1222911"/>
                                                    <a:gd name="connsiteX243" fmla="*/ 551240 w 1512381"/>
                                                    <a:gd name="connsiteY243" fmla="*/ 1076302 h 1222911"/>
                                                    <a:gd name="connsiteX244" fmla="*/ 545345 w 1512381"/>
                                                    <a:gd name="connsiteY244" fmla="*/ 1059652 h 1222911"/>
                                                    <a:gd name="connsiteX245" fmla="*/ 531545 w 1512381"/>
                                                    <a:gd name="connsiteY245" fmla="*/ 1051553 h 1222911"/>
                                                    <a:gd name="connsiteX246" fmla="*/ 522864 w 1512381"/>
                                                    <a:gd name="connsiteY246" fmla="*/ 1036394 h 1222911"/>
                                                    <a:gd name="connsiteX247" fmla="*/ 512110 w 1512381"/>
                                                    <a:gd name="connsiteY247" fmla="*/ 1028360 h 1222911"/>
                                                    <a:gd name="connsiteX248" fmla="*/ 520273 w 1512381"/>
                                                    <a:gd name="connsiteY248" fmla="*/ 1011969 h 1222911"/>
                                                    <a:gd name="connsiteX249" fmla="*/ 510879 w 1512381"/>
                                                    <a:gd name="connsiteY249" fmla="*/ 983852 h 1222911"/>
                                                    <a:gd name="connsiteX250" fmla="*/ 485353 w 1512381"/>
                                                    <a:gd name="connsiteY250" fmla="*/ 964222 h 1222911"/>
                                                    <a:gd name="connsiteX251" fmla="*/ 489111 w 1512381"/>
                                                    <a:gd name="connsiteY251" fmla="*/ 936818 h 1222911"/>
                                                    <a:gd name="connsiteX252" fmla="*/ 504659 w 1512381"/>
                                                    <a:gd name="connsiteY252" fmla="*/ 932672 h 1222911"/>
                                                    <a:gd name="connsiteX253" fmla="*/ 491572 w 1512381"/>
                                                    <a:gd name="connsiteY253" fmla="*/ 913301 h 1222911"/>
                                                    <a:gd name="connsiteX254" fmla="*/ 473238 w 1512381"/>
                                                    <a:gd name="connsiteY254" fmla="*/ 895938 h 1222911"/>
                                                    <a:gd name="connsiteX255" fmla="*/ 480818 w 1512381"/>
                                                    <a:gd name="connsiteY255" fmla="*/ 887127 h 1222911"/>
                                                    <a:gd name="connsiteX256" fmla="*/ 493775 w 1512381"/>
                                                    <a:gd name="connsiteY256" fmla="*/ 858686 h 1222911"/>
                                                    <a:gd name="connsiteX257" fmla="*/ 534461 w 1512381"/>
                                                    <a:gd name="connsiteY257" fmla="*/ 844239 h 1222911"/>
                                                    <a:gd name="connsiteX258" fmla="*/ 545863 w 1512381"/>
                                                    <a:gd name="connsiteY258" fmla="*/ 849163 h 1222911"/>
                                                    <a:gd name="connsiteX259" fmla="*/ 558626 w 1512381"/>
                                                    <a:gd name="connsiteY259" fmla="*/ 801481 h 1222911"/>
                                                    <a:gd name="connsiteX260" fmla="*/ 519366 w 1512381"/>
                                                    <a:gd name="connsiteY260" fmla="*/ 765525 h 1222911"/>
                                                    <a:gd name="connsiteX261" fmla="*/ 470128 w 1512381"/>
                                                    <a:gd name="connsiteY261" fmla="*/ 739805 h 1222911"/>
                                                    <a:gd name="connsiteX262" fmla="*/ 548454 w 1512381"/>
                                                    <a:gd name="connsiteY262" fmla="*/ 758592 h 1222911"/>
                                                    <a:gd name="connsiteX263" fmla="*/ 536599 w 1512381"/>
                                                    <a:gd name="connsiteY263" fmla="*/ 735723 h 1222911"/>
                                                    <a:gd name="connsiteX264" fmla="*/ 497403 w 1512381"/>
                                                    <a:gd name="connsiteY264" fmla="*/ 715445 h 1222911"/>
                                                    <a:gd name="connsiteX265" fmla="*/ 493127 w 1512381"/>
                                                    <a:gd name="connsiteY265" fmla="*/ 683959 h 1222911"/>
                                                    <a:gd name="connsiteX266" fmla="*/ 460929 w 1512381"/>
                                                    <a:gd name="connsiteY266" fmla="*/ 691021 h 1222911"/>
                                                    <a:gd name="connsiteX267" fmla="*/ 446870 w 1512381"/>
                                                    <a:gd name="connsiteY267" fmla="*/ 699378 h 1222911"/>
                                                    <a:gd name="connsiteX268" fmla="*/ 440068 w 1512381"/>
                                                    <a:gd name="connsiteY268" fmla="*/ 691151 h 1222911"/>
                                                    <a:gd name="connsiteX269" fmla="*/ 434691 w 1512381"/>
                                                    <a:gd name="connsiteY269" fmla="*/ 662062 h 1222911"/>
                                                    <a:gd name="connsiteX270" fmla="*/ 436440 w 1512381"/>
                                                    <a:gd name="connsiteY270" fmla="*/ 653964 h 1222911"/>
                                                    <a:gd name="connsiteX271" fmla="*/ 456459 w 1512381"/>
                                                    <a:gd name="connsiteY271" fmla="*/ 639581 h 1222911"/>
                                                    <a:gd name="connsiteX272" fmla="*/ 438967 w 1512381"/>
                                                    <a:gd name="connsiteY272" fmla="*/ 625911 h 1222911"/>
                                                    <a:gd name="connsiteX273" fmla="*/ 440003 w 1512381"/>
                                                    <a:gd name="connsiteY273" fmla="*/ 619627 h 1222911"/>
                                                    <a:gd name="connsiteX274" fmla="*/ 421215 w 1512381"/>
                                                    <a:gd name="connsiteY274" fmla="*/ 586392 h 1222911"/>
                                                    <a:gd name="connsiteX275" fmla="*/ 414218 w 1512381"/>
                                                    <a:gd name="connsiteY275" fmla="*/ 553287 h 1222911"/>
                                                    <a:gd name="connsiteX276" fmla="*/ 399383 w 1512381"/>
                                                    <a:gd name="connsiteY276" fmla="*/ 539617 h 1222911"/>
                                                    <a:gd name="connsiteX277" fmla="*/ 376383 w 1512381"/>
                                                    <a:gd name="connsiteY277" fmla="*/ 521606 h 1222911"/>
                                                    <a:gd name="connsiteX278" fmla="*/ 365240 w 1512381"/>
                                                    <a:gd name="connsiteY278" fmla="*/ 508260 h 1222911"/>
                                                    <a:gd name="connsiteX279" fmla="*/ 363815 w 1512381"/>
                                                    <a:gd name="connsiteY279" fmla="*/ 499450 h 1222911"/>
                                                    <a:gd name="connsiteX280" fmla="*/ 322611 w 1512381"/>
                                                    <a:gd name="connsiteY280" fmla="*/ 471333 h 1222911"/>
                                                    <a:gd name="connsiteX281" fmla="*/ 317882 w 1512381"/>
                                                    <a:gd name="connsiteY281" fmla="*/ 463429 h 1222911"/>
                                                    <a:gd name="connsiteX282" fmla="*/ 311792 w 1512381"/>
                                                    <a:gd name="connsiteY282" fmla="*/ 462263 h 1222911"/>
                                                    <a:gd name="connsiteX283" fmla="*/ 227052 w 1512381"/>
                                                    <a:gd name="connsiteY283" fmla="*/ 441920 h 1222911"/>
                                                    <a:gd name="connsiteX284" fmla="*/ 220898 w 1512381"/>
                                                    <a:gd name="connsiteY284" fmla="*/ 454618 h 1222911"/>
                                                    <a:gd name="connsiteX285" fmla="*/ 206451 w 1512381"/>
                                                    <a:gd name="connsiteY285" fmla="*/ 450666 h 1222911"/>
                                                    <a:gd name="connsiteX286" fmla="*/ 192457 w 1512381"/>
                                                    <a:gd name="connsiteY286" fmla="*/ 451897 h 1222911"/>
                                                    <a:gd name="connsiteX287" fmla="*/ 189412 w 1512381"/>
                                                    <a:gd name="connsiteY287" fmla="*/ 461291 h 1222911"/>
                                                    <a:gd name="connsiteX288" fmla="*/ 173669 w 1512381"/>
                                                    <a:gd name="connsiteY288" fmla="*/ 463364 h 1222911"/>
                                                    <a:gd name="connsiteX289" fmla="*/ 164340 w 1512381"/>
                                                    <a:gd name="connsiteY289" fmla="*/ 448269 h 1222911"/>
                                                    <a:gd name="connsiteX290" fmla="*/ 151059 w 1512381"/>
                                                    <a:gd name="connsiteY290" fmla="*/ 448269 h 1222911"/>
                                                    <a:gd name="connsiteX291" fmla="*/ 150087 w 1512381"/>
                                                    <a:gd name="connsiteY291" fmla="*/ 473082 h 1222911"/>
                                                    <a:gd name="connsiteX292" fmla="*/ 119962 w 1512381"/>
                                                    <a:gd name="connsiteY292" fmla="*/ 464595 h 1222911"/>
                                                    <a:gd name="connsiteX293" fmla="*/ 87115 w 1512381"/>
                                                    <a:gd name="connsiteY293" fmla="*/ 451314 h 1222911"/>
                                                    <a:gd name="connsiteX294" fmla="*/ 74093 w 1512381"/>
                                                    <a:gd name="connsiteY294" fmla="*/ 436024 h 1222911"/>
                                                    <a:gd name="connsiteX295" fmla="*/ 90873 w 1512381"/>
                                                    <a:gd name="connsiteY295" fmla="*/ 435571 h 1222911"/>
                                                    <a:gd name="connsiteX296" fmla="*/ 91715 w 1512381"/>
                                                    <a:gd name="connsiteY296" fmla="*/ 421253 h 1222911"/>
                                                    <a:gd name="connsiteX297" fmla="*/ 40923 w 1512381"/>
                                                    <a:gd name="connsiteY297" fmla="*/ 411147 h 122291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  <a:cxn ang="0">
                                                      <a:pos x="connsiteX245" y="connsiteY245"/>
                                                    </a:cxn>
                                                    <a:cxn ang="0">
                                                      <a:pos x="connsiteX246" y="connsiteY246"/>
                                                    </a:cxn>
                                                    <a:cxn ang="0">
                                                      <a:pos x="connsiteX247" y="connsiteY247"/>
                                                    </a:cxn>
                                                    <a:cxn ang="0">
                                                      <a:pos x="connsiteX248" y="connsiteY248"/>
                                                    </a:cxn>
                                                    <a:cxn ang="0">
                                                      <a:pos x="connsiteX249" y="connsiteY249"/>
                                                    </a:cxn>
                                                    <a:cxn ang="0">
                                                      <a:pos x="connsiteX250" y="connsiteY250"/>
                                                    </a:cxn>
                                                    <a:cxn ang="0">
                                                      <a:pos x="connsiteX251" y="connsiteY251"/>
                                                    </a:cxn>
                                                    <a:cxn ang="0">
                                                      <a:pos x="connsiteX252" y="connsiteY252"/>
                                                    </a:cxn>
                                                    <a:cxn ang="0">
                                                      <a:pos x="connsiteX253" y="connsiteY253"/>
                                                    </a:cxn>
                                                    <a:cxn ang="0">
                                                      <a:pos x="connsiteX254" y="connsiteY254"/>
                                                    </a:cxn>
                                                    <a:cxn ang="0">
                                                      <a:pos x="connsiteX255" y="connsiteY255"/>
                                                    </a:cxn>
                                                    <a:cxn ang="0">
                                                      <a:pos x="connsiteX256" y="connsiteY256"/>
                                                    </a:cxn>
                                                    <a:cxn ang="0">
                                                      <a:pos x="connsiteX257" y="connsiteY257"/>
                                                    </a:cxn>
                                                    <a:cxn ang="0">
                                                      <a:pos x="connsiteX258" y="connsiteY258"/>
                                                    </a:cxn>
                                                    <a:cxn ang="0">
                                                      <a:pos x="connsiteX259" y="connsiteY259"/>
                                                    </a:cxn>
                                                    <a:cxn ang="0">
                                                      <a:pos x="connsiteX260" y="connsiteY260"/>
                                                    </a:cxn>
                                                    <a:cxn ang="0">
                                                      <a:pos x="connsiteX261" y="connsiteY261"/>
                                                    </a:cxn>
                                                    <a:cxn ang="0">
                                                      <a:pos x="connsiteX262" y="connsiteY262"/>
                                                    </a:cxn>
                                                    <a:cxn ang="0">
                                                      <a:pos x="connsiteX263" y="connsiteY263"/>
                                                    </a:cxn>
                                                    <a:cxn ang="0">
                                                      <a:pos x="connsiteX264" y="connsiteY264"/>
                                                    </a:cxn>
                                                    <a:cxn ang="0">
                                                      <a:pos x="connsiteX265" y="connsiteY265"/>
                                                    </a:cxn>
                                                    <a:cxn ang="0">
                                                      <a:pos x="connsiteX266" y="connsiteY266"/>
                                                    </a:cxn>
                                                    <a:cxn ang="0">
                                                      <a:pos x="connsiteX267" y="connsiteY267"/>
                                                    </a:cxn>
                                                    <a:cxn ang="0">
                                                      <a:pos x="connsiteX268" y="connsiteY268"/>
                                                    </a:cxn>
                                                    <a:cxn ang="0">
                                                      <a:pos x="connsiteX269" y="connsiteY269"/>
                                                    </a:cxn>
                                                    <a:cxn ang="0">
                                                      <a:pos x="connsiteX270" y="connsiteY270"/>
                                                    </a:cxn>
                                                    <a:cxn ang="0">
                                                      <a:pos x="connsiteX271" y="connsiteY271"/>
                                                    </a:cxn>
                                                    <a:cxn ang="0">
                                                      <a:pos x="connsiteX272" y="connsiteY272"/>
                                                    </a:cxn>
                                                    <a:cxn ang="0">
                                                      <a:pos x="connsiteX273" y="connsiteY273"/>
                                                    </a:cxn>
                                                    <a:cxn ang="0">
                                                      <a:pos x="connsiteX274" y="connsiteY274"/>
                                                    </a:cxn>
                                                    <a:cxn ang="0">
                                                      <a:pos x="connsiteX275" y="connsiteY275"/>
                                                    </a:cxn>
                                                    <a:cxn ang="0">
                                                      <a:pos x="connsiteX276" y="connsiteY276"/>
                                                    </a:cxn>
                                                    <a:cxn ang="0">
                                                      <a:pos x="connsiteX277" y="connsiteY277"/>
                                                    </a:cxn>
                                                    <a:cxn ang="0">
                                                      <a:pos x="connsiteX278" y="connsiteY278"/>
                                                    </a:cxn>
                                                    <a:cxn ang="0">
                                                      <a:pos x="connsiteX279" y="connsiteY279"/>
                                                    </a:cxn>
                                                    <a:cxn ang="0">
                                                      <a:pos x="connsiteX280" y="connsiteY280"/>
                                                    </a:cxn>
                                                    <a:cxn ang="0">
                                                      <a:pos x="connsiteX281" y="connsiteY281"/>
                                                    </a:cxn>
                                                    <a:cxn ang="0">
                                                      <a:pos x="connsiteX282" y="connsiteY282"/>
                                                    </a:cxn>
                                                    <a:cxn ang="0">
                                                      <a:pos x="connsiteX283" y="connsiteY283"/>
                                                    </a:cxn>
                                                    <a:cxn ang="0">
                                                      <a:pos x="connsiteX284" y="connsiteY284"/>
                                                    </a:cxn>
                                                    <a:cxn ang="0">
                                                      <a:pos x="connsiteX285" y="connsiteY285"/>
                                                    </a:cxn>
                                                    <a:cxn ang="0">
                                                      <a:pos x="connsiteX286" y="connsiteY286"/>
                                                    </a:cxn>
                                                    <a:cxn ang="0">
                                                      <a:pos x="connsiteX287" y="connsiteY287"/>
                                                    </a:cxn>
                                                    <a:cxn ang="0">
                                                      <a:pos x="connsiteX288" y="connsiteY288"/>
                                                    </a:cxn>
                                                    <a:cxn ang="0">
                                                      <a:pos x="connsiteX289" y="connsiteY289"/>
                                                    </a:cxn>
                                                    <a:cxn ang="0">
                                                      <a:pos x="connsiteX290" y="connsiteY290"/>
                                                    </a:cxn>
                                                    <a:cxn ang="0">
                                                      <a:pos x="connsiteX291" y="connsiteY291"/>
                                                    </a:cxn>
                                                    <a:cxn ang="0">
                                                      <a:pos x="connsiteX292" y="connsiteY292"/>
                                                    </a:cxn>
                                                    <a:cxn ang="0">
                                                      <a:pos x="connsiteX293" y="connsiteY293"/>
                                                    </a:cxn>
                                                    <a:cxn ang="0">
                                                      <a:pos x="connsiteX294" y="connsiteY294"/>
                                                    </a:cxn>
                                                    <a:cxn ang="0">
                                                      <a:pos x="connsiteX295" y="connsiteY295"/>
                                                    </a:cxn>
                                                    <a:cxn ang="0">
                                                      <a:pos x="connsiteX296" y="connsiteY296"/>
                                                    </a:cxn>
                                                    <a:cxn ang="0">
                                                      <a:pos x="connsiteX297" y="connsiteY29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12381" h="1222911">
                                                      <a:moveTo>
                                                        <a:pt x="41312" y="411211"/>
                                                      </a:moveTo>
                                                      <a:cubicBezTo>
                                                        <a:pt x="43126" y="403891"/>
                                                        <a:pt x="51807" y="400457"/>
                                                        <a:pt x="59322" y="400651"/>
                                                      </a:cubicBezTo>
                                                      <a:cubicBezTo>
                                                        <a:pt x="66837" y="400846"/>
                                                        <a:pt x="74223" y="403372"/>
                                                        <a:pt x="81738" y="402984"/>
                                                      </a:cubicBezTo>
                                                      <a:cubicBezTo>
                                                        <a:pt x="96121" y="402206"/>
                                                        <a:pt x="109142" y="390739"/>
                                                        <a:pt x="123330" y="393071"/>
                                                      </a:cubicBezTo>
                                                      <a:cubicBezTo>
                                                        <a:pt x="130651" y="394238"/>
                                                        <a:pt x="136871" y="398967"/>
                                                        <a:pt x="143738" y="401688"/>
                                                      </a:cubicBezTo>
                                                      <a:cubicBezTo>
                                                        <a:pt x="150605" y="404409"/>
                                                        <a:pt x="159805" y="404539"/>
                                                        <a:pt x="164081" y="398449"/>
                                                      </a:cubicBezTo>
                                                      <a:cubicBezTo>
                                                        <a:pt x="164081" y="394756"/>
                                                        <a:pt x="161619" y="391193"/>
                                                        <a:pt x="158120" y="390091"/>
                                                      </a:cubicBezTo>
                                                      <a:cubicBezTo>
                                                        <a:pt x="161878" y="390934"/>
                                                        <a:pt x="167903" y="388148"/>
                                                        <a:pt x="165182" y="385427"/>
                                                      </a:cubicBezTo>
                                                      <a:cubicBezTo>
                                                        <a:pt x="156566" y="375061"/>
                                                        <a:pt x="144580" y="363594"/>
                                                        <a:pt x="131623" y="367416"/>
                                                      </a:cubicBezTo>
                                                      <a:cubicBezTo>
                                                        <a:pt x="125987" y="369101"/>
                                                        <a:pt x="121581" y="373506"/>
                                                        <a:pt x="116463" y="376292"/>
                                                      </a:cubicBezTo>
                                                      <a:cubicBezTo>
                                                        <a:pt x="101563" y="384390"/>
                                                        <a:pt x="83163" y="378365"/>
                                                        <a:pt x="67550" y="371627"/>
                                                      </a:cubicBezTo>
                                                      <a:cubicBezTo>
                                                        <a:pt x="46041" y="362363"/>
                                                        <a:pt x="24144" y="351738"/>
                                                        <a:pt x="756" y="351673"/>
                                                      </a:cubicBezTo>
                                                      <a:cubicBezTo>
                                                        <a:pt x="-2678" y="341502"/>
                                                        <a:pt x="6133" y="330877"/>
                                                        <a:pt x="16110" y="326860"/>
                                                      </a:cubicBezTo>
                                                      <a:cubicBezTo>
                                                        <a:pt x="26087" y="322844"/>
                                                        <a:pt x="37230" y="322844"/>
                                                        <a:pt x="47466" y="319604"/>
                                                      </a:cubicBezTo>
                                                      <a:cubicBezTo>
                                                        <a:pt x="62302" y="314875"/>
                                                        <a:pt x="74158" y="303667"/>
                                                        <a:pt x="88411" y="297318"/>
                                                      </a:cubicBezTo>
                                                      <a:cubicBezTo>
                                                        <a:pt x="112382" y="286693"/>
                                                        <a:pt x="139980" y="291228"/>
                                                        <a:pt x="166089" y="293301"/>
                                                      </a:cubicBezTo>
                                                      <a:cubicBezTo>
                                                        <a:pt x="171078" y="293690"/>
                                                        <a:pt x="176844" y="293690"/>
                                                        <a:pt x="179953" y="289803"/>
                                                      </a:cubicBezTo>
                                                      <a:cubicBezTo>
                                                        <a:pt x="183322" y="285592"/>
                                                        <a:pt x="181638" y="279437"/>
                                                        <a:pt x="182415" y="274060"/>
                                                      </a:cubicBezTo>
                                                      <a:cubicBezTo>
                                                        <a:pt x="183516" y="266156"/>
                                                        <a:pt x="190060" y="260326"/>
                                                        <a:pt x="194724" y="253847"/>
                                                      </a:cubicBezTo>
                                                      <a:cubicBezTo>
                                                        <a:pt x="199389" y="247368"/>
                                                        <a:pt x="201980" y="237327"/>
                                                        <a:pt x="195955" y="232079"/>
                                                      </a:cubicBezTo>
                                                      <a:cubicBezTo>
                                                        <a:pt x="192457" y="229034"/>
                                                        <a:pt x="187404" y="228840"/>
                                                        <a:pt x="182804" y="228775"/>
                                                      </a:cubicBezTo>
                                                      <a:lnTo>
                                                        <a:pt x="137583" y="228257"/>
                                                      </a:lnTo>
                                                      <a:cubicBezTo>
                                                        <a:pt x="136093" y="224953"/>
                                                        <a:pt x="134668" y="221648"/>
                                                        <a:pt x="133178" y="218344"/>
                                                      </a:cubicBezTo>
                                                      <a:cubicBezTo>
                                                        <a:pt x="142766" y="214846"/>
                                                        <a:pt x="151707" y="209598"/>
                                                        <a:pt x="159481" y="202990"/>
                                                      </a:cubicBezTo>
                                                      <a:cubicBezTo>
                                                        <a:pt x="162008" y="200852"/>
                                                        <a:pt x="164405" y="198585"/>
                                                        <a:pt x="166996" y="196576"/>
                                                      </a:cubicBezTo>
                                                      <a:cubicBezTo>
                                                        <a:pt x="170624" y="193791"/>
                                                        <a:pt x="174641" y="191588"/>
                                                        <a:pt x="178658" y="189450"/>
                                                      </a:cubicBezTo>
                                                      <a:cubicBezTo>
                                                        <a:pt x="188635" y="184008"/>
                                                        <a:pt x="198547" y="178566"/>
                                                        <a:pt x="208524" y="173124"/>
                                                      </a:cubicBezTo>
                                                      <a:cubicBezTo>
                                                        <a:pt x="219278" y="167228"/>
                                                        <a:pt x="230292" y="161268"/>
                                                        <a:pt x="242342" y="158871"/>
                                                      </a:cubicBezTo>
                                                      <a:cubicBezTo>
                                                        <a:pt x="254392" y="156539"/>
                                                        <a:pt x="267932" y="158288"/>
                                                        <a:pt x="277067" y="166451"/>
                                                      </a:cubicBezTo>
                                                      <a:cubicBezTo>
                                                        <a:pt x="279983" y="169042"/>
                                                        <a:pt x="282703" y="172411"/>
                                                        <a:pt x="286526" y="173124"/>
                                                      </a:cubicBezTo>
                                                      <a:cubicBezTo>
                                                        <a:pt x="295078" y="174744"/>
                                                        <a:pt x="299677" y="162888"/>
                                                        <a:pt x="298446" y="154207"/>
                                                      </a:cubicBezTo>
                                                      <a:cubicBezTo>
                                                        <a:pt x="296827" y="142739"/>
                                                        <a:pt x="291061" y="131855"/>
                                                        <a:pt x="282509" y="124016"/>
                                                      </a:cubicBezTo>
                                                      <a:cubicBezTo>
                                                        <a:pt x="300260" y="115659"/>
                                                        <a:pt x="321316" y="107302"/>
                                                        <a:pt x="338614" y="116566"/>
                                                      </a:cubicBezTo>
                                                      <a:cubicBezTo>
                                                        <a:pt x="347619" y="121360"/>
                                                        <a:pt x="354486" y="130625"/>
                                                        <a:pt x="364593" y="132309"/>
                                                      </a:cubicBezTo>
                                                      <a:cubicBezTo>
                                                        <a:pt x="364722" y="121749"/>
                                                        <a:pt x="359928" y="111189"/>
                                                        <a:pt x="351895" y="104321"/>
                                                      </a:cubicBezTo>
                                                      <a:cubicBezTo>
                                                        <a:pt x="381761" y="97973"/>
                                                        <a:pt x="411692" y="91624"/>
                                                        <a:pt x="441558" y="85339"/>
                                                      </a:cubicBezTo>
                                                      <a:cubicBezTo>
                                                        <a:pt x="450369" y="83461"/>
                                                        <a:pt x="460022" y="81711"/>
                                                        <a:pt x="467861" y="86117"/>
                                                      </a:cubicBezTo>
                                                      <a:cubicBezTo>
                                                        <a:pt x="482049" y="94085"/>
                                                        <a:pt x="480041" y="115335"/>
                                                        <a:pt x="473303" y="130171"/>
                                                      </a:cubicBezTo>
                                                      <a:cubicBezTo>
                                                        <a:pt x="472072" y="132892"/>
                                                        <a:pt x="470711" y="135743"/>
                                                        <a:pt x="470906" y="138658"/>
                                                      </a:cubicBezTo>
                                                      <a:cubicBezTo>
                                                        <a:pt x="471489" y="147534"/>
                                                        <a:pt x="485418" y="149348"/>
                                                        <a:pt x="491508" y="142869"/>
                                                      </a:cubicBezTo>
                                                      <a:cubicBezTo>
                                                        <a:pt x="497598" y="136390"/>
                                                        <a:pt x="497727" y="126543"/>
                                                        <a:pt x="497533" y="117603"/>
                                                      </a:cubicBezTo>
                                                      <a:cubicBezTo>
                                                        <a:pt x="497339" y="109958"/>
                                                        <a:pt x="497209" y="102313"/>
                                                        <a:pt x="497015" y="94668"/>
                                                      </a:cubicBezTo>
                                                      <a:cubicBezTo>
                                                        <a:pt x="496885" y="89745"/>
                                                        <a:pt x="497986" y="83266"/>
                                                        <a:pt x="502910" y="82618"/>
                                                      </a:cubicBezTo>
                                                      <a:cubicBezTo>
                                                        <a:pt x="505696" y="82230"/>
                                                        <a:pt x="508222" y="84108"/>
                                                        <a:pt x="510361" y="85922"/>
                                                      </a:cubicBezTo>
                                                      <a:cubicBezTo>
                                                        <a:pt x="520661" y="94668"/>
                                                        <a:pt x="530509" y="104192"/>
                                                        <a:pt x="542365" y="110671"/>
                                                      </a:cubicBezTo>
                                                      <a:cubicBezTo>
                                                        <a:pt x="554220" y="117149"/>
                                                        <a:pt x="568797" y="120194"/>
                                                        <a:pt x="581366" y="115141"/>
                                                      </a:cubicBezTo>
                                                      <a:cubicBezTo>
                                                        <a:pt x="583244" y="110476"/>
                                                        <a:pt x="579098" y="105682"/>
                                                        <a:pt x="575276" y="102378"/>
                                                      </a:cubicBezTo>
                                                      <a:cubicBezTo>
                                                        <a:pt x="565882" y="94150"/>
                                                        <a:pt x="556488" y="85922"/>
                                                        <a:pt x="547094" y="77695"/>
                                                      </a:cubicBezTo>
                                                      <a:cubicBezTo>
                                                        <a:pt x="560440" y="64608"/>
                                                        <a:pt x="582985" y="69143"/>
                                                        <a:pt x="599247" y="78407"/>
                                                      </a:cubicBezTo>
                                                      <a:cubicBezTo>
                                                        <a:pt x="615508" y="87672"/>
                                                        <a:pt x="630344" y="100953"/>
                                                        <a:pt x="648872" y="103674"/>
                                                      </a:cubicBezTo>
                                                      <a:cubicBezTo>
                                                        <a:pt x="653861" y="104451"/>
                                                        <a:pt x="659108" y="104386"/>
                                                        <a:pt x="663773" y="106395"/>
                                                      </a:cubicBezTo>
                                                      <a:cubicBezTo>
                                                        <a:pt x="667855" y="108209"/>
                                                        <a:pt x="671094" y="111448"/>
                                                        <a:pt x="674463" y="114363"/>
                                                      </a:cubicBezTo>
                                                      <a:cubicBezTo>
                                                        <a:pt x="685994" y="124535"/>
                                                        <a:pt x="699923" y="131920"/>
                                                        <a:pt x="714759" y="135807"/>
                                                      </a:cubicBezTo>
                                                      <a:cubicBezTo>
                                                        <a:pt x="722404" y="128875"/>
                                                        <a:pt x="713269" y="116825"/>
                                                        <a:pt x="704523" y="111448"/>
                                                      </a:cubicBezTo>
                                                      <a:cubicBezTo>
                                                        <a:pt x="689169" y="101860"/>
                                                        <a:pt x="672778" y="93826"/>
                                                        <a:pt x="655869" y="87477"/>
                                                      </a:cubicBezTo>
                                                      <a:cubicBezTo>
                                                        <a:pt x="652241" y="86117"/>
                                                        <a:pt x="648225" y="84497"/>
                                                        <a:pt x="646605" y="80999"/>
                                                      </a:cubicBezTo>
                                                      <a:cubicBezTo>
                                                        <a:pt x="643560" y="74391"/>
                                                        <a:pt x="651852" y="67653"/>
                                                        <a:pt x="659108" y="67523"/>
                                                      </a:cubicBezTo>
                                                      <a:cubicBezTo>
                                                        <a:pt x="666429" y="67394"/>
                                                        <a:pt x="673556" y="70698"/>
                                                        <a:pt x="680812" y="69791"/>
                                                      </a:cubicBezTo>
                                                      <a:cubicBezTo>
                                                        <a:pt x="683079" y="69532"/>
                                                        <a:pt x="685347" y="68754"/>
                                                        <a:pt x="686837" y="67070"/>
                                                      </a:cubicBezTo>
                                                      <a:cubicBezTo>
                                                        <a:pt x="692020" y="60980"/>
                                                        <a:pt x="682172" y="53400"/>
                                                        <a:pt x="674333" y="51780"/>
                                                      </a:cubicBezTo>
                                                      <a:cubicBezTo>
                                                        <a:pt x="666494" y="50225"/>
                                                        <a:pt x="655999" y="44783"/>
                                                        <a:pt x="659368" y="37592"/>
                                                      </a:cubicBezTo>
                                                      <a:cubicBezTo>
                                                        <a:pt x="680876" y="36556"/>
                                                        <a:pt x="702385" y="35519"/>
                                                        <a:pt x="723894" y="34482"/>
                                                      </a:cubicBezTo>
                                                      <a:cubicBezTo>
                                                        <a:pt x="741905" y="19711"/>
                                                        <a:pt x="768467" y="33576"/>
                                                        <a:pt x="791401" y="29494"/>
                                                      </a:cubicBezTo>
                                                      <a:cubicBezTo>
                                                        <a:pt x="803127" y="27421"/>
                                                        <a:pt x="814141" y="21007"/>
                                                        <a:pt x="826061" y="21137"/>
                                                      </a:cubicBezTo>
                                                      <a:cubicBezTo>
                                                        <a:pt x="837982" y="21266"/>
                                                        <a:pt x="851004" y="33057"/>
                                                        <a:pt x="845756" y="43747"/>
                                                      </a:cubicBezTo>
                                                      <a:cubicBezTo>
                                                        <a:pt x="851004" y="44654"/>
                                                        <a:pt x="856316" y="45626"/>
                                                        <a:pt x="861564" y="46533"/>
                                                      </a:cubicBezTo>
                                                      <a:cubicBezTo>
                                                        <a:pt x="868302" y="42192"/>
                                                        <a:pt x="871282" y="32733"/>
                                                        <a:pt x="868172" y="25283"/>
                                                      </a:cubicBezTo>
                                                      <a:cubicBezTo>
                                                        <a:pt x="867135" y="22756"/>
                                                        <a:pt x="865386" y="20294"/>
                                                        <a:pt x="865645" y="17573"/>
                                                      </a:cubicBezTo>
                                                      <a:cubicBezTo>
                                                        <a:pt x="866099" y="12391"/>
                                                        <a:pt x="872577" y="10512"/>
                                                        <a:pt x="877695" y="9864"/>
                                                      </a:cubicBezTo>
                                                      <a:cubicBezTo>
                                                        <a:pt x="919806" y="4940"/>
                                                        <a:pt x="962111" y="1766"/>
                                                        <a:pt x="1004481" y="405"/>
                                                      </a:cubicBezTo>
                                                      <a:cubicBezTo>
                                                        <a:pt x="1032209" y="-502"/>
                                                        <a:pt x="1060391" y="-502"/>
                                                        <a:pt x="1087018" y="7143"/>
                                                      </a:cubicBezTo>
                                                      <a:cubicBezTo>
                                                        <a:pt x="1096218" y="9799"/>
                                                        <a:pt x="1105223" y="13362"/>
                                                        <a:pt x="1114746" y="14788"/>
                                                      </a:cubicBezTo>
                                                      <a:cubicBezTo>
                                                        <a:pt x="1131655" y="17314"/>
                                                        <a:pt x="1149990" y="13103"/>
                                                        <a:pt x="1165409" y="20618"/>
                                                      </a:cubicBezTo>
                                                      <a:cubicBezTo>
                                                        <a:pt x="1176422" y="25996"/>
                                                        <a:pt x="1188084" y="37268"/>
                                                        <a:pt x="1198709" y="31243"/>
                                                      </a:cubicBezTo>
                                                      <a:lnTo>
                                                        <a:pt x="1202596" y="49642"/>
                                                      </a:lnTo>
                                                      <a:cubicBezTo>
                                                        <a:pt x="1226308" y="48023"/>
                                                        <a:pt x="1250213" y="49642"/>
                                                        <a:pt x="1273406" y="54566"/>
                                                      </a:cubicBezTo>
                                                      <a:cubicBezTo>
                                                        <a:pt x="1279561" y="55862"/>
                                                        <a:pt x="1287271" y="62211"/>
                                                        <a:pt x="1282800" y="66616"/>
                                                      </a:cubicBezTo>
                                                      <a:cubicBezTo>
                                                        <a:pt x="1262328" y="71670"/>
                                                        <a:pt x="1241921" y="76723"/>
                                                        <a:pt x="1221449" y="81776"/>
                                                      </a:cubicBezTo>
                                                      <a:cubicBezTo>
                                                        <a:pt x="1216395" y="83007"/>
                                                        <a:pt x="1211277" y="84303"/>
                                                        <a:pt x="1206094" y="85080"/>
                                                      </a:cubicBezTo>
                                                      <a:cubicBezTo>
                                                        <a:pt x="1200069" y="85987"/>
                                                        <a:pt x="1193915" y="86246"/>
                                                        <a:pt x="1187825" y="86441"/>
                                                      </a:cubicBezTo>
                                                      <a:cubicBezTo>
                                                        <a:pt x="1156339" y="87672"/>
                                                        <a:pt x="1124853" y="88903"/>
                                                        <a:pt x="1093367" y="90133"/>
                                                      </a:cubicBezTo>
                                                      <a:cubicBezTo>
                                                        <a:pt x="1085139" y="90457"/>
                                                        <a:pt x="1073802" y="95251"/>
                                                        <a:pt x="1076912" y="102831"/>
                                                      </a:cubicBezTo>
                                                      <a:cubicBezTo>
                                                        <a:pt x="1053524" y="97584"/>
                                                        <a:pt x="1028063" y="102054"/>
                                                        <a:pt x="1007785" y="114946"/>
                                                      </a:cubicBezTo>
                                                      <a:cubicBezTo>
                                                        <a:pt x="1000853" y="119352"/>
                                                        <a:pt x="994374" y="129912"/>
                                                        <a:pt x="1001112" y="134706"/>
                                                      </a:cubicBezTo>
                                                      <a:cubicBezTo>
                                                        <a:pt x="1054690" y="118574"/>
                                                        <a:pt x="1110341" y="109375"/>
                                                        <a:pt x="1166186" y="107431"/>
                                                      </a:cubicBezTo>
                                                      <a:cubicBezTo>
                                                        <a:pt x="1172211" y="107237"/>
                                                        <a:pt x="1180050" y="108533"/>
                                                        <a:pt x="1180958" y="114493"/>
                                                      </a:cubicBezTo>
                                                      <a:cubicBezTo>
                                                        <a:pt x="1169037" y="120907"/>
                                                        <a:pt x="1157116" y="127256"/>
                                                        <a:pt x="1145196" y="133669"/>
                                                      </a:cubicBezTo>
                                                      <a:cubicBezTo>
                                                        <a:pt x="1140661" y="136067"/>
                                                        <a:pt x="1135672" y="139111"/>
                                                        <a:pt x="1134636" y="144165"/>
                                                      </a:cubicBezTo>
                                                      <a:cubicBezTo>
                                                        <a:pt x="1133211" y="150902"/>
                                                        <a:pt x="1140466" y="156992"/>
                                                        <a:pt x="1147334" y="157122"/>
                                                      </a:cubicBezTo>
                                                      <a:cubicBezTo>
                                                        <a:pt x="1154201" y="157251"/>
                                                        <a:pt x="1160550" y="153364"/>
                                                        <a:pt x="1166381" y="149672"/>
                                                      </a:cubicBezTo>
                                                      <a:cubicBezTo>
                                                        <a:pt x="1186723" y="136650"/>
                                                        <a:pt x="1207066" y="123692"/>
                                                        <a:pt x="1227474" y="110671"/>
                                                      </a:cubicBezTo>
                                                      <a:cubicBezTo>
                                                        <a:pt x="1236220" y="105099"/>
                                                        <a:pt x="1246909" y="99333"/>
                                                        <a:pt x="1256368" y="103609"/>
                                                      </a:cubicBezTo>
                                                      <a:cubicBezTo>
                                                        <a:pt x="1265503" y="107690"/>
                                                        <a:pt x="1268483" y="119028"/>
                                                        <a:pt x="1269390" y="129005"/>
                                                      </a:cubicBezTo>
                                                      <a:cubicBezTo>
                                                        <a:pt x="1247752" y="147922"/>
                                                        <a:pt x="1229482" y="170727"/>
                                                        <a:pt x="1215747" y="195993"/>
                                                      </a:cubicBezTo>
                                                      <a:cubicBezTo>
                                                        <a:pt x="1223457" y="201176"/>
                                                        <a:pt x="1233564" y="195216"/>
                                                        <a:pt x="1240819" y="189450"/>
                                                      </a:cubicBezTo>
                                                      <a:cubicBezTo>
                                                        <a:pt x="1258117" y="175780"/>
                                                        <a:pt x="1275609" y="161981"/>
                                                        <a:pt x="1290121" y="145396"/>
                                                      </a:cubicBezTo>
                                                      <a:cubicBezTo>
                                                        <a:pt x="1296924" y="137686"/>
                                                        <a:pt x="1305799" y="128422"/>
                                                        <a:pt x="1315582" y="131532"/>
                                                      </a:cubicBezTo>
                                                      <a:cubicBezTo>
                                                        <a:pt x="1316683" y="136196"/>
                                                        <a:pt x="1317850" y="140861"/>
                                                        <a:pt x="1318951" y="145525"/>
                                                      </a:cubicBezTo>
                                                      <a:cubicBezTo>
                                                        <a:pt x="1325170" y="138269"/>
                                                        <a:pt x="1336573" y="138658"/>
                                                        <a:pt x="1345837" y="141185"/>
                                                      </a:cubicBezTo>
                                                      <a:cubicBezTo>
                                                        <a:pt x="1355102" y="143646"/>
                                                        <a:pt x="1364690" y="147534"/>
                                                        <a:pt x="1373954" y="145137"/>
                                                      </a:cubicBezTo>
                                                      <a:cubicBezTo>
                                                        <a:pt x="1383218" y="142739"/>
                                                        <a:pt x="1389956" y="129847"/>
                                                        <a:pt x="1382895" y="123433"/>
                                                      </a:cubicBezTo>
                                                      <a:cubicBezTo>
                                                        <a:pt x="1421442" y="105358"/>
                                                        <a:pt x="1468736" y="107302"/>
                                                        <a:pt x="1505664" y="128487"/>
                                                      </a:cubicBezTo>
                                                      <a:cubicBezTo>
                                                        <a:pt x="1507866" y="129717"/>
                                                        <a:pt x="1510069" y="131143"/>
                                                        <a:pt x="1511300" y="133281"/>
                                                      </a:cubicBezTo>
                                                      <a:cubicBezTo>
                                                        <a:pt x="1515576" y="140602"/>
                                                        <a:pt x="1506311" y="148311"/>
                                                        <a:pt x="1498537" y="151809"/>
                                                      </a:cubicBezTo>
                                                      <a:cubicBezTo>
                                                        <a:pt x="1488495" y="156344"/>
                                                        <a:pt x="1478518" y="160879"/>
                                                        <a:pt x="1468477" y="165414"/>
                                                      </a:cubicBezTo>
                                                      <a:cubicBezTo>
                                                        <a:pt x="1460961" y="168783"/>
                                                        <a:pt x="1453446" y="172217"/>
                                                        <a:pt x="1445737" y="175132"/>
                                                      </a:cubicBezTo>
                                                      <a:cubicBezTo>
                                                        <a:pt x="1413733" y="187247"/>
                                                        <a:pt x="1379137" y="190681"/>
                                                        <a:pt x="1345059" y="193985"/>
                                                      </a:cubicBezTo>
                                                      <a:cubicBezTo>
                                                        <a:pt x="1363912" y="205128"/>
                                                        <a:pt x="1387365" y="208043"/>
                                                        <a:pt x="1408355" y="201954"/>
                                                      </a:cubicBezTo>
                                                      <a:cubicBezTo>
                                                        <a:pt x="1412178" y="204804"/>
                                                        <a:pt x="1410947" y="211283"/>
                                                        <a:pt x="1407254" y="214263"/>
                                                      </a:cubicBezTo>
                                                      <a:cubicBezTo>
                                                        <a:pt x="1403561" y="217243"/>
                                                        <a:pt x="1398443" y="217697"/>
                                                        <a:pt x="1393714" y="218020"/>
                                                      </a:cubicBezTo>
                                                      <a:cubicBezTo>
                                                        <a:pt x="1376351" y="219187"/>
                                                        <a:pt x="1359053" y="220353"/>
                                                        <a:pt x="1341691" y="221519"/>
                                                      </a:cubicBezTo>
                                                      <a:cubicBezTo>
                                                        <a:pt x="1325559" y="222620"/>
                                                        <a:pt x="1305281" y="227155"/>
                                                        <a:pt x="1302366" y="243028"/>
                                                      </a:cubicBezTo>
                                                      <a:cubicBezTo>
                                                        <a:pt x="1309427" y="250608"/>
                                                        <a:pt x="1322061" y="248405"/>
                                                        <a:pt x="1331131" y="243481"/>
                                                      </a:cubicBezTo>
                                                      <a:cubicBezTo>
                                                        <a:pt x="1340201" y="238557"/>
                                                        <a:pt x="1348558" y="231302"/>
                                                        <a:pt x="1358859" y="230200"/>
                                                      </a:cubicBezTo>
                                                      <a:cubicBezTo>
                                                        <a:pt x="1369160" y="229034"/>
                                                        <a:pt x="1381145" y="238752"/>
                                                        <a:pt x="1376999" y="248211"/>
                                                      </a:cubicBezTo>
                                                      <a:cubicBezTo>
                                                        <a:pt x="1367281" y="247887"/>
                                                        <a:pt x="1357304" y="247628"/>
                                                        <a:pt x="1348169" y="250867"/>
                                                      </a:cubicBezTo>
                                                      <a:cubicBezTo>
                                                        <a:pt x="1339034" y="254106"/>
                                                        <a:pt x="1330677" y="261686"/>
                                                        <a:pt x="1329576" y="271339"/>
                                                      </a:cubicBezTo>
                                                      <a:cubicBezTo>
                                                        <a:pt x="1328928" y="276781"/>
                                                        <a:pt x="1330548" y="282417"/>
                                                        <a:pt x="1328993" y="287665"/>
                                                      </a:cubicBezTo>
                                                      <a:cubicBezTo>
                                                        <a:pt x="1324976" y="301011"/>
                                                        <a:pt x="1306124" y="300687"/>
                                                        <a:pt x="1292518" y="297577"/>
                                                      </a:cubicBezTo>
                                                      <a:cubicBezTo>
                                                        <a:pt x="1285651" y="322779"/>
                                                        <a:pt x="1277359" y="347592"/>
                                                        <a:pt x="1267641" y="371887"/>
                                                      </a:cubicBezTo>
                                                      <a:cubicBezTo>
                                                        <a:pt x="1277553" y="370915"/>
                                                        <a:pt x="1286234" y="365149"/>
                                                        <a:pt x="1294851" y="360160"/>
                                                      </a:cubicBezTo>
                                                      <a:cubicBezTo>
                                                        <a:pt x="1303467" y="355172"/>
                                                        <a:pt x="1313380" y="350831"/>
                                                        <a:pt x="1323097" y="352969"/>
                                                      </a:cubicBezTo>
                                                      <a:cubicBezTo>
                                                        <a:pt x="1332815" y="355107"/>
                                                        <a:pt x="1340589" y="366963"/>
                                                        <a:pt x="1335277" y="375385"/>
                                                      </a:cubicBezTo>
                                                      <a:cubicBezTo>
                                                        <a:pt x="1328409" y="373701"/>
                                                        <a:pt x="1321154" y="372016"/>
                                                        <a:pt x="1314286" y="373895"/>
                                                      </a:cubicBezTo>
                                                      <a:cubicBezTo>
                                                        <a:pt x="1307484" y="375774"/>
                                                        <a:pt x="1301459" y="382576"/>
                                                        <a:pt x="1303078" y="389508"/>
                                                      </a:cubicBezTo>
                                                      <a:cubicBezTo>
                                                        <a:pt x="1308261" y="389443"/>
                                                        <a:pt x="1313380" y="389314"/>
                                                        <a:pt x="1318562" y="389249"/>
                                                      </a:cubicBezTo>
                                                      <a:cubicBezTo>
                                                        <a:pt x="1319664" y="393914"/>
                                                        <a:pt x="1320830" y="398513"/>
                                                        <a:pt x="1321931" y="403178"/>
                                                      </a:cubicBezTo>
                                                      <a:cubicBezTo>
                                                        <a:pt x="1334305" y="399097"/>
                                                        <a:pt x="1346679" y="395080"/>
                                                        <a:pt x="1359118" y="390998"/>
                                                      </a:cubicBezTo>
                                                      <a:cubicBezTo>
                                                        <a:pt x="1362552" y="395598"/>
                                                        <a:pt x="1366050" y="400457"/>
                                                        <a:pt x="1366957" y="406093"/>
                                                      </a:cubicBezTo>
                                                      <a:cubicBezTo>
                                                        <a:pt x="1367864" y="411730"/>
                                                        <a:pt x="1365273" y="418403"/>
                                                        <a:pt x="1359766" y="420152"/>
                                                      </a:cubicBezTo>
                                                      <a:cubicBezTo>
                                                        <a:pt x="1356592" y="421124"/>
                                                        <a:pt x="1353158" y="420346"/>
                                                        <a:pt x="1349983" y="419504"/>
                                                      </a:cubicBezTo>
                                                      <a:cubicBezTo>
                                                        <a:pt x="1343181" y="417755"/>
                                                        <a:pt x="1336378" y="416070"/>
                                                        <a:pt x="1329640" y="414321"/>
                                                      </a:cubicBezTo>
                                                      <a:cubicBezTo>
                                                        <a:pt x="1321218" y="412183"/>
                                                        <a:pt x="1312408" y="410045"/>
                                                        <a:pt x="1304050" y="412248"/>
                                                      </a:cubicBezTo>
                                                      <a:cubicBezTo>
                                                        <a:pt x="1295693" y="414451"/>
                                                        <a:pt x="1288243" y="422743"/>
                                                        <a:pt x="1290121" y="431165"/>
                                                      </a:cubicBezTo>
                                                      <a:cubicBezTo>
                                                        <a:pt x="1285327" y="426501"/>
                                                        <a:pt x="1280015" y="421642"/>
                                                        <a:pt x="1273406" y="420735"/>
                                                      </a:cubicBezTo>
                                                      <a:cubicBezTo>
                                                        <a:pt x="1266799" y="419828"/>
                                                        <a:pt x="1259024" y="425140"/>
                                                        <a:pt x="1260125" y="431684"/>
                                                      </a:cubicBezTo>
                                                      <a:cubicBezTo>
                                                        <a:pt x="1261227" y="438098"/>
                                                        <a:pt x="1268936" y="440430"/>
                                                        <a:pt x="1274637" y="443540"/>
                                                      </a:cubicBezTo>
                                                      <a:cubicBezTo>
                                                        <a:pt x="1284615" y="448982"/>
                                                        <a:pt x="1291936" y="460125"/>
                                                        <a:pt x="1303273" y="461096"/>
                                                      </a:cubicBezTo>
                                                      <a:cubicBezTo>
                                                        <a:pt x="1312991" y="461939"/>
                                                        <a:pt x="1324004" y="454942"/>
                                                        <a:pt x="1331714" y="460902"/>
                                                      </a:cubicBezTo>
                                                      <a:cubicBezTo>
                                                        <a:pt x="1341172" y="468158"/>
                                                        <a:pt x="1345772" y="477358"/>
                                                        <a:pt x="1346679" y="489213"/>
                                                      </a:cubicBezTo>
                                                      <a:cubicBezTo>
                                                        <a:pt x="1347003" y="493360"/>
                                                        <a:pt x="1346290" y="498219"/>
                                                        <a:pt x="1342662" y="500292"/>
                                                      </a:cubicBezTo>
                                                      <a:cubicBezTo>
                                                        <a:pt x="1339747" y="501976"/>
                                                        <a:pt x="1335342" y="501587"/>
                                                        <a:pt x="1333722" y="504568"/>
                                                      </a:cubicBezTo>
                                                      <a:cubicBezTo>
                                                        <a:pt x="1332232" y="507159"/>
                                                        <a:pt x="1334046" y="510917"/>
                                                        <a:pt x="1332102" y="513249"/>
                                                      </a:cubicBezTo>
                                                      <a:cubicBezTo>
                                                        <a:pt x="1329317" y="516553"/>
                                                        <a:pt x="1324523" y="512471"/>
                                                        <a:pt x="1320895" y="510139"/>
                                                      </a:cubicBezTo>
                                                      <a:cubicBezTo>
                                                        <a:pt x="1312084" y="504438"/>
                                                        <a:pt x="1299904" y="510722"/>
                                                        <a:pt x="1290121" y="507030"/>
                                                      </a:cubicBezTo>
                                                      <a:cubicBezTo>
                                                        <a:pt x="1285068" y="515905"/>
                                                        <a:pt x="1289474" y="528668"/>
                                                        <a:pt x="1298867" y="532620"/>
                                                      </a:cubicBezTo>
                                                      <a:cubicBezTo>
                                                        <a:pt x="1301977" y="533916"/>
                                                        <a:pt x="1305799" y="534693"/>
                                                        <a:pt x="1307160" y="537673"/>
                                                      </a:cubicBezTo>
                                                      <a:cubicBezTo>
                                                        <a:pt x="1308326" y="540200"/>
                                                        <a:pt x="1307290" y="543633"/>
                                                        <a:pt x="1309103" y="545771"/>
                                                      </a:cubicBezTo>
                                                      <a:cubicBezTo>
                                                        <a:pt x="1310464" y="547456"/>
                                                        <a:pt x="1312991" y="547650"/>
                                                        <a:pt x="1315193" y="547715"/>
                                                      </a:cubicBezTo>
                                                      <a:cubicBezTo>
                                                        <a:pt x="1325300" y="547909"/>
                                                        <a:pt x="1335406" y="548168"/>
                                                        <a:pt x="1345513" y="548363"/>
                                                      </a:cubicBezTo>
                                                      <a:cubicBezTo>
                                                        <a:pt x="1347781" y="553610"/>
                                                        <a:pt x="1344153" y="559959"/>
                                                        <a:pt x="1339099" y="562551"/>
                                                      </a:cubicBezTo>
                                                      <a:cubicBezTo>
                                                        <a:pt x="1333981" y="565142"/>
                                                        <a:pt x="1327956" y="564883"/>
                                                        <a:pt x="1322255" y="564365"/>
                                                      </a:cubicBezTo>
                                                      <a:cubicBezTo>
                                                        <a:pt x="1306188" y="562875"/>
                                                        <a:pt x="1290316" y="559376"/>
                                                        <a:pt x="1275091" y="553999"/>
                                                      </a:cubicBezTo>
                                                      <a:cubicBezTo>
                                                        <a:pt x="1274055" y="562097"/>
                                                        <a:pt x="1278654" y="570066"/>
                                                        <a:pt x="1284939" y="575249"/>
                                                      </a:cubicBezTo>
                                                      <a:cubicBezTo>
                                                        <a:pt x="1291223" y="580432"/>
                                                        <a:pt x="1299062" y="583282"/>
                                                        <a:pt x="1306706" y="586068"/>
                                                      </a:cubicBezTo>
                                                      <a:cubicBezTo>
                                                        <a:pt x="1307484" y="591445"/>
                                                        <a:pt x="1308261" y="596758"/>
                                                        <a:pt x="1308974" y="602135"/>
                                                      </a:cubicBezTo>
                                                      <a:cubicBezTo>
                                                        <a:pt x="1289992" y="607447"/>
                                                        <a:pt x="1270491" y="610881"/>
                                                        <a:pt x="1250796" y="612306"/>
                                                      </a:cubicBezTo>
                                                      <a:cubicBezTo>
                                                        <a:pt x="1249889" y="604791"/>
                                                        <a:pt x="1240301" y="599932"/>
                                                        <a:pt x="1233693" y="603560"/>
                                                      </a:cubicBezTo>
                                                      <a:cubicBezTo>
                                                        <a:pt x="1234082" y="599673"/>
                                                        <a:pt x="1233304" y="595656"/>
                                                        <a:pt x="1231361" y="592223"/>
                                                      </a:cubicBezTo>
                                                      <a:cubicBezTo>
                                                        <a:pt x="1225012" y="591575"/>
                                                        <a:pt x="1218533" y="592028"/>
                                                        <a:pt x="1212314" y="593518"/>
                                                      </a:cubicBezTo>
                                                      <a:cubicBezTo>
                                                        <a:pt x="1215942" y="598896"/>
                                                        <a:pt x="1213480" y="606864"/>
                                                        <a:pt x="1208167" y="610687"/>
                                                      </a:cubicBezTo>
                                                      <a:cubicBezTo>
                                                        <a:pt x="1202920" y="614509"/>
                                                        <a:pt x="1195793" y="614833"/>
                                                        <a:pt x="1189444" y="613472"/>
                                                      </a:cubicBezTo>
                                                      <a:cubicBezTo>
                                                        <a:pt x="1186140" y="619238"/>
                                                        <a:pt x="1185104" y="626300"/>
                                                        <a:pt x="1186594" y="632779"/>
                                                      </a:cubicBezTo>
                                                      <a:cubicBezTo>
                                                        <a:pt x="1190157" y="638739"/>
                                                        <a:pt x="1198320" y="640229"/>
                                                        <a:pt x="1205122" y="638804"/>
                                                      </a:cubicBezTo>
                                                      <a:cubicBezTo>
                                                        <a:pt x="1211925" y="637378"/>
                                                        <a:pt x="1218015" y="633815"/>
                                                        <a:pt x="1224688" y="631872"/>
                                                      </a:cubicBezTo>
                                                      <a:cubicBezTo>
                                                        <a:pt x="1237127" y="628244"/>
                                                        <a:pt x="1250472" y="630446"/>
                                                        <a:pt x="1263235" y="632714"/>
                                                      </a:cubicBezTo>
                                                      <a:cubicBezTo>
                                                        <a:pt x="1266021" y="633232"/>
                                                        <a:pt x="1269066" y="633880"/>
                                                        <a:pt x="1270621" y="636147"/>
                                                      </a:cubicBezTo>
                                                      <a:cubicBezTo>
                                                        <a:pt x="1274573" y="641913"/>
                                                        <a:pt x="1265956" y="651631"/>
                                                        <a:pt x="1271398" y="656037"/>
                                                      </a:cubicBezTo>
                                                      <a:cubicBezTo>
                                                        <a:pt x="1262846" y="659406"/>
                                                        <a:pt x="1253453" y="662839"/>
                                                        <a:pt x="1244771" y="659989"/>
                                                      </a:cubicBezTo>
                                                      <a:cubicBezTo>
                                                        <a:pt x="1237645" y="657592"/>
                                                        <a:pt x="1232333" y="651372"/>
                                                        <a:pt x="1225271" y="648781"/>
                                                      </a:cubicBezTo>
                                                      <a:cubicBezTo>
                                                        <a:pt x="1218209" y="646254"/>
                                                        <a:pt x="1207649" y="651243"/>
                                                        <a:pt x="1209917" y="658434"/>
                                                      </a:cubicBezTo>
                                                      <a:cubicBezTo>
                                                        <a:pt x="1210565" y="660507"/>
                                                        <a:pt x="1212184" y="662127"/>
                                                        <a:pt x="1213674" y="663617"/>
                                                      </a:cubicBezTo>
                                                      <a:cubicBezTo>
                                                        <a:pt x="1221708" y="671585"/>
                                                        <a:pt x="1230972" y="680137"/>
                                                        <a:pt x="1242309" y="680137"/>
                                                      </a:cubicBezTo>
                                                      <a:cubicBezTo>
                                                        <a:pt x="1244059" y="686486"/>
                                                        <a:pt x="1251056" y="689531"/>
                                                        <a:pt x="1256951" y="692381"/>
                                                      </a:cubicBezTo>
                                                      <a:cubicBezTo>
                                                        <a:pt x="1262846" y="695232"/>
                                                        <a:pt x="1269261" y="700544"/>
                                                        <a:pt x="1267965" y="706958"/>
                                                      </a:cubicBezTo>
                                                      <a:cubicBezTo>
                                                        <a:pt x="1270297" y="704043"/>
                                                        <a:pt x="1275480" y="705598"/>
                                                        <a:pt x="1277294" y="708902"/>
                                                      </a:cubicBezTo>
                                                      <a:cubicBezTo>
                                                        <a:pt x="1279108" y="712206"/>
                                                        <a:pt x="1278590" y="716223"/>
                                                        <a:pt x="1278006" y="719915"/>
                                                      </a:cubicBezTo>
                                                      <a:cubicBezTo>
                                                        <a:pt x="1276516" y="729568"/>
                                                        <a:pt x="1275026" y="739222"/>
                                                        <a:pt x="1273536" y="748875"/>
                                                      </a:cubicBezTo>
                                                      <a:cubicBezTo>
                                                        <a:pt x="1273018" y="752438"/>
                                                        <a:pt x="1272176" y="756455"/>
                                                        <a:pt x="1269131" y="758398"/>
                                                      </a:cubicBezTo>
                                                      <a:cubicBezTo>
                                                        <a:pt x="1262264" y="762804"/>
                                                        <a:pt x="1254878" y="752308"/>
                                                        <a:pt x="1246715" y="751531"/>
                                                      </a:cubicBezTo>
                                                      <a:cubicBezTo>
                                                        <a:pt x="1243022" y="751207"/>
                                                        <a:pt x="1239070" y="752956"/>
                                                        <a:pt x="1235637" y="751466"/>
                                                      </a:cubicBezTo>
                                                      <a:cubicBezTo>
                                                        <a:pt x="1230713" y="749263"/>
                                                        <a:pt x="1230648" y="742137"/>
                                                        <a:pt x="1226826" y="738315"/>
                                                      </a:cubicBezTo>
                                                      <a:cubicBezTo>
                                                        <a:pt x="1224299" y="735723"/>
                                                        <a:pt x="1220477" y="735010"/>
                                                        <a:pt x="1217237" y="733391"/>
                                                      </a:cubicBezTo>
                                                      <a:cubicBezTo>
                                                        <a:pt x="1210889" y="730216"/>
                                                        <a:pt x="1206936" y="723803"/>
                                                        <a:pt x="1201883" y="718749"/>
                                                      </a:cubicBezTo>
                                                      <a:cubicBezTo>
                                                        <a:pt x="1196830" y="713761"/>
                                                        <a:pt x="1188796" y="710003"/>
                                                        <a:pt x="1182771" y="713761"/>
                                                      </a:cubicBezTo>
                                                      <a:cubicBezTo>
                                                        <a:pt x="1183484" y="721924"/>
                                                        <a:pt x="1184197" y="730346"/>
                                                        <a:pt x="1181476" y="738055"/>
                                                      </a:cubicBezTo>
                                                      <a:cubicBezTo>
                                                        <a:pt x="1178820" y="745765"/>
                                                        <a:pt x="1171758" y="752632"/>
                                                        <a:pt x="1163595" y="752373"/>
                                                      </a:cubicBezTo>
                                                      <a:cubicBezTo>
                                                        <a:pt x="1163724" y="757621"/>
                                                        <a:pt x="1159837" y="762091"/>
                                                        <a:pt x="1158930" y="767274"/>
                                                      </a:cubicBezTo>
                                                      <a:cubicBezTo>
                                                        <a:pt x="1158023" y="772457"/>
                                                        <a:pt x="1164178" y="778806"/>
                                                        <a:pt x="1167741" y="774918"/>
                                                      </a:cubicBezTo>
                                                      <a:cubicBezTo>
                                                        <a:pt x="1169102" y="773428"/>
                                                        <a:pt x="1169166" y="771161"/>
                                                        <a:pt x="1169944" y="769282"/>
                                                      </a:cubicBezTo>
                                                      <a:cubicBezTo>
                                                        <a:pt x="1171693" y="765330"/>
                                                        <a:pt x="1176811" y="763905"/>
                                                        <a:pt x="1181087" y="764682"/>
                                                      </a:cubicBezTo>
                                                      <a:cubicBezTo>
                                                        <a:pt x="1185363" y="765460"/>
                                                        <a:pt x="1189120" y="767857"/>
                                                        <a:pt x="1193072" y="769541"/>
                                                      </a:cubicBezTo>
                                                      <a:cubicBezTo>
                                                        <a:pt x="1210824" y="777121"/>
                                                        <a:pt x="1231296" y="770707"/>
                                                        <a:pt x="1250472" y="772781"/>
                                                      </a:cubicBezTo>
                                                      <a:cubicBezTo>
                                                        <a:pt x="1255202" y="773299"/>
                                                        <a:pt x="1261097" y="776020"/>
                                                        <a:pt x="1260384" y="780684"/>
                                                      </a:cubicBezTo>
                                                      <a:cubicBezTo>
                                                        <a:pt x="1259737" y="784831"/>
                                                        <a:pt x="1254489" y="786126"/>
                                                        <a:pt x="1250343" y="786645"/>
                                                      </a:cubicBezTo>
                                                      <a:cubicBezTo>
                                                        <a:pt x="1233758" y="788912"/>
                                                        <a:pt x="1217756" y="795002"/>
                                                        <a:pt x="1203827" y="804331"/>
                                                      </a:cubicBezTo>
                                                      <a:cubicBezTo>
                                                        <a:pt x="1197802" y="808348"/>
                                                        <a:pt x="1191582" y="814179"/>
                                                        <a:pt x="1192100" y="821435"/>
                                                      </a:cubicBezTo>
                                                      <a:cubicBezTo>
                                                        <a:pt x="1187112" y="817871"/>
                                                        <a:pt x="1180050" y="820398"/>
                                                        <a:pt x="1175127" y="824156"/>
                                                      </a:cubicBezTo>
                                                      <a:cubicBezTo>
                                                        <a:pt x="1170268" y="827848"/>
                                                        <a:pt x="1165927" y="832837"/>
                                                        <a:pt x="1159967" y="834392"/>
                                                      </a:cubicBezTo>
                                                      <a:cubicBezTo>
                                                        <a:pt x="1155821" y="835493"/>
                                                        <a:pt x="1151415" y="834845"/>
                                                        <a:pt x="1147269" y="835687"/>
                                                      </a:cubicBezTo>
                                                      <a:cubicBezTo>
                                                        <a:pt x="1142280" y="836659"/>
                                                        <a:pt x="1137940" y="839769"/>
                                                        <a:pt x="1133211" y="841518"/>
                                                      </a:cubicBezTo>
                                                      <a:cubicBezTo>
                                                        <a:pt x="1120124" y="846377"/>
                                                        <a:pt x="1105612" y="841259"/>
                                                        <a:pt x="1091683" y="841842"/>
                                                      </a:cubicBezTo>
                                                      <a:cubicBezTo>
                                                        <a:pt x="1089027" y="841972"/>
                                                        <a:pt x="1086305" y="842296"/>
                                                        <a:pt x="1084038" y="843721"/>
                                                      </a:cubicBezTo>
                                                      <a:cubicBezTo>
                                                        <a:pt x="1077300" y="847997"/>
                                                        <a:pt x="1078596" y="858816"/>
                                                        <a:pt x="1073024" y="864452"/>
                                                      </a:cubicBezTo>
                                                      <a:cubicBezTo>
                                                        <a:pt x="1062205" y="857585"/>
                                                        <a:pt x="1046981" y="858751"/>
                                                        <a:pt x="1037392" y="867173"/>
                                                      </a:cubicBezTo>
                                                      <a:cubicBezTo>
                                                        <a:pt x="1036032" y="863999"/>
                                                        <a:pt x="1034736" y="860824"/>
                                                        <a:pt x="1033375" y="857650"/>
                                                      </a:cubicBezTo>
                                                      <a:cubicBezTo>
                                                        <a:pt x="1027286" y="856743"/>
                                                        <a:pt x="1021196" y="855836"/>
                                                        <a:pt x="1015171" y="854994"/>
                                                      </a:cubicBezTo>
                                                      <a:cubicBezTo>
                                                        <a:pt x="1013940" y="862379"/>
                                                        <a:pt x="1012774" y="869700"/>
                                                        <a:pt x="1011543" y="877086"/>
                                                      </a:cubicBezTo>
                                                      <a:cubicBezTo>
                                                        <a:pt x="1000659" y="883305"/>
                                                        <a:pt x="992949" y="890043"/>
                                                        <a:pt x="982065" y="896262"/>
                                                      </a:cubicBezTo>
                                                      <a:cubicBezTo>
                                                        <a:pt x="988803" y="903777"/>
                                                        <a:pt x="983815" y="915763"/>
                                                        <a:pt x="977530" y="923666"/>
                                                      </a:cubicBezTo>
                                                      <a:cubicBezTo>
                                                        <a:pt x="968655" y="934810"/>
                                                        <a:pt x="957576" y="944139"/>
                                                        <a:pt x="945073" y="950941"/>
                                                      </a:cubicBezTo>
                                                      <a:cubicBezTo>
                                                        <a:pt x="931597" y="958327"/>
                                                        <a:pt x="916697" y="962667"/>
                                                        <a:pt x="901925" y="967008"/>
                                                      </a:cubicBezTo>
                                                      <a:lnTo>
                                                        <a:pt x="878473" y="973875"/>
                                                      </a:lnTo>
                                                      <a:cubicBezTo>
                                                        <a:pt x="887802" y="963510"/>
                                                        <a:pt x="878473" y="943491"/>
                                                        <a:pt x="864479" y="944074"/>
                                                      </a:cubicBezTo>
                                                      <a:cubicBezTo>
                                                        <a:pt x="870310" y="953986"/>
                                                        <a:pt x="865321" y="967656"/>
                                                        <a:pt x="855733" y="974005"/>
                                                      </a:cubicBezTo>
                                                      <a:cubicBezTo>
                                                        <a:pt x="846145" y="980289"/>
                                                        <a:pt x="833576" y="980354"/>
                                                        <a:pt x="822563" y="976985"/>
                                                      </a:cubicBezTo>
                                                      <a:cubicBezTo>
                                                        <a:pt x="826774" y="986573"/>
                                                        <a:pt x="825089" y="998429"/>
                                                        <a:pt x="818417" y="1006527"/>
                                                      </a:cubicBezTo>
                                                      <a:cubicBezTo>
                                                        <a:pt x="815760" y="993311"/>
                                                        <a:pt x="798592" y="985407"/>
                                                        <a:pt x="786866" y="992015"/>
                                                      </a:cubicBezTo>
                                                      <a:cubicBezTo>
                                                        <a:pt x="786672" y="999271"/>
                                                        <a:pt x="794575" y="1003677"/>
                                                        <a:pt x="800924" y="1007175"/>
                                                      </a:cubicBezTo>
                                                      <a:cubicBezTo>
                                                        <a:pt x="807273" y="1010674"/>
                                                        <a:pt x="814011" y="1017994"/>
                                                        <a:pt x="810383" y="1024279"/>
                                                      </a:cubicBezTo>
                                                      <a:cubicBezTo>
                                                        <a:pt x="807014" y="1023307"/>
                                                        <a:pt x="803710" y="1022400"/>
                                                        <a:pt x="800341" y="1021428"/>
                                                      </a:cubicBezTo>
                                                      <a:cubicBezTo>
                                                        <a:pt x="804228" y="1026417"/>
                                                        <a:pt x="808051" y="1031405"/>
                                                        <a:pt x="811938" y="1036394"/>
                                                      </a:cubicBezTo>
                                                      <a:cubicBezTo>
                                                        <a:pt x="805006" y="1034320"/>
                                                        <a:pt x="796260" y="1035875"/>
                                                        <a:pt x="792826" y="1042224"/>
                                                      </a:cubicBezTo>
                                                      <a:cubicBezTo>
                                                        <a:pt x="789457" y="1048573"/>
                                                        <a:pt x="796454" y="1058291"/>
                                                        <a:pt x="802868" y="1055052"/>
                                                      </a:cubicBezTo>
                                                      <a:cubicBezTo>
                                                        <a:pt x="800277" y="1062438"/>
                                                        <a:pt x="793020" y="1068009"/>
                                                        <a:pt x="785181" y="1068398"/>
                                                      </a:cubicBezTo>
                                                      <a:cubicBezTo>
                                                        <a:pt x="792437" y="1071637"/>
                                                        <a:pt x="792891" y="1082586"/>
                                                        <a:pt x="788032" y="1088805"/>
                                                      </a:cubicBezTo>
                                                      <a:cubicBezTo>
                                                        <a:pt x="783173" y="1095025"/>
                                                        <a:pt x="775140" y="1097746"/>
                                                        <a:pt x="767560" y="1100078"/>
                                                      </a:cubicBezTo>
                                                      <a:cubicBezTo>
                                                        <a:pt x="761470" y="1101957"/>
                                                        <a:pt x="755380" y="1103900"/>
                                                        <a:pt x="749290" y="1105779"/>
                                                      </a:cubicBezTo>
                                                      <a:cubicBezTo>
                                                        <a:pt x="746699" y="1112322"/>
                                                        <a:pt x="749873" y="1119708"/>
                                                        <a:pt x="753696" y="1125668"/>
                                                      </a:cubicBezTo>
                                                      <a:cubicBezTo>
                                                        <a:pt x="757518" y="1131629"/>
                                                        <a:pt x="762183" y="1137524"/>
                                                        <a:pt x="762766" y="1144521"/>
                                                      </a:cubicBezTo>
                                                      <a:cubicBezTo>
                                                        <a:pt x="763349" y="1151583"/>
                                                        <a:pt x="757324" y="1159616"/>
                                                        <a:pt x="750521" y="1157802"/>
                                                      </a:cubicBezTo>
                                                      <a:cubicBezTo>
                                                        <a:pt x="752335" y="1168168"/>
                                                        <a:pt x="754149" y="1178922"/>
                                                        <a:pt x="751817" y="1189223"/>
                                                      </a:cubicBezTo>
                                                      <a:cubicBezTo>
                                                        <a:pt x="749484" y="1199524"/>
                                                        <a:pt x="741840" y="1209371"/>
                                                        <a:pt x="731409" y="1210926"/>
                                                      </a:cubicBezTo>
                                                      <a:cubicBezTo>
                                                        <a:pt x="729854" y="1214943"/>
                                                        <a:pt x="728364" y="1218960"/>
                                                        <a:pt x="726809" y="1222912"/>
                                                      </a:cubicBezTo>
                                                      <a:cubicBezTo>
                                                        <a:pt x="719877" y="1222070"/>
                                                        <a:pt x="713852" y="1216109"/>
                                                        <a:pt x="712881" y="1209177"/>
                                                      </a:cubicBezTo>
                                                      <a:cubicBezTo>
                                                        <a:pt x="703033" y="1210084"/>
                                                        <a:pt x="691372" y="1210343"/>
                                                        <a:pt x="685282" y="1202504"/>
                                                      </a:cubicBezTo>
                                                      <a:cubicBezTo>
                                                        <a:pt x="682885" y="1199395"/>
                                                        <a:pt x="681719" y="1195443"/>
                                                        <a:pt x="679062" y="1192462"/>
                                                      </a:cubicBezTo>
                                                      <a:cubicBezTo>
                                                        <a:pt x="671159" y="1183587"/>
                                                        <a:pt x="656452" y="1189223"/>
                                                        <a:pt x="644856" y="1186632"/>
                                                      </a:cubicBezTo>
                                                      <a:cubicBezTo>
                                                        <a:pt x="636433" y="1184753"/>
                                                        <a:pt x="629890" y="1178404"/>
                                                        <a:pt x="622634" y="1173675"/>
                                                      </a:cubicBezTo>
                                                      <a:cubicBezTo>
                                                        <a:pt x="615443" y="1168945"/>
                                                        <a:pt x="605660" y="1165706"/>
                                                        <a:pt x="598404" y="1170370"/>
                                                      </a:cubicBezTo>
                                                      <a:cubicBezTo>
                                                        <a:pt x="603393" y="1162272"/>
                                                        <a:pt x="599247" y="1151518"/>
                                                        <a:pt x="592962" y="1144391"/>
                                                      </a:cubicBezTo>
                                                      <a:cubicBezTo>
                                                        <a:pt x="586678" y="1137265"/>
                                                        <a:pt x="578386" y="1131888"/>
                                                        <a:pt x="573332" y="1123854"/>
                                                      </a:cubicBezTo>
                                                      <a:cubicBezTo>
                                                        <a:pt x="565558" y="1111610"/>
                                                        <a:pt x="566724" y="1095802"/>
                                                        <a:pt x="569575" y="1081549"/>
                                                      </a:cubicBezTo>
                                                      <a:cubicBezTo>
                                                        <a:pt x="563225" y="1080772"/>
                                                        <a:pt x="556553" y="1079930"/>
                                                        <a:pt x="551240" y="1076302"/>
                                                      </a:cubicBezTo>
                                                      <a:cubicBezTo>
                                                        <a:pt x="545928" y="1072674"/>
                                                        <a:pt x="542494" y="1065418"/>
                                                        <a:pt x="545345" y="1059652"/>
                                                      </a:cubicBezTo>
                                                      <a:cubicBezTo>
                                                        <a:pt x="539903" y="1061984"/>
                                                        <a:pt x="534137" y="1056866"/>
                                                        <a:pt x="531545" y="1051553"/>
                                                      </a:cubicBezTo>
                                                      <a:cubicBezTo>
                                                        <a:pt x="528954" y="1046241"/>
                                                        <a:pt x="527529" y="1039957"/>
                                                        <a:pt x="522864" y="1036394"/>
                                                      </a:cubicBezTo>
                                                      <a:cubicBezTo>
                                                        <a:pt x="519236" y="1033608"/>
                                                        <a:pt x="513729" y="1032636"/>
                                                        <a:pt x="512110" y="1028360"/>
                                                      </a:cubicBezTo>
                                                      <a:cubicBezTo>
                                                        <a:pt x="509777" y="1022400"/>
                                                        <a:pt x="517033" y="1017476"/>
                                                        <a:pt x="520273" y="1011969"/>
                                                      </a:cubicBezTo>
                                                      <a:cubicBezTo>
                                                        <a:pt x="525779" y="1002705"/>
                                                        <a:pt x="519301" y="990655"/>
                                                        <a:pt x="510879" y="983852"/>
                                                      </a:cubicBezTo>
                                                      <a:cubicBezTo>
                                                        <a:pt x="502457" y="977050"/>
                                                        <a:pt x="491961" y="972709"/>
                                                        <a:pt x="485353" y="964222"/>
                                                      </a:cubicBezTo>
                                                      <a:cubicBezTo>
                                                        <a:pt x="478745" y="955735"/>
                                                        <a:pt x="478939" y="940446"/>
                                                        <a:pt x="489111" y="936818"/>
                                                      </a:cubicBezTo>
                                                      <a:cubicBezTo>
                                                        <a:pt x="494229" y="935004"/>
                                                        <a:pt x="500772" y="936559"/>
                                                        <a:pt x="504659" y="932672"/>
                                                      </a:cubicBezTo>
                                                      <a:cubicBezTo>
                                                        <a:pt x="511332" y="925934"/>
                                                        <a:pt x="500707" y="915763"/>
                                                        <a:pt x="491572" y="913301"/>
                                                      </a:cubicBezTo>
                                                      <a:cubicBezTo>
                                                        <a:pt x="482438" y="910774"/>
                                                        <a:pt x="470193" y="904943"/>
                                                        <a:pt x="473238" y="895938"/>
                                                      </a:cubicBezTo>
                                                      <a:cubicBezTo>
                                                        <a:pt x="474469" y="892245"/>
                                                        <a:pt x="478097" y="889978"/>
                                                        <a:pt x="480818" y="887127"/>
                                                      </a:cubicBezTo>
                                                      <a:cubicBezTo>
                                                        <a:pt x="488074" y="879547"/>
                                                        <a:pt x="488722" y="867886"/>
                                                        <a:pt x="493775" y="858686"/>
                                                      </a:cubicBezTo>
                                                      <a:cubicBezTo>
                                                        <a:pt x="501355" y="844887"/>
                                                        <a:pt x="519884" y="838279"/>
                                                        <a:pt x="534461" y="844239"/>
                                                      </a:cubicBezTo>
                                                      <a:cubicBezTo>
                                                        <a:pt x="538283" y="845859"/>
                                                        <a:pt x="542041" y="847543"/>
                                                        <a:pt x="545863" y="849163"/>
                                                      </a:cubicBezTo>
                                                      <a:cubicBezTo>
                                                        <a:pt x="550139" y="833290"/>
                                                        <a:pt x="554350" y="817353"/>
                                                        <a:pt x="558626" y="801481"/>
                                                      </a:cubicBezTo>
                                                      <a:cubicBezTo>
                                                        <a:pt x="557654" y="782563"/>
                                                        <a:pt x="537506" y="771031"/>
                                                        <a:pt x="519366" y="765525"/>
                                                      </a:cubicBezTo>
                                                      <a:cubicBezTo>
                                                        <a:pt x="501226" y="760018"/>
                                                        <a:pt x="480494" y="755677"/>
                                                        <a:pt x="470128" y="739805"/>
                                                      </a:cubicBezTo>
                                                      <a:cubicBezTo>
                                                        <a:pt x="497339" y="738185"/>
                                                        <a:pt x="524937" y="744793"/>
                                                        <a:pt x="548454" y="758592"/>
                                                      </a:cubicBezTo>
                                                      <a:cubicBezTo>
                                                        <a:pt x="555840" y="751660"/>
                                                        <a:pt x="545604" y="740388"/>
                                                        <a:pt x="536599" y="735723"/>
                                                      </a:cubicBezTo>
                                                      <a:lnTo>
                                                        <a:pt x="497403" y="715445"/>
                                                      </a:lnTo>
                                                      <a:cubicBezTo>
                                                        <a:pt x="495978" y="704950"/>
                                                        <a:pt x="494553" y="694455"/>
                                                        <a:pt x="493127" y="683959"/>
                                                      </a:cubicBezTo>
                                                      <a:cubicBezTo>
                                                        <a:pt x="482243" y="679878"/>
                                                        <a:pt x="469092" y="682728"/>
                                                        <a:pt x="460929" y="691021"/>
                                                      </a:cubicBezTo>
                                                      <a:cubicBezTo>
                                                        <a:pt x="456912" y="695102"/>
                                                        <a:pt x="452442" y="700933"/>
                                                        <a:pt x="446870" y="699378"/>
                                                      </a:cubicBezTo>
                                                      <a:cubicBezTo>
                                                        <a:pt x="443307" y="698342"/>
                                                        <a:pt x="441364" y="694649"/>
                                                        <a:pt x="440068" y="691151"/>
                                                      </a:cubicBezTo>
                                                      <a:cubicBezTo>
                                                        <a:pt x="436569" y="681886"/>
                                                        <a:pt x="434755" y="671974"/>
                                                        <a:pt x="434691" y="662062"/>
                                                      </a:cubicBezTo>
                                                      <a:cubicBezTo>
                                                        <a:pt x="434691" y="659276"/>
                                                        <a:pt x="434820" y="656296"/>
                                                        <a:pt x="436440" y="653964"/>
                                                      </a:cubicBezTo>
                                                      <a:cubicBezTo>
                                                        <a:pt x="441428" y="646643"/>
                                                        <a:pt x="457754" y="648327"/>
                                                        <a:pt x="456459" y="639581"/>
                                                      </a:cubicBezTo>
                                                      <a:cubicBezTo>
                                                        <a:pt x="455293" y="631872"/>
                                                        <a:pt x="440457" y="633621"/>
                                                        <a:pt x="438967" y="625911"/>
                                                      </a:cubicBezTo>
                                                      <a:cubicBezTo>
                                                        <a:pt x="438578" y="623773"/>
                                                        <a:pt x="439420" y="621700"/>
                                                        <a:pt x="440003" y="619627"/>
                                                      </a:cubicBezTo>
                                                      <a:cubicBezTo>
                                                        <a:pt x="443955" y="606022"/>
                                                        <a:pt x="434950" y="590020"/>
                                                        <a:pt x="421215" y="586392"/>
                                                      </a:cubicBezTo>
                                                      <a:cubicBezTo>
                                                        <a:pt x="422641" y="575508"/>
                                                        <a:pt x="420956" y="561968"/>
                                                        <a:pt x="414218" y="553287"/>
                                                      </a:cubicBezTo>
                                                      <a:cubicBezTo>
                                                        <a:pt x="410072" y="547974"/>
                                                        <a:pt x="404695" y="543763"/>
                                                        <a:pt x="399383" y="539617"/>
                                                      </a:cubicBezTo>
                                                      <a:cubicBezTo>
                                                        <a:pt x="391738" y="533592"/>
                                                        <a:pt x="384093" y="527631"/>
                                                        <a:pt x="376383" y="521606"/>
                                                      </a:cubicBezTo>
                                                      <a:cubicBezTo>
                                                        <a:pt x="371719" y="517978"/>
                                                        <a:pt x="366795" y="513962"/>
                                                        <a:pt x="365240" y="508260"/>
                                                      </a:cubicBezTo>
                                                      <a:cubicBezTo>
                                                        <a:pt x="364463" y="505410"/>
                                                        <a:pt x="364593" y="502300"/>
                                                        <a:pt x="363815" y="499450"/>
                                                      </a:cubicBezTo>
                                                      <a:cubicBezTo>
                                                        <a:pt x="359150" y="482800"/>
                                                        <a:pt x="330256" y="486816"/>
                                                        <a:pt x="322611" y="471333"/>
                                                      </a:cubicBezTo>
                                                      <a:cubicBezTo>
                                                        <a:pt x="321251" y="468547"/>
                                                        <a:pt x="320538" y="465113"/>
                                                        <a:pt x="317882" y="463429"/>
                                                      </a:cubicBezTo>
                                                      <a:cubicBezTo>
                                                        <a:pt x="316133" y="462327"/>
                                                        <a:pt x="313865" y="462327"/>
                                                        <a:pt x="311792" y="462263"/>
                                                      </a:cubicBezTo>
                                                      <a:cubicBezTo>
                                                        <a:pt x="282639" y="461356"/>
                                                        <a:pt x="256271" y="441726"/>
                                                        <a:pt x="227052" y="441920"/>
                                                      </a:cubicBezTo>
                                                      <a:cubicBezTo>
                                                        <a:pt x="229320" y="446779"/>
                                                        <a:pt x="226145" y="453387"/>
                                                        <a:pt x="220898" y="454618"/>
                                                      </a:cubicBezTo>
                                                      <a:cubicBezTo>
                                                        <a:pt x="215909" y="455784"/>
                                                        <a:pt x="211115" y="452739"/>
                                                        <a:pt x="206451" y="450666"/>
                                                      </a:cubicBezTo>
                                                      <a:cubicBezTo>
                                                        <a:pt x="201786" y="448528"/>
                                                        <a:pt x="195372" y="447751"/>
                                                        <a:pt x="192457" y="451897"/>
                                                      </a:cubicBezTo>
                                                      <a:cubicBezTo>
                                                        <a:pt x="190513" y="454618"/>
                                                        <a:pt x="190967" y="458375"/>
                                                        <a:pt x="189412" y="461291"/>
                                                      </a:cubicBezTo>
                                                      <a:cubicBezTo>
                                                        <a:pt x="186691" y="466603"/>
                                                        <a:pt x="178528" y="466927"/>
                                                        <a:pt x="173669" y="463364"/>
                                                      </a:cubicBezTo>
                                                      <a:cubicBezTo>
                                                        <a:pt x="168810" y="459801"/>
                                                        <a:pt x="166478" y="453905"/>
                                                        <a:pt x="164340" y="448269"/>
                                                      </a:cubicBezTo>
                                                      <a:cubicBezTo>
                                                        <a:pt x="159934" y="448269"/>
                                                        <a:pt x="155529" y="448269"/>
                                                        <a:pt x="151059" y="448269"/>
                                                      </a:cubicBezTo>
                                                      <a:cubicBezTo>
                                                        <a:pt x="149893" y="456497"/>
                                                        <a:pt x="149569" y="464789"/>
                                                        <a:pt x="150087" y="473082"/>
                                                      </a:cubicBezTo>
                                                      <a:cubicBezTo>
                                                        <a:pt x="139592" y="472499"/>
                                                        <a:pt x="129680" y="468547"/>
                                                        <a:pt x="119962" y="464595"/>
                                                      </a:cubicBezTo>
                                                      <a:cubicBezTo>
                                                        <a:pt x="109013" y="460189"/>
                                                        <a:pt x="98064" y="455719"/>
                                                        <a:pt x="87115" y="451314"/>
                                                      </a:cubicBezTo>
                                                      <a:cubicBezTo>
                                                        <a:pt x="80248" y="448528"/>
                                                        <a:pt x="72020" y="443086"/>
                                                        <a:pt x="74093" y="436024"/>
                                                      </a:cubicBezTo>
                                                      <a:cubicBezTo>
                                                        <a:pt x="79665" y="436867"/>
                                                        <a:pt x="85366" y="436737"/>
                                                        <a:pt x="90873" y="435571"/>
                                                      </a:cubicBezTo>
                                                      <a:cubicBezTo>
                                                        <a:pt x="91909" y="430906"/>
                                                        <a:pt x="92169" y="426047"/>
                                                        <a:pt x="91715" y="421253"/>
                                                      </a:cubicBezTo>
                                                      <a:cubicBezTo>
                                                        <a:pt x="74417" y="420346"/>
                                                        <a:pt x="58221" y="412118"/>
                                                        <a:pt x="40923" y="41114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0" name="Freeform: Shape 78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7D84E26-D3CE-48E2-A599-303FBDE060D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660435" y="2081179"/>
                                                  <a:ext cx="65592" cy="5772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399 w 65592"/>
                                                    <a:gd name="connsiteY0" fmla="*/ 13486 h 57724"/>
                                                    <a:gd name="connsiteX1" fmla="*/ 2 w 65592"/>
                                                    <a:gd name="connsiteY1" fmla="*/ 21455 h 57724"/>
                                                    <a:gd name="connsiteX2" fmla="*/ 15357 w 65592"/>
                                                    <a:gd name="connsiteY2" fmla="*/ 38299 h 57724"/>
                                                    <a:gd name="connsiteX3" fmla="*/ 37578 w 65592"/>
                                                    <a:gd name="connsiteY3" fmla="*/ 57346 h 57724"/>
                                                    <a:gd name="connsiteX4" fmla="*/ 55265 w 65592"/>
                                                    <a:gd name="connsiteY4" fmla="*/ 53265 h 57724"/>
                                                    <a:gd name="connsiteX5" fmla="*/ 63298 w 65592"/>
                                                    <a:gd name="connsiteY5" fmla="*/ 47240 h 57724"/>
                                                    <a:gd name="connsiteX6" fmla="*/ 64918 w 65592"/>
                                                    <a:gd name="connsiteY6" fmla="*/ 37781 h 57724"/>
                                                    <a:gd name="connsiteX7" fmla="*/ 57662 w 65592"/>
                                                    <a:gd name="connsiteY7" fmla="*/ 25990 h 57724"/>
                                                    <a:gd name="connsiteX8" fmla="*/ 50341 w 65592"/>
                                                    <a:gd name="connsiteY8" fmla="*/ 16790 h 57724"/>
                                                    <a:gd name="connsiteX9" fmla="*/ 30063 w 65592"/>
                                                    <a:gd name="connsiteY9" fmla="*/ 3445 h 57724"/>
                                                    <a:gd name="connsiteX10" fmla="*/ 15616 w 65592"/>
                                                    <a:gd name="connsiteY10" fmla="*/ 270 h 57724"/>
                                                    <a:gd name="connsiteX11" fmla="*/ 2399 w 65592"/>
                                                    <a:gd name="connsiteY11" fmla="*/ 13486 h 5772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5592" h="57724">
                                                      <a:moveTo>
                                                        <a:pt x="2399" y="13486"/>
                                                      </a:moveTo>
                                                      <a:cubicBezTo>
                                                        <a:pt x="1169" y="16013"/>
                                                        <a:pt x="-62" y="18669"/>
                                                        <a:pt x="2" y="21455"/>
                                                      </a:cubicBezTo>
                                                      <a:cubicBezTo>
                                                        <a:pt x="197" y="29359"/>
                                                        <a:pt x="9267" y="33311"/>
                                                        <a:pt x="15357" y="38299"/>
                                                      </a:cubicBezTo>
                                                      <a:cubicBezTo>
                                                        <a:pt x="23001" y="44584"/>
                                                        <a:pt x="27925" y="55208"/>
                                                        <a:pt x="37578" y="57346"/>
                                                      </a:cubicBezTo>
                                                      <a:cubicBezTo>
                                                        <a:pt x="43603" y="58707"/>
                                                        <a:pt x="49823" y="56180"/>
                                                        <a:pt x="55265" y="53265"/>
                                                      </a:cubicBezTo>
                                                      <a:cubicBezTo>
                                                        <a:pt x="58245" y="51710"/>
                                                        <a:pt x="61225" y="49896"/>
                                                        <a:pt x="63298" y="47240"/>
                                                      </a:cubicBezTo>
                                                      <a:cubicBezTo>
                                                        <a:pt x="65371" y="44584"/>
                                                        <a:pt x="66343" y="40826"/>
                                                        <a:pt x="64918" y="37781"/>
                                                      </a:cubicBezTo>
                                                      <a:cubicBezTo>
                                                        <a:pt x="62909" y="33440"/>
                                                        <a:pt x="56496" y="30655"/>
                                                        <a:pt x="57662" y="25990"/>
                                                      </a:cubicBezTo>
                                                      <a:cubicBezTo>
                                                        <a:pt x="54617" y="23463"/>
                                                        <a:pt x="52803" y="19835"/>
                                                        <a:pt x="50341" y="16790"/>
                                                      </a:cubicBezTo>
                                                      <a:cubicBezTo>
                                                        <a:pt x="45158" y="10441"/>
                                                        <a:pt x="37513" y="6813"/>
                                                        <a:pt x="30063" y="3445"/>
                                                      </a:cubicBezTo>
                                                      <a:cubicBezTo>
                                                        <a:pt x="25528" y="1371"/>
                                                        <a:pt x="20539" y="-766"/>
                                                        <a:pt x="15616" y="270"/>
                                                      </a:cubicBezTo>
                                                      <a:cubicBezTo>
                                                        <a:pt x="9332" y="1631"/>
                                                        <a:pt x="5250" y="7720"/>
                                                        <a:pt x="2399" y="1348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666666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1" name="Freeform: Shape 79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7F63AB8-BE88-47A3-89DE-63182862C1F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427129" y="2260277"/>
                                                  <a:ext cx="269640" cy="11888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57052 w 269640"/>
                                                    <a:gd name="connsiteY0" fmla="*/ 60944 h 118884"/>
                                                    <a:gd name="connsiteX1" fmla="*/ 254072 w 269640"/>
                                                    <a:gd name="connsiteY1" fmla="*/ 66645 h 118884"/>
                                                    <a:gd name="connsiteX2" fmla="*/ 242022 w 269640"/>
                                                    <a:gd name="connsiteY2" fmla="*/ 72411 h 118884"/>
                                                    <a:gd name="connsiteX3" fmla="*/ 192591 w 269640"/>
                                                    <a:gd name="connsiteY3" fmla="*/ 79213 h 118884"/>
                                                    <a:gd name="connsiteX4" fmla="*/ 175098 w 269640"/>
                                                    <a:gd name="connsiteY4" fmla="*/ 84785 h 118884"/>
                                                    <a:gd name="connsiteX5" fmla="*/ 154626 w 269640"/>
                                                    <a:gd name="connsiteY5" fmla="*/ 112902 h 118884"/>
                                                    <a:gd name="connsiteX6" fmla="*/ 139531 w 269640"/>
                                                    <a:gd name="connsiteY6" fmla="*/ 116336 h 118884"/>
                                                    <a:gd name="connsiteX7" fmla="*/ 103510 w 269640"/>
                                                    <a:gd name="connsiteY7" fmla="*/ 118668 h 118884"/>
                                                    <a:gd name="connsiteX8" fmla="*/ 91007 w 269640"/>
                                                    <a:gd name="connsiteY8" fmla="*/ 117955 h 118884"/>
                                                    <a:gd name="connsiteX9" fmla="*/ 72608 w 269640"/>
                                                    <a:gd name="connsiteY9" fmla="*/ 109663 h 118884"/>
                                                    <a:gd name="connsiteX10" fmla="*/ 59132 w 269640"/>
                                                    <a:gd name="connsiteY10" fmla="*/ 112902 h 118884"/>
                                                    <a:gd name="connsiteX11" fmla="*/ 45592 w 269640"/>
                                                    <a:gd name="connsiteY11" fmla="*/ 115558 h 118884"/>
                                                    <a:gd name="connsiteX12" fmla="*/ 38271 w 269640"/>
                                                    <a:gd name="connsiteY12" fmla="*/ 105516 h 118884"/>
                                                    <a:gd name="connsiteX13" fmla="*/ 49090 w 269640"/>
                                                    <a:gd name="connsiteY13" fmla="*/ 99815 h 118884"/>
                                                    <a:gd name="connsiteX14" fmla="*/ 62177 w 269640"/>
                                                    <a:gd name="connsiteY14" fmla="*/ 100139 h 118884"/>
                                                    <a:gd name="connsiteX15" fmla="*/ 67878 w 269640"/>
                                                    <a:gd name="connsiteY15" fmla="*/ 90357 h 118884"/>
                                                    <a:gd name="connsiteX16" fmla="*/ 50839 w 269640"/>
                                                    <a:gd name="connsiteY16" fmla="*/ 81092 h 118884"/>
                                                    <a:gd name="connsiteX17" fmla="*/ 45721 w 269640"/>
                                                    <a:gd name="connsiteY17" fmla="*/ 78889 h 118884"/>
                                                    <a:gd name="connsiteX18" fmla="*/ 38206 w 269640"/>
                                                    <a:gd name="connsiteY18" fmla="*/ 78889 h 118884"/>
                                                    <a:gd name="connsiteX19" fmla="*/ 6655 w 269640"/>
                                                    <a:gd name="connsiteY19" fmla="*/ 64637 h 118884"/>
                                                    <a:gd name="connsiteX20" fmla="*/ 43454 w 269640"/>
                                                    <a:gd name="connsiteY20" fmla="*/ 64961 h 118884"/>
                                                    <a:gd name="connsiteX21" fmla="*/ 48572 w 269640"/>
                                                    <a:gd name="connsiteY21" fmla="*/ 64248 h 118884"/>
                                                    <a:gd name="connsiteX22" fmla="*/ 52265 w 269640"/>
                                                    <a:gd name="connsiteY22" fmla="*/ 61073 h 118884"/>
                                                    <a:gd name="connsiteX23" fmla="*/ 57707 w 269640"/>
                                                    <a:gd name="connsiteY23" fmla="*/ 41314 h 118884"/>
                                                    <a:gd name="connsiteX24" fmla="*/ 38660 w 269640"/>
                                                    <a:gd name="connsiteY24" fmla="*/ 39694 h 118884"/>
                                                    <a:gd name="connsiteX25" fmla="*/ 13329 w 269640"/>
                                                    <a:gd name="connsiteY25" fmla="*/ 42674 h 118884"/>
                                                    <a:gd name="connsiteX26" fmla="*/ 2509 w 269640"/>
                                                    <a:gd name="connsiteY26" fmla="*/ 39629 h 118884"/>
                                                    <a:gd name="connsiteX27" fmla="*/ 2056 w 269640"/>
                                                    <a:gd name="connsiteY27" fmla="*/ 29652 h 118884"/>
                                                    <a:gd name="connsiteX28" fmla="*/ 7886 w 269640"/>
                                                    <a:gd name="connsiteY28" fmla="*/ 27903 h 118884"/>
                                                    <a:gd name="connsiteX29" fmla="*/ 13782 w 269640"/>
                                                    <a:gd name="connsiteY29" fmla="*/ 15399 h 118884"/>
                                                    <a:gd name="connsiteX30" fmla="*/ 21232 w 269640"/>
                                                    <a:gd name="connsiteY30" fmla="*/ 9698 h 118884"/>
                                                    <a:gd name="connsiteX31" fmla="*/ 30691 w 269640"/>
                                                    <a:gd name="connsiteY31" fmla="*/ 15205 h 118884"/>
                                                    <a:gd name="connsiteX32" fmla="*/ 40409 w 269640"/>
                                                    <a:gd name="connsiteY32" fmla="*/ 19546 h 118884"/>
                                                    <a:gd name="connsiteX33" fmla="*/ 39113 w 269640"/>
                                                    <a:gd name="connsiteY33" fmla="*/ 3025 h 118884"/>
                                                    <a:gd name="connsiteX34" fmla="*/ 41834 w 269640"/>
                                                    <a:gd name="connsiteY34" fmla="*/ 1989 h 118884"/>
                                                    <a:gd name="connsiteX35" fmla="*/ 54532 w 269640"/>
                                                    <a:gd name="connsiteY35" fmla="*/ 5941 h 118884"/>
                                                    <a:gd name="connsiteX36" fmla="*/ 61853 w 269640"/>
                                                    <a:gd name="connsiteY36" fmla="*/ 15594 h 118884"/>
                                                    <a:gd name="connsiteX37" fmla="*/ 72219 w 269640"/>
                                                    <a:gd name="connsiteY37" fmla="*/ 20582 h 118884"/>
                                                    <a:gd name="connsiteX38" fmla="*/ 72024 w 269640"/>
                                                    <a:gd name="connsiteY38" fmla="*/ 27774 h 118884"/>
                                                    <a:gd name="connsiteX39" fmla="*/ 67036 w 269640"/>
                                                    <a:gd name="connsiteY39" fmla="*/ 34706 h 118884"/>
                                                    <a:gd name="connsiteX40" fmla="*/ 70923 w 269640"/>
                                                    <a:gd name="connsiteY40" fmla="*/ 45330 h 118884"/>
                                                    <a:gd name="connsiteX41" fmla="*/ 81548 w 269640"/>
                                                    <a:gd name="connsiteY41" fmla="*/ 45525 h 118884"/>
                                                    <a:gd name="connsiteX42" fmla="*/ 90812 w 269640"/>
                                                    <a:gd name="connsiteY42" fmla="*/ 41832 h 118884"/>
                                                    <a:gd name="connsiteX43" fmla="*/ 92367 w 269640"/>
                                                    <a:gd name="connsiteY43" fmla="*/ 37815 h 118884"/>
                                                    <a:gd name="connsiteX44" fmla="*/ 101696 w 269640"/>
                                                    <a:gd name="connsiteY44" fmla="*/ 34706 h 118884"/>
                                                    <a:gd name="connsiteX45" fmla="*/ 98133 w 269640"/>
                                                    <a:gd name="connsiteY45" fmla="*/ 19870 h 118884"/>
                                                    <a:gd name="connsiteX46" fmla="*/ 114200 w 269640"/>
                                                    <a:gd name="connsiteY46" fmla="*/ 19870 h 118884"/>
                                                    <a:gd name="connsiteX47" fmla="*/ 117115 w 269640"/>
                                                    <a:gd name="connsiteY47" fmla="*/ 23109 h 118884"/>
                                                    <a:gd name="connsiteX48" fmla="*/ 122946 w 269640"/>
                                                    <a:gd name="connsiteY48" fmla="*/ 18380 h 118884"/>
                                                    <a:gd name="connsiteX49" fmla="*/ 126639 w 269640"/>
                                                    <a:gd name="connsiteY49" fmla="*/ 10994 h 118884"/>
                                                    <a:gd name="connsiteX50" fmla="*/ 137199 w 269640"/>
                                                    <a:gd name="connsiteY50" fmla="*/ 15335 h 118884"/>
                                                    <a:gd name="connsiteX51" fmla="*/ 147176 w 269640"/>
                                                    <a:gd name="connsiteY51" fmla="*/ 22526 h 118884"/>
                                                    <a:gd name="connsiteX52" fmla="*/ 157412 w 269640"/>
                                                    <a:gd name="connsiteY52" fmla="*/ 11188 h 118884"/>
                                                    <a:gd name="connsiteX53" fmla="*/ 170110 w 269640"/>
                                                    <a:gd name="connsiteY53" fmla="*/ 20064 h 118884"/>
                                                    <a:gd name="connsiteX54" fmla="*/ 183261 w 269640"/>
                                                    <a:gd name="connsiteY54" fmla="*/ 9504 h 118884"/>
                                                    <a:gd name="connsiteX55" fmla="*/ 197126 w 269640"/>
                                                    <a:gd name="connsiteY55" fmla="*/ 693 h 118884"/>
                                                    <a:gd name="connsiteX56" fmla="*/ 204576 w 269640"/>
                                                    <a:gd name="connsiteY56" fmla="*/ 13132 h 118884"/>
                                                    <a:gd name="connsiteX57" fmla="*/ 210407 w 269640"/>
                                                    <a:gd name="connsiteY57" fmla="*/ 17667 h 118884"/>
                                                    <a:gd name="connsiteX58" fmla="*/ 226992 w 269640"/>
                                                    <a:gd name="connsiteY58" fmla="*/ 34252 h 118884"/>
                                                    <a:gd name="connsiteX59" fmla="*/ 251805 w 269640"/>
                                                    <a:gd name="connsiteY59" fmla="*/ 38463 h 118884"/>
                                                    <a:gd name="connsiteX60" fmla="*/ 267159 w 269640"/>
                                                    <a:gd name="connsiteY60" fmla="*/ 44812 h 118884"/>
                                                    <a:gd name="connsiteX61" fmla="*/ 265086 w 269640"/>
                                                    <a:gd name="connsiteY61" fmla="*/ 58935 h 118884"/>
                                                    <a:gd name="connsiteX62" fmla="*/ 256858 w 269640"/>
                                                    <a:gd name="connsiteY62" fmla="*/ 60685 h 11888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69640" h="118884">
                                                      <a:moveTo>
                                                        <a:pt x="257052" y="60944"/>
                                                      </a:moveTo>
                                                      <a:cubicBezTo>
                                                        <a:pt x="255368" y="62369"/>
                                                        <a:pt x="255109" y="64766"/>
                                                        <a:pt x="254072" y="66645"/>
                                                      </a:cubicBezTo>
                                                      <a:cubicBezTo>
                                                        <a:pt x="251870" y="70726"/>
                                                        <a:pt x="246622" y="71763"/>
                                                        <a:pt x="242022" y="72411"/>
                                                      </a:cubicBezTo>
                                                      <a:lnTo>
                                                        <a:pt x="192591" y="79213"/>
                                                      </a:lnTo>
                                                      <a:cubicBezTo>
                                                        <a:pt x="186436" y="80056"/>
                                                        <a:pt x="180022" y="81027"/>
                                                        <a:pt x="175098" y="84785"/>
                                                      </a:cubicBezTo>
                                                      <a:cubicBezTo>
                                                        <a:pt x="165769" y="91911"/>
                                                        <a:pt x="164668" y="106812"/>
                                                        <a:pt x="154626" y="112902"/>
                                                      </a:cubicBezTo>
                                                      <a:cubicBezTo>
                                                        <a:pt x="150156" y="115623"/>
                                                        <a:pt x="144779" y="116012"/>
                                                        <a:pt x="139531" y="116336"/>
                                                      </a:cubicBezTo>
                                                      <a:cubicBezTo>
                                                        <a:pt x="127546" y="117113"/>
                                                        <a:pt x="115496" y="117890"/>
                                                        <a:pt x="103510" y="118668"/>
                                                      </a:cubicBezTo>
                                                      <a:cubicBezTo>
                                                        <a:pt x="99299" y="118927"/>
                                                        <a:pt x="95023" y="119186"/>
                                                        <a:pt x="91007" y="117955"/>
                                                      </a:cubicBezTo>
                                                      <a:cubicBezTo>
                                                        <a:pt x="84528" y="116012"/>
                                                        <a:pt x="79345" y="110375"/>
                                                        <a:pt x="72608" y="109663"/>
                                                      </a:cubicBezTo>
                                                      <a:cubicBezTo>
                                                        <a:pt x="67943" y="109144"/>
                                                        <a:pt x="63473" y="111088"/>
                                                        <a:pt x="59132" y="112902"/>
                                                      </a:cubicBezTo>
                                                      <a:cubicBezTo>
                                                        <a:pt x="54792" y="114716"/>
                                                        <a:pt x="50192" y="116465"/>
                                                        <a:pt x="45592" y="115558"/>
                                                      </a:cubicBezTo>
                                                      <a:cubicBezTo>
                                                        <a:pt x="40992" y="114651"/>
                                                        <a:pt x="36846" y="109987"/>
                                                        <a:pt x="38271" y="105516"/>
                                                      </a:cubicBezTo>
                                                      <a:cubicBezTo>
                                                        <a:pt x="39567" y="101305"/>
                                                        <a:pt x="44750" y="99686"/>
                                                        <a:pt x="49090" y="99815"/>
                                                      </a:cubicBezTo>
                                                      <a:cubicBezTo>
                                                        <a:pt x="53496" y="99945"/>
                                                        <a:pt x="57901" y="101176"/>
                                                        <a:pt x="62177" y="100139"/>
                                                      </a:cubicBezTo>
                                                      <a:cubicBezTo>
                                                        <a:pt x="66453" y="99038"/>
                                                        <a:pt x="70146" y="94114"/>
                                                        <a:pt x="67878" y="90357"/>
                                                      </a:cubicBezTo>
                                                      <a:cubicBezTo>
                                                        <a:pt x="62177" y="87247"/>
                                                        <a:pt x="56476" y="84202"/>
                                                        <a:pt x="50839" y="81092"/>
                                                      </a:cubicBezTo>
                                                      <a:cubicBezTo>
                                                        <a:pt x="49220" y="80185"/>
                                                        <a:pt x="47535" y="79278"/>
                                                        <a:pt x="45721" y="78889"/>
                                                      </a:cubicBezTo>
                                                      <a:cubicBezTo>
                                                        <a:pt x="43260" y="78371"/>
                                                        <a:pt x="40733" y="78695"/>
                                                        <a:pt x="38206" y="78889"/>
                                                      </a:cubicBezTo>
                                                      <a:cubicBezTo>
                                                        <a:pt x="26221" y="79537"/>
                                                        <a:pt x="14106" y="74031"/>
                                                        <a:pt x="6655" y="64637"/>
                                                      </a:cubicBezTo>
                                                      <a:lnTo>
                                                        <a:pt x="43454" y="64961"/>
                                                      </a:lnTo>
                                                      <a:cubicBezTo>
                                                        <a:pt x="45203" y="64961"/>
                                                        <a:pt x="47017" y="64961"/>
                                                        <a:pt x="48572" y="64248"/>
                                                      </a:cubicBezTo>
                                                      <a:cubicBezTo>
                                                        <a:pt x="50062" y="63535"/>
                                                        <a:pt x="51164" y="62304"/>
                                                        <a:pt x="52265" y="61073"/>
                                                      </a:cubicBezTo>
                                                      <a:cubicBezTo>
                                                        <a:pt x="57253" y="55502"/>
                                                        <a:pt x="62371" y="47144"/>
                                                        <a:pt x="57707" y="41314"/>
                                                      </a:cubicBezTo>
                                                      <a:cubicBezTo>
                                                        <a:pt x="53496" y="36001"/>
                                                        <a:pt x="45203" y="37945"/>
                                                        <a:pt x="38660" y="39694"/>
                                                      </a:cubicBezTo>
                                                      <a:cubicBezTo>
                                                        <a:pt x="30432" y="41897"/>
                                                        <a:pt x="21880" y="42869"/>
                                                        <a:pt x="13329" y="42674"/>
                                                      </a:cubicBezTo>
                                                      <a:cubicBezTo>
                                                        <a:pt x="9506" y="42609"/>
                                                        <a:pt x="5360" y="42156"/>
                                                        <a:pt x="2509" y="39629"/>
                                                      </a:cubicBezTo>
                                                      <a:cubicBezTo>
                                                        <a:pt x="-341" y="37103"/>
                                                        <a:pt x="-1118" y="31855"/>
                                                        <a:pt x="2056" y="29652"/>
                                                      </a:cubicBezTo>
                                                      <a:cubicBezTo>
                                                        <a:pt x="3740" y="28486"/>
                                                        <a:pt x="5943" y="28486"/>
                                                        <a:pt x="7886" y="27903"/>
                                                      </a:cubicBezTo>
                                                      <a:cubicBezTo>
                                                        <a:pt x="12875" y="26413"/>
                                                        <a:pt x="15790" y="20194"/>
                                                        <a:pt x="13782" y="15399"/>
                                                      </a:cubicBezTo>
                                                      <a:cubicBezTo>
                                                        <a:pt x="17151" y="15529"/>
                                                        <a:pt x="20455" y="13002"/>
                                                        <a:pt x="21232" y="9698"/>
                                                      </a:cubicBezTo>
                                                      <a:cubicBezTo>
                                                        <a:pt x="24796" y="7884"/>
                                                        <a:pt x="28489" y="11836"/>
                                                        <a:pt x="30691" y="15205"/>
                                                      </a:cubicBezTo>
                                                      <a:cubicBezTo>
                                                        <a:pt x="32894" y="18574"/>
                                                        <a:pt x="37299" y="22072"/>
                                                        <a:pt x="40409" y="19546"/>
                                                      </a:cubicBezTo>
                                                      <a:cubicBezTo>
                                                        <a:pt x="45592" y="16242"/>
                                                        <a:pt x="34449" y="6977"/>
                                                        <a:pt x="39113" y="3025"/>
                                                      </a:cubicBezTo>
                                                      <a:cubicBezTo>
                                                        <a:pt x="39891" y="2378"/>
                                                        <a:pt x="40863" y="2118"/>
                                                        <a:pt x="41834" y="1989"/>
                                                      </a:cubicBezTo>
                                                      <a:cubicBezTo>
                                                        <a:pt x="46369" y="1341"/>
                                                        <a:pt x="51164" y="2831"/>
                                                        <a:pt x="54532" y="5941"/>
                                                      </a:cubicBezTo>
                                                      <a:cubicBezTo>
                                                        <a:pt x="57513" y="8662"/>
                                                        <a:pt x="59326" y="12419"/>
                                                        <a:pt x="61853" y="15594"/>
                                                      </a:cubicBezTo>
                                                      <a:cubicBezTo>
                                                        <a:pt x="64380" y="18768"/>
                                                        <a:pt x="68267" y="21425"/>
                                                        <a:pt x="72219" y="20582"/>
                                                      </a:cubicBezTo>
                                                      <a:cubicBezTo>
                                                        <a:pt x="72154" y="22979"/>
                                                        <a:pt x="72089" y="25376"/>
                                                        <a:pt x="72024" y="27774"/>
                                                      </a:cubicBezTo>
                                                      <a:cubicBezTo>
                                                        <a:pt x="68980" y="25441"/>
                                                        <a:pt x="65611" y="31078"/>
                                                        <a:pt x="67036" y="34706"/>
                                                      </a:cubicBezTo>
                                                      <a:cubicBezTo>
                                                        <a:pt x="68461" y="38269"/>
                                                        <a:pt x="71701" y="41573"/>
                                                        <a:pt x="70923" y="45330"/>
                                                      </a:cubicBezTo>
                                                      <a:cubicBezTo>
                                                        <a:pt x="74292" y="44100"/>
                                                        <a:pt x="77985" y="45201"/>
                                                        <a:pt x="81548" y="45525"/>
                                                      </a:cubicBezTo>
                                                      <a:cubicBezTo>
                                                        <a:pt x="85111" y="45914"/>
                                                        <a:pt x="89387" y="45071"/>
                                                        <a:pt x="90812" y="41832"/>
                                                      </a:cubicBezTo>
                                                      <a:cubicBezTo>
                                                        <a:pt x="91395" y="40536"/>
                                                        <a:pt x="91395" y="38917"/>
                                                        <a:pt x="92367" y="37815"/>
                                                      </a:cubicBezTo>
                                                      <a:cubicBezTo>
                                                        <a:pt x="94570" y="35224"/>
                                                        <a:pt x="99623" y="37362"/>
                                                        <a:pt x="101696" y="34706"/>
                                                      </a:cubicBezTo>
                                                      <a:cubicBezTo>
                                                        <a:pt x="105130" y="30235"/>
                                                        <a:pt x="93792" y="23498"/>
                                                        <a:pt x="98133" y="19870"/>
                                                      </a:cubicBezTo>
                                                      <a:cubicBezTo>
                                                        <a:pt x="101826" y="14816"/>
                                                        <a:pt x="110572" y="14881"/>
                                                        <a:pt x="114200" y="19870"/>
                                                      </a:cubicBezTo>
                                                      <a:cubicBezTo>
                                                        <a:pt x="115042" y="21036"/>
                                                        <a:pt x="115755" y="22526"/>
                                                        <a:pt x="117115" y="23109"/>
                                                      </a:cubicBezTo>
                                                      <a:cubicBezTo>
                                                        <a:pt x="119707" y="24210"/>
                                                        <a:pt x="122233" y="21165"/>
                                                        <a:pt x="122946" y="18380"/>
                                                      </a:cubicBezTo>
                                                      <a:cubicBezTo>
                                                        <a:pt x="123658" y="15659"/>
                                                        <a:pt x="124112" y="12290"/>
                                                        <a:pt x="126639" y="10994"/>
                                                      </a:cubicBezTo>
                                                      <a:cubicBezTo>
                                                        <a:pt x="129489" y="7496"/>
                                                        <a:pt x="134996" y="11383"/>
                                                        <a:pt x="137199" y="15335"/>
                                                      </a:cubicBezTo>
                                                      <a:cubicBezTo>
                                                        <a:pt x="139402" y="19287"/>
                                                        <a:pt x="143030" y="24340"/>
                                                        <a:pt x="147176" y="22526"/>
                                                      </a:cubicBezTo>
                                                      <a:cubicBezTo>
                                                        <a:pt x="148666" y="17149"/>
                                                        <a:pt x="151905" y="10540"/>
                                                        <a:pt x="157412" y="11188"/>
                                                      </a:cubicBezTo>
                                                      <a:cubicBezTo>
                                                        <a:pt x="162660" y="11836"/>
                                                        <a:pt x="164992" y="18768"/>
                                                        <a:pt x="170110" y="20064"/>
                                                      </a:cubicBezTo>
                                                      <a:cubicBezTo>
                                                        <a:pt x="176070" y="21554"/>
                                                        <a:pt x="180476" y="14946"/>
                                                        <a:pt x="183261" y="9504"/>
                                                      </a:cubicBezTo>
                                                      <a:cubicBezTo>
                                                        <a:pt x="186047" y="4062"/>
                                                        <a:pt x="191683" y="-2093"/>
                                                        <a:pt x="197126" y="693"/>
                                                      </a:cubicBezTo>
                                                      <a:cubicBezTo>
                                                        <a:pt x="201531" y="2961"/>
                                                        <a:pt x="201531" y="9245"/>
                                                        <a:pt x="204576" y="13132"/>
                                                      </a:cubicBezTo>
                                                      <a:cubicBezTo>
                                                        <a:pt x="206131" y="15076"/>
                                                        <a:pt x="208333" y="16306"/>
                                                        <a:pt x="210407" y="17667"/>
                                                      </a:cubicBezTo>
                                                      <a:cubicBezTo>
                                                        <a:pt x="217015" y="21943"/>
                                                        <a:pt x="222716" y="27644"/>
                                                        <a:pt x="226992" y="34252"/>
                                                      </a:cubicBezTo>
                                                      <a:cubicBezTo>
                                                        <a:pt x="235285" y="35677"/>
                                                        <a:pt x="243512" y="37038"/>
                                                        <a:pt x="251805" y="38463"/>
                                                      </a:cubicBezTo>
                                                      <a:cubicBezTo>
                                                        <a:pt x="257376" y="39435"/>
                                                        <a:pt x="263401" y="40601"/>
                                                        <a:pt x="267159" y="44812"/>
                                                      </a:cubicBezTo>
                                                      <a:cubicBezTo>
                                                        <a:pt x="270982" y="49023"/>
                                                        <a:pt x="270463" y="57251"/>
                                                        <a:pt x="265086" y="58935"/>
                                                      </a:cubicBezTo>
                                                      <a:cubicBezTo>
                                                        <a:pt x="262365" y="59778"/>
                                                        <a:pt x="259061" y="58871"/>
                                                        <a:pt x="256858" y="6068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2" name="Freeform: Shape 79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4C82C75-454E-4777-84E2-2543C6D4A05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05346" y="1550664"/>
                                                  <a:ext cx="329246" cy="20426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4295 w 329246"/>
                                                    <a:gd name="connsiteY0" fmla="*/ 15414 h 204262"/>
                                                    <a:gd name="connsiteX1" fmla="*/ 27728 w 329246"/>
                                                    <a:gd name="connsiteY1" fmla="*/ 22087 h 204262"/>
                                                    <a:gd name="connsiteX2" fmla="*/ 35179 w 329246"/>
                                                    <a:gd name="connsiteY2" fmla="*/ 19561 h 204262"/>
                                                    <a:gd name="connsiteX3" fmla="*/ 40945 w 329246"/>
                                                    <a:gd name="connsiteY3" fmla="*/ 13341 h 204262"/>
                                                    <a:gd name="connsiteX4" fmla="*/ 47423 w 329246"/>
                                                    <a:gd name="connsiteY4" fmla="*/ 12434 h 204262"/>
                                                    <a:gd name="connsiteX5" fmla="*/ 67766 w 329246"/>
                                                    <a:gd name="connsiteY5" fmla="*/ 6474 h 204262"/>
                                                    <a:gd name="connsiteX6" fmla="*/ 65952 w 329246"/>
                                                    <a:gd name="connsiteY6" fmla="*/ 16062 h 204262"/>
                                                    <a:gd name="connsiteX7" fmla="*/ 55780 w 329246"/>
                                                    <a:gd name="connsiteY7" fmla="*/ 20597 h 204262"/>
                                                    <a:gd name="connsiteX8" fmla="*/ 51181 w 329246"/>
                                                    <a:gd name="connsiteY8" fmla="*/ 29603 h 204262"/>
                                                    <a:gd name="connsiteX9" fmla="*/ 67571 w 329246"/>
                                                    <a:gd name="connsiteY9" fmla="*/ 28501 h 204262"/>
                                                    <a:gd name="connsiteX10" fmla="*/ 69191 w 329246"/>
                                                    <a:gd name="connsiteY10" fmla="*/ 39385 h 204262"/>
                                                    <a:gd name="connsiteX11" fmla="*/ 78196 w 329246"/>
                                                    <a:gd name="connsiteY11" fmla="*/ 44115 h 204262"/>
                                                    <a:gd name="connsiteX12" fmla="*/ 82861 w 329246"/>
                                                    <a:gd name="connsiteY12" fmla="*/ 14313 h 204262"/>
                                                    <a:gd name="connsiteX13" fmla="*/ 85129 w 329246"/>
                                                    <a:gd name="connsiteY13" fmla="*/ 11009 h 204262"/>
                                                    <a:gd name="connsiteX14" fmla="*/ 94846 w 329246"/>
                                                    <a:gd name="connsiteY14" fmla="*/ 14767 h 204262"/>
                                                    <a:gd name="connsiteX15" fmla="*/ 99057 w 329246"/>
                                                    <a:gd name="connsiteY15" fmla="*/ 25780 h 204262"/>
                                                    <a:gd name="connsiteX16" fmla="*/ 104694 w 329246"/>
                                                    <a:gd name="connsiteY16" fmla="*/ 26234 h 204262"/>
                                                    <a:gd name="connsiteX17" fmla="*/ 105147 w 329246"/>
                                                    <a:gd name="connsiteY17" fmla="*/ 38349 h 204262"/>
                                                    <a:gd name="connsiteX18" fmla="*/ 111432 w 329246"/>
                                                    <a:gd name="connsiteY18" fmla="*/ 48390 h 204262"/>
                                                    <a:gd name="connsiteX19" fmla="*/ 123417 w 329246"/>
                                                    <a:gd name="connsiteY19" fmla="*/ 55452 h 204262"/>
                                                    <a:gd name="connsiteX20" fmla="*/ 123417 w 329246"/>
                                                    <a:gd name="connsiteY20" fmla="*/ 61412 h 204262"/>
                                                    <a:gd name="connsiteX21" fmla="*/ 134819 w 329246"/>
                                                    <a:gd name="connsiteY21" fmla="*/ 61412 h 204262"/>
                                                    <a:gd name="connsiteX22" fmla="*/ 125879 w 329246"/>
                                                    <a:gd name="connsiteY22" fmla="*/ 44762 h 204262"/>
                                                    <a:gd name="connsiteX23" fmla="*/ 126073 w 329246"/>
                                                    <a:gd name="connsiteY23" fmla="*/ 31287 h 204262"/>
                                                    <a:gd name="connsiteX24" fmla="*/ 117586 w 329246"/>
                                                    <a:gd name="connsiteY24" fmla="*/ 19949 h 204262"/>
                                                    <a:gd name="connsiteX25" fmla="*/ 114671 w 329246"/>
                                                    <a:gd name="connsiteY25" fmla="*/ 7122 h 204262"/>
                                                    <a:gd name="connsiteX26" fmla="*/ 118428 w 329246"/>
                                                    <a:gd name="connsiteY26" fmla="*/ 4271 h 204262"/>
                                                    <a:gd name="connsiteX27" fmla="*/ 131904 w 329246"/>
                                                    <a:gd name="connsiteY27" fmla="*/ 125 h 204262"/>
                                                    <a:gd name="connsiteX28" fmla="*/ 138253 w 329246"/>
                                                    <a:gd name="connsiteY28" fmla="*/ 10426 h 204262"/>
                                                    <a:gd name="connsiteX29" fmla="*/ 163454 w 329246"/>
                                                    <a:gd name="connsiteY29" fmla="*/ 13277 h 204262"/>
                                                    <a:gd name="connsiteX30" fmla="*/ 150951 w 329246"/>
                                                    <a:gd name="connsiteY30" fmla="*/ 26298 h 204262"/>
                                                    <a:gd name="connsiteX31" fmla="*/ 151274 w 329246"/>
                                                    <a:gd name="connsiteY31" fmla="*/ 31676 h 204262"/>
                                                    <a:gd name="connsiteX32" fmla="*/ 160086 w 329246"/>
                                                    <a:gd name="connsiteY32" fmla="*/ 44698 h 204262"/>
                                                    <a:gd name="connsiteX33" fmla="*/ 165592 w 329246"/>
                                                    <a:gd name="connsiteY33" fmla="*/ 26946 h 204262"/>
                                                    <a:gd name="connsiteX34" fmla="*/ 178549 w 329246"/>
                                                    <a:gd name="connsiteY34" fmla="*/ 36664 h 204262"/>
                                                    <a:gd name="connsiteX35" fmla="*/ 179197 w 329246"/>
                                                    <a:gd name="connsiteY35" fmla="*/ 42236 h 204262"/>
                                                    <a:gd name="connsiteX36" fmla="*/ 184056 w 329246"/>
                                                    <a:gd name="connsiteY36" fmla="*/ 44438 h 204262"/>
                                                    <a:gd name="connsiteX37" fmla="*/ 208999 w 329246"/>
                                                    <a:gd name="connsiteY37" fmla="*/ 48066 h 204262"/>
                                                    <a:gd name="connsiteX38" fmla="*/ 216320 w 329246"/>
                                                    <a:gd name="connsiteY38" fmla="*/ 57655 h 204262"/>
                                                    <a:gd name="connsiteX39" fmla="*/ 230896 w 329246"/>
                                                    <a:gd name="connsiteY39" fmla="*/ 57136 h 204262"/>
                                                    <a:gd name="connsiteX40" fmla="*/ 242623 w 329246"/>
                                                    <a:gd name="connsiteY40" fmla="*/ 65299 h 204262"/>
                                                    <a:gd name="connsiteX41" fmla="*/ 255709 w 329246"/>
                                                    <a:gd name="connsiteY41" fmla="*/ 69640 h 204262"/>
                                                    <a:gd name="connsiteX42" fmla="*/ 256811 w 329246"/>
                                                    <a:gd name="connsiteY42" fmla="*/ 83763 h 204262"/>
                                                    <a:gd name="connsiteX43" fmla="*/ 269508 w 329246"/>
                                                    <a:gd name="connsiteY43" fmla="*/ 88881 h 204262"/>
                                                    <a:gd name="connsiteX44" fmla="*/ 270221 w 329246"/>
                                                    <a:gd name="connsiteY44" fmla="*/ 103912 h 204262"/>
                                                    <a:gd name="connsiteX45" fmla="*/ 285640 w 329246"/>
                                                    <a:gd name="connsiteY45" fmla="*/ 103134 h 204262"/>
                                                    <a:gd name="connsiteX46" fmla="*/ 295552 w 329246"/>
                                                    <a:gd name="connsiteY46" fmla="*/ 111556 h 204262"/>
                                                    <a:gd name="connsiteX47" fmla="*/ 294645 w 329246"/>
                                                    <a:gd name="connsiteY47" fmla="*/ 114083 h 204262"/>
                                                    <a:gd name="connsiteX48" fmla="*/ 298533 w 329246"/>
                                                    <a:gd name="connsiteY48" fmla="*/ 116869 h 204262"/>
                                                    <a:gd name="connsiteX49" fmla="*/ 327557 w 329246"/>
                                                    <a:gd name="connsiteY49" fmla="*/ 122181 h 204262"/>
                                                    <a:gd name="connsiteX50" fmla="*/ 323151 w 329246"/>
                                                    <a:gd name="connsiteY50" fmla="*/ 133908 h 204262"/>
                                                    <a:gd name="connsiteX51" fmla="*/ 310064 w 329246"/>
                                                    <a:gd name="connsiteY51" fmla="*/ 140969 h 204262"/>
                                                    <a:gd name="connsiteX52" fmla="*/ 307667 w 329246"/>
                                                    <a:gd name="connsiteY52" fmla="*/ 146282 h 204262"/>
                                                    <a:gd name="connsiteX53" fmla="*/ 289398 w 329246"/>
                                                    <a:gd name="connsiteY53" fmla="*/ 149845 h 204262"/>
                                                    <a:gd name="connsiteX54" fmla="*/ 287454 w 329246"/>
                                                    <a:gd name="connsiteY54" fmla="*/ 141358 h 204262"/>
                                                    <a:gd name="connsiteX55" fmla="*/ 278449 w 329246"/>
                                                    <a:gd name="connsiteY55" fmla="*/ 138702 h 204262"/>
                                                    <a:gd name="connsiteX56" fmla="*/ 256227 w 329246"/>
                                                    <a:gd name="connsiteY56" fmla="*/ 144468 h 204262"/>
                                                    <a:gd name="connsiteX57" fmla="*/ 242169 w 329246"/>
                                                    <a:gd name="connsiteY57" fmla="*/ 150817 h 204262"/>
                                                    <a:gd name="connsiteX58" fmla="*/ 235561 w 329246"/>
                                                    <a:gd name="connsiteY58" fmla="*/ 140516 h 204262"/>
                                                    <a:gd name="connsiteX59" fmla="*/ 252535 w 329246"/>
                                                    <a:gd name="connsiteY59" fmla="*/ 132094 h 204262"/>
                                                    <a:gd name="connsiteX60" fmla="*/ 249295 w 329246"/>
                                                    <a:gd name="connsiteY60" fmla="*/ 115184 h 204262"/>
                                                    <a:gd name="connsiteX61" fmla="*/ 239318 w 329246"/>
                                                    <a:gd name="connsiteY61" fmla="*/ 112852 h 204262"/>
                                                    <a:gd name="connsiteX62" fmla="*/ 236338 w 329246"/>
                                                    <a:gd name="connsiteY62" fmla="*/ 104884 h 204262"/>
                                                    <a:gd name="connsiteX63" fmla="*/ 225195 w 329246"/>
                                                    <a:gd name="connsiteY63" fmla="*/ 104171 h 204262"/>
                                                    <a:gd name="connsiteX64" fmla="*/ 223576 w 329246"/>
                                                    <a:gd name="connsiteY64" fmla="*/ 91667 h 204262"/>
                                                    <a:gd name="connsiteX65" fmla="*/ 224223 w 329246"/>
                                                    <a:gd name="connsiteY65" fmla="*/ 88298 h 204262"/>
                                                    <a:gd name="connsiteX66" fmla="*/ 229342 w 329246"/>
                                                    <a:gd name="connsiteY66" fmla="*/ 85707 h 204262"/>
                                                    <a:gd name="connsiteX67" fmla="*/ 241068 w 329246"/>
                                                    <a:gd name="connsiteY67" fmla="*/ 86290 h 204262"/>
                                                    <a:gd name="connsiteX68" fmla="*/ 247287 w 329246"/>
                                                    <a:gd name="connsiteY68" fmla="*/ 78257 h 204262"/>
                                                    <a:gd name="connsiteX69" fmla="*/ 243659 w 329246"/>
                                                    <a:gd name="connsiteY69" fmla="*/ 74888 h 204262"/>
                                                    <a:gd name="connsiteX70" fmla="*/ 221632 w 329246"/>
                                                    <a:gd name="connsiteY70" fmla="*/ 71713 h 204262"/>
                                                    <a:gd name="connsiteX71" fmla="*/ 217874 w 329246"/>
                                                    <a:gd name="connsiteY71" fmla="*/ 75600 h 204262"/>
                                                    <a:gd name="connsiteX72" fmla="*/ 188332 w 329246"/>
                                                    <a:gd name="connsiteY72" fmla="*/ 83699 h 204262"/>
                                                    <a:gd name="connsiteX73" fmla="*/ 185417 w 329246"/>
                                                    <a:gd name="connsiteY73" fmla="*/ 99765 h 204262"/>
                                                    <a:gd name="connsiteX74" fmla="*/ 176282 w 329246"/>
                                                    <a:gd name="connsiteY74" fmla="*/ 111492 h 204262"/>
                                                    <a:gd name="connsiteX75" fmla="*/ 178031 w 329246"/>
                                                    <a:gd name="connsiteY75" fmla="*/ 129502 h 204262"/>
                                                    <a:gd name="connsiteX76" fmla="*/ 163325 w 329246"/>
                                                    <a:gd name="connsiteY76" fmla="*/ 140127 h 204262"/>
                                                    <a:gd name="connsiteX77" fmla="*/ 161705 w 329246"/>
                                                    <a:gd name="connsiteY77" fmla="*/ 147448 h 204262"/>
                                                    <a:gd name="connsiteX78" fmla="*/ 143436 w 329246"/>
                                                    <a:gd name="connsiteY78" fmla="*/ 173816 h 204262"/>
                                                    <a:gd name="connsiteX79" fmla="*/ 140326 w 329246"/>
                                                    <a:gd name="connsiteY79" fmla="*/ 194158 h 204262"/>
                                                    <a:gd name="connsiteX80" fmla="*/ 124129 w 329246"/>
                                                    <a:gd name="connsiteY80" fmla="*/ 203876 h 204262"/>
                                                    <a:gd name="connsiteX81" fmla="*/ 122251 w 329246"/>
                                                    <a:gd name="connsiteY81" fmla="*/ 194677 h 204262"/>
                                                    <a:gd name="connsiteX82" fmla="*/ 111561 w 329246"/>
                                                    <a:gd name="connsiteY82" fmla="*/ 194353 h 204262"/>
                                                    <a:gd name="connsiteX83" fmla="*/ 105342 w 329246"/>
                                                    <a:gd name="connsiteY83" fmla="*/ 186514 h 204262"/>
                                                    <a:gd name="connsiteX84" fmla="*/ 107804 w 329246"/>
                                                    <a:gd name="connsiteY84" fmla="*/ 177508 h 204262"/>
                                                    <a:gd name="connsiteX85" fmla="*/ 100742 w 329246"/>
                                                    <a:gd name="connsiteY85" fmla="*/ 171224 h 204262"/>
                                                    <a:gd name="connsiteX86" fmla="*/ 91154 w 329246"/>
                                                    <a:gd name="connsiteY86" fmla="*/ 168374 h 204262"/>
                                                    <a:gd name="connsiteX87" fmla="*/ 89599 w 329246"/>
                                                    <a:gd name="connsiteY87" fmla="*/ 159887 h 204262"/>
                                                    <a:gd name="connsiteX88" fmla="*/ 76836 w 329246"/>
                                                    <a:gd name="connsiteY88" fmla="*/ 159174 h 204262"/>
                                                    <a:gd name="connsiteX89" fmla="*/ 72366 w 329246"/>
                                                    <a:gd name="connsiteY89" fmla="*/ 148614 h 204262"/>
                                                    <a:gd name="connsiteX90" fmla="*/ 75540 w 329246"/>
                                                    <a:gd name="connsiteY90" fmla="*/ 145569 h 204262"/>
                                                    <a:gd name="connsiteX91" fmla="*/ 112403 w 329246"/>
                                                    <a:gd name="connsiteY91" fmla="*/ 136564 h 204262"/>
                                                    <a:gd name="connsiteX92" fmla="*/ 130090 w 329246"/>
                                                    <a:gd name="connsiteY92" fmla="*/ 138119 h 204262"/>
                                                    <a:gd name="connsiteX93" fmla="*/ 141039 w 329246"/>
                                                    <a:gd name="connsiteY93" fmla="*/ 126328 h 204262"/>
                                                    <a:gd name="connsiteX94" fmla="*/ 102361 w 329246"/>
                                                    <a:gd name="connsiteY94" fmla="*/ 122117 h 204262"/>
                                                    <a:gd name="connsiteX95" fmla="*/ 85064 w 329246"/>
                                                    <a:gd name="connsiteY95" fmla="*/ 131316 h 204262"/>
                                                    <a:gd name="connsiteX96" fmla="*/ 54614 w 329246"/>
                                                    <a:gd name="connsiteY96" fmla="*/ 125615 h 204262"/>
                                                    <a:gd name="connsiteX97" fmla="*/ 86165 w 329246"/>
                                                    <a:gd name="connsiteY97" fmla="*/ 113630 h 204262"/>
                                                    <a:gd name="connsiteX98" fmla="*/ 113893 w 329246"/>
                                                    <a:gd name="connsiteY98" fmla="*/ 96656 h 204262"/>
                                                    <a:gd name="connsiteX99" fmla="*/ 123028 w 329246"/>
                                                    <a:gd name="connsiteY99" fmla="*/ 96721 h 204262"/>
                                                    <a:gd name="connsiteX100" fmla="*/ 132487 w 329246"/>
                                                    <a:gd name="connsiteY100" fmla="*/ 80718 h 204262"/>
                                                    <a:gd name="connsiteX101" fmla="*/ 114995 w 329246"/>
                                                    <a:gd name="connsiteY101" fmla="*/ 82532 h 204262"/>
                                                    <a:gd name="connsiteX102" fmla="*/ 107415 w 329246"/>
                                                    <a:gd name="connsiteY102" fmla="*/ 86355 h 204262"/>
                                                    <a:gd name="connsiteX103" fmla="*/ 94717 w 329246"/>
                                                    <a:gd name="connsiteY103" fmla="*/ 65040 h 204262"/>
                                                    <a:gd name="connsiteX104" fmla="*/ 88433 w 329246"/>
                                                    <a:gd name="connsiteY104" fmla="*/ 79682 h 204262"/>
                                                    <a:gd name="connsiteX105" fmla="*/ 73208 w 329246"/>
                                                    <a:gd name="connsiteY105" fmla="*/ 82792 h 204262"/>
                                                    <a:gd name="connsiteX106" fmla="*/ 68802 w 329246"/>
                                                    <a:gd name="connsiteY106" fmla="*/ 102227 h 204262"/>
                                                    <a:gd name="connsiteX107" fmla="*/ 61352 w 329246"/>
                                                    <a:gd name="connsiteY107" fmla="*/ 103393 h 204262"/>
                                                    <a:gd name="connsiteX108" fmla="*/ 35762 w 329246"/>
                                                    <a:gd name="connsiteY108" fmla="*/ 98340 h 204262"/>
                                                    <a:gd name="connsiteX109" fmla="*/ 17298 w 329246"/>
                                                    <a:gd name="connsiteY109" fmla="*/ 87780 h 204262"/>
                                                    <a:gd name="connsiteX110" fmla="*/ 17816 w 329246"/>
                                                    <a:gd name="connsiteY110" fmla="*/ 81561 h 204262"/>
                                                    <a:gd name="connsiteX111" fmla="*/ 10819 w 329246"/>
                                                    <a:gd name="connsiteY111" fmla="*/ 68020 h 204262"/>
                                                    <a:gd name="connsiteX112" fmla="*/ 14512 w 329246"/>
                                                    <a:gd name="connsiteY112" fmla="*/ 61866 h 204262"/>
                                                    <a:gd name="connsiteX113" fmla="*/ 19630 w 329246"/>
                                                    <a:gd name="connsiteY113" fmla="*/ 59663 h 204262"/>
                                                    <a:gd name="connsiteX114" fmla="*/ 33235 w 329246"/>
                                                    <a:gd name="connsiteY114" fmla="*/ 45929 h 204262"/>
                                                    <a:gd name="connsiteX115" fmla="*/ 14836 w 329246"/>
                                                    <a:gd name="connsiteY115" fmla="*/ 44698 h 204262"/>
                                                    <a:gd name="connsiteX116" fmla="*/ 5053 w 329246"/>
                                                    <a:gd name="connsiteY116" fmla="*/ 48520 h 204262"/>
                                                    <a:gd name="connsiteX117" fmla="*/ 2008 w 329246"/>
                                                    <a:gd name="connsiteY117" fmla="*/ 42041 h 204262"/>
                                                    <a:gd name="connsiteX118" fmla="*/ 0 w 329246"/>
                                                    <a:gd name="connsiteY118" fmla="*/ 23966 h 204262"/>
                                                    <a:gd name="connsiteX119" fmla="*/ 11921 w 329246"/>
                                                    <a:gd name="connsiteY119" fmla="*/ 11463 h 204262"/>
                                                    <a:gd name="connsiteX120" fmla="*/ 24036 w 329246"/>
                                                    <a:gd name="connsiteY120" fmla="*/ 15609 h 20426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29246" h="204262">
                                                      <a:moveTo>
                                                        <a:pt x="24295" y="15414"/>
                                                      </a:moveTo>
                                                      <a:cubicBezTo>
                                                        <a:pt x="25331" y="17747"/>
                                                        <a:pt x="25526" y="20792"/>
                                                        <a:pt x="27728" y="22087"/>
                                                      </a:cubicBezTo>
                                                      <a:cubicBezTo>
                                                        <a:pt x="30190" y="23577"/>
                                                        <a:pt x="33365" y="21763"/>
                                                        <a:pt x="35179" y="19561"/>
                                                      </a:cubicBezTo>
                                                      <a:cubicBezTo>
                                                        <a:pt x="36993" y="17358"/>
                                                        <a:pt x="38353" y="14572"/>
                                                        <a:pt x="40945" y="13341"/>
                                                      </a:cubicBezTo>
                                                      <a:cubicBezTo>
                                                        <a:pt x="42953" y="12370"/>
                                                        <a:pt x="45220" y="12434"/>
                                                        <a:pt x="47423" y="12434"/>
                                                      </a:cubicBezTo>
                                                      <a:cubicBezTo>
                                                        <a:pt x="54549" y="12305"/>
                                                        <a:pt x="61676" y="10167"/>
                                                        <a:pt x="67766" y="6474"/>
                                                      </a:cubicBezTo>
                                                      <a:cubicBezTo>
                                                        <a:pt x="70552" y="8936"/>
                                                        <a:pt x="68932" y="13860"/>
                                                        <a:pt x="65952" y="16062"/>
                                                      </a:cubicBezTo>
                                                      <a:cubicBezTo>
                                                        <a:pt x="62972" y="18265"/>
                                                        <a:pt x="59085" y="18848"/>
                                                        <a:pt x="55780" y="20597"/>
                                                      </a:cubicBezTo>
                                                      <a:cubicBezTo>
                                                        <a:pt x="52476" y="22347"/>
                                                        <a:pt x="49626" y="26234"/>
                                                        <a:pt x="51181" y="29603"/>
                                                      </a:cubicBezTo>
                                                      <a:cubicBezTo>
                                                        <a:pt x="56623" y="29214"/>
                                                        <a:pt x="62065" y="28890"/>
                                                        <a:pt x="67571" y="28501"/>
                                                      </a:cubicBezTo>
                                                      <a:cubicBezTo>
                                                        <a:pt x="67571" y="32194"/>
                                                        <a:pt x="67571" y="36081"/>
                                                        <a:pt x="69191" y="39385"/>
                                                      </a:cubicBezTo>
                                                      <a:cubicBezTo>
                                                        <a:pt x="70811" y="42689"/>
                                                        <a:pt x="74698" y="45281"/>
                                                        <a:pt x="78196" y="44115"/>
                                                      </a:cubicBezTo>
                                                      <a:cubicBezTo>
                                                        <a:pt x="76965" y="34008"/>
                                                        <a:pt x="78585" y="23577"/>
                                                        <a:pt x="82861" y="14313"/>
                                                      </a:cubicBezTo>
                                                      <a:cubicBezTo>
                                                        <a:pt x="83444" y="13082"/>
                                                        <a:pt x="84092" y="11851"/>
                                                        <a:pt x="85129" y="11009"/>
                                                      </a:cubicBezTo>
                                                      <a:cubicBezTo>
                                                        <a:pt x="88238" y="8612"/>
                                                        <a:pt x="92967" y="11268"/>
                                                        <a:pt x="94846" y="14767"/>
                                                      </a:cubicBezTo>
                                                      <a:cubicBezTo>
                                                        <a:pt x="96725" y="18265"/>
                                                        <a:pt x="97049" y="22411"/>
                                                        <a:pt x="99057" y="25780"/>
                                                      </a:cubicBezTo>
                                                      <a:cubicBezTo>
                                                        <a:pt x="100936" y="25910"/>
                                                        <a:pt x="102815" y="26104"/>
                                                        <a:pt x="104694" y="26234"/>
                                                      </a:cubicBezTo>
                                                      <a:cubicBezTo>
                                                        <a:pt x="104823" y="30250"/>
                                                        <a:pt x="105018" y="34267"/>
                                                        <a:pt x="105147" y="38349"/>
                                                      </a:cubicBezTo>
                                                      <a:cubicBezTo>
                                                        <a:pt x="110071" y="37636"/>
                                                        <a:pt x="114282" y="44244"/>
                                                        <a:pt x="111432" y="48390"/>
                                                      </a:cubicBezTo>
                                                      <a:cubicBezTo>
                                                        <a:pt x="115059" y="51306"/>
                                                        <a:pt x="119076" y="53703"/>
                                                        <a:pt x="123417" y="55452"/>
                                                      </a:cubicBezTo>
                                                      <a:lnTo>
                                                        <a:pt x="123417" y="61412"/>
                                                      </a:lnTo>
                                                      <a:cubicBezTo>
                                                        <a:pt x="127239" y="61412"/>
                                                        <a:pt x="131061" y="61412"/>
                                                        <a:pt x="134819" y="61412"/>
                                                      </a:cubicBezTo>
                                                      <a:cubicBezTo>
                                                        <a:pt x="137086" y="55258"/>
                                                        <a:pt x="127822" y="51047"/>
                                                        <a:pt x="125879" y="44762"/>
                                                      </a:cubicBezTo>
                                                      <a:cubicBezTo>
                                                        <a:pt x="124518" y="40422"/>
                                                        <a:pt x="126980" y="35692"/>
                                                        <a:pt x="126073" y="31287"/>
                                                      </a:cubicBezTo>
                                                      <a:cubicBezTo>
                                                        <a:pt x="125166" y="26558"/>
                                                        <a:pt x="120890" y="23448"/>
                                                        <a:pt x="117586" y="19949"/>
                                                      </a:cubicBezTo>
                                                      <a:cubicBezTo>
                                                        <a:pt x="114282" y="16451"/>
                                                        <a:pt x="111755" y="10879"/>
                                                        <a:pt x="114671" y="7122"/>
                                                      </a:cubicBezTo>
                                                      <a:cubicBezTo>
                                                        <a:pt x="115642" y="5891"/>
                                                        <a:pt x="117068" y="5049"/>
                                                        <a:pt x="118428" y="4271"/>
                                                      </a:cubicBezTo>
                                                      <a:cubicBezTo>
                                                        <a:pt x="122574" y="1874"/>
                                                        <a:pt x="127174" y="-588"/>
                                                        <a:pt x="131904" y="125"/>
                                                      </a:cubicBezTo>
                                                      <a:cubicBezTo>
                                                        <a:pt x="136633" y="838"/>
                                                        <a:pt x="140844" y="6409"/>
                                                        <a:pt x="138253" y="10426"/>
                                                      </a:cubicBezTo>
                                                      <a:cubicBezTo>
                                                        <a:pt x="145703" y="4854"/>
                                                        <a:pt x="157429" y="6215"/>
                                                        <a:pt x="163454" y="13277"/>
                                                      </a:cubicBezTo>
                                                      <a:cubicBezTo>
                                                        <a:pt x="163649" y="19561"/>
                                                        <a:pt x="152700" y="20209"/>
                                                        <a:pt x="150951" y="26298"/>
                                                      </a:cubicBezTo>
                                                      <a:cubicBezTo>
                                                        <a:pt x="150432" y="28048"/>
                                                        <a:pt x="150886" y="29926"/>
                                                        <a:pt x="151274" y="31676"/>
                                                      </a:cubicBezTo>
                                                      <a:cubicBezTo>
                                                        <a:pt x="152570" y="37053"/>
                                                        <a:pt x="154708" y="43337"/>
                                                        <a:pt x="160086" y="44698"/>
                                                      </a:cubicBezTo>
                                                      <a:cubicBezTo>
                                                        <a:pt x="161899" y="38802"/>
                                                        <a:pt x="163778" y="32842"/>
                                                        <a:pt x="165592" y="26946"/>
                                                      </a:cubicBezTo>
                                                      <a:cubicBezTo>
                                                        <a:pt x="171552" y="25262"/>
                                                        <a:pt x="178420" y="30445"/>
                                                        <a:pt x="178549" y="36664"/>
                                                      </a:cubicBezTo>
                                                      <a:cubicBezTo>
                                                        <a:pt x="178549" y="38543"/>
                                                        <a:pt x="178096" y="40681"/>
                                                        <a:pt x="179197" y="42236"/>
                                                      </a:cubicBezTo>
                                                      <a:cubicBezTo>
                                                        <a:pt x="180234" y="43791"/>
                                                        <a:pt x="182242" y="44179"/>
                                                        <a:pt x="184056" y="44438"/>
                                                      </a:cubicBezTo>
                                                      <a:cubicBezTo>
                                                        <a:pt x="192349" y="45669"/>
                                                        <a:pt x="200641" y="46836"/>
                                                        <a:pt x="208999" y="48066"/>
                                                      </a:cubicBezTo>
                                                      <a:cubicBezTo>
                                                        <a:pt x="206278" y="52083"/>
                                                        <a:pt x="211461" y="57331"/>
                                                        <a:pt x="216320" y="57655"/>
                                                      </a:cubicBezTo>
                                                      <a:cubicBezTo>
                                                        <a:pt x="221179" y="57979"/>
                                                        <a:pt x="226167" y="56035"/>
                                                        <a:pt x="230896" y="57136"/>
                                                      </a:cubicBezTo>
                                                      <a:cubicBezTo>
                                                        <a:pt x="235561" y="58238"/>
                                                        <a:pt x="238995" y="62125"/>
                                                        <a:pt x="242623" y="65299"/>
                                                      </a:cubicBezTo>
                                                      <a:cubicBezTo>
                                                        <a:pt x="246251" y="68474"/>
                                                        <a:pt x="251174" y="71260"/>
                                                        <a:pt x="255709" y="69640"/>
                                                      </a:cubicBezTo>
                                                      <a:cubicBezTo>
                                                        <a:pt x="256098" y="74369"/>
                                                        <a:pt x="256422" y="79034"/>
                                                        <a:pt x="256811" y="83763"/>
                                                      </a:cubicBezTo>
                                                      <a:cubicBezTo>
                                                        <a:pt x="261281" y="81302"/>
                                                        <a:pt x="267241" y="84346"/>
                                                        <a:pt x="269508" y="88881"/>
                                                      </a:cubicBezTo>
                                                      <a:cubicBezTo>
                                                        <a:pt x="271776" y="93416"/>
                                                        <a:pt x="271323" y="98923"/>
                                                        <a:pt x="270221" y="103912"/>
                                                      </a:cubicBezTo>
                                                      <a:cubicBezTo>
                                                        <a:pt x="275015" y="105985"/>
                                                        <a:pt x="280457" y="103588"/>
                                                        <a:pt x="285640" y="103134"/>
                                                      </a:cubicBezTo>
                                                      <a:cubicBezTo>
                                                        <a:pt x="290823" y="102681"/>
                                                        <a:pt x="297496" y="106762"/>
                                                        <a:pt x="295552" y="111556"/>
                                                      </a:cubicBezTo>
                                                      <a:cubicBezTo>
                                                        <a:pt x="295229" y="112399"/>
                                                        <a:pt x="294580" y="113176"/>
                                                        <a:pt x="294645" y="114083"/>
                                                      </a:cubicBezTo>
                                                      <a:cubicBezTo>
                                                        <a:pt x="294645" y="115832"/>
                                                        <a:pt x="296848" y="116610"/>
                                                        <a:pt x="298533" y="116869"/>
                                                      </a:cubicBezTo>
                                                      <a:cubicBezTo>
                                                        <a:pt x="308186" y="118618"/>
                                                        <a:pt x="317839" y="120432"/>
                                                        <a:pt x="327557" y="122181"/>
                                                      </a:cubicBezTo>
                                                      <a:cubicBezTo>
                                                        <a:pt x="331573" y="125291"/>
                                                        <a:pt x="327751" y="131899"/>
                                                        <a:pt x="323151" y="133908"/>
                                                      </a:cubicBezTo>
                                                      <a:cubicBezTo>
                                                        <a:pt x="318551" y="135981"/>
                                                        <a:pt x="312721" y="136693"/>
                                                        <a:pt x="310064" y="140969"/>
                                                      </a:cubicBezTo>
                                                      <a:cubicBezTo>
                                                        <a:pt x="309028" y="142654"/>
                                                        <a:pt x="308704" y="144597"/>
                                                        <a:pt x="307667" y="146282"/>
                                                      </a:cubicBezTo>
                                                      <a:cubicBezTo>
                                                        <a:pt x="304234" y="151983"/>
                                                        <a:pt x="295876" y="151270"/>
                                                        <a:pt x="289398" y="149845"/>
                                                      </a:cubicBezTo>
                                                      <a:cubicBezTo>
                                                        <a:pt x="291147" y="147189"/>
                                                        <a:pt x="289916" y="143366"/>
                                                        <a:pt x="287454" y="141358"/>
                                                      </a:cubicBezTo>
                                                      <a:cubicBezTo>
                                                        <a:pt x="284992" y="139350"/>
                                                        <a:pt x="281623" y="138831"/>
                                                        <a:pt x="278449" y="138702"/>
                                                      </a:cubicBezTo>
                                                      <a:cubicBezTo>
                                                        <a:pt x="270675" y="138443"/>
                                                        <a:pt x="262901" y="140451"/>
                                                        <a:pt x="256227" y="144468"/>
                                                      </a:cubicBezTo>
                                                      <a:cubicBezTo>
                                                        <a:pt x="251757" y="147124"/>
                                                        <a:pt x="247417" y="150817"/>
                                                        <a:pt x="242169" y="150817"/>
                                                      </a:cubicBezTo>
                                                      <a:cubicBezTo>
                                                        <a:pt x="236986" y="150817"/>
                                                        <a:pt x="231933" y="144208"/>
                                                        <a:pt x="235561" y="140516"/>
                                                      </a:cubicBezTo>
                                                      <a:cubicBezTo>
                                                        <a:pt x="242039" y="139868"/>
                                                        <a:pt x="248842" y="137471"/>
                                                        <a:pt x="252535" y="132094"/>
                                                      </a:cubicBezTo>
                                                      <a:cubicBezTo>
                                                        <a:pt x="256227" y="126716"/>
                                                        <a:pt x="255191" y="117970"/>
                                                        <a:pt x="249295" y="115184"/>
                                                      </a:cubicBezTo>
                                                      <a:cubicBezTo>
                                                        <a:pt x="246186" y="113759"/>
                                                        <a:pt x="242493" y="114148"/>
                                                        <a:pt x="239318" y="112852"/>
                                                      </a:cubicBezTo>
                                                      <a:cubicBezTo>
                                                        <a:pt x="236144" y="111621"/>
                                                        <a:pt x="233747" y="107086"/>
                                                        <a:pt x="236338" y="104884"/>
                                                      </a:cubicBezTo>
                                                      <a:cubicBezTo>
                                                        <a:pt x="232645" y="104624"/>
                                                        <a:pt x="228888" y="104365"/>
                                                        <a:pt x="225195" y="104171"/>
                                                      </a:cubicBezTo>
                                                      <a:cubicBezTo>
                                                        <a:pt x="224094" y="100089"/>
                                                        <a:pt x="223511" y="95878"/>
                                                        <a:pt x="223576" y="91667"/>
                                                      </a:cubicBezTo>
                                                      <a:cubicBezTo>
                                                        <a:pt x="223576" y="90501"/>
                                                        <a:pt x="223640" y="89335"/>
                                                        <a:pt x="224223" y="88298"/>
                                                      </a:cubicBezTo>
                                                      <a:cubicBezTo>
                                                        <a:pt x="225195" y="86549"/>
                                                        <a:pt x="227333" y="85837"/>
                                                        <a:pt x="229342" y="85707"/>
                                                      </a:cubicBezTo>
                                                      <a:cubicBezTo>
                                                        <a:pt x="233293" y="85448"/>
                                                        <a:pt x="237180" y="86808"/>
                                                        <a:pt x="241068" y="86290"/>
                                                      </a:cubicBezTo>
                                                      <a:cubicBezTo>
                                                        <a:pt x="244955" y="85772"/>
                                                        <a:pt x="248907" y="81820"/>
                                                        <a:pt x="247287" y="78257"/>
                                                      </a:cubicBezTo>
                                                      <a:cubicBezTo>
                                                        <a:pt x="246574" y="76767"/>
                                                        <a:pt x="245084" y="75795"/>
                                                        <a:pt x="243659" y="74888"/>
                                                      </a:cubicBezTo>
                                                      <a:cubicBezTo>
                                                        <a:pt x="236921" y="70677"/>
                                                        <a:pt x="227722" y="66595"/>
                                                        <a:pt x="221632" y="71713"/>
                                                      </a:cubicBezTo>
                                                      <a:cubicBezTo>
                                                        <a:pt x="220271" y="72879"/>
                                                        <a:pt x="219235" y="74369"/>
                                                        <a:pt x="217874" y="75600"/>
                                                      </a:cubicBezTo>
                                                      <a:cubicBezTo>
                                                        <a:pt x="209970" y="82532"/>
                                                        <a:pt x="195005" y="75600"/>
                                                        <a:pt x="188332" y="83699"/>
                                                      </a:cubicBezTo>
                                                      <a:cubicBezTo>
                                                        <a:pt x="184833" y="87974"/>
                                                        <a:pt x="185676" y="94194"/>
                                                        <a:pt x="185417" y="99765"/>
                                                      </a:cubicBezTo>
                                                      <a:cubicBezTo>
                                                        <a:pt x="185158" y="105337"/>
                                                        <a:pt x="181789" y="112010"/>
                                                        <a:pt x="176282" y="111492"/>
                                                      </a:cubicBezTo>
                                                      <a:cubicBezTo>
                                                        <a:pt x="179975" y="116610"/>
                                                        <a:pt x="180623" y="123736"/>
                                                        <a:pt x="178031" y="129502"/>
                                                      </a:cubicBezTo>
                                                      <a:cubicBezTo>
                                                        <a:pt x="175440" y="135268"/>
                                                        <a:pt x="169609" y="139479"/>
                                                        <a:pt x="163325" y="140127"/>
                                                      </a:cubicBezTo>
                                                      <a:cubicBezTo>
                                                        <a:pt x="162807" y="142589"/>
                                                        <a:pt x="162223" y="144986"/>
                                                        <a:pt x="161705" y="147448"/>
                                                      </a:cubicBezTo>
                                                      <a:cubicBezTo>
                                                        <a:pt x="150173" y="148679"/>
                                                        <a:pt x="144472" y="162219"/>
                                                        <a:pt x="143436" y="173816"/>
                                                      </a:cubicBezTo>
                                                      <a:cubicBezTo>
                                                        <a:pt x="142852" y="180683"/>
                                                        <a:pt x="143047" y="187809"/>
                                                        <a:pt x="140326" y="194158"/>
                                                      </a:cubicBezTo>
                                                      <a:cubicBezTo>
                                                        <a:pt x="137605" y="200507"/>
                                                        <a:pt x="130738" y="205755"/>
                                                        <a:pt x="124129" y="203876"/>
                                                      </a:cubicBezTo>
                                                      <a:cubicBezTo>
                                                        <a:pt x="122704" y="201026"/>
                                                        <a:pt x="122056" y="197851"/>
                                                        <a:pt x="122251" y="194677"/>
                                                      </a:cubicBezTo>
                                                      <a:cubicBezTo>
                                                        <a:pt x="118687" y="195065"/>
                                                        <a:pt x="114995" y="195519"/>
                                                        <a:pt x="111561" y="194353"/>
                                                      </a:cubicBezTo>
                                                      <a:cubicBezTo>
                                                        <a:pt x="108127" y="193251"/>
                                                        <a:pt x="105147" y="190077"/>
                                                        <a:pt x="105342" y="186514"/>
                                                      </a:cubicBezTo>
                                                      <a:cubicBezTo>
                                                        <a:pt x="105536" y="183404"/>
                                                        <a:pt x="108127" y="180618"/>
                                                        <a:pt x="107804" y="177508"/>
                                                      </a:cubicBezTo>
                                                      <a:cubicBezTo>
                                                        <a:pt x="107480" y="174204"/>
                                                        <a:pt x="103981" y="172066"/>
                                                        <a:pt x="100742" y="171224"/>
                                                      </a:cubicBezTo>
                                                      <a:cubicBezTo>
                                                        <a:pt x="97502" y="170382"/>
                                                        <a:pt x="93939" y="170252"/>
                                                        <a:pt x="91154" y="168374"/>
                                                      </a:cubicBezTo>
                                                      <a:cubicBezTo>
                                                        <a:pt x="88368" y="166495"/>
                                                        <a:pt x="87007" y="161960"/>
                                                        <a:pt x="89599" y="159887"/>
                                                      </a:cubicBezTo>
                                                      <a:cubicBezTo>
                                                        <a:pt x="85323" y="160470"/>
                                                        <a:pt x="80723" y="160988"/>
                                                        <a:pt x="76836" y="159174"/>
                                                      </a:cubicBezTo>
                                                      <a:cubicBezTo>
                                                        <a:pt x="72884" y="157360"/>
                                                        <a:pt x="70163" y="152307"/>
                                                        <a:pt x="72366" y="148614"/>
                                                      </a:cubicBezTo>
                                                      <a:cubicBezTo>
                                                        <a:pt x="73143" y="147318"/>
                                                        <a:pt x="74309" y="146411"/>
                                                        <a:pt x="75540" y="145569"/>
                                                      </a:cubicBezTo>
                                                      <a:cubicBezTo>
                                                        <a:pt x="86165" y="138183"/>
                                                        <a:pt x="99576" y="134879"/>
                                                        <a:pt x="112403" y="136564"/>
                                                      </a:cubicBezTo>
                                                      <a:cubicBezTo>
                                                        <a:pt x="118299" y="137341"/>
                                                        <a:pt x="124194" y="139090"/>
                                                        <a:pt x="130090" y="138119"/>
                                                      </a:cubicBezTo>
                                                      <a:cubicBezTo>
                                                        <a:pt x="135985" y="137147"/>
                                                        <a:pt x="141816" y="132158"/>
                                                        <a:pt x="141039" y="126328"/>
                                                      </a:cubicBezTo>
                                                      <a:cubicBezTo>
                                                        <a:pt x="130155" y="118165"/>
                                                        <a:pt x="114736" y="116480"/>
                                                        <a:pt x="102361" y="122117"/>
                                                      </a:cubicBezTo>
                                                      <a:cubicBezTo>
                                                        <a:pt x="96401" y="124838"/>
                                                        <a:pt x="91218" y="129049"/>
                                                        <a:pt x="85064" y="131316"/>
                                                      </a:cubicBezTo>
                                                      <a:cubicBezTo>
                                                        <a:pt x="74892" y="135138"/>
                                                        <a:pt x="62713" y="132806"/>
                                                        <a:pt x="54614" y="125615"/>
                                                      </a:cubicBezTo>
                                                      <a:cubicBezTo>
                                                        <a:pt x="63101" y="118100"/>
                                                        <a:pt x="76253" y="119136"/>
                                                        <a:pt x="86165" y="113630"/>
                                                      </a:cubicBezTo>
                                                      <a:cubicBezTo>
                                                        <a:pt x="95818" y="108317"/>
                                                        <a:pt x="102815" y="96785"/>
                                                        <a:pt x="113893" y="96656"/>
                                                      </a:cubicBezTo>
                                                      <a:cubicBezTo>
                                                        <a:pt x="116938" y="96656"/>
                                                        <a:pt x="120113" y="97498"/>
                                                        <a:pt x="123028" y="96721"/>
                                                      </a:cubicBezTo>
                                                      <a:cubicBezTo>
                                                        <a:pt x="129377" y="95101"/>
                                                        <a:pt x="131515" y="87262"/>
                                                        <a:pt x="132487" y="80718"/>
                                                      </a:cubicBezTo>
                                                      <a:cubicBezTo>
                                                        <a:pt x="127498" y="77026"/>
                                                        <a:pt x="120501" y="79747"/>
                                                        <a:pt x="114995" y="82532"/>
                                                      </a:cubicBezTo>
                                                      <a:cubicBezTo>
                                                        <a:pt x="112468" y="83828"/>
                                                        <a:pt x="109941" y="85059"/>
                                                        <a:pt x="107415" y="86355"/>
                                                      </a:cubicBezTo>
                                                      <a:cubicBezTo>
                                                        <a:pt x="110654" y="77479"/>
                                                        <a:pt x="104046" y="66466"/>
                                                        <a:pt x="94717" y="65040"/>
                                                      </a:cubicBezTo>
                                                      <a:cubicBezTo>
                                                        <a:pt x="94587" y="70482"/>
                                                        <a:pt x="92449" y="75989"/>
                                                        <a:pt x="88433" y="79682"/>
                                                      </a:cubicBezTo>
                                                      <a:cubicBezTo>
                                                        <a:pt x="84351" y="83310"/>
                                                        <a:pt x="78261" y="84800"/>
                                                        <a:pt x="73208" y="82792"/>
                                                      </a:cubicBezTo>
                                                      <a:cubicBezTo>
                                                        <a:pt x="74698" y="89788"/>
                                                        <a:pt x="75216" y="98988"/>
                                                        <a:pt x="68802" y="102227"/>
                                                      </a:cubicBezTo>
                                                      <a:cubicBezTo>
                                                        <a:pt x="66535" y="103329"/>
                                                        <a:pt x="63879" y="103393"/>
                                                        <a:pt x="61352" y="103393"/>
                                                      </a:cubicBezTo>
                                                      <a:cubicBezTo>
                                                        <a:pt x="52541" y="103393"/>
                                                        <a:pt x="43083" y="103264"/>
                                                        <a:pt x="35762" y="98340"/>
                                                      </a:cubicBezTo>
                                                      <a:cubicBezTo>
                                                        <a:pt x="29672" y="94323"/>
                                                        <a:pt x="24554" y="87003"/>
                                                        <a:pt x="17298" y="87780"/>
                                                      </a:cubicBezTo>
                                                      <a:cubicBezTo>
                                                        <a:pt x="17492" y="85707"/>
                                                        <a:pt x="17622" y="83634"/>
                                                        <a:pt x="17816" y="81561"/>
                                                      </a:cubicBezTo>
                                                      <a:cubicBezTo>
                                                        <a:pt x="12892" y="79228"/>
                                                        <a:pt x="9848" y="73398"/>
                                                        <a:pt x="10819" y="68020"/>
                                                      </a:cubicBezTo>
                                                      <a:cubicBezTo>
                                                        <a:pt x="11273" y="65623"/>
                                                        <a:pt x="12504" y="63291"/>
                                                        <a:pt x="14512" y="61866"/>
                                                      </a:cubicBezTo>
                                                      <a:cubicBezTo>
                                                        <a:pt x="16067" y="60764"/>
                                                        <a:pt x="17881" y="60311"/>
                                                        <a:pt x="19630" y="59663"/>
                                                      </a:cubicBezTo>
                                                      <a:cubicBezTo>
                                                        <a:pt x="25849" y="57331"/>
                                                        <a:pt x="30967" y="52148"/>
                                                        <a:pt x="33235" y="45929"/>
                                                      </a:cubicBezTo>
                                                      <a:cubicBezTo>
                                                        <a:pt x="28311" y="41523"/>
                                                        <a:pt x="20343" y="41005"/>
                                                        <a:pt x="14836" y="44698"/>
                                                      </a:cubicBezTo>
                                                      <a:cubicBezTo>
                                                        <a:pt x="11791" y="46836"/>
                                                        <a:pt x="8357" y="50269"/>
                                                        <a:pt x="5053" y="48520"/>
                                                      </a:cubicBezTo>
                                                      <a:cubicBezTo>
                                                        <a:pt x="2851" y="47354"/>
                                                        <a:pt x="2332" y="44503"/>
                                                        <a:pt x="2008" y="42041"/>
                                                      </a:cubicBezTo>
                                                      <a:cubicBezTo>
                                                        <a:pt x="1361" y="36016"/>
                                                        <a:pt x="648" y="29991"/>
                                                        <a:pt x="0" y="23966"/>
                                                      </a:cubicBezTo>
                                                      <a:cubicBezTo>
                                                        <a:pt x="5831" y="22347"/>
                                                        <a:pt x="10560" y="17358"/>
                                                        <a:pt x="11921" y="11463"/>
                                                      </a:cubicBezTo>
                                                      <a:cubicBezTo>
                                                        <a:pt x="16132" y="9195"/>
                                                        <a:pt x="22092" y="11268"/>
                                                        <a:pt x="24036" y="1560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3" name="Freeform: Shape 79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D2CADBD-2045-46B7-8C5F-0FDB8643188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473883" y="1524306"/>
                                                  <a:ext cx="204891" cy="7398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4851 w 204891"/>
                                                    <a:gd name="connsiteY0" fmla="*/ 14303 h 73987"/>
                                                    <a:gd name="connsiteX1" fmla="*/ 182279 w 204891"/>
                                                    <a:gd name="connsiteY1" fmla="*/ 19422 h 73987"/>
                                                    <a:gd name="connsiteX2" fmla="*/ 184351 w 204891"/>
                                                    <a:gd name="connsiteY2" fmla="*/ 26418 h 73987"/>
                                                    <a:gd name="connsiteX3" fmla="*/ 195560 w 204891"/>
                                                    <a:gd name="connsiteY3" fmla="*/ 24993 h 73987"/>
                                                    <a:gd name="connsiteX4" fmla="*/ 198151 w 204891"/>
                                                    <a:gd name="connsiteY4" fmla="*/ 25058 h 73987"/>
                                                    <a:gd name="connsiteX5" fmla="*/ 204629 w 204891"/>
                                                    <a:gd name="connsiteY5" fmla="*/ 31277 h 73987"/>
                                                    <a:gd name="connsiteX6" fmla="*/ 201585 w 204891"/>
                                                    <a:gd name="connsiteY6" fmla="*/ 38987 h 73987"/>
                                                    <a:gd name="connsiteX7" fmla="*/ 193227 w 204891"/>
                                                    <a:gd name="connsiteY7" fmla="*/ 41643 h 73987"/>
                                                    <a:gd name="connsiteX8" fmla="*/ 190312 w 204891"/>
                                                    <a:gd name="connsiteY8" fmla="*/ 51426 h 73987"/>
                                                    <a:gd name="connsiteX9" fmla="*/ 181307 w 204891"/>
                                                    <a:gd name="connsiteY9" fmla="*/ 53758 h 73987"/>
                                                    <a:gd name="connsiteX10" fmla="*/ 168933 w 204891"/>
                                                    <a:gd name="connsiteY10" fmla="*/ 63929 h 73987"/>
                                                    <a:gd name="connsiteX11" fmla="*/ 151635 w 204891"/>
                                                    <a:gd name="connsiteY11" fmla="*/ 62569 h 73987"/>
                                                    <a:gd name="connsiteX12" fmla="*/ 149302 w 204891"/>
                                                    <a:gd name="connsiteY12" fmla="*/ 62958 h 73987"/>
                                                    <a:gd name="connsiteX13" fmla="*/ 147942 w 204891"/>
                                                    <a:gd name="connsiteY13" fmla="*/ 66326 h 73987"/>
                                                    <a:gd name="connsiteX14" fmla="*/ 140686 w 204891"/>
                                                    <a:gd name="connsiteY14" fmla="*/ 73259 h 73987"/>
                                                    <a:gd name="connsiteX15" fmla="*/ 130191 w 204891"/>
                                                    <a:gd name="connsiteY15" fmla="*/ 73777 h 73987"/>
                                                    <a:gd name="connsiteX16" fmla="*/ 122611 w 204891"/>
                                                    <a:gd name="connsiteY16" fmla="*/ 72092 h 73987"/>
                                                    <a:gd name="connsiteX17" fmla="*/ 114383 w 204891"/>
                                                    <a:gd name="connsiteY17" fmla="*/ 63605 h 73987"/>
                                                    <a:gd name="connsiteX18" fmla="*/ 95466 w 204891"/>
                                                    <a:gd name="connsiteY18" fmla="*/ 61727 h 73987"/>
                                                    <a:gd name="connsiteX19" fmla="*/ 74021 w 204891"/>
                                                    <a:gd name="connsiteY19" fmla="*/ 63670 h 73987"/>
                                                    <a:gd name="connsiteX20" fmla="*/ 47459 w 204891"/>
                                                    <a:gd name="connsiteY20" fmla="*/ 55961 h 73987"/>
                                                    <a:gd name="connsiteX21" fmla="*/ 45516 w 204891"/>
                                                    <a:gd name="connsiteY21" fmla="*/ 52333 h 73987"/>
                                                    <a:gd name="connsiteX22" fmla="*/ 54974 w 204891"/>
                                                    <a:gd name="connsiteY22" fmla="*/ 46891 h 73987"/>
                                                    <a:gd name="connsiteX23" fmla="*/ 71365 w 204891"/>
                                                    <a:gd name="connsiteY23" fmla="*/ 47150 h 73987"/>
                                                    <a:gd name="connsiteX24" fmla="*/ 80046 w 204891"/>
                                                    <a:gd name="connsiteY24" fmla="*/ 45336 h 73987"/>
                                                    <a:gd name="connsiteX25" fmla="*/ 86849 w 204891"/>
                                                    <a:gd name="connsiteY25" fmla="*/ 38145 h 73987"/>
                                                    <a:gd name="connsiteX26" fmla="*/ 91773 w 204891"/>
                                                    <a:gd name="connsiteY26" fmla="*/ 37432 h 73987"/>
                                                    <a:gd name="connsiteX27" fmla="*/ 94882 w 204891"/>
                                                    <a:gd name="connsiteY27" fmla="*/ 34128 h 73987"/>
                                                    <a:gd name="connsiteX28" fmla="*/ 93133 w 204891"/>
                                                    <a:gd name="connsiteY28" fmla="*/ 31860 h 73987"/>
                                                    <a:gd name="connsiteX29" fmla="*/ 60870 w 204891"/>
                                                    <a:gd name="connsiteY29" fmla="*/ 32508 h 73987"/>
                                                    <a:gd name="connsiteX30" fmla="*/ 23229 w 204891"/>
                                                    <a:gd name="connsiteY30" fmla="*/ 39116 h 73987"/>
                                                    <a:gd name="connsiteX31" fmla="*/ 11892 w 204891"/>
                                                    <a:gd name="connsiteY31" fmla="*/ 34322 h 73987"/>
                                                    <a:gd name="connsiteX32" fmla="*/ 11892 w 204891"/>
                                                    <a:gd name="connsiteY32" fmla="*/ 22596 h 73987"/>
                                                    <a:gd name="connsiteX33" fmla="*/ 7422 w 204891"/>
                                                    <a:gd name="connsiteY33" fmla="*/ 19875 h 73987"/>
                                                    <a:gd name="connsiteX34" fmla="*/ 1202 w 204891"/>
                                                    <a:gd name="connsiteY34" fmla="*/ 2059 h 73987"/>
                                                    <a:gd name="connsiteX35" fmla="*/ 10661 w 204891"/>
                                                    <a:gd name="connsiteY35" fmla="*/ 245 h 73987"/>
                                                    <a:gd name="connsiteX36" fmla="*/ 13641 w 204891"/>
                                                    <a:gd name="connsiteY36" fmla="*/ 7371 h 73987"/>
                                                    <a:gd name="connsiteX37" fmla="*/ 20444 w 204891"/>
                                                    <a:gd name="connsiteY37" fmla="*/ 9963 h 73987"/>
                                                    <a:gd name="connsiteX38" fmla="*/ 22517 w 204891"/>
                                                    <a:gd name="connsiteY38" fmla="*/ 14822 h 73987"/>
                                                    <a:gd name="connsiteX39" fmla="*/ 27311 w 204891"/>
                                                    <a:gd name="connsiteY39" fmla="*/ 15599 h 73987"/>
                                                    <a:gd name="connsiteX40" fmla="*/ 28736 w 204891"/>
                                                    <a:gd name="connsiteY40" fmla="*/ 8667 h 73987"/>
                                                    <a:gd name="connsiteX41" fmla="*/ 41758 w 204891"/>
                                                    <a:gd name="connsiteY41" fmla="*/ 4262 h 73987"/>
                                                    <a:gd name="connsiteX42" fmla="*/ 63526 w 204891"/>
                                                    <a:gd name="connsiteY42" fmla="*/ 2189 h 73987"/>
                                                    <a:gd name="connsiteX43" fmla="*/ 65340 w 204891"/>
                                                    <a:gd name="connsiteY43" fmla="*/ 11129 h 73987"/>
                                                    <a:gd name="connsiteX44" fmla="*/ 74151 w 204891"/>
                                                    <a:gd name="connsiteY44" fmla="*/ 12166 h 73987"/>
                                                    <a:gd name="connsiteX45" fmla="*/ 82897 w 204891"/>
                                                    <a:gd name="connsiteY45" fmla="*/ 7760 h 73987"/>
                                                    <a:gd name="connsiteX46" fmla="*/ 94364 w 204891"/>
                                                    <a:gd name="connsiteY46" fmla="*/ 14498 h 73987"/>
                                                    <a:gd name="connsiteX47" fmla="*/ 106544 w 204891"/>
                                                    <a:gd name="connsiteY47" fmla="*/ 17413 h 73987"/>
                                                    <a:gd name="connsiteX48" fmla="*/ 108876 w 204891"/>
                                                    <a:gd name="connsiteY48" fmla="*/ 21495 h 73987"/>
                                                    <a:gd name="connsiteX49" fmla="*/ 109913 w 204891"/>
                                                    <a:gd name="connsiteY49" fmla="*/ 14498 h 73987"/>
                                                    <a:gd name="connsiteX50" fmla="*/ 104665 w 204891"/>
                                                    <a:gd name="connsiteY50" fmla="*/ 8473 h 73987"/>
                                                    <a:gd name="connsiteX51" fmla="*/ 104665 w 204891"/>
                                                    <a:gd name="connsiteY51" fmla="*/ 1217 h 73987"/>
                                                    <a:gd name="connsiteX52" fmla="*/ 117687 w 204891"/>
                                                    <a:gd name="connsiteY52" fmla="*/ 4132 h 73987"/>
                                                    <a:gd name="connsiteX53" fmla="*/ 122546 w 204891"/>
                                                    <a:gd name="connsiteY53" fmla="*/ 11647 h 73987"/>
                                                    <a:gd name="connsiteX54" fmla="*/ 137641 w 204891"/>
                                                    <a:gd name="connsiteY54" fmla="*/ 12425 h 73987"/>
                                                    <a:gd name="connsiteX55" fmla="*/ 153060 w 204891"/>
                                                    <a:gd name="connsiteY55" fmla="*/ 10740 h 73987"/>
                                                    <a:gd name="connsiteX56" fmla="*/ 157660 w 204891"/>
                                                    <a:gd name="connsiteY56" fmla="*/ 15470 h 73987"/>
                                                    <a:gd name="connsiteX57" fmla="*/ 164916 w 204891"/>
                                                    <a:gd name="connsiteY57" fmla="*/ 14368 h 7398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04891" h="73987">
                                                      <a:moveTo>
                                                        <a:pt x="164851" y="14303"/>
                                                      </a:moveTo>
                                                      <a:cubicBezTo>
                                                        <a:pt x="171005" y="13137"/>
                                                        <a:pt x="177743" y="15081"/>
                                                        <a:pt x="182279" y="19422"/>
                                                      </a:cubicBezTo>
                                                      <a:cubicBezTo>
                                                        <a:pt x="182991" y="21754"/>
                                                        <a:pt x="183639" y="24086"/>
                                                        <a:pt x="184351" y="26418"/>
                                                      </a:cubicBezTo>
                                                      <a:lnTo>
                                                        <a:pt x="195560" y="24993"/>
                                                      </a:lnTo>
                                                      <a:cubicBezTo>
                                                        <a:pt x="196402" y="24864"/>
                                                        <a:pt x="197308" y="24799"/>
                                                        <a:pt x="198151" y="25058"/>
                                                      </a:cubicBezTo>
                                                      <a:cubicBezTo>
                                                        <a:pt x="201131" y="26159"/>
                                                        <a:pt x="201520" y="31601"/>
                                                        <a:pt x="204629" y="31277"/>
                                                      </a:cubicBezTo>
                                                      <a:cubicBezTo>
                                                        <a:pt x="205536" y="34063"/>
                                                        <a:pt x="203982" y="37238"/>
                                                        <a:pt x="201585" y="38987"/>
                                                      </a:cubicBezTo>
                                                      <a:cubicBezTo>
                                                        <a:pt x="199188" y="40736"/>
                                                        <a:pt x="196207" y="41319"/>
                                                        <a:pt x="193227" y="41643"/>
                                                      </a:cubicBezTo>
                                                      <a:cubicBezTo>
                                                        <a:pt x="192838" y="45077"/>
                                                        <a:pt x="192320" y="48640"/>
                                                        <a:pt x="190312" y="51426"/>
                                                      </a:cubicBezTo>
                                                      <a:cubicBezTo>
                                                        <a:pt x="188304" y="54211"/>
                                                        <a:pt x="184092" y="55702"/>
                                                        <a:pt x="181307" y="53758"/>
                                                      </a:cubicBezTo>
                                                      <a:cubicBezTo>
                                                        <a:pt x="180723" y="59524"/>
                                                        <a:pt x="174633" y="63282"/>
                                                        <a:pt x="168933" y="63929"/>
                                                      </a:cubicBezTo>
                                                      <a:cubicBezTo>
                                                        <a:pt x="163167" y="64577"/>
                                                        <a:pt x="157466" y="62958"/>
                                                        <a:pt x="151635" y="62569"/>
                                                      </a:cubicBezTo>
                                                      <a:cubicBezTo>
                                                        <a:pt x="150792" y="62569"/>
                                                        <a:pt x="149950" y="62504"/>
                                                        <a:pt x="149302" y="62958"/>
                                                      </a:cubicBezTo>
                                                      <a:cubicBezTo>
                                                        <a:pt x="148266" y="63670"/>
                                                        <a:pt x="148201" y="65160"/>
                                                        <a:pt x="147942" y="66326"/>
                                                      </a:cubicBezTo>
                                                      <a:cubicBezTo>
                                                        <a:pt x="147164" y="69760"/>
                                                        <a:pt x="144055" y="72287"/>
                                                        <a:pt x="140686" y="73259"/>
                                                      </a:cubicBezTo>
                                                      <a:cubicBezTo>
                                                        <a:pt x="137317" y="74230"/>
                                                        <a:pt x="133689" y="74036"/>
                                                        <a:pt x="130191" y="73777"/>
                                                      </a:cubicBezTo>
                                                      <a:cubicBezTo>
                                                        <a:pt x="127599" y="73582"/>
                                                        <a:pt x="124878" y="73388"/>
                                                        <a:pt x="122611" y="72092"/>
                                                      </a:cubicBezTo>
                                                      <a:cubicBezTo>
                                                        <a:pt x="119177" y="70149"/>
                                                        <a:pt x="117493" y="66067"/>
                                                        <a:pt x="114383" y="63605"/>
                                                      </a:cubicBezTo>
                                                      <a:cubicBezTo>
                                                        <a:pt x="109265" y="59524"/>
                                                        <a:pt x="101944" y="60690"/>
                                                        <a:pt x="95466" y="61727"/>
                                                      </a:cubicBezTo>
                                                      <a:cubicBezTo>
                                                        <a:pt x="88339" y="62828"/>
                                                        <a:pt x="81213" y="63476"/>
                                                        <a:pt x="74021" y="63670"/>
                                                      </a:cubicBezTo>
                                                      <a:cubicBezTo>
                                                        <a:pt x="64498" y="63929"/>
                                                        <a:pt x="53938" y="62893"/>
                                                        <a:pt x="47459" y="55961"/>
                                                      </a:cubicBezTo>
                                                      <a:cubicBezTo>
                                                        <a:pt x="46488" y="54924"/>
                                                        <a:pt x="45645" y="53693"/>
                                                        <a:pt x="45516" y="52333"/>
                                                      </a:cubicBezTo>
                                                      <a:cubicBezTo>
                                                        <a:pt x="45192" y="48251"/>
                                                        <a:pt x="50828" y="46826"/>
                                                        <a:pt x="54974" y="46891"/>
                                                      </a:cubicBezTo>
                                                      <a:cubicBezTo>
                                                        <a:pt x="60417" y="46956"/>
                                                        <a:pt x="65923" y="47085"/>
                                                        <a:pt x="71365" y="47150"/>
                                                      </a:cubicBezTo>
                                                      <a:cubicBezTo>
                                                        <a:pt x="74410" y="47150"/>
                                                        <a:pt x="77649" y="47150"/>
                                                        <a:pt x="80046" y="45336"/>
                                                      </a:cubicBezTo>
                                                      <a:cubicBezTo>
                                                        <a:pt x="82703" y="43263"/>
                                                        <a:pt x="83739" y="39376"/>
                                                        <a:pt x="86849" y="38145"/>
                                                      </a:cubicBezTo>
                                                      <a:cubicBezTo>
                                                        <a:pt x="88404" y="37562"/>
                                                        <a:pt x="90153" y="37756"/>
                                                        <a:pt x="91773" y="37432"/>
                                                      </a:cubicBezTo>
                                                      <a:cubicBezTo>
                                                        <a:pt x="93392" y="37108"/>
                                                        <a:pt x="95142" y="35812"/>
                                                        <a:pt x="94882" y="34128"/>
                                                      </a:cubicBezTo>
                                                      <a:cubicBezTo>
                                                        <a:pt x="94753" y="33156"/>
                                                        <a:pt x="93911" y="32444"/>
                                                        <a:pt x="93133" y="31860"/>
                                                      </a:cubicBezTo>
                                                      <a:cubicBezTo>
                                                        <a:pt x="84063" y="25317"/>
                                                        <a:pt x="71560" y="29334"/>
                                                        <a:pt x="60870" y="32508"/>
                                                      </a:cubicBezTo>
                                                      <a:cubicBezTo>
                                                        <a:pt x="48626" y="36136"/>
                                                        <a:pt x="35992" y="38339"/>
                                                        <a:pt x="23229" y="39116"/>
                                                      </a:cubicBezTo>
                                                      <a:cubicBezTo>
                                                        <a:pt x="18759" y="39376"/>
                                                        <a:pt x="13058" y="38598"/>
                                                        <a:pt x="11892" y="34322"/>
                                                      </a:cubicBezTo>
                                                      <a:cubicBezTo>
                                                        <a:pt x="10791" y="30435"/>
                                                        <a:pt x="14289" y="25835"/>
                                                        <a:pt x="11892" y="22596"/>
                                                      </a:cubicBezTo>
                                                      <a:cubicBezTo>
                                                        <a:pt x="10855" y="21171"/>
                                                        <a:pt x="8977" y="20653"/>
                                                        <a:pt x="7422" y="19875"/>
                                                      </a:cubicBezTo>
                                                      <a:cubicBezTo>
                                                        <a:pt x="1138" y="16830"/>
                                                        <a:pt x="-1843" y="8343"/>
                                                        <a:pt x="1202" y="2059"/>
                                                      </a:cubicBezTo>
                                                      <a:cubicBezTo>
                                                        <a:pt x="3988" y="245"/>
                                                        <a:pt x="7422" y="-403"/>
                                                        <a:pt x="10661" y="245"/>
                                                      </a:cubicBezTo>
                                                      <a:cubicBezTo>
                                                        <a:pt x="11309" y="2772"/>
                                                        <a:pt x="12021" y="5298"/>
                                                        <a:pt x="13641" y="7371"/>
                                                      </a:cubicBezTo>
                                                      <a:cubicBezTo>
                                                        <a:pt x="15261" y="9380"/>
                                                        <a:pt x="17982" y="10740"/>
                                                        <a:pt x="20444" y="9963"/>
                                                      </a:cubicBezTo>
                                                      <a:cubicBezTo>
                                                        <a:pt x="20832" y="11712"/>
                                                        <a:pt x="21351" y="13526"/>
                                                        <a:pt x="22517" y="14822"/>
                                                      </a:cubicBezTo>
                                                      <a:cubicBezTo>
                                                        <a:pt x="23748" y="16118"/>
                                                        <a:pt x="25951" y="16701"/>
                                                        <a:pt x="27311" y="15599"/>
                                                      </a:cubicBezTo>
                                                      <a:cubicBezTo>
                                                        <a:pt x="29190" y="14044"/>
                                                        <a:pt x="28153" y="10999"/>
                                                        <a:pt x="28736" y="8667"/>
                                                      </a:cubicBezTo>
                                                      <a:cubicBezTo>
                                                        <a:pt x="29967" y="3808"/>
                                                        <a:pt x="36770" y="3808"/>
                                                        <a:pt x="41758" y="4262"/>
                                                      </a:cubicBezTo>
                                                      <a:cubicBezTo>
                                                        <a:pt x="49079" y="4974"/>
                                                        <a:pt x="56464" y="4262"/>
                                                        <a:pt x="63526" y="2189"/>
                                                      </a:cubicBezTo>
                                                      <a:cubicBezTo>
                                                        <a:pt x="65923" y="4197"/>
                                                        <a:pt x="63915" y="8343"/>
                                                        <a:pt x="65340" y="11129"/>
                                                      </a:cubicBezTo>
                                                      <a:cubicBezTo>
                                                        <a:pt x="66895" y="14044"/>
                                                        <a:pt x="71236" y="13720"/>
                                                        <a:pt x="74151" y="12166"/>
                                                      </a:cubicBezTo>
                                                      <a:cubicBezTo>
                                                        <a:pt x="77002" y="10546"/>
                                                        <a:pt x="79593" y="8084"/>
                                                        <a:pt x="82897" y="7760"/>
                                                      </a:cubicBezTo>
                                                      <a:cubicBezTo>
                                                        <a:pt x="87432" y="7371"/>
                                                        <a:pt x="91060" y="11323"/>
                                                        <a:pt x="94364" y="14498"/>
                                                      </a:cubicBezTo>
                                                      <a:cubicBezTo>
                                                        <a:pt x="97668" y="17672"/>
                                                        <a:pt x="102980" y="20329"/>
                                                        <a:pt x="106544" y="17413"/>
                                                      </a:cubicBezTo>
                                                      <a:cubicBezTo>
                                                        <a:pt x="107321" y="18774"/>
                                                        <a:pt x="108099" y="20134"/>
                                                        <a:pt x="108876" y="21495"/>
                                                      </a:cubicBezTo>
                                                      <a:cubicBezTo>
                                                        <a:pt x="111273" y="20329"/>
                                                        <a:pt x="111273" y="16765"/>
                                                        <a:pt x="109913" y="14498"/>
                                                      </a:cubicBezTo>
                                                      <a:cubicBezTo>
                                                        <a:pt x="108552" y="12230"/>
                                                        <a:pt x="106220" y="10611"/>
                                                        <a:pt x="104665" y="8473"/>
                                                      </a:cubicBezTo>
                                                      <a:cubicBezTo>
                                                        <a:pt x="103110" y="6335"/>
                                                        <a:pt x="102592" y="2901"/>
                                                        <a:pt x="104665" y="1217"/>
                                                      </a:cubicBezTo>
                                                      <a:cubicBezTo>
                                                        <a:pt x="108941" y="-921"/>
                                                        <a:pt x="114707" y="310"/>
                                                        <a:pt x="117687" y="4132"/>
                                                      </a:cubicBezTo>
                                                      <a:cubicBezTo>
                                                        <a:pt x="119566" y="6464"/>
                                                        <a:pt x="120343" y="9574"/>
                                                        <a:pt x="122546" y="11647"/>
                                                      </a:cubicBezTo>
                                                      <a:cubicBezTo>
                                                        <a:pt x="126368" y="15275"/>
                                                        <a:pt x="132652" y="14174"/>
                                                        <a:pt x="137641" y="12425"/>
                                                      </a:cubicBezTo>
                                                      <a:cubicBezTo>
                                                        <a:pt x="142629" y="10676"/>
                                                        <a:pt x="148266" y="8473"/>
                                                        <a:pt x="153060" y="10740"/>
                                                      </a:cubicBezTo>
                                                      <a:cubicBezTo>
                                                        <a:pt x="152671" y="13137"/>
                                                        <a:pt x="155198" y="15211"/>
                                                        <a:pt x="157660" y="15470"/>
                                                      </a:cubicBezTo>
                                                      <a:cubicBezTo>
                                                        <a:pt x="160122" y="15729"/>
                                                        <a:pt x="162519" y="14822"/>
                                                        <a:pt x="164916" y="1436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4" name="Freeform: Shape 79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C26925B-D060-4F20-B2B5-9A978340C11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09098" y="5899919"/>
                                                  <a:ext cx="31995" cy="4334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146 w 31995"/>
                                                    <a:gd name="connsiteY0" fmla="*/ 20084 h 43341"/>
                                                    <a:gd name="connsiteX1" fmla="*/ 7645 w 31995"/>
                                                    <a:gd name="connsiteY1" fmla="*/ 18464 h 43341"/>
                                                    <a:gd name="connsiteX2" fmla="*/ 8746 w 31995"/>
                                                    <a:gd name="connsiteY2" fmla="*/ 9459 h 43341"/>
                                                    <a:gd name="connsiteX3" fmla="*/ 17492 w 31995"/>
                                                    <a:gd name="connsiteY3" fmla="*/ 3823 h 43341"/>
                                                    <a:gd name="connsiteX4" fmla="*/ 18788 w 31995"/>
                                                    <a:gd name="connsiteY4" fmla="*/ 454 h 43341"/>
                                                    <a:gd name="connsiteX5" fmla="*/ 21055 w 31995"/>
                                                    <a:gd name="connsiteY5" fmla="*/ 0 h 43341"/>
                                                    <a:gd name="connsiteX6" fmla="*/ 27923 w 31995"/>
                                                    <a:gd name="connsiteY6" fmla="*/ 0 h 43341"/>
                                                    <a:gd name="connsiteX7" fmla="*/ 29607 w 31995"/>
                                                    <a:gd name="connsiteY7" fmla="*/ 195 h 43341"/>
                                                    <a:gd name="connsiteX8" fmla="*/ 31032 w 31995"/>
                                                    <a:gd name="connsiteY8" fmla="*/ 1490 h 43341"/>
                                                    <a:gd name="connsiteX9" fmla="*/ 29283 w 31995"/>
                                                    <a:gd name="connsiteY9" fmla="*/ 9977 h 43341"/>
                                                    <a:gd name="connsiteX10" fmla="*/ 27080 w 31995"/>
                                                    <a:gd name="connsiteY10" fmla="*/ 11402 h 43341"/>
                                                    <a:gd name="connsiteX11" fmla="*/ 27404 w 31995"/>
                                                    <a:gd name="connsiteY11" fmla="*/ 21768 h 43341"/>
                                                    <a:gd name="connsiteX12" fmla="*/ 18723 w 31995"/>
                                                    <a:gd name="connsiteY12" fmla="*/ 25396 h 43341"/>
                                                    <a:gd name="connsiteX13" fmla="*/ 15225 w 31995"/>
                                                    <a:gd name="connsiteY13" fmla="*/ 31292 h 43341"/>
                                                    <a:gd name="connsiteX14" fmla="*/ 0 w 31995"/>
                                                    <a:gd name="connsiteY14" fmla="*/ 43342 h 43341"/>
                                                    <a:gd name="connsiteX15" fmla="*/ 518 w 31995"/>
                                                    <a:gd name="connsiteY15" fmla="*/ 29154 h 43341"/>
                                                    <a:gd name="connsiteX16" fmla="*/ 4211 w 31995"/>
                                                    <a:gd name="connsiteY16" fmla="*/ 20019 h 4334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1995" h="43341">
                                                      <a:moveTo>
                                                        <a:pt x="4146" y="20084"/>
                                                      </a:moveTo>
                                                      <a:cubicBezTo>
                                                        <a:pt x="5312" y="19501"/>
                                                        <a:pt x="6673" y="19306"/>
                                                        <a:pt x="7645" y="18464"/>
                                                      </a:cubicBezTo>
                                                      <a:cubicBezTo>
                                                        <a:pt x="9977" y="16391"/>
                                                        <a:pt x="7969" y="12439"/>
                                                        <a:pt x="8746" y="9459"/>
                                                      </a:cubicBezTo>
                                                      <a:cubicBezTo>
                                                        <a:pt x="12504" y="10236"/>
                                                        <a:pt x="16650" y="7580"/>
                                                        <a:pt x="17492" y="3823"/>
                                                      </a:cubicBezTo>
                                                      <a:cubicBezTo>
                                                        <a:pt x="17751" y="2592"/>
                                                        <a:pt x="17816" y="1166"/>
                                                        <a:pt x="18788" y="454"/>
                                                      </a:cubicBezTo>
                                                      <a:cubicBezTo>
                                                        <a:pt x="19436" y="0"/>
                                                        <a:pt x="20278" y="0"/>
                                                        <a:pt x="21055" y="0"/>
                                                      </a:cubicBezTo>
                                                      <a:cubicBezTo>
                                                        <a:pt x="23323" y="0"/>
                                                        <a:pt x="25590" y="0"/>
                                                        <a:pt x="27923" y="0"/>
                                                      </a:cubicBezTo>
                                                      <a:cubicBezTo>
                                                        <a:pt x="28506" y="0"/>
                                                        <a:pt x="29089" y="0"/>
                                                        <a:pt x="29607" y="195"/>
                                                      </a:cubicBezTo>
                                                      <a:cubicBezTo>
                                                        <a:pt x="30190" y="454"/>
                                                        <a:pt x="30644" y="907"/>
                                                        <a:pt x="31032" y="1490"/>
                                                      </a:cubicBezTo>
                                                      <a:cubicBezTo>
                                                        <a:pt x="32846" y="4146"/>
                                                        <a:pt x="32004" y="8228"/>
                                                        <a:pt x="29283" y="9977"/>
                                                      </a:cubicBezTo>
                                                      <a:cubicBezTo>
                                                        <a:pt x="28571" y="10431"/>
                                                        <a:pt x="27664" y="10755"/>
                                                        <a:pt x="27080" y="11402"/>
                                                      </a:cubicBezTo>
                                                      <a:cubicBezTo>
                                                        <a:pt x="24683" y="14059"/>
                                                        <a:pt x="29024" y="18529"/>
                                                        <a:pt x="27404" y="21768"/>
                                                      </a:cubicBezTo>
                                                      <a:cubicBezTo>
                                                        <a:pt x="25914" y="24619"/>
                                                        <a:pt x="21444" y="23647"/>
                                                        <a:pt x="18723" y="25396"/>
                                                      </a:cubicBezTo>
                                                      <a:cubicBezTo>
                                                        <a:pt x="16779" y="26692"/>
                                                        <a:pt x="16132" y="29154"/>
                                                        <a:pt x="15225" y="31292"/>
                                                      </a:cubicBezTo>
                                                      <a:cubicBezTo>
                                                        <a:pt x="12568" y="37511"/>
                                                        <a:pt x="6673" y="42240"/>
                                                        <a:pt x="0" y="43342"/>
                                                      </a:cubicBezTo>
                                                      <a:cubicBezTo>
                                                        <a:pt x="194" y="38612"/>
                                                        <a:pt x="324" y="33883"/>
                                                        <a:pt x="518" y="29154"/>
                                                      </a:cubicBezTo>
                                                      <a:cubicBezTo>
                                                        <a:pt x="648" y="25720"/>
                                                        <a:pt x="1166" y="21639"/>
                                                        <a:pt x="4211" y="2001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5" name="Freeform: Shape 79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6E4A70A-81B2-43F8-A867-F3D799A04D6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43620" y="5911386"/>
                                                  <a:ext cx="37963" cy="1872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075 w 37963"/>
                                                    <a:gd name="connsiteY0" fmla="*/ 4082 h 18723"/>
                                                    <a:gd name="connsiteX1" fmla="*/ 17824 w 37963"/>
                                                    <a:gd name="connsiteY1" fmla="*/ 1814 h 18723"/>
                                                    <a:gd name="connsiteX2" fmla="*/ 23914 w 37963"/>
                                                    <a:gd name="connsiteY2" fmla="*/ 0 h 18723"/>
                                                    <a:gd name="connsiteX3" fmla="*/ 33891 w 37963"/>
                                                    <a:gd name="connsiteY3" fmla="*/ 130 h 18723"/>
                                                    <a:gd name="connsiteX4" fmla="*/ 36871 w 37963"/>
                                                    <a:gd name="connsiteY4" fmla="*/ 842 h 18723"/>
                                                    <a:gd name="connsiteX5" fmla="*/ 37584 w 37963"/>
                                                    <a:gd name="connsiteY5" fmla="*/ 6025 h 18723"/>
                                                    <a:gd name="connsiteX6" fmla="*/ 34928 w 37963"/>
                                                    <a:gd name="connsiteY6" fmla="*/ 16520 h 18723"/>
                                                    <a:gd name="connsiteX7" fmla="*/ 34604 w 37963"/>
                                                    <a:gd name="connsiteY7" fmla="*/ 17298 h 18723"/>
                                                    <a:gd name="connsiteX8" fmla="*/ 32466 w 37963"/>
                                                    <a:gd name="connsiteY8" fmla="*/ 17946 h 18723"/>
                                                    <a:gd name="connsiteX9" fmla="*/ 6033 w 37963"/>
                                                    <a:gd name="connsiteY9" fmla="*/ 17168 h 18723"/>
                                                    <a:gd name="connsiteX10" fmla="*/ 721 w 37963"/>
                                                    <a:gd name="connsiteY10" fmla="*/ 18723 h 18723"/>
                                                    <a:gd name="connsiteX11" fmla="*/ 1369 w 37963"/>
                                                    <a:gd name="connsiteY11" fmla="*/ 11661 h 18723"/>
                                                    <a:gd name="connsiteX12" fmla="*/ 9078 w 37963"/>
                                                    <a:gd name="connsiteY12" fmla="*/ 9005 h 18723"/>
                                                    <a:gd name="connsiteX13" fmla="*/ 10698 w 37963"/>
                                                    <a:gd name="connsiteY13" fmla="*/ 4859 h 18723"/>
                                                    <a:gd name="connsiteX14" fmla="*/ 16075 w 37963"/>
                                                    <a:gd name="connsiteY14" fmla="*/ 4082 h 1872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7963" h="18723">
                                                      <a:moveTo>
                                                        <a:pt x="16075" y="4082"/>
                                                      </a:moveTo>
                                                      <a:cubicBezTo>
                                                        <a:pt x="16917" y="3563"/>
                                                        <a:pt x="17241" y="2592"/>
                                                        <a:pt x="17824" y="1814"/>
                                                      </a:cubicBezTo>
                                                      <a:cubicBezTo>
                                                        <a:pt x="19185" y="130"/>
                                                        <a:pt x="21711" y="0"/>
                                                        <a:pt x="23914" y="0"/>
                                                      </a:cubicBezTo>
                                                      <a:cubicBezTo>
                                                        <a:pt x="27218" y="0"/>
                                                        <a:pt x="30587" y="65"/>
                                                        <a:pt x="33891" y="130"/>
                                                      </a:cubicBezTo>
                                                      <a:cubicBezTo>
                                                        <a:pt x="34928" y="130"/>
                                                        <a:pt x="36029" y="130"/>
                                                        <a:pt x="36871" y="842"/>
                                                      </a:cubicBezTo>
                                                      <a:cubicBezTo>
                                                        <a:pt x="38361" y="2008"/>
                                                        <a:pt x="38037" y="4211"/>
                                                        <a:pt x="37584" y="6025"/>
                                                      </a:cubicBezTo>
                                                      <a:cubicBezTo>
                                                        <a:pt x="36677" y="9524"/>
                                                        <a:pt x="35835" y="13022"/>
                                                        <a:pt x="34928" y="16520"/>
                                                      </a:cubicBezTo>
                                                      <a:cubicBezTo>
                                                        <a:pt x="34863" y="16780"/>
                                                        <a:pt x="34798" y="17039"/>
                                                        <a:pt x="34604" y="17298"/>
                                                      </a:cubicBezTo>
                                                      <a:cubicBezTo>
                                                        <a:pt x="34150" y="17946"/>
                                                        <a:pt x="33243" y="18011"/>
                                                        <a:pt x="32466" y="17946"/>
                                                      </a:cubicBezTo>
                                                      <a:cubicBezTo>
                                                        <a:pt x="23655" y="17686"/>
                                                        <a:pt x="14844" y="17427"/>
                                                        <a:pt x="6033" y="17168"/>
                                                      </a:cubicBezTo>
                                                      <a:cubicBezTo>
                                                        <a:pt x="4090" y="17168"/>
                                                        <a:pt x="1887" y="17168"/>
                                                        <a:pt x="721" y="18723"/>
                                                      </a:cubicBezTo>
                                                      <a:cubicBezTo>
                                                        <a:pt x="-57" y="16326"/>
                                                        <a:pt x="-640" y="13216"/>
                                                        <a:pt x="1369" y="11661"/>
                                                      </a:cubicBezTo>
                                                      <a:cubicBezTo>
                                                        <a:pt x="3571" y="9912"/>
                                                        <a:pt x="7588" y="11338"/>
                                                        <a:pt x="9078" y="9005"/>
                                                      </a:cubicBezTo>
                                                      <a:cubicBezTo>
                                                        <a:pt x="9921" y="7710"/>
                                                        <a:pt x="9532" y="5831"/>
                                                        <a:pt x="10698" y="4859"/>
                                                      </a:cubicBezTo>
                                                      <a:cubicBezTo>
                                                        <a:pt x="12123" y="3693"/>
                                                        <a:pt x="14520" y="5053"/>
                                                        <a:pt x="16075" y="408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6" name="Freeform: Shape 79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5353F20-9D12-4CBA-84DB-6CA75CE024B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087346" y="4713906"/>
                                                  <a:ext cx="172955" cy="37301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07509 w 172955"/>
                                                    <a:gd name="connsiteY0" fmla="*/ 62240 h 373017"/>
                                                    <a:gd name="connsiteX1" fmla="*/ 108740 w 172955"/>
                                                    <a:gd name="connsiteY1" fmla="*/ 43128 h 373017"/>
                                                    <a:gd name="connsiteX2" fmla="*/ 112691 w 172955"/>
                                                    <a:gd name="connsiteY2" fmla="*/ 33475 h 373017"/>
                                                    <a:gd name="connsiteX3" fmla="*/ 123705 w 172955"/>
                                                    <a:gd name="connsiteY3" fmla="*/ 32698 h 373017"/>
                                                    <a:gd name="connsiteX4" fmla="*/ 132192 w 172955"/>
                                                    <a:gd name="connsiteY4" fmla="*/ 21749 h 373017"/>
                                                    <a:gd name="connsiteX5" fmla="*/ 134589 w 172955"/>
                                                    <a:gd name="connsiteY5" fmla="*/ 7302 h 373017"/>
                                                    <a:gd name="connsiteX6" fmla="*/ 145862 w 172955"/>
                                                    <a:gd name="connsiteY6" fmla="*/ 370 h 373017"/>
                                                    <a:gd name="connsiteX7" fmla="*/ 151434 w 172955"/>
                                                    <a:gd name="connsiteY7" fmla="*/ 5488 h 373017"/>
                                                    <a:gd name="connsiteX8" fmla="*/ 162577 w 172955"/>
                                                    <a:gd name="connsiteY8" fmla="*/ 47210 h 373017"/>
                                                    <a:gd name="connsiteX9" fmla="*/ 163678 w 172955"/>
                                                    <a:gd name="connsiteY9" fmla="*/ 63018 h 373017"/>
                                                    <a:gd name="connsiteX10" fmla="*/ 170481 w 172955"/>
                                                    <a:gd name="connsiteY10" fmla="*/ 71828 h 373017"/>
                                                    <a:gd name="connsiteX11" fmla="*/ 170481 w 172955"/>
                                                    <a:gd name="connsiteY11" fmla="*/ 94762 h 373017"/>
                                                    <a:gd name="connsiteX12" fmla="*/ 168796 w 172955"/>
                                                    <a:gd name="connsiteY12" fmla="*/ 98066 h 373017"/>
                                                    <a:gd name="connsiteX13" fmla="*/ 160309 w 172955"/>
                                                    <a:gd name="connsiteY13" fmla="*/ 96123 h 373017"/>
                                                    <a:gd name="connsiteX14" fmla="*/ 153831 w 172955"/>
                                                    <a:gd name="connsiteY14" fmla="*/ 88932 h 373017"/>
                                                    <a:gd name="connsiteX15" fmla="*/ 141068 w 172955"/>
                                                    <a:gd name="connsiteY15" fmla="*/ 96641 h 373017"/>
                                                    <a:gd name="connsiteX16" fmla="*/ 144242 w 172955"/>
                                                    <a:gd name="connsiteY16" fmla="*/ 113356 h 373017"/>
                                                    <a:gd name="connsiteX17" fmla="*/ 156875 w 172955"/>
                                                    <a:gd name="connsiteY17" fmla="*/ 123592 h 373017"/>
                                                    <a:gd name="connsiteX18" fmla="*/ 142687 w 172955"/>
                                                    <a:gd name="connsiteY18" fmla="*/ 127997 h 373017"/>
                                                    <a:gd name="connsiteX19" fmla="*/ 141391 w 172955"/>
                                                    <a:gd name="connsiteY19" fmla="*/ 171663 h 373017"/>
                                                    <a:gd name="connsiteX20" fmla="*/ 136144 w 172955"/>
                                                    <a:gd name="connsiteY20" fmla="*/ 191228 h 373017"/>
                                                    <a:gd name="connsiteX21" fmla="*/ 128305 w 172955"/>
                                                    <a:gd name="connsiteY21" fmla="*/ 203862 h 373017"/>
                                                    <a:gd name="connsiteX22" fmla="*/ 128305 w 172955"/>
                                                    <a:gd name="connsiteY22" fmla="*/ 210275 h 373017"/>
                                                    <a:gd name="connsiteX23" fmla="*/ 113728 w 172955"/>
                                                    <a:gd name="connsiteY23" fmla="*/ 228869 h 373017"/>
                                                    <a:gd name="connsiteX24" fmla="*/ 112951 w 172955"/>
                                                    <a:gd name="connsiteY24" fmla="*/ 236967 h 373017"/>
                                                    <a:gd name="connsiteX25" fmla="*/ 108416 w 172955"/>
                                                    <a:gd name="connsiteY25" fmla="*/ 244677 h 373017"/>
                                                    <a:gd name="connsiteX26" fmla="*/ 102585 w 172955"/>
                                                    <a:gd name="connsiteY26" fmla="*/ 296570 h 373017"/>
                                                    <a:gd name="connsiteX27" fmla="*/ 91312 w 172955"/>
                                                    <a:gd name="connsiteY27" fmla="*/ 315034 h 373017"/>
                                                    <a:gd name="connsiteX28" fmla="*/ 82760 w 172955"/>
                                                    <a:gd name="connsiteY28" fmla="*/ 325918 h 373017"/>
                                                    <a:gd name="connsiteX29" fmla="*/ 51663 w 172955"/>
                                                    <a:gd name="connsiteY29" fmla="*/ 370426 h 373017"/>
                                                    <a:gd name="connsiteX30" fmla="*/ 46416 w 172955"/>
                                                    <a:gd name="connsiteY30" fmla="*/ 373017 h 373017"/>
                                                    <a:gd name="connsiteX31" fmla="*/ 41816 w 172955"/>
                                                    <a:gd name="connsiteY31" fmla="*/ 371462 h 373017"/>
                                                    <a:gd name="connsiteX32" fmla="*/ 28016 w 172955"/>
                                                    <a:gd name="connsiteY32" fmla="*/ 369972 h 373017"/>
                                                    <a:gd name="connsiteX33" fmla="*/ 20307 w 172955"/>
                                                    <a:gd name="connsiteY33" fmla="*/ 360578 h 373017"/>
                                                    <a:gd name="connsiteX34" fmla="*/ 8581 w 172955"/>
                                                    <a:gd name="connsiteY34" fmla="*/ 357922 h 373017"/>
                                                    <a:gd name="connsiteX35" fmla="*/ 3074 w 172955"/>
                                                    <a:gd name="connsiteY35" fmla="*/ 348075 h 373017"/>
                                                    <a:gd name="connsiteX36" fmla="*/ 5860 w 172955"/>
                                                    <a:gd name="connsiteY36" fmla="*/ 341272 h 373017"/>
                                                    <a:gd name="connsiteX37" fmla="*/ 5666 w 172955"/>
                                                    <a:gd name="connsiteY37" fmla="*/ 332656 h 373017"/>
                                                    <a:gd name="connsiteX38" fmla="*/ 288 w 172955"/>
                                                    <a:gd name="connsiteY38" fmla="*/ 253423 h 373017"/>
                                                    <a:gd name="connsiteX39" fmla="*/ 1454 w 172955"/>
                                                    <a:gd name="connsiteY39" fmla="*/ 247268 h 373017"/>
                                                    <a:gd name="connsiteX40" fmla="*/ 11626 w 172955"/>
                                                    <a:gd name="connsiteY40" fmla="*/ 240271 h 373017"/>
                                                    <a:gd name="connsiteX41" fmla="*/ 15578 w 172955"/>
                                                    <a:gd name="connsiteY41" fmla="*/ 230035 h 373017"/>
                                                    <a:gd name="connsiteX42" fmla="*/ 26073 w 172955"/>
                                                    <a:gd name="connsiteY42" fmla="*/ 227573 h 373017"/>
                                                    <a:gd name="connsiteX43" fmla="*/ 27628 w 172955"/>
                                                    <a:gd name="connsiteY43" fmla="*/ 200234 h 373017"/>
                                                    <a:gd name="connsiteX44" fmla="*/ 14282 w 172955"/>
                                                    <a:gd name="connsiteY44" fmla="*/ 196541 h 373017"/>
                                                    <a:gd name="connsiteX45" fmla="*/ 8710 w 172955"/>
                                                    <a:gd name="connsiteY45" fmla="*/ 184685 h 373017"/>
                                                    <a:gd name="connsiteX46" fmla="*/ 10330 w 172955"/>
                                                    <a:gd name="connsiteY46" fmla="*/ 179697 h 373017"/>
                                                    <a:gd name="connsiteX47" fmla="*/ 3009 w 172955"/>
                                                    <a:gd name="connsiteY47" fmla="*/ 164472 h 373017"/>
                                                    <a:gd name="connsiteX48" fmla="*/ 8516 w 172955"/>
                                                    <a:gd name="connsiteY48" fmla="*/ 150478 h 373017"/>
                                                    <a:gd name="connsiteX49" fmla="*/ 11367 w 172955"/>
                                                    <a:gd name="connsiteY49" fmla="*/ 126508 h 373017"/>
                                                    <a:gd name="connsiteX50" fmla="*/ 22640 w 172955"/>
                                                    <a:gd name="connsiteY50" fmla="*/ 106618 h 373017"/>
                                                    <a:gd name="connsiteX51" fmla="*/ 37410 w 172955"/>
                                                    <a:gd name="connsiteY51" fmla="*/ 105517 h 373017"/>
                                                    <a:gd name="connsiteX52" fmla="*/ 63843 w 172955"/>
                                                    <a:gd name="connsiteY52" fmla="*/ 88672 h 373017"/>
                                                    <a:gd name="connsiteX53" fmla="*/ 75505 w 172955"/>
                                                    <a:gd name="connsiteY53" fmla="*/ 86664 h 373017"/>
                                                    <a:gd name="connsiteX54" fmla="*/ 91053 w 172955"/>
                                                    <a:gd name="connsiteY54" fmla="*/ 76299 h 373017"/>
                                                    <a:gd name="connsiteX55" fmla="*/ 105306 w 172955"/>
                                                    <a:gd name="connsiteY55" fmla="*/ 70468 h 373017"/>
                                                    <a:gd name="connsiteX56" fmla="*/ 107379 w 172955"/>
                                                    <a:gd name="connsiteY56" fmla="*/ 62434 h 37301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72955" h="373017">
                                                      <a:moveTo>
                                                        <a:pt x="107509" y="62240"/>
                                                      </a:moveTo>
                                                      <a:lnTo>
                                                        <a:pt x="108740" y="43128"/>
                                                      </a:lnTo>
                                                      <a:cubicBezTo>
                                                        <a:pt x="108999" y="39500"/>
                                                        <a:pt x="109517" y="35289"/>
                                                        <a:pt x="112691" y="33475"/>
                                                      </a:cubicBezTo>
                                                      <a:cubicBezTo>
                                                        <a:pt x="115931" y="31661"/>
                                                        <a:pt x="120012" y="33475"/>
                                                        <a:pt x="123705" y="32698"/>
                                                      </a:cubicBezTo>
                                                      <a:cubicBezTo>
                                                        <a:pt x="128499" y="31726"/>
                                                        <a:pt x="131285" y="26608"/>
                                                        <a:pt x="132192" y="21749"/>
                                                      </a:cubicBezTo>
                                                      <a:cubicBezTo>
                                                        <a:pt x="133099" y="16955"/>
                                                        <a:pt x="132840" y="11837"/>
                                                        <a:pt x="134589" y="7302"/>
                                                      </a:cubicBezTo>
                                                      <a:cubicBezTo>
                                                        <a:pt x="136338" y="2702"/>
                                                        <a:pt x="141262" y="-1250"/>
                                                        <a:pt x="145862" y="370"/>
                                                      </a:cubicBezTo>
                                                      <a:cubicBezTo>
                                                        <a:pt x="148324" y="1212"/>
                                                        <a:pt x="150008" y="3350"/>
                                                        <a:pt x="151434" y="5488"/>
                                                      </a:cubicBezTo>
                                                      <a:cubicBezTo>
                                                        <a:pt x="159661" y="17668"/>
                                                        <a:pt x="163613" y="32568"/>
                                                        <a:pt x="162577" y="47210"/>
                                                      </a:cubicBezTo>
                                                      <a:cubicBezTo>
                                                        <a:pt x="162188" y="52587"/>
                                                        <a:pt x="161216" y="58288"/>
                                                        <a:pt x="163678" y="63018"/>
                                                      </a:cubicBezTo>
                                                      <a:cubicBezTo>
                                                        <a:pt x="165362" y="66322"/>
                                                        <a:pt x="168472" y="68654"/>
                                                        <a:pt x="170481" y="71828"/>
                                                      </a:cubicBezTo>
                                                      <a:cubicBezTo>
                                                        <a:pt x="174627" y="78501"/>
                                                        <a:pt x="172813" y="87183"/>
                                                        <a:pt x="170481" y="94762"/>
                                                      </a:cubicBezTo>
                                                      <a:cubicBezTo>
                                                        <a:pt x="170092" y="95929"/>
                                                        <a:pt x="169703" y="97159"/>
                                                        <a:pt x="168796" y="98066"/>
                                                      </a:cubicBezTo>
                                                      <a:cubicBezTo>
                                                        <a:pt x="166464" y="100334"/>
                                                        <a:pt x="162447" y="98650"/>
                                                        <a:pt x="160309" y="96123"/>
                                                      </a:cubicBezTo>
                                                      <a:cubicBezTo>
                                                        <a:pt x="158171" y="93661"/>
                                                        <a:pt x="156746" y="90422"/>
                                                        <a:pt x="153831" y="88932"/>
                                                      </a:cubicBezTo>
                                                      <a:cubicBezTo>
                                                        <a:pt x="148712" y="86275"/>
                                                        <a:pt x="142299" y="91070"/>
                                                        <a:pt x="141068" y="96641"/>
                                                      </a:cubicBezTo>
                                                      <a:cubicBezTo>
                                                        <a:pt x="139837" y="102278"/>
                                                        <a:pt x="142040" y="107979"/>
                                                        <a:pt x="144242" y="113356"/>
                                                      </a:cubicBezTo>
                                                      <a:cubicBezTo>
                                                        <a:pt x="150138" y="113097"/>
                                                        <a:pt x="155904" y="117762"/>
                                                        <a:pt x="156875" y="123592"/>
                                                      </a:cubicBezTo>
                                                      <a:cubicBezTo>
                                                        <a:pt x="152405" y="125730"/>
                                                        <a:pt x="147611" y="127220"/>
                                                        <a:pt x="142687" y="127997"/>
                                                      </a:cubicBezTo>
                                                      <a:cubicBezTo>
                                                        <a:pt x="143011" y="142574"/>
                                                        <a:pt x="142558" y="157151"/>
                                                        <a:pt x="141391" y="171663"/>
                                                      </a:cubicBezTo>
                                                      <a:cubicBezTo>
                                                        <a:pt x="140873" y="178466"/>
                                                        <a:pt x="140031" y="185592"/>
                                                        <a:pt x="136144" y="191228"/>
                                                      </a:cubicBezTo>
                                                      <a:cubicBezTo>
                                                        <a:pt x="133293" y="195375"/>
                                                        <a:pt x="128823" y="198873"/>
                                                        <a:pt x="128305" y="203862"/>
                                                      </a:cubicBezTo>
                                                      <a:cubicBezTo>
                                                        <a:pt x="128046" y="206000"/>
                                                        <a:pt x="128629" y="208137"/>
                                                        <a:pt x="128305" y="210275"/>
                                                      </a:cubicBezTo>
                                                      <a:cubicBezTo>
                                                        <a:pt x="127204" y="218244"/>
                                                        <a:pt x="115672" y="221030"/>
                                                        <a:pt x="113728" y="228869"/>
                                                      </a:cubicBezTo>
                                                      <a:cubicBezTo>
                                                        <a:pt x="113080" y="231525"/>
                                                        <a:pt x="113663" y="234311"/>
                                                        <a:pt x="112951" y="236967"/>
                                                      </a:cubicBezTo>
                                                      <a:cubicBezTo>
                                                        <a:pt x="112238" y="239883"/>
                                                        <a:pt x="110035" y="242150"/>
                                                        <a:pt x="108416" y="244677"/>
                                                      </a:cubicBezTo>
                                                      <a:cubicBezTo>
                                                        <a:pt x="98828" y="259513"/>
                                                        <a:pt x="107962" y="279790"/>
                                                        <a:pt x="102585" y="296570"/>
                                                      </a:cubicBezTo>
                                                      <a:cubicBezTo>
                                                        <a:pt x="100382" y="303502"/>
                                                        <a:pt x="95782" y="309333"/>
                                                        <a:pt x="91312" y="315034"/>
                                                      </a:cubicBezTo>
                                                      <a:lnTo>
                                                        <a:pt x="82760" y="325918"/>
                                                      </a:lnTo>
                                                      <a:cubicBezTo>
                                                        <a:pt x="76412" y="343086"/>
                                                        <a:pt x="65593" y="358505"/>
                                                        <a:pt x="51663" y="370426"/>
                                                      </a:cubicBezTo>
                                                      <a:cubicBezTo>
                                                        <a:pt x="50173" y="371721"/>
                                                        <a:pt x="48424" y="373017"/>
                                                        <a:pt x="46416" y="373017"/>
                                                      </a:cubicBezTo>
                                                      <a:cubicBezTo>
                                                        <a:pt x="44796" y="373017"/>
                                                        <a:pt x="43371" y="372046"/>
                                                        <a:pt x="41816" y="371462"/>
                                                      </a:cubicBezTo>
                                                      <a:cubicBezTo>
                                                        <a:pt x="37475" y="369778"/>
                                                        <a:pt x="32552" y="370750"/>
                                                        <a:pt x="28016" y="369972"/>
                                                      </a:cubicBezTo>
                                                      <a:cubicBezTo>
                                                        <a:pt x="23482" y="369195"/>
                                                        <a:pt x="18623" y="364854"/>
                                                        <a:pt x="20307" y="360578"/>
                                                      </a:cubicBezTo>
                                                      <a:cubicBezTo>
                                                        <a:pt x="16290" y="360255"/>
                                                        <a:pt x="12144" y="359866"/>
                                                        <a:pt x="8581" y="357922"/>
                                                      </a:cubicBezTo>
                                                      <a:cubicBezTo>
                                                        <a:pt x="5018" y="355978"/>
                                                        <a:pt x="2297" y="352027"/>
                                                        <a:pt x="3074" y="348075"/>
                                                      </a:cubicBezTo>
                                                      <a:cubicBezTo>
                                                        <a:pt x="3528" y="345678"/>
                                                        <a:pt x="5147" y="343669"/>
                                                        <a:pt x="5860" y="341272"/>
                                                      </a:cubicBezTo>
                                                      <a:cubicBezTo>
                                                        <a:pt x="6702" y="338486"/>
                                                        <a:pt x="6184" y="335506"/>
                                                        <a:pt x="5666" y="332656"/>
                                                      </a:cubicBezTo>
                                                      <a:cubicBezTo>
                                                        <a:pt x="1001" y="306547"/>
                                                        <a:pt x="-748" y="279920"/>
                                                        <a:pt x="288" y="253423"/>
                                                      </a:cubicBezTo>
                                                      <a:cubicBezTo>
                                                        <a:pt x="353" y="251350"/>
                                                        <a:pt x="483" y="249147"/>
                                                        <a:pt x="1454" y="247268"/>
                                                      </a:cubicBezTo>
                                                      <a:cubicBezTo>
                                                        <a:pt x="3398" y="243575"/>
                                                        <a:pt x="7998" y="242344"/>
                                                        <a:pt x="11626" y="240271"/>
                                                      </a:cubicBezTo>
                                                      <a:cubicBezTo>
                                                        <a:pt x="15254" y="238198"/>
                                                        <a:pt x="18363" y="233209"/>
                                                        <a:pt x="15578" y="230035"/>
                                                      </a:cubicBezTo>
                                                      <a:lnTo>
                                                        <a:pt x="26073" y="227573"/>
                                                      </a:lnTo>
                                                      <a:cubicBezTo>
                                                        <a:pt x="25360" y="218438"/>
                                                        <a:pt x="25879" y="209239"/>
                                                        <a:pt x="27628" y="200234"/>
                                                      </a:cubicBezTo>
                                                      <a:cubicBezTo>
                                                        <a:pt x="22963" y="199780"/>
                                                        <a:pt x="18169" y="199068"/>
                                                        <a:pt x="14282" y="196541"/>
                                                      </a:cubicBezTo>
                                                      <a:cubicBezTo>
                                                        <a:pt x="10395" y="194014"/>
                                                        <a:pt x="7544" y="189220"/>
                                                        <a:pt x="8710" y="184685"/>
                                                      </a:cubicBezTo>
                                                      <a:cubicBezTo>
                                                        <a:pt x="9164" y="183000"/>
                                                        <a:pt x="10136" y="181446"/>
                                                        <a:pt x="10330" y="179697"/>
                                                      </a:cubicBezTo>
                                                      <a:cubicBezTo>
                                                        <a:pt x="11043" y="173996"/>
                                                        <a:pt x="3981" y="170108"/>
                                                        <a:pt x="3009" y="164472"/>
                                                      </a:cubicBezTo>
                                                      <a:cubicBezTo>
                                                        <a:pt x="2167" y="159419"/>
                                                        <a:pt x="6249" y="155078"/>
                                                        <a:pt x="8516" y="150478"/>
                                                      </a:cubicBezTo>
                                                      <a:cubicBezTo>
                                                        <a:pt x="12079" y="143158"/>
                                                        <a:pt x="10913" y="134606"/>
                                                        <a:pt x="11367" y="126508"/>
                                                      </a:cubicBezTo>
                                                      <a:cubicBezTo>
                                                        <a:pt x="11756" y="118409"/>
                                                        <a:pt x="14930" y="109145"/>
                                                        <a:pt x="22640" y="106618"/>
                                                      </a:cubicBezTo>
                                                      <a:cubicBezTo>
                                                        <a:pt x="27369" y="105063"/>
                                                        <a:pt x="32552" y="106489"/>
                                                        <a:pt x="37410" y="105517"/>
                                                      </a:cubicBezTo>
                                                      <a:cubicBezTo>
                                                        <a:pt x="47776" y="103444"/>
                                                        <a:pt x="53607" y="91459"/>
                                                        <a:pt x="63843" y="88672"/>
                                                      </a:cubicBezTo>
                                                      <a:cubicBezTo>
                                                        <a:pt x="67666" y="87636"/>
                                                        <a:pt x="71747" y="88025"/>
                                                        <a:pt x="75505" y="86664"/>
                                                      </a:cubicBezTo>
                                                      <a:cubicBezTo>
                                                        <a:pt x="81400" y="84591"/>
                                                        <a:pt x="85287" y="78696"/>
                                                        <a:pt x="91053" y="76299"/>
                                                      </a:cubicBezTo>
                                                      <a:cubicBezTo>
                                                        <a:pt x="95912" y="74290"/>
                                                        <a:pt x="102196" y="74679"/>
                                                        <a:pt x="105306" y="70468"/>
                                                      </a:cubicBezTo>
                                                      <a:cubicBezTo>
                                                        <a:pt x="106990" y="68200"/>
                                                        <a:pt x="107185" y="65285"/>
                                                        <a:pt x="107379" y="6243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7" name="Freeform: Shape 79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78BBB8E-9BE1-4730-9076-AF897582F18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424925" y="2916173"/>
                                                  <a:ext cx="47008" cy="2299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40 w 47008"/>
                                                    <a:gd name="connsiteY0" fmla="*/ 2891 h 22996"/>
                                                    <a:gd name="connsiteX1" fmla="*/ 4487 w 47008"/>
                                                    <a:gd name="connsiteY1" fmla="*/ 299 h 22996"/>
                                                    <a:gd name="connsiteX2" fmla="*/ 22627 w 47008"/>
                                                    <a:gd name="connsiteY2" fmla="*/ 3474 h 22996"/>
                                                    <a:gd name="connsiteX3" fmla="*/ 41090 w 47008"/>
                                                    <a:gd name="connsiteY3" fmla="*/ 10147 h 22996"/>
                                                    <a:gd name="connsiteX4" fmla="*/ 45431 w 47008"/>
                                                    <a:gd name="connsiteY4" fmla="*/ 12544 h 22996"/>
                                                    <a:gd name="connsiteX5" fmla="*/ 46597 w 47008"/>
                                                    <a:gd name="connsiteY5" fmla="*/ 20512 h 22996"/>
                                                    <a:gd name="connsiteX6" fmla="*/ 19517 w 47008"/>
                                                    <a:gd name="connsiteY6" fmla="*/ 19346 h 22996"/>
                                                    <a:gd name="connsiteX7" fmla="*/ 9993 w 47008"/>
                                                    <a:gd name="connsiteY7" fmla="*/ 7490 h 22996"/>
                                                    <a:gd name="connsiteX8" fmla="*/ 3321 w 47008"/>
                                                    <a:gd name="connsiteY8" fmla="*/ 8073 h 22996"/>
                                                    <a:gd name="connsiteX9" fmla="*/ 211 w 47008"/>
                                                    <a:gd name="connsiteY9" fmla="*/ 2891 h 2299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7008" h="22996">
                                                      <a:moveTo>
                                                        <a:pt x="340" y="2891"/>
                                                      </a:moveTo>
                                                      <a:cubicBezTo>
                                                        <a:pt x="988" y="1336"/>
                                                        <a:pt x="2802" y="623"/>
                                                        <a:pt x="4487" y="299"/>
                                                      </a:cubicBezTo>
                                                      <a:cubicBezTo>
                                                        <a:pt x="10576" y="-802"/>
                                                        <a:pt x="16796" y="1336"/>
                                                        <a:pt x="22627" y="3474"/>
                                                      </a:cubicBezTo>
                                                      <a:cubicBezTo>
                                                        <a:pt x="28781" y="5676"/>
                                                        <a:pt x="34936" y="7944"/>
                                                        <a:pt x="41090" y="10147"/>
                                                      </a:cubicBezTo>
                                                      <a:cubicBezTo>
                                                        <a:pt x="42645" y="10730"/>
                                                        <a:pt x="44330" y="11313"/>
                                                        <a:pt x="45431" y="12544"/>
                                                      </a:cubicBezTo>
                                                      <a:cubicBezTo>
                                                        <a:pt x="47310" y="14617"/>
                                                        <a:pt x="47245" y="17791"/>
                                                        <a:pt x="46597" y="20512"/>
                                                      </a:cubicBezTo>
                                                      <a:cubicBezTo>
                                                        <a:pt x="37981" y="24205"/>
                                                        <a:pt x="27745" y="23752"/>
                                                        <a:pt x="19517" y="19346"/>
                                                      </a:cubicBezTo>
                                                      <a:cubicBezTo>
                                                        <a:pt x="14852" y="16884"/>
                                                        <a:pt x="10576" y="12738"/>
                                                        <a:pt x="9993" y="7490"/>
                                                      </a:cubicBezTo>
                                                      <a:cubicBezTo>
                                                        <a:pt x="7791" y="8073"/>
                                                        <a:pt x="5523" y="8721"/>
                                                        <a:pt x="3321" y="8073"/>
                                                      </a:cubicBezTo>
                                                      <a:cubicBezTo>
                                                        <a:pt x="1182" y="7426"/>
                                                        <a:pt x="-632" y="5029"/>
                                                        <a:pt x="211" y="289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8" name="Freeform: Shape 79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2BDE154-02B7-491A-A3D1-41BEDC060EB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47062" y="2859591"/>
                                                  <a:ext cx="162270" cy="15846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5049 w 162270"/>
                                                    <a:gd name="connsiteY0" fmla="*/ 80139 h 158461"/>
                                                    <a:gd name="connsiteX1" fmla="*/ 40491 w 162270"/>
                                                    <a:gd name="connsiteY1" fmla="*/ 50143 h 158461"/>
                                                    <a:gd name="connsiteX2" fmla="*/ 53643 w 162270"/>
                                                    <a:gd name="connsiteY2" fmla="*/ 27663 h 158461"/>
                                                    <a:gd name="connsiteX3" fmla="*/ 62194 w 162270"/>
                                                    <a:gd name="connsiteY3" fmla="*/ 14900 h 158461"/>
                                                    <a:gd name="connsiteX4" fmla="*/ 72430 w 162270"/>
                                                    <a:gd name="connsiteY4" fmla="*/ 3109 h 158461"/>
                                                    <a:gd name="connsiteX5" fmla="*/ 87202 w 162270"/>
                                                    <a:gd name="connsiteY5" fmla="*/ 1295 h 158461"/>
                                                    <a:gd name="connsiteX6" fmla="*/ 80917 w 162270"/>
                                                    <a:gd name="connsiteY6" fmla="*/ 18009 h 158461"/>
                                                    <a:gd name="connsiteX7" fmla="*/ 69450 w 162270"/>
                                                    <a:gd name="connsiteY7" fmla="*/ 33169 h 158461"/>
                                                    <a:gd name="connsiteX8" fmla="*/ 70293 w 162270"/>
                                                    <a:gd name="connsiteY8" fmla="*/ 39130 h 158461"/>
                                                    <a:gd name="connsiteX9" fmla="*/ 62907 w 162270"/>
                                                    <a:gd name="connsiteY9" fmla="*/ 60509 h 158461"/>
                                                    <a:gd name="connsiteX10" fmla="*/ 72949 w 162270"/>
                                                    <a:gd name="connsiteY10" fmla="*/ 55844 h 158461"/>
                                                    <a:gd name="connsiteX11" fmla="*/ 82796 w 162270"/>
                                                    <a:gd name="connsiteY11" fmla="*/ 50208 h 158461"/>
                                                    <a:gd name="connsiteX12" fmla="*/ 83897 w 162270"/>
                                                    <a:gd name="connsiteY12" fmla="*/ 58565 h 158461"/>
                                                    <a:gd name="connsiteX13" fmla="*/ 93874 w 162270"/>
                                                    <a:gd name="connsiteY13" fmla="*/ 62193 h 158461"/>
                                                    <a:gd name="connsiteX14" fmla="*/ 99252 w 162270"/>
                                                    <a:gd name="connsiteY14" fmla="*/ 72689 h 158461"/>
                                                    <a:gd name="connsiteX15" fmla="*/ 109358 w 162270"/>
                                                    <a:gd name="connsiteY15" fmla="*/ 75539 h 158461"/>
                                                    <a:gd name="connsiteX16" fmla="*/ 122834 w 162270"/>
                                                    <a:gd name="connsiteY16" fmla="*/ 81759 h 158461"/>
                                                    <a:gd name="connsiteX17" fmla="*/ 130154 w 162270"/>
                                                    <a:gd name="connsiteY17" fmla="*/ 75734 h 158461"/>
                                                    <a:gd name="connsiteX18" fmla="*/ 138836 w 162270"/>
                                                    <a:gd name="connsiteY18" fmla="*/ 74827 h 158461"/>
                                                    <a:gd name="connsiteX19" fmla="*/ 134819 w 162270"/>
                                                    <a:gd name="connsiteY19" fmla="*/ 90375 h 158461"/>
                                                    <a:gd name="connsiteX20" fmla="*/ 130802 w 162270"/>
                                                    <a:gd name="connsiteY20" fmla="*/ 93679 h 158461"/>
                                                    <a:gd name="connsiteX21" fmla="*/ 134366 w 162270"/>
                                                    <a:gd name="connsiteY21" fmla="*/ 109876 h 158461"/>
                                                    <a:gd name="connsiteX22" fmla="*/ 139419 w 162270"/>
                                                    <a:gd name="connsiteY22" fmla="*/ 108385 h 158461"/>
                                                    <a:gd name="connsiteX23" fmla="*/ 142529 w 162270"/>
                                                    <a:gd name="connsiteY23" fmla="*/ 103462 h 158461"/>
                                                    <a:gd name="connsiteX24" fmla="*/ 152570 w 162270"/>
                                                    <a:gd name="connsiteY24" fmla="*/ 109422 h 158461"/>
                                                    <a:gd name="connsiteX25" fmla="*/ 144926 w 162270"/>
                                                    <a:gd name="connsiteY25" fmla="*/ 116484 h 158461"/>
                                                    <a:gd name="connsiteX26" fmla="*/ 141103 w 162270"/>
                                                    <a:gd name="connsiteY26" fmla="*/ 125295 h 158461"/>
                                                    <a:gd name="connsiteX27" fmla="*/ 161640 w 162270"/>
                                                    <a:gd name="connsiteY27" fmla="*/ 132421 h 158461"/>
                                                    <a:gd name="connsiteX28" fmla="*/ 157235 w 162270"/>
                                                    <a:gd name="connsiteY28" fmla="*/ 148358 h 158461"/>
                                                    <a:gd name="connsiteX29" fmla="*/ 155874 w 162270"/>
                                                    <a:gd name="connsiteY29" fmla="*/ 154189 h 158461"/>
                                                    <a:gd name="connsiteX30" fmla="*/ 141233 w 162270"/>
                                                    <a:gd name="connsiteY30" fmla="*/ 155938 h 158461"/>
                                                    <a:gd name="connsiteX31" fmla="*/ 135273 w 162270"/>
                                                    <a:gd name="connsiteY31" fmla="*/ 140390 h 158461"/>
                                                    <a:gd name="connsiteX32" fmla="*/ 110913 w 162270"/>
                                                    <a:gd name="connsiteY32" fmla="*/ 138511 h 158461"/>
                                                    <a:gd name="connsiteX33" fmla="*/ 106572 w 162270"/>
                                                    <a:gd name="connsiteY33" fmla="*/ 136567 h 158461"/>
                                                    <a:gd name="connsiteX34" fmla="*/ 106378 w 162270"/>
                                                    <a:gd name="connsiteY34" fmla="*/ 129830 h 158461"/>
                                                    <a:gd name="connsiteX35" fmla="*/ 88627 w 162270"/>
                                                    <a:gd name="connsiteY35" fmla="*/ 121407 h 158461"/>
                                                    <a:gd name="connsiteX36" fmla="*/ 85064 w 162270"/>
                                                    <a:gd name="connsiteY36" fmla="*/ 116160 h 158461"/>
                                                    <a:gd name="connsiteX37" fmla="*/ 78974 w 162270"/>
                                                    <a:gd name="connsiteY37" fmla="*/ 113828 h 158461"/>
                                                    <a:gd name="connsiteX38" fmla="*/ 46063 w 162270"/>
                                                    <a:gd name="connsiteY38" fmla="*/ 119723 h 158461"/>
                                                    <a:gd name="connsiteX39" fmla="*/ 41657 w 162270"/>
                                                    <a:gd name="connsiteY39" fmla="*/ 125035 h 158461"/>
                                                    <a:gd name="connsiteX40" fmla="*/ 18075 w 162270"/>
                                                    <a:gd name="connsiteY40" fmla="*/ 127756 h 158461"/>
                                                    <a:gd name="connsiteX41" fmla="*/ 0 w 162270"/>
                                                    <a:gd name="connsiteY41" fmla="*/ 135790 h 158461"/>
                                                    <a:gd name="connsiteX42" fmla="*/ 3952 w 162270"/>
                                                    <a:gd name="connsiteY42" fmla="*/ 116354 h 158461"/>
                                                    <a:gd name="connsiteX43" fmla="*/ 14123 w 162270"/>
                                                    <a:gd name="connsiteY43" fmla="*/ 107090 h 158461"/>
                                                    <a:gd name="connsiteX44" fmla="*/ 13670 w 162270"/>
                                                    <a:gd name="connsiteY44" fmla="*/ 91217 h 158461"/>
                                                    <a:gd name="connsiteX45" fmla="*/ 34855 w 162270"/>
                                                    <a:gd name="connsiteY45" fmla="*/ 80074 h 15846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2270" h="158461">
                                                      <a:moveTo>
                                                        <a:pt x="35049" y="80139"/>
                                                      </a:moveTo>
                                                      <a:cubicBezTo>
                                                        <a:pt x="34596" y="69903"/>
                                                        <a:pt x="36474" y="59602"/>
                                                        <a:pt x="40491" y="50143"/>
                                                      </a:cubicBezTo>
                                                      <a:cubicBezTo>
                                                        <a:pt x="43925" y="42174"/>
                                                        <a:pt x="48784" y="34919"/>
                                                        <a:pt x="53643" y="27663"/>
                                                      </a:cubicBezTo>
                                                      <a:cubicBezTo>
                                                        <a:pt x="56493" y="23387"/>
                                                        <a:pt x="59344" y="19176"/>
                                                        <a:pt x="62194" y="14900"/>
                                                      </a:cubicBezTo>
                                                      <a:cubicBezTo>
                                                        <a:pt x="65110" y="10559"/>
                                                        <a:pt x="68155" y="6154"/>
                                                        <a:pt x="72430" y="3109"/>
                                                      </a:cubicBezTo>
                                                      <a:cubicBezTo>
                                                        <a:pt x="76706" y="129"/>
                                                        <a:pt x="82602" y="-1167"/>
                                                        <a:pt x="87202" y="1295"/>
                                                      </a:cubicBezTo>
                                                      <a:cubicBezTo>
                                                        <a:pt x="91153" y="6607"/>
                                                        <a:pt x="86165" y="13993"/>
                                                        <a:pt x="80917" y="18009"/>
                                                      </a:cubicBezTo>
                                                      <a:cubicBezTo>
                                                        <a:pt x="75670" y="22026"/>
                                                        <a:pt x="69126" y="26561"/>
                                                        <a:pt x="69450" y="33169"/>
                                                      </a:cubicBezTo>
                                                      <a:cubicBezTo>
                                                        <a:pt x="69515" y="35178"/>
                                                        <a:pt x="70293" y="37121"/>
                                                        <a:pt x="70293" y="39130"/>
                                                      </a:cubicBezTo>
                                                      <a:cubicBezTo>
                                                        <a:pt x="70293" y="46969"/>
                                                        <a:pt x="59214" y="53577"/>
                                                        <a:pt x="62907" y="60509"/>
                                                      </a:cubicBezTo>
                                                      <a:cubicBezTo>
                                                        <a:pt x="66211" y="63100"/>
                                                        <a:pt x="70681" y="59343"/>
                                                        <a:pt x="72949" y="55844"/>
                                                      </a:cubicBezTo>
                                                      <a:cubicBezTo>
                                                        <a:pt x="75216" y="52346"/>
                                                        <a:pt x="79168" y="48200"/>
                                                        <a:pt x="82796" y="50208"/>
                                                      </a:cubicBezTo>
                                                      <a:cubicBezTo>
                                                        <a:pt x="83185" y="52994"/>
                                                        <a:pt x="83574" y="55780"/>
                                                        <a:pt x="83897" y="58565"/>
                                                      </a:cubicBezTo>
                                                      <a:cubicBezTo>
                                                        <a:pt x="87202" y="56427"/>
                                                        <a:pt x="91737" y="58889"/>
                                                        <a:pt x="93874" y="62193"/>
                                                      </a:cubicBezTo>
                                                      <a:cubicBezTo>
                                                        <a:pt x="96077" y="65433"/>
                                                        <a:pt x="96919" y="69449"/>
                                                        <a:pt x="99252" y="72689"/>
                                                      </a:cubicBezTo>
                                                      <a:cubicBezTo>
                                                        <a:pt x="101519" y="75863"/>
                                                        <a:pt x="106313" y="78001"/>
                                                        <a:pt x="109358" y="75539"/>
                                                      </a:cubicBezTo>
                                                      <a:cubicBezTo>
                                                        <a:pt x="110784" y="81046"/>
                                                        <a:pt x="117716" y="84220"/>
                                                        <a:pt x="122834" y="81759"/>
                                                      </a:cubicBezTo>
                                                      <a:cubicBezTo>
                                                        <a:pt x="125684" y="80333"/>
                                                        <a:pt x="127628" y="77677"/>
                                                        <a:pt x="130154" y="75734"/>
                                                      </a:cubicBezTo>
                                                      <a:cubicBezTo>
                                                        <a:pt x="132681" y="73790"/>
                                                        <a:pt x="136503" y="72753"/>
                                                        <a:pt x="138836" y="74827"/>
                                                      </a:cubicBezTo>
                                                      <a:cubicBezTo>
                                                        <a:pt x="141298" y="80074"/>
                                                        <a:pt x="139484" y="86941"/>
                                                        <a:pt x="134819" y="90375"/>
                                                      </a:cubicBezTo>
                                                      <a:cubicBezTo>
                                                        <a:pt x="133394" y="91412"/>
                                                        <a:pt x="131709" y="92189"/>
                                                        <a:pt x="130802" y="93679"/>
                                                      </a:cubicBezTo>
                                                      <a:cubicBezTo>
                                                        <a:pt x="127757" y="98603"/>
                                                        <a:pt x="135532" y="104239"/>
                                                        <a:pt x="134366" y="109876"/>
                                                      </a:cubicBezTo>
                                                      <a:cubicBezTo>
                                                        <a:pt x="135920" y="111042"/>
                                                        <a:pt x="138253" y="109940"/>
                                                        <a:pt x="139419" y="108385"/>
                                                      </a:cubicBezTo>
                                                      <a:cubicBezTo>
                                                        <a:pt x="140585" y="106831"/>
                                                        <a:pt x="141168" y="104887"/>
                                                        <a:pt x="142529" y="103462"/>
                                                      </a:cubicBezTo>
                                                      <a:cubicBezTo>
                                                        <a:pt x="146221" y="99639"/>
                                                        <a:pt x="154190" y="104304"/>
                                                        <a:pt x="152570" y="109422"/>
                                                      </a:cubicBezTo>
                                                      <a:cubicBezTo>
                                                        <a:pt x="151534" y="112791"/>
                                                        <a:pt x="147906" y="114475"/>
                                                        <a:pt x="144926" y="116484"/>
                                                      </a:cubicBezTo>
                                                      <a:cubicBezTo>
                                                        <a:pt x="141946" y="118492"/>
                                                        <a:pt x="139289" y="122250"/>
                                                        <a:pt x="141103" y="125295"/>
                                                      </a:cubicBezTo>
                                                      <a:cubicBezTo>
                                                        <a:pt x="146999" y="129959"/>
                                                        <a:pt x="158336" y="125619"/>
                                                        <a:pt x="161640" y="132421"/>
                                                      </a:cubicBezTo>
                                                      <a:cubicBezTo>
                                                        <a:pt x="164102" y="137539"/>
                                                        <a:pt x="158660" y="142851"/>
                                                        <a:pt x="157235" y="148358"/>
                                                      </a:cubicBezTo>
                                                      <a:cubicBezTo>
                                                        <a:pt x="156717" y="150302"/>
                                                        <a:pt x="156717" y="152375"/>
                                                        <a:pt x="155874" y="154189"/>
                                                      </a:cubicBezTo>
                                                      <a:cubicBezTo>
                                                        <a:pt x="153542" y="159372"/>
                                                        <a:pt x="145574" y="159696"/>
                                                        <a:pt x="141233" y="155938"/>
                                                      </a:cubicBezTo>
                                                      <a:cubicBezTo>
                                                        <a:pt x="136957" y="152181"/>
                                                        <a:pt x="135596" y="146091"/>
                                                        <a:pt x="135273" y="140390"/>
                                                      </a:cubicBezTo>
                                                      <a:cubicBezTo>
                                                        <a:pt x="127110" y="140195"/>
                                                        <a:pt x="119011" y="139547"/>
                                                        <a:pt x="110913" y="138511"/>
                                                      </a:cubicBezTo>
                                                      <a:cubicBezTo>
                                                        <a:pt x="109293" y="138317"/>
                                                        <a:pt x="107479" y="137993"/>
                                                        <a:pt x="106572" y="136567"/>
                                                      </a:cubicBezTo>
                                                      <a:cubicBezTo>
                                                        <a:pt x="105341" y="134624"/>
                                                        <a:pt x="106702" y="132097"/>
                                                        <a:pt x="106378" y="129830"/>
                                                      </a:cubicBezTo>
                                                      <a:cubicBezTo>
                                                        <a:pt x="105406" y="122898"/>
                                                        <a:pt x="93421" y="126461"/>
                                                        <a:pt x="88627" y="121407"/>
                                                      </a:cubicBezTo>
                                                      <a:cubicBezTo>
                                                        <a:pt x="87202" y="119853"/>
                                                        <a:pt x="86618" y="117650"/>
                                                        <a:pt x="85064" y="116160"/>
                                                      </a:cubicBezTo>
                                                      <a:cubicBezTo>
                                                        <a:pt x="83444" y="114670"/>
                                                        <a:pt x="81176" y="114216"/>
                                                        <a:pt x="78974" y="113828"/>
                                                      </a:cubicBezTo>
                                                      <a:cubicBezTo>
                                                        <a:pt x="67442" y="111884"/>
                                                        <a:pt x="53578" y="110783"/>
                                                        <a:pt x="46063" y="119723"/>
                                                      </a:cubicBezTo>
                                                      <a:cubicBezTo>
                                                        <a:pt x="44573" y="121472"/>
                                                        <a:pt x="43471" y="123545"/>
                                                        <a:pt x="41657" y="125035"/>
                                                      </a:cubicBezTo>
                                                      <a:cubicBezTo>
                                                        <a:pt x="35438" y="130153"/>
                                                        <a:pt x="25655" y="125035"/>
                                                        <a:pt x="18075" y="127756"/>
                                                      </a:cubicBezTo>
                                                      <a:cubicBezTo>
                                                        <a:pt x="11661" y="130089"/>
                                                        <a:pt x="6414" y="138057"/>
                                                        <a:pt x="0" y="135790"/>
                                                      </a:cubicBezTo>
                                                      <a:cubicBezTo>
                                                        <a:pt x="3304" y="129959"/>
                                                        <a:pt x="4729" y="123027"/>
                                                        <a:pt x="3952" y="116354"/>
                                                      </a:cubicBezTo>
                                                      <a:cubicBezTo>
                                                        <a:pt x="8940" y="118168"/>
                                                        <a:pt x="13670" y="112402"/>
                                                        <a:pt x="14123" y="107090"/>
                                                      </a:cubicBezTo>
                                                      <a:cubicBezTo>
                                                        <a:pt x="14577" y="101777"/>
                                                        <a:pt x="12763" y="96465"/>
                                                        <a:pt x="13670" y="91217"/>
                                                      </a:cubicBezTo>
                                                      <a:cubicBezTo>
                                                        <a:pt x="15289" y="82147"/>
                                                        <a:pt x="26497" y="76252"/>
                                                        <a:pt x="34855" y="8007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799" name="Freeform: Shape 79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4A96944-A091-4910-ABE1-6CA1C9C7577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94398" y="2944754"/>
                                                  <a:ext cx="231476" cy="18256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4570 w 231476"/>
                                                    <a:gd name="connsiteY0" fmla="*/ 86907 h 182568"/>
                                                    <a:gd name="connsiteX1" fmla="*/ 205954 w 231476"/>
                                                    <a:gd name="connsiteY1" fmla="*/ 103427 h 182568"/>
                                                    <a:gd name="connsiteX2" fmla="*/ 166499 w 231476"/>
                                                    <a:gd name="connsiteY2" fmla="*/ 115154 h 182568"/>
                                                    <a:gd name="connsiteX3" fmla="*/ 128794 w 231476"/>
                                                    <a:gd name="connsiteY3" fmla="*/ 93321 h 182568"/>
                                                    <a:gd name="connsiteX4" fmla="*/ 104758 w 231476"/>
                                                    <a:gd name="connsiteY4" fmla="*/ 52894 h 182568"/>
                                                    <a:gd name="connsiteX5" fmla="*/ 88044 w 231476"/>
                                                    <a:gd name="connsiteY5" fmla="*/ 48813 h 182568"/>
                                                    <a:gd name="connsiteX6" fmla="*/ 96336 w 231476"/>
                                                    <a:gd name="connsiteY6" fmla="*/ 7609 h 182568"/>
                                                    <a:gd name="connsiteX7" fmla="*/ 70681 w 231476"/>
                                                    <a:gd name="connsiteY7" fmla="*/ 2426 h 182568"/>
                                                    <a:gd name="connsiteX8" fmla="*/ 46127 w 231476"/>
                                                    <a:gd name="connsiteY8" fmla="*/ 17781 h 182568"/>
                                                    <a:gd name="connsiteX9" fmla="*/ 16909 w 231476"/>
                                                    <a:gd name="connsiteY9" fmla="*/ 26980 h 182568"/>
                                                    <a:gd name="connsiteX10" fmla="*/ 0 w 231476"/>
                                                    <a:gd name="connsiteY10" fmla="*/ 44213 h 182568"/>
                                                    <a:gd name="connsiteX11" fmla="*/ 3174 w 231476"/>
                                                    <a:gd name="connsiteY11" fmla="*/ 46286 h 182568"/>
                                                    <a:gd name="connsiteX12" fmla="*/ 25590 w 231476"/>
                                                    <a:gd name="connsiteY12" fmla="*/ 56199 h 182568"/>
                                                    <a:gd name="connsiteX13" fmla="*/ 30449 w 231476"/>
                                                    <a:gd name="connsiteY13" fmla="*/ 55227 h 182568"/>
                                                    <a:gd name="connsiteX14" fmla="*/ 34984 w 231476"/>
                                                    <a:gd name="connsiteY14" fmla="*/ 57235 h 182568"/>
                                                    <a:gd name="connsiteX15" fmla="*/ 45285 w 231476"/>
                                                    <a:gd name="connsiteY15" fmla="*/ 71294 h 182568"/>
                                                    <a:gd name="connsiteX16" fmla="*/ 40361 w 231476"/>
                                                    <a:gd name="connsiteY16" fmla="*/ 86324 h 182568"/>
                                                    <a:gd name="connsiteX17" fmla="*/ 45415 w 231476"/>
                                                    <a:gd name="connsiteY17" fmla="*/ 94940 h 182568"/>
                                                    <a:gd name="connsiteX18" fmla="*/ 47877 w 231476"/>
                                                    <a:gd name="connsiteY18" fmla="*/ 104205 h 182568"/>
                                                    <a:gd name="connsiteX19" fmla="*/ 46063 w 231476"/>
                                                    <a:gd name="connsiteY19" fmla="*/ 107833 h 182568"/>
                                                    <a:gd name="connsiteX20" fmla="*/ 51505 w 231476"/>
                                                    <a:gd name="connsiteY20" fmla="*/ 115607 h 182568"/>
                                                    <a:gd name="connsiteX21" fmla="*/ 52995 w 231476"/>
                                                    <a:gd name="connsiteY21" fmla="*/ 120013 h 182568"/>
                                                    <a:gd name="connsiteX22" fmla="*/ 55133 w 231476"/>
                                                    <a:gd name="connsiteY22" fmla="*/ 141586 h 182568"/>
                                                    <a:gd name="connsiteX23" fmla="*/ 89080 w 231476"/>
                                                    <a:gd name="connsiteY23" fmla="*/ 119170 h 182568"/>
                                                    <a:gd name="connsiteX24" fmla="*/ 101390 w 231476"/>
                                                    <a:gd name="connsiteY24" fmla="*/ 118069 h 182568"/>
                                                    <a:gd name="connsiteX25" fmla="*/ 112274 w 231476"/>
                                                    <a:gd name="connsiteY25" fmla="*/ 103168 h 182568"/>
                                                    <a:gd name="connsiteX26" fmla="*/ 125490 w 231476"/>
                                                    <a:gd name="connsiteY26" fmla="*/ 109582 h 182568"/>
                                                    <a:gd name="connsiteX27" fmla="*/ 134430 w 231476"/>
                                                    <a:gd name="connsiteY27" fmla="*/ 122863 h 182568"/>
                                                    <a:gd name="connsiteX28" fmla="*/ 142140 w 231476"/>
                                                    <a:gd name="connsiteY28" fmla="*/ 127528 h 182568"/>
                                                    <a:gd name="connsiteX29" fmla="*/ 142399 w 231476"/>
                                                    <a:gd name="connsiteY29" fmla="*/ 135302 h 182568"/>
                                                    <a:gd name="connsiteX30" fmla="*/ 97373 w 231476"/>
                                                    <a:gd name="connsiteY30" fmla="*/ 140226 h 182568"/>
                                                    <a:gd name="connsiteX31" fmla="*/ 90246 w 231476"/>
                                                    <a:gd name="connsiteY31" fmla="*/ 178838 h 182568"/>
                                                    <a:gd name="connsiteX32" fmla="*/ 113181 w 231476"/>
                                                    <a:gd name="connsiteY32" fmla="*/ 178320 h 182568"/>
                                                    <a:gd name="connsiteX33" fmla="*/ 130478 w 231476"/>
                                                    <a:gd name="connsiteY33" fmla="*/ 154478 h 182568"/>
                                                    <a:gd name="connsiteX34" fmla="*/ 150562 w 231476"/>
                                                    <a:gd name="connsiteY34" fmla="*/ 149620 h 182568"/>
                                                    <a:gd name="connsiteX35" fmla="*/ 165204 w 231476"/>
                                                    <a:gd name="connsiteY35" fmla="*/ 142299 h 182568"/>
                                                    <a:gd name="connsiteX36" fmla="*/ 208351 w 231476"/>
                                                    <a:gd name="connsiteY36" fmla="*/ 115024 h 182568"/>
                                                    <a:gd name="connsiteX37" fmla="*/ 230378 w 231476"/>
                                                    <a:gd name="connsiteY37" fmla="*/ 79845 h 182568"/>
                                                    <a:gd name="connsiteX38" fmla="*/ 214635 w 231476"/>
                                                    <a:gd name="connsiteY38" fmla="*/ 86907 h 18256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31476" h="182568">
                                                      <a:moveTo>
                                                        <a:pt x="214570" y="86907"/>
                                                      </a:moveTo>
                                                      <a:cubicBezTo>
                                                        <a:pt x="211137" y="92090"/>
                                                        <a:pt x="209452" y="98309"/>
                                                        <a:pt x="205954" y="103427"/>
                                                      </a:cubicBezTo>
                                                      <a:cubicBezTo>
                                                        <a:pt x="197661" y="115478"/>
                                                        <a:pt x="180623" y="118846"/>
                                                        <a:pt x="166499" y="115154"/>
                                                      </a:cubicBezTo>
                                                      <a:cubicBezTo>
                                                        <a:pt x="152311" y="111525"/>
                                                        <a:pt x="140326" y="102326"/>
                                                        <a:pt x="128794" y="93321"/>
                                                      </a:cubicBezTo>
                                                      <a:cubicBezTo>
                                                        <a:pt x="115643" y="83150"/>
                                                        <a:pt x="101066" y="69091"/>
                                                        <a:pt x="104758" y="52894"/>
                                                      </a:cubicBezTo>
                                                      <a:cubicBezTo>
                                                        <a:pt x="99187" y="51534"/>
                                                        <a:pt x="93615" y="50174"/>
                                                        <a:pt x="88044" y="48813"/>
                                                      </a:cubicBezTo>
                                                      <a:cubicBezTo>
                                                        <a:pt x="84934" y="34690"/>
                                                        <a:pt x="102815" y="20502"/>
                                                        <a:pt x="96336" y="7609"/>
                                                      </a:cubicBezTo>
                                                      <a:cubicBezTo>
                                                        <a:pt x="91996" y="-1007"/>
                                                        <a:pt x="79427" y="-1655"/>
                                                        <a:pt x="70681" y="2426"/>
                                                      </a:cubicBezTo>
                                                      <a:cubicBezTo>
                                                        <a:pt x="61935" y="6508"/>
                                                        <a:pt x="54938" y="13829"/>
                                                        <a:pt x="46127" y="17781"/>
                                                      </a:cubicBezTo>
                                                      <a:cubicBezTo>
                                                        <a:pt x="36798" y="21927"/>
                                                        <a:pt x="25849" y="22057"/>
                                                        <a:pt x="16909" y="26980"/>
                                                      </a:cubicBezTo>
                                                      <a:cubicBezTo>
                                                        <a:pt x="9718" y="30932"/>
                                                        <a:pt x="4665" y="37346"/>
                                                        <a:pt x="0" y="44213"/>
                                                      </a:cubicBezTo>
                                                      <a:cubicBezTo>
                                                        <a:pt x="1101" y="44796"/>
                                                        <a:pt x="2203" y="45509"/>
                                                        <a:pt x="3174" y="46286"/>
                                                      </a:cubicBezTo>
                                                      <a:cubicBezTo>
                                                        <a:pt x="9783" y="51599"/>
                                                        <a:pt x="17363" y="58142"/>
                                                        <a:pt x="25590" y="56199"/>
                                                      </a:cubicBezTo>
                                                      <a:cubicBezTo>
                                                        <a:pt x="27210" y="55810"/>
                                                        <a:pt x="28830" y="55097"/>
                                                        <a:pt x="30449" y="55227"/>
                                                      </a:cubicBezTo>
                                                      <a:cubicBezTo>
                                                        <a:pt x="32134" y="55356"/>
                                                        <a:pt x="33559" y="56328"/>
                                                        <a:pt x="34984" y="57235"/>
                                                      </a:cubicBezTo>
                                                      <a:cubicBezTo>
                                                        <a:pt x="40038" y="60669"/>
                                                        <a:pt x="45674" y="65204"/>
                                                        <a:pt x="45285" y="71294"/>
                                                      </a:cubicBezTo>
                                                      <a:cubicBezTo>
                                                        <a:pt x="44896" y="76606"/>
                                                        <a:pt x="39778" y="81011"/>
                                                        <a:pt x="40361" y="86324"/>
                                                      </a:cubicBezTo>
                                                      <a:cubicBezTo>
                                                        <a:pt x="40750" y="89693"/>
                                                        <a:pt x="43277" y="92284"/>
                                                        <a:pt x="45415" y="94940"/>
                                                      </a:cubicBezTo>
                                                      <a:cubicBezTo>
                                                        <a:pt x="47488" y="97597"/>
                                                        <a:pt x="49302" y="101160"/>
                                                        <a:pt x="47877" y="104205"/>
                                                      </a:cubicBezTo>
                                                      <a:cubicBezTo>
                                                        <a:pt x="47293" y="105436"/>
                                                        <a:pt x="46257" y="106472"/>
                                                        <a:pt x="46063" y="107833"/>
                                                      </a:cubicBezTo>
                                                      <a:cubicBezTo>
                                                        <a:pt x="45480" y="111072"/>
                                                        <a:pt x="49691" y="112886"/>
                                                        <a:pt x="51505" y="115607"/>
                                                      </a:cubicBezTo>
                                                      <a:cubicBezTo>
                                                        <a:pt x="52347" y="116903"/>
                                                        <a:pt x="52671" y="118458"/>
                                                        <a:pt x="52995" y="120013"/>
                                                      </a:cubicBezTo>
                                                      <a:cubicBezTo>
                                                        <a:pt x="54290" y="127139"/>
                                                        <a:pt x="55003" y="134330"/>
                                                        <a:pt x="55133" y="141586"/>
                                                      </a:cubicBezTo>
                                                      <a:cubicBezTo>
                                                        <a:pt x="65628" y="132192"/>
                                                        <a:pt x="75605" y="119365"/>
                                                        <a:pt x="89080" y="119170"/>
                                                      </a:cubicBezTo>
                                                      <a:cubicBezTo>
                                                        <a:pt x="93291" y="119106"/>
                                                        <a:pt x="97826" y="120272"/>
                                                        <a:pt x="101390" y="118069"/>
                                                      </a:cubicBezTo>
                                                      <a:cubicBezTo>
                                                        <a:pt x="106702" y="114765"/>
                                                        <a:pt x="106572" y="105825"/>
                                                        <a:pt x="112274" y="103168"/>
                                                      </a:cubicBezTo>
                                                      <a:cubicBezTo>
                                                        <a:pt x="117132" y="100901"/>
                                                        <a:pt x="122704" y="105047"/>
                                                        <a:pt x="125490" y="109582"/>
                                                      </a:cubicBezTo>
                                                      <a:cubicBezTo>
                                                        <a:pt x="128276" y="114182"/>
                                                        <a:pt x="130090" y="119689"/>
                                                        <a:pt x="134430" y="122863"/>
                                                      </a:cubicBezTo>
                                                      <a:cubicBezTo>
                                                        <a:pt x="136892" y="124612"/>
                                                        <a:pt x="139937" y="125455"/>
                                                        <a:pt x="142140" y="127528"/>
                                                      </a:cubicBezTo>
                                                      <a:cubicBezTo>
                                                        <a:pt x="144343" y="129601"/>
                                                        <a:pt x="145055" y="133812"/>
                                                        <a:pt x="142399" y="135302"/>
                                                      </a:cubicBezTo>
                                                      <a:cubicBezTo>
                                                        <a:pt x="127110" y="133682"/>
                                                        <a:pt x="110589" y="132322"/>
                                                        <a:pt x="97373" y="140226"/>
                                                      </a:cubicBezTo>
                                                      <a:cubicBezTo>
                                                        <a:pt x="84157" y="148130"/>
                                                        <a:pt x="78261" y="169250"/>
                                                        <a:pt x="90246" y="178838"/>
                                                      </a:cubicBezTo>
                                                      <a:cubicBezTo>
                                                        <a:pt x="96725" y="184021"/>
                                                        <a:pt x="106896" y="183762"/>
                                                        <a:pt x="113181" y="178320"/>
                                                      </a:cubicBezTo>
                                                      <a:cubicBezTo>
                                                        <a:pt x="120696" y="171841"/>
                                                        <a:pt x="122121" y="159791"/>
                                                        <a:pt x="130478" y="154478"/>
                                                      </a:cubicBezTo>
                                                      <a:cubicBezTo>
                                                        <a:pt x="136309" y="150721"/>
                                                        <a:pt x="143889" y="151434"/>
                                                        <a:pt x="150562" y="149620"/>
                                                      </a:cubicBezTo>
                                                      <a:cubicBezTo>
                                                        <a:pt x="155874" y="148194"/>
                                                        <a:pt x="160604" y="145214"/>
                                                        <a:pt x="165204" y="142299"/>
                                                      </a:cubicBezTo>
                                                      <a:cubicBezTo>
                                                        <a:pt x="179586" y="133229"/>
                                                        <a:pt x="193968" y="124094"/>
                                                        <a:pt x="208351" y="115024"/>
                                                      </a:cubicBezTo>
                                                      <a:cubicBezTo>
                                                        <a:pt x="221049" y="106991"/>
                                                        <a:pt x="235626" y="93969"/>
                                                        <a:pt x="230378" y="79845"/>
                                                      </a:cubicBezTo>
                                                      <a:cubicBezTo>
                                                        <a:pt x="224547" y="77578"/>
                                                        <a:pt x="218069" y="81789"/>
                                                        <a:pt x="214635" y="8690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1" name="Freeform: Shape 80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0FB0481-0F4D-476F-B89B-D803BF35824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3888685" y="1862557"/>
                                                  <a:ext cx="255467" cy="18744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7831 w 255467"/>
                                                    <a:gd name="connsiteY0" fmla="*/ 132403 h 187443"/>
                                                    <a:gd name="connsiteX1" fmla="*/ 31089 w 255467"/>
                                                    <a:gd name="connsiteY1" fmla="*/ 134476 h 187443"/>
                                                    <a:gd name="connsiteX2" fmla="*/ 38410 w 255467"/>
                                                    <a:gd name="connsiteY2" fmla="*/ 135318 h 187443"/>
                                                    <a:gd name="connsiteX3" fmla="*/ 46314 w 255467"/>
                                                    <a:gd name="connsiteY3" fmla="*/ 139983 h 187443"/>
                                                    <a:gd name="connsiteX4" fmla="*/ 61280 w 255467"/>
                                                    <a:gd name="connsiteY4" fmla="*/ 165444 h 187443"/>
                                                    <a:gd name="connsiteX5" fmla="*/ 70738 w 255467"/>
                                                    <a:gd name="connsiteY5" fmla="*/ 187147 h 187443"/>
                                                    <a:gd name="connsiteX6" fmla="*/ 77087 w 255467"/>
                                                    <a:gd name="connsiteY6" fmla="*/ 185592 h 187443"/>
                                                    <a:gd name="connsiteX7" fmla="*/ 76504 w 255467"/>
                                                    <a:gd name="connsiteY7" fmla="*/ 175809 h 187443"/>
                                                    <a:gd name="connsiteX8" fmla="*/ 86546 w 255467"/>
                                                    <a:gd name="connsiteY8" fmla="*/ 172570 h 187443"/>
                                                    <a:gd name="connsiteX9" fmla="*/ 94644 w 255467"/>
                                                    <a:gd name="connsiteY9" fmla="*/ 172829 h 187443"/>
                                                    <a:gd name="connsiteX10" fmla="*/ 97624 w 255467"/>
                                                    <a:gd name="connsiteY10" fmla="*/ 170238 h 187443"/>
                                                    <a:gd name="connsiteX11" fmla="*/ 127750 w 255467"/>
                                                    <a:gd name="connsiteY11" fmla="*/ 164018 h 187443"/>
                                                    <a:gd name="connsiteX12" fmla="*/ 130924 w 255467"/>
                                                    <a:gd name="connsiteY12" fmla="*/ 163111 h 187443"/>
                                                    <a:gd name="connsiteX13" fmla="*/ 131702 w 255467"/>
                                                    <a:gd name="connsiteY13" fmla="*/ 153199 h 187443"/>
                                                    <a:gd name="connsiteX14" fmla="*/ 139152 w 255467"/>
                                                    <a:gd name="connsiteY14" fmla="*/ 138687 h 187443"/>
                                                    <a:gd name="connsiteX15" fmla="*/ 143363 w 255467"/>
                                                    <a:gd name="connsiteY15" fmla="*/ 121584 h 187443"/>
                                                    <a:gd name="connsiteX16" fmla="*/ 160337 w 255467"/>
                                                    <a:gd name="connsiteY16" fmla="*/ 120741 h 187443"/>
                                                    <a:gd name="connsiteX17" fmla="*/ 170897 w 255467"/>
                                                    <a:gd name="connsiteY17" fmla="*/ 108950 h 187443"/>
                                                    <a:gd name="connsiteX18" fmla="*/ 175626 w 255467"/>
                                                    <a:gd name="connsiteY18" fmla="*/ 94244 h 187443"/>
                                                    <a:gd name="connsiteX19" fmla="*/ 176469 w 255467"/>
                                                    <a:gd name="connsiteY19" fmla="*/ 87312 h 187443"/>
                                                    <a:gd name="connsiteX20" fmla="*/ 180744 w 255467"/>
                                                    <a:gd name="connsiteY20" fmla="*/ 82583 h 187443"/>
                                                    <a:gd name="connsiteX21" fmla="*/ 215275 w 255467"/>
                                                    <a:gd name="connsiteY21" fmla="*/ 72865 h 187443"/>
                                                    <a:gd name="connsiteX22" fmla="*/ 218514 w 255467"/>
                                                    <a:gd name="connsiteY22" fmla="*/ 69043 h 187443"/>
                                                    <a:gd name="connsiteX23" fmla="*/ 226807 w 255467"/>
                                                    <a:gd name="connsiteY23" fmla="*/ 67617 h 187443"/>
                                                    <a:gd name="connsiteX24" fmla="*/ 235164 w 255467"/>
                                                    <a:gd name="connsiteY24" fmla="*/ 57770 h 187443"/>
                                                    <a:gd name="connsiteX25" fmla="*/ 252851 w 255467"/>
                                                    <a:gd name="connsiteY25" fmla="*/ 50773 h 187443"/>
                                                    <a:gd name="connsiteX26" fmla="*/ 255313 w 255467"/>
                                                    <a:gd name="connsiteY26" fmla="*/ 45266 h 187443"/>
                                                    <a:gd name="connsiteX27" fmla="*/ 251814 w 255467"/>
                                                    <a:gd name="connsiteY27" fmla="*/ 42156 h 187443"/>
                                                    <a:gd name="connsiteX28" fmla="*/ 220005 w 255467"/>
                                                    <a:gd name="connsiteY28" fmla="*/ 26349 h 187443"/>
                                                    <a:gd name="connsiteX29" fmla="*/ 190268 w 255467"/>
                                                    <a:gd name="connsiteY29" fmla="*/ 18056 h 187443"/>
                                                    <a:gd name="connsiteX30" fmla="*/ 185862 w 255467"/>
                                                    <a:gd name="connsiteY30" fmla="*/ 19287 h 187443"/>
                                                    <a:gd name="connsiteX31" fmla="*/ 181781 w 255467"/>
                                                    <a:gd name="connsiteY31" fmla="*/ 22786 h 187443"/>
                                                    <a:gd name="connsiteX32" fmla="*/ 173294 w 255467"/>
                                                    <a:gd name="connsiteY32" fmla="*/ 25247 h 187443"/>
                                                    <a:gd name="connsiteX33" fmla="*/ 167463 w 255467"/>
                                                    <a:gd name="connsiteY33" fmla="*/ 19028 h 187443"/>
                                                    <a:gd name="connsiteX34" fmla="*/ 141290 w 255467"/>
                                                    <a:gd name="connsiteY34" fmla="*/ 19805 h 187443"/>
                                                    <a:gd name="connsiteX35" fmla="*/ 131831 w 255467"/>
                                                    <a:gd name="connsiteY35" fmla="*/ 15335 h 187443"/>
                                                    <a:gd name="connsiteX36" fmla="*/ 129305 w 255467"/>
                                                    <a:gd name="connsiteY36" fmla="*/ 7755 h 187443"/>
                                                    <a:gd name="connsiteX37" fmla="*/ 122243 w 255467"/>
                                                    <a:gd name="connsiteY37" fmla="*/ 6783 h 187443"/>
                                                    <a:gd name="connsiteX38" fmla="*/ 115829 w 255467"/>
                                                    <a:gd name="connsiteY38" fmla="*/ 434 h 187443"/>
                                                    <a:gd name="connsiteX39" fmla="*/ 111683 w 255467"/>
                                                    <a:gd name="connsiteY39" fmla="*/ 111 h 187443"/>
                                                    <a:gd name="connsiteX40" fmla="*/ 90174 w 255467"/>
                                                    <a:gd name="connsiteY40" fmla="*/ 2119 h 187443"/>
                                                    <a:gd name="connsiteX41" fmla="*/ 80586 w 255467"/>
                                                    <a:gd name="connsiteY41" fmla="*/ 4192 h 187443"/>
                                                    <a:gd name="connsiteX42" fmla="*/ 74949 w 255467"/>
                                                    <a:gd name="connsiteY42" fmla="*/ 11707 h 187443"/>
                                                    <a:gd name="connsiteX43" fmla="*/ 75468 w 255467"/>
                                                    <a:gd name="connsiteY43" fmla="*/ 22073 h 187443"/>
                                                    <a:gd name="connsiteX44" fmla="*/ 64130 w 255467"/>
                                                    <a:gd name="connsiteY44" fmla="*/ 27644 h 187443"/>
                                                    <a:gd name="connsiteX45" fmla="*/ 61539 w 255467"/>
                                                    <a:gd name="connsiteY45" fmla="*/ 33929 h 187443"/>
                                                    <a:gd name="connsiteX46" fmla="*/ 51950 w 255467"/>
                                                    <a:gd name="connsiteY46" fmla="*/ 35872 h 187443"/>
                                                    <a:gd name="connsiteX47" fmla="*/ 51173 w 255467"/>
                                                    <a:gd name="connsiteY47" fmla="*/ 39889 h 187443"/>
                                                    <a:gd name="connsiteX48" fmla="*/ 44889 w 255467"/>
                                                    <a:gd name="connsiteY48" fmla="*/ 56345 h 187443"/>
                                                    <a:gd name="connsiteX49" fmla="*/ 41455 w 255467"/>
                                                    <a:gd name="connsiteY49" fmla="*/ 57575 h 187443"/>
                                                    <a:gd name="connsiteX50" fmla="*/ 39512 w 255467"/>
                                                    <a:gd name="connsiteY50" fmla="*/ 60361 h 187443"/>
                                                    <a:gd name="connsiteX51" fmla="*/ 32450 w 255467"/>
                                                    <a:gd name="connsiteY51" fmla="*/ 62888 h 187443"/>
                                                    <a:gd name="connsiteX52" fmla="*/ 32579 w 255467"/>
                                                    <a:gd name="connsiteY52" fmla="*/ 89644 h 187443"/>
                                                    <a:gd name="connsiteX53" fmla="*/ 29340 w 255467"/>
                                                    <a:gd name="connsiteY53" fmla="*/ 98002 h 187443"/>
                                                    <a:gd name="connsiteX54" fmla="*/ 19298 w 255467"/>
                                                    <a:gd name="connsiteY54" fmla="*/ 98714 h 187443"/>
                                                    <a:gd name="connsiteX55" fmla="*/ 15346 w 255467"/>
                                                    <a:gd name="connsiteY55" fmla="*/ 112838 h 187443"/>
                                                    <a:gd name="connsiteX56" fmla="*/ 10228 w 255467"/>
                                                    <a:gd name="connsiteY56" fmla="*/ 115170 h 187443"/>
                                                    <a:gd name="connsiteX57" fmla="*/ 705 w 255467"/>
                                                    <a:gd name="connsiteY57" fmla="*/ 123916 h 187443"/>
                                                    <a:gd name="connsiteX58" fmla="*/ 57 w 255467"/>
                                                    <a:gd name="connsiteY58" fmla="*/ 127479 h 187443"/>
                                                    <a:gd name="connsiteX59" fmla="*/ 7896 w 255467"/>
                                                    <a:gd name="connsiteY59" fmla="*/ 132468 h 18744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55467" h="187443">
                                                      <a:moveTo>
                                                        <a:pt x="7831" y="132403"/>
                                                      </a:moveTo>
                                                      <a:cubicBezTo>
                                                        <a:pt x="15541" y="133504"/>
                                                        <a:pt x="23315" y="134217"/>
                                                        <a:pt x="31089" y="134476"/>
                                                      </a:cubicBezTo>
                                                      <a:cubicBezTo>
                                                        <a:pt x="33551" y="134541"/>
                                                        <a:pt x="36078" y="134606"/>
                                                        <a:pt x="38410" y="135318"/>
                                                      </a:cubicBezTo>
                                                      <a:cubicBezTo>
                                                        <a:pt x="41390" y="136161"/>
                                                        <a:pt x="43982" y="137975"/>
                                                        <a:pt x="46314" y="139983"/>
                                                      </a:cubicBezTo>
                                                      <a:cubicBezTo>
                                                        <a:pt x="53894" y="146526"/>
                                                        <a:pt x="59271" y="155596"/>
                                                        <a:pt x="61280" y="165444"/>
                                                      </a:cubicBezTo>
                                                      <a:cubicBezTo>
                                                        <a:pt x="62964" y="173477"/>
                                                        <a:pt x="63417" y="183454"/>
                                                        <a:pt x="70738" y="187147"/>
                                                      </a:cubicBezTo>
                                                      <a:cubicBezTo>
                                                        <a:pt x="72552" y="188054"/>
                                                        <a:pt x="75403" y="186693"/>
                                                        <a:pt x="77087" y="185592"/>
                                                      </a:cubicBezTo>
                                                      <a:cubicBezTo>
                                                        <a:pt x="74172" y="183389"/>
                                                        <a:pt x="74107" y="178595"/>
                                                        <a:pt x="76504" y="175809"/>
                                                      </a:cubicBezTo>
                                                      <a:cubicBezTo>
                                                        <a:pt x="78836" y="173024"/>
                                                        <a:pt x="82918" y="172052"/>
                                                        <a:pt x="86546" y="172570"/>
                                                      </a:cubicBezTo>
                                                      <a:cubicBezTo>
                                                        <a:pt x="89267" y="172959"/>
                                                        <a:pt x="92247" y="174060"/>
                                                        <a:pt x="94644" y="172829"/>
                                                      </a:cubicBezTo>
                                                      <a:cubicBezTo>
                                                        <a:pt x="95810" y="172246"/>
                                                        <a:pt x="96652" y="171145"/>
                                                        <a:pt x="97624" y="170238"/>
                                                      </a:cubicBezTo>
                                                      <a:cubicBezTo>
                                                        <a:pt x="105139" y="162852"/>
                                                        <a:pt x="117319" y="164990"/>
                                                        <a:pt x="127750" y="164018"/>
                                                      </a:cubicBezTo>
                                                      <a:cubicBezTo>
                                                        <a:pt x="128851" y="163889"/>
                                                        <a:pt x="130017" y="163759"/>
                                                        <a:pt x="130924" y="163111"/>
                                                      </a:cubicBezTo>
                                                      <a:cubicBezTo>
                                                        <a:pt x="133710" y="161038"/>
                                                        <a:pt x="131702" y="156698"/>
                                                        <a:pt x="131702" y="153199"/>
                                                      </a:cubicBezTo>
                                                      <a:cubicBezTo>
                                                        <a:pt x="131702" y="147692"/>
                                                        <a:pt x="137403" y="143870"/>
                                                        <a:pt x="139152" y="138687"/>
                                                      </a:cubicBezTo>
                                                      <a:cubicBezTo>
                                                        <a:pt x="141095" y="132986"/>
                                                        <a:pt x="138569" y="125212"/>
                                                        <a:pt x="143363" y="121584"/>
                                                      </a:cubicBezTo>
                                                      <a:cubicBezTo>
                                                        <a:pt x="147963" y="118085"/>
                                                        <a:pt x="154701" y="122102"/>
                                                        <a:pt x="160337" y="120741"/>
                                                      </a:cubicBezTo>
                                                      <a:cubicBezTo>
                                                        <a:pt x="165649" y="119446"/>
                                                        <a:pt x="168565" y="113939"/>
                                                        <a:pt x="170897" y="108950"/>
                                                      </a:cubicBezTo>
                                                      <a:cubicBezTo>
                                                        <a:pt x="173035" y="104221"/>
                                                        <a:pt x="175238" y="99427"/>
                                                        <a:pt x="175626" y="94244"/>
                                                      </a:cubicBezTo>
                                                      <a:cubicBezTo>
                                                        <a:pt x="175821" y="91912"/>
                                                        <a:pt x="175626" y="89515"/>
                                                        <a:pt x="176469" y="87312"/>
                                                      </a:cubicBezTo>
                                                      <a:cubicBezTo>
                                                        <a:pt x="177246" y="85304"/>
                                                        <a:pt x="178930" y="83749"/>
                                                        <a:pt x="180744" y="82583"/>
                                                      </a:cubicBezTo>
                                                      <a:cubicBezTo>
                                                        <a:pt x="191175" y="76104"/>
                                                        <a:pt x="207630" y="82453"/>
                                                        <a:pt x="215275" y="72865"/>
                                                      </a:cubicBezTo>
                                                      <a:cubicBezTo>
                                                        <a:pt x="216312" y="71569"/>
                                                        <a:pt x="217154" y="70014"/>
                                                        <a:pt x="218514" y="69043"/>
                                                      </a:cubicBezTo>
                                                      <a:cubicBezTo>
                                                        <a:pt x="220847" y="67423"/>
                                                        <a:pt x="224021" y="68136"/>
                                                        <a:pt x="226807" y="67617"/>
                                                      </a:cubicBezTo>
                                                      <a:cubicBezTo>
                                                        <a:pt x="231407" y="66840"/>
                                                        <a:pt x="235164" y="62434"/>
                                                        <a:pt x="235164" y="57770"/>
                                                      </a:cubicBezTo>
                                                      <a:cubicBezTo>
                                                        <a:pt x="241643" y="57575"/>
                                                        <a:pt x="247992" y="55114"/>
                                                        <a:pt x="252851" y="50773"/>
                                                      </a:cubicBezTo>
                                                      <a:cubicBezTo>
                                                        <a:pt x="254470" y="49348"/>
                                                        <a:pt x="255961" y="47275"/>
                                                        <a:pt x="255313" y="45266"/>
                                                      </a:cubicBezTo>
                                                      <a:cubicBezTo>
                                                        <a:pt x="254794" y="43776"/>
                                                        <a:pt x="253240" y="42869"/>
                                                        <a:pt x="251814" y="42156"/>
                                                      </a:cubicBezTo>
                                                      <a:cubicBezTo>
                                                        <a:pt x="241189" y="36909"/>
                                                        <a:pt x="230565" y="31596"/>
                                                        <a:pt x="220005" y="26349"/>
                                                      </a:cubicBezTo>
                                                      <a:cubicBezTo>
                                                        <a:pt x="210675" y="21684"/>
                                                        <a:pt x="200634" y="16890"/>
                                                        <a:pt x="190268" y="18056"/>
                                                      </a:cubicBezTo>
                                                      <a:cubicBezTo>
                                                        <a:pt x="188713" y="18250"/>
                                                        <a:pt x="187223" y="18510"/>
                                                        <a:pt x="185862" y="19287"/>
                                                      </a:cubicBezTo>
                                                      <a:cubicBezTo>
                                                        <a:pt x="184308" y="20194"/>
                                                        <a:pt x="183141" y="21619"/>
                                                        <a:pt x="181781" y="22786"/>
                                                      </a:cubicBezTo>
                                                      <a:cubicBezTo>
                                                        <a:pt x="179449" y="24729"/>
                                                        <a:pt x="176274" y="25830"/>
                                                        <a:pt x="173294" y="25247"/>
                                                      </a:cubicBezTo>
                                                      <a:cubicBezTo>
                                                        <a:pt x="170314" y="24600"/>
                                                        <a:pt x="167658" y="22073"/>
                                                        <a:pt x="167463" y="19028"/>
                                                      </a:cubicBezTo>
                                                      <a:cubicBezTo>
                                                        <a:pt x="158782" y="20129"/>
                                                        <a:pt x="149971" y="20388"/>
                                                        <a:pt x="141290" y="19805"/>
                                                      </a:cubicBezTo>
                                                      <a:cubicBezTo>
                                                        <a:pt x="137597" y="19546"/>
                                                        <a:pt x="133256" y="18704"/>
                                                        <a:pt x="131831" y="15335"/>
                                                      </a:cubicBezTo>
                                                      <a:cubicBezTo>
                                                        <a:pt x="130795" y="12809"/>
                                                        <a:pt x="131507" y="9375"/>
                                                        <a:pt x="129305" y="7755"/>
                                                      </a:cubicBezTo>
                                                      <a:cubicBezTo>
                                                        <a:pt x="127361" y="6330"/>
                                                        <a:pt x="124510" y="7626"/>
                                                        <a:pt x="122243" y="6783"/>
                                                      </a:cubicBezTo>
                                                      <a:cubicBezTo>
                                                        <a:pt x="119392" y="5682"/>
                                                        <a:pt x="118615" y="1730"/>
                                                        <a:pt x="115829" y="434"/>
                                                      </a:cubicBezTo>
                                                      <a:cubicBezTo>
                                                        <a:pt x="114533" y="-149"/>
                                                        <a:pt x="113108" y="-19"/>
                                                        <a:pt x="111683" y="111"/>
                                                      </a:cubicBezTo>
                                                      <a:cubicBezTo>
                                                        <a:pt x="104492" y="758"/>
                                                        <a:pt x="97365" y="1471"/>
                                                        <a:pt x="90174" y="2119"/>
                                                      </a:cubicBezTo>
                                                      <a:cubicBezTo>
                                                        <a:pt x="86870" y="2443"/>
                                                        <a:pt x="83566" y="2767"/>
                                                        <a:pt x="80586" y="4192"/>
                                                      </a:cubicBezTo>
                                                      <a:cubicBezTo>
                                                        <a:pt x="77605" y="5617"/>
                                                        <a:pt x="75079" y="8468"/>
                                                        <a:pt x="74949" y="11707"/>
                                                      </a:cubicBezTo>
                                                      <a:cubicBezTo>
                                                        <a:pt x="74820" y="15270"/>
                                                        <a:pt x="77346" y="19093"/>
                                                        <a:pt x="75468" y="22073"/>
                                                      </a:cubicBezTo>
                                                      <a:cubicBezTo>
                                                        <a:pt x="73200" y="25766"/>
                                                        <a:pt x="66786" y="24276"/>
                                                        <a:pt x="64130" y="27644"/>
                                                      </a:cubicBezTo>
                                                      <a:cubicBezTo>
                                                        <a:pt x="62705" y="29458"/>
                                                        <a:pt x="62834" y="32050"/>
                                                        <a:pt x="61539" y="33929"/>
                                                      </a:cubicBezTo>
                                                      <a:cubicBezTo>
                                                        <a:pt x="59530" y="36714"/>
                                                        <a:pt x="55384" y="36455"/>
                                                        <a:pt x="51950" y="35872"/>
                                                      </a:cubicBezTo>
                                                      <a:cubicBezTo>
                                                        <a:pt x="51367" y="36974"/>
                                                        <a:pt x="51756" y="38723"/>
                                                        <a:pt x="51173" y="39889"/>
                                                      </a:cubicBezTo>
                                                      <a:cubicBezTo>
                                                        <a:pt x="51626" y="46238"/>
                                                        <a:pt x="50914" y="54336"/>
                                                        <a:pt x="44889" y="56345"/>
                                                      </a:cubicBezTo>
                                                      <a:cubicBezTo>
                                                        <a:pt x="43723" y="56733"/>
                                                        <a:pt x="42427" y="56798"/>
                                                        <a:pt x="41455" y="57575"/>
                                                      </a:cubicBezTo>
                                                      <a:cubicBezTo>
                                                        <a:pt x="40548" y="58288"/>
                                                        <a:pt x="40159" y="59454"/>
                                                        <a:pt x="39512" y="60361"/>
                                                      </a:cubicBezTo>
                                                      <a:cubicBezTo>
                                                        <a:pt x="38021" y="62564"/>
                                                        <a:pt x="35041" y="63665"/>
                                                        <a:pt x="32450" y="62888"/>
                                                      </a:cubicBezTo>
                                                      <a:cubicBezTo>
                                                        <a:pt x="32450" y="71828"/>
                                                        <a:pt x="32579" y="80704"/>
                                                        <a:pt x="32579" y="89644"/>
                                                      </a:cubicBezTo>
                                                      <a:cubicBezTo>
                                                        <a:pt x="32579" y="92819"/>
                                                        <a:pt x="32191" y="96641"/>
                                                        <a:pt x="29340" y="98002"/>
                                                      </a:cubicBezTo>
                                                      <a:cubicBezTo>
                                                        <a:pt x="26230" y="99492"/>
                                                        <a:pt x="22214" y="96900"/>
                                                        <a:pt x="19298" y="98714"/>
                                                      </a:cubicBezTo>
                                                      <a:cubicBezTo>
                                                        <a:pt x="14958" y="101371"/>
                                                        <a:pt x="18910" y="109210"/>
                                                        <a:pt x="15346" y="112838"/>
                                                      </a:cubicBezTo>
                                                      <a:cubicBezTo>
                                                        <a:pt x="14051" y="114198"/>
                                                        <a:pt x="12042" y="114522"/>
                                                        <a:pt x="10228" y="115170"/>
                                                      </a:cubicBezTo>
                                                      <a:cubicBezTo>
                                                        <a:pt x="6017" y="116595"/>
                                                        <a:pt x="2454" y="119899"/>
                                                        <a:pt x="705" y="123916"/>
                                                      </a:cubicBezTo>
                                                      <a:cubicBezTo>
                                                        <a:pt x="187" y="125017"/>
                                                        <a:pt x="-137" y="126248"/>
                                                        <a:pt x="57" y="127479"/>
                                                      </a:cubicBezTo>
                                                      <a:cubicBezTo>
                                                        <a:pt x="575" y="130783"/>
                                                        <a:pt x="4592" y="132014"/>
                                                        <a:pt x="7896" y="13246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2" name="Freeform: Shape 80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8E50BBF-6FF5-494D-8071-DE5660AF5AE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061412" y="1905426"/>
                                                  <a:ext cx="446982" cy="25608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07227 w 446982"/>
                                                    <a:gd name="connsiteY0" fmla="*/ 200123 h 256083"/>
                                                    <a:gd name="connsiteX1" fmla="*/ 417204 w 446982"/>
                                                    <a:gd name="connsiteY1" fmla="*/ 187943 h 256083"/>
                                                    <a:gd name="connsiteX2" fmla="*/ 445191 w 446982"/>
                                                    <a:gd name="connsiteY2" fmla="*/ 197985 h 256083"/>
                                                    <a:gd name="connsiteX3" fmla="*/ 441822 w 446982"/>
                                                    <a:gd name="connsiteY3" fmla="*/ 177966 h 256083"/>
                                                    <a:gd name="connsiteX4" fmla="*/ 423682 w 446982"/>
                                                    <a:gd name="connsiteY4" fmla="*/ 166305 h 256083"/>
                                                    <a:gd name="connsiteX5" fmla="*/ 377101 w 446982"/>
                                                    <a:gd name="connsiteY5" fmla="*/ 144796 h 256083"/>
                                                    <a:gd name="connsiteX6" fmla="*/ 359221 w 446982"/>
                                                    <a:gd name="connsiteY6" fmla="*/ 124259 h 256083"/>
                                                    <a:gd name="connsiteX7" fmla="*/ 361618 w 446982"/>
                                                    <a:gd name="connsiteY7" fmla="*/ 114865 h 256083"/>
                                                    <a:gd name="connsiteX8" fmla="*/ 352159 w 446982"/>
                                                    <a:gd name="connsiteY8" fmla="*/ 93356 h 256083"/>
                                                    <a:gd name="connsiteX9" fmla="*/ 338165 w 446982"/>
                                                    <a:gd name="connsiteY9" fmla="*/ 75670 h 256083"/>
                                                    <a:gd name="connsiteX10" fmla="*/ 339202 w 446982"/>
                                                    <a:gd name="connsiteY10" fmla="*/ 52152 h 256083"/>
                                                    <a:gd name="connsiteX11" fmla="*/ 344061 w 446982"/>
                                                    <a:gd name="connsiteY11" fmla="*/ 34336 h 256083"/>
                                                    <a:gd name="connsiteX12" fmla="*/ 354686 w 446982"/>
                                                    <a:gd name="connsiteY12" fmla="*/ 18075 h 256083"/>
                                                    <a:gd name="connsiteX13" fmla="*/ 353649 w 446982"/>
                                                    <a:gd name="connsiteY13" fmla="*/ 0 h 256083"/>
                                                    <a:gd name="connsiteX14" fmla="*/ 318665 w 446982"/>
                                                    <a:gd name="connsiteY14" fmla="*/ 1490 h 256083"/>
                                                    <a:gd name="connsiteX15" fmla="*/ 308299 w 446982"/>
                                                    <a:gd name="connsiteY15" fmla="*/ 3563 h 256083"/>
                                                    <a:gd name="connsiteX16" fmla="*/ 303894 w 446982"/>
                                                    <a:gd name="connsiteY16" fmla="*/ 12374 h 256083"/>
                                                    <a:gd name="connsiteX17" fmla="*/ 309984 w 446982"/>
                                                    <a:gd name="connsiteY17" fmla="*/ 18464 h 256083"/>
                                                    <a:gd name="connsiteX18" fmla="*/ 324301 w 446982"/>
                                                    <a:gd name="connsiteY18" fmla="*/ 29542 h 256083"/>
                                                    <a:gd name="connsiteX19" fmla="*/ 332529 w 446982"/>
                                                    <a:gd name="connsiteY19" fmla="*/ 45998 h 256083"/>
                                                    <a:gd name="connsiteX20" fmla="*/ 323653 w 446982"/>
                                                    <a:gd name="connsiteY20" fmla="*/ 44897 h 256083"/>
                                                    <a:gd name="connsiteX21" fmla="*/ 318341 w 446982"/>
                                                    <a:gd name="connsiteY21" fmla="*/ 36539 h 256083"/>
                                                    <a:gd name="connsiteX22" fmla="*/ 284458 w 446982"/>
                                                    <a:gd name="connsiteY22" fmla="*/ 25137 h 256083"/>
                                                    <a:gd name="connsiteX23" fmla="*/ 282968 w 446982"/>
                                                    <a:gd name="connsiteY23" fmla="*/ 25137 h 256083"/>
                                                    <a:gd name="connsiteX24" fmla="*/ 268391 w 446982"/>
                                                    <a:gd name="connsiteY24" fmla="*/ 29024 h 256083"/>
                                                    <a:gd name="connsiteX25" fmla="*/ 271760 w 446982"/>
                                                    <a:gd name="connsiteY25" fmla="*/ 51764 h 256083"/>
                                                    <a:gd name="connsiteX26" fmla="*/ 282579 w 446982"/>
                                                    <a:gd name="connsiteY26" fmla="*/ 73661 h 256083"/>
                                                    <a:gd name="connsiteX27" fmla="*/ 280700 w 446982"/>
                                                    <a:gd name="connsiteY27" fmla="*/ 85582 h 256083"/>
                                                    <a:gd name="connsiteX28" fmla="*/ 292232 w 446982"/>
                                                    <a:gd name="connsiteY28" fmla="*/ 99640 h 256083"/>
                                                    <a:gd name="connsiteX29" fmla="*/ 287373 w 446982"/>
                                                    <a:gd name="connsiteY29" fmla="*/ 107220 h 256083"/>
                                                    <a:gd name="connsiteX30" fmla="*/ 264245 w 446982"/>
                                                    <a:gd name="connsiteY30" fmla="*/ 102880 h 256083"/>
                                                    <a:gd name="connsiteX31" fmla="*/ 262625 w 446982"/>
                                                    <a:gd name="connsiteY31" fmla="*/ 95429 h 256083"/>
                                                    <a:gd name="connsiteX32" fmla="*/ 257896 w 446982"/>
                                                    <a:gd name="connsiteY32" fmla="*/ 90117 h 256083"/>
                                                    <a:gd name="connsiteX33" fmla="*/ 257442 w 446982"/>
                                                    <a:gd name="connsiteY33" fmla="*/ 79751 h 256083"/>
                                                    <a:gd name="connsiteX34" fmla="*/ 233990 w 446982"/>
                                                    <a:gd name="connsiteY34" fmla="*/ 44961 h 256083"/>
                                                    <a:gd name="connsiteX35" fmla="*/ 216951 w 446982"/>
                                                    <a:gd name="connsiteY35" fmla="*/ 38094 h 256083"/>
                                                    <a:gd name="connsiteX36" fmla="*/ 211250 w 446982"/>
                                                    <a:gd name="connsiteY36" fmla="*/ 51764 h 256083"/>
                                                    <a:gd name="connsiteX37" fmla="*/ 221551 w 446982"/>
                                                    <a:gd name="connsiteY37" fmla="*/ 53902 h 256083"/>
                                                    <a:gd name="connsiteX38" fmla="*/ 228224 w 446982"/>
                                                    <a:gd name="connsiteY38" fmla="*/ 71653 h 256083"/>
                                                    <a:gd name="connsiteX39" fmla="*/ 197580 w 446982"/>
                                                    <a:gd name="connsiteY39" fmla="*/ 69126 h 256083"/>
                                                    <a:gd name="connsiteX40" fmla="*/ 193045 w 446982"/>
                                                    <a:gd name="connsiteY40" fmla="*/ 74957 h 256083"/>
                                                    <a:gd name="connsiteX41" fmla="*/ 186567 w 446982"/>
                                                    <a:gd name="connsiteY41" fmla="*/ 75799 h 256083"/>
                                                    <a:gd name="connsiteX42" fmla="*/ 179570 w 446982"/>
                                                    <a:gd name="connsiteY42" fmla="*/ 45350 h 256083"/>
                                                    <a:gd name="connsiteX43" fmla="*/ 146011 w 446982"/>
                                                    <a:gd name="connsiteY43" fmla="*/ 38677 h 256083"/>
                                                    <a:gd name="connsiteX44" fmla="*/ 140374 w 446982"/>
                                                    <a:gd name="connsiteY44" fmla="*/ 40556 h 256083"/>
                                                    <a:gd name="connsiteX45" fmla="*/ 138431 w 446982"/>
                                                    <a:gd name="connsiteY45" fmla="*/ 47099 h 256083"/>
                                                    <a:gd name="connsiteX46" fmla="*/ 141929 w 446982"/>
                                                    <a:gd name="connsiteY46" fmla="*/ 67053 h 256083"/>
                                                    <a:gd name="connsiteX47" fmla="*/ 108176 w 446982"/>
                                                    <a:gd name="connsiteY47" fmla="*/ 62389 h 256083"/>
                                                    <a:gd name="connsiteX48" fmla="*/ 103641 w 446982"/>
                                                    <a:gd name="connsiteY48" fmla="*/ 59085 h 256083"/>
                                                    <a:gd name="connsiteX49" fmla="*/ 109990 w 446982"/>
                                                    <a:gd name="connsiteY49" fmla="*/ 54031 h 256083"/>
                                                    <a:gd name="connsiteX50" fmla="*/ 119384 w 446982"/>
                                                    <a:gd name="connsiteY50" fmla="*/ 54031 h 256083"/>
                                                    <a:gd name="connsiteX51" fmla="*/ 120939 w 446982"/>
                                                    <a:gd name="connsiteY51" fmla="*/ 47099 h 256083"/>
                                                    <a:gd name="connsiteX52" fmla="*/ 126316 w 446982"/>
                                                    <a:gd name="connsiteY52" fmla="*/ 40038 h 256083"/>
                                                    <a:gd name="connsiteX53" fmla="*/ 118930 w 446982"/>
                                                    <a:gd name="connsiteY53" fmla="*/ 29672 h 256083"/>
                                                    <a:gd name="connsiteX54" fmla="*/ 118023 w 446982"/>
                                                    <a:gd name="connsiteY54" fmla="*/ 21120 h 256083"/>
                                                    <a:gd name="connsiteX55" fmla="*/ 104807 w 446982"/>
                                                    <a:gd name="connsiteY55" fmla="*/ 17881 h 256083"/>
                                                    <a:gd name="connsiteX56" fmla="*/ 90360 w 446982"/>
                                                    <a:gd name="connsiteY56" fmla="*/ 20019 h 256083"/>
                                                    <a:gd name="connsiteX57" fmla="*/ 79476 w 446982"/>
                                                    <a:gd name="connsiteY57" fmla="*/ 32458 h 256083"/>
                                                    <a:gd name="connsiteX58" fmla="*/ 63539 w 446982"/>
                                                    <a:gd name="connsiteY58" fmla="*/ 39519 h 256083"/>
                                                    <a:gd name="connsiteX59" fmla="*/ 58485 w 446982"/>
                                                    <a:gd name="connsiteY59" fmla="*/ 43925 h 256083"/>
                                                    <a:gd name="connsiteX60" fmla="*/ 51488 w 446982"/>
                                                    <a:gd name="connsiteY60" fmla="*/ 47229 h 256083"/>
                                                    <a:gd name="connsiteX61" fmla="*/ 21493 w 446982"/>
                                                    <a:gd name="connsiteY61" fmla="*/ 58437 h 256083"/>
                                                    <a:gd name="connsiteX62" fmla="*/ 18124 w 446982"/>
                                                    <a:gd name="connsiteY62" fmla="*/ 69126 h 256083"/>
                                                    <a:gd name="connsiteX63" fmla="*/ 10544 w 446982"/>
                                                    <a:gd name="connsiteY63" fmla="*/ 78456 h 256083"/>
                                                    <a:gd name="connsiteX64" fmla="*/ 8665 w 446982"/>
                                                    <a:gd name="connsiteY64" fmla="*/ 91672 h 256083"/>
                                                    <a:gd name="connsiteX65" fmla="*/ 2964 w 446982"/>
                                                    <a:gd name="connsiteY65" fmla="*/ 93421 h 256083"/>
                                                    <a:gd name="connsiteX66" fmla="*/ 2575 w 446982"/>
                                                    <a:gd name="connsiteY66" fmla="*/ 104888 h 256083"/>
                                                    <a:gd name="connsiteX67" fmla="*/ 15079 w 446982"/>
                                                    <a:gd name="connsiteY67" fmla="*/ 109229 h 256083"/>
                                                    <a:gd name="connsiteX68" fmla="*/ 27259 w 446982"/>
                                                    <a:gd name="connsiteY68" fmla="*/ 114282 h 256083"/>
                                                    <a:gd name="connsiteX69" fmla="*/ 31405 w 446982"/>
                                                    <a:gd name="connsiteY69" fmla="*/ 119724 h 256083"/>
                                                    <a:gd name="connsiteX70" fmla="*/ 48444 w 446982"/>
                                                    <a:gd name="connsiteY70" fmla="*/ 120242 h 256083"/>
                                                    <a:gd name="connsiteX71" fmla="*/ 53238 w 446982"/>
                                                    <a:gd name="connsiteY71" fmla="*/ 109617 h 256083"/>
                                                    <a:gd name="connsiteX72" fmla="*/ 66195 w 446982"/>
                                                    <a:gd name="connsiteY72" fmla="*/ 109229 h 256083"/>
                                                    <a:gd name="connsiteX73" fmla="*/ 87833 w 446982"/>
                                                    <a:gd name="connsiteY73" fmla="*/ 112662 h 256083"/>
                                                    <a:gd name="connsiteX74" fmla="*/ 82910 w 446982"/>
                                                    <a:gd name="connsiteY74" fmla="*/ 121862 h 256083"/>
                                                    <a:gd name="connsiteX75" fmla="*/ 43066 w 446982"/>
                                                    <a:gd name="connsiteY75" fmla="*/ 128924 h 256083"/>
                                                    <a:gd name="connsiteX76" fmla="*/ 34774 w 446982"/>
                                                    <a:gd name="connsiteY76" fmla="*/ 129831 h 256083"/>
                                                    <a:gd name="connsiteX77" fmla="*/ 29073 w 446982"/>
                                                    <a:gd name="connsiteY77" fmla="*/ 137087 h 256083"/>
                                                    <a:gd name="connsiteX78" fmla="*/ 21169 w 446982"/>
                                                    <a:gd name="connsiteY78" fmla="*/ 139030 h 256083"/>
                                                    <a:gd name="connsiteX79" fmla="*/ 21557 w 446982"/>
                                                    <a:gd name="connsiteY79" fmla="*/ 146286 h 256083"/>
                                                    <a:gd name="connsiteX80" fmla="*/ 37883 w 446982"/>
                                                    <a:gd name="connsiteY80" fmla="*/ 156911 h 256083"/>
                                                    <a:gd name="connsiteX81" fmla="*/ 99041 w 446982"/>
                                                    <a:gd name="connsiteY81" fmla="*/ 150173 h 256083"/>
                                                    <a:gd name="connsiteX82" fmla="*/ 135710 w 446982"/>
                                                    <a:gd name="connsiteY82" fmla="*/ 152765 h 256083"/>
                                                    <a:gd name="connsiteX83" fmla="*/ 145363 w 446982"/>
                                                    <a:gd name="connsiteY83" fmla="*/ 156328 h 256083"/>
                                                    <a:gd name="connsiteX84" fmla="*/ 149833 w 446982"/>
                                                    <a:gd name="connsiteY84" fmla="*/ 161964 h 256083"/>
                                                    <a:gd name="connsiteX85" fmla="*/ 166353 w 446982"/>
                                                    <a:gd name="connsiteY85" fmla="*/ 164232 h 256083"/>
                                                    <a:gd name="connsiteX86" fmla="*/ 176978 w 446982"/>
                                                    <a:gd name="connsiteY86" fmla="*/ 173950 h 256083"/>
                                                    <a:gd name="connsiteX87" fmla="*/ 167066 w 446982"/>
                                                    <a:gd name="connsiteY87" fmla="*/ 178226 h 256083"/>
                                                    <a:gd name="connsiteX88" fmla="*/ 131823 w 446982"/>
                                                    <a:gd name="connsiteY88" fmla="*/ 179586 h 256083"/>
                                                    <a:gd name="connsiteX89" fmla="*/ 116145 w 446982"/>
                                                    <a:gd name="connsiteY89" fmla="*/ 180234 h 256083"/>
                                                    <a:gd name="connsiteX90" fmla="*/ 48573 w 446982"/>
                                                    <a:gd name="connsiteY90" fmla="*/ 180623 h 256083"/>
                                                    <a:gd name="connsiteX91" fmla="*/ 41447 w 446982"/>
                                                    <a:gd name="connsiteY91" fmla="*/ 192025 h 256083"/>
                                                    <a:gd name="connsiteX92" fmla="*/ 34774 w 446982"/>
                                                    <a:gd name="connsiteY92" fmla="*/ 197013 h 256083"/>
                                                    <a:gd name="connsiteX93" fmla="*/ 48832 w 446982"/>
                                                    <a:gd name="connsiteY93" fmla="*/ 200771 h 256083"/>
                                                    <a:gd name="connsiteX94" fmla="*/ 50193 w 446982"/>
                                                    <a:gd name="connsiteY94" fmla="*/ 207509 h 256083"/>
                                                    <a:gd name="connsiteX95" fmla="*/ 106815 w 446982"/>
                                                    <a:gd name="connsiteY95" fmla="*/ 217226 h 256083"/>
                                                    <a:gd name="connsiteX96" fmla="*/ 129296 w 446982"/>
                                                    <a:gd name="connsiteY96" fmla="*/ 217486 h 256083"/>
                                                    <a:gd name="connsiteX97" fmla="*/ 135192 w 446982"/>
                                                    <a:gd name="connsiteY97" fmla="*/ 220466 h 256083"/>
                                                    <a:gd name="connsiteX98" fmla="*/ 137524 w 446982"/>
                                                    <a:gd name="connsiteY98" fmla="*/ 226815 h 256083"/>
                                                    <a:gd name="connsiteX99" fmla="*/ 140763 w 446982"/>
                                                    <a:gd name="connsiteY99" fmla="*/ 244501 h 256083"/>
                                                    <a:gd name="connsiteX100" fmla="*/ 143290 w 446982"/>
                                                    <a:gd name="connsiteY100" fmla="*/ 251693 h 256083"/>
                                                    <a:gd name="connsiteX101" fmla="*/ 156182 w 446982"/>
                                                    <a:gd name="connsiteY101" fmla="*/ 255968 h 256083"/>
                                                    <a:gd name="connsiteX102" fmla="*/ 216303 w 446982"/>
                                                    <a:gd name="connsiteY102" fmla="*/ 254025 h 256083"/>
                                                    <a:gd name="connsiteX103" fmla="*/ 223948 w 446982"/>
                                                    <a:gd name="connsiteY103" fmla="*/ 245991 h 256083"/>
                                                    <a:gd name="connsiteX104" fmla="*/ 236452 w 446982"/>
                                                    <a:gd name="connsiteY104" fmla="*/ 244113 h 256083"/>
                                                    <a:gd name="connsiteX105" fmla="*/ 241699 w 446982"/>
                                                    <a:gd name="connsiteY105" fmla="*/ 238865 h 256083"/>
                                                    <a:gd name="connsiteX106" fmla="*/ 258608 w 446982"/>
                                                    <a:gd name="connsiteY106" fmla="*/ 235302 h 256083"/>
                                                    <a:gd name="connsiteX107" fmla="*/ 289187 w 446982"/>
                                                    <a:gd name="connsiteY107" fmla="*/ 229989 h 256083"/>
                                                    <a:gd name="connsiteX108" fmla="*/ 308817 w 446982"/>
                                                    <a:gd name="connsiteY108" fmla="*/ 215477 h 256083"/>
                                                    <a:gd name="connsiteX109" fmla="*/ 336027 w 446982"/>
                                                    <a:gd name="connsiteY109" fmla="*/ 233488 h 256083"/>
                                                    <a:gd name="connsiteX110" fmla="*/ 352094 w 446982"/>
                                                    <a:gd name="connsiteY110" fmla="*/ 236857 h 256083"/>
                                                    <a:gd name="connsiteX111" fmla="*/ 359350 w 446982"/>
                                                    <a:gd name="connsiteY111" fmla="*/ 246639 h 256083"/>
                                                    <a:gd name="connsiteX112" fmla="*/ 371919 w 446982"/>
                                                    <a:gd name="connsiteY112" fmla="*/ 248971 h 256083"/>
                                                    <a:gd name="connsiteX113" fmla="*/ 405478 w 446982"/>
                                                    <a:gd name="connsiteY113" fmla="*/ 246510 h 256083"/>
                                                    <a:gd name="connsiteX114" fmla="*/ 415649 w 446982"/>
                                                    <a:gd name="connsiteY114" fmla="*/ 243724 h 256083"/>
                                                    <a:gd name="connsiteX115" fmla="*/ 429124 w 446982"/>
                                                    <a:gd name="connsiteY115" fmla="*/ 233876 h 256083"/>
                                                    <a:gd name="connsiteX116" fmla="*/ 423294 w 446982"/>
                                                    <a:gd name="connsiteY116" fmla="*/ 210813 h 256083"/>
                                                    <a:gd name="connsiteX117" fmla="*/ 421609 w 446982"/>
                                                    <a:gd name="connsiteY117" fmla="*/ 208416 h 256083"/>
                                                    <a:gd name="connsiteX118" fmla="*/ 405478 w 446982"/>
                                                    <a:gd name="connsiteY118" fmla="*/ 214959 h 256083"/>
                                                    <a:gd name="connsiteX119" fmla="*/ 390966 w 446982"/>
                                                    <a:gd name="connsiteY119" fmla="*/ 202650 h 256083"/>
                                                    <a:gd name="connsiteX120" fmla="*/ 407292 w 446982"/>
                                                    <a:gd name="connsiteY120" fmla="*/ 200253 h 25608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46982" h="256083">
                                                      <a:moveTo>
                                                        <a:pt x="407227" y="200123"/>
                                                      </a:moveTo>
                                                      <a:cubicBezTo>
                                                        <a:pt x="412345" y="197985"/>
                                                        <a:pt x="416815" y="193450"/>
                                                        <a:pt x="417204" y="187943"/>
                                                      </a:cubicBezTo>
                                                      <a:cubicBezTo>
                                                        <a:pt x="426533" y="191312"/>
                                                        <a:pt x="435862" y="194616"/>
                                                        <a:pt x="445191" y="197985"/>
                                                      </a:cubicBezTo>
                                                      <a:cubicBezTo>
                                                        <a:pt x="448819" y="191701"/>
                                                        <a:pt x="446552" y="183408"/>
                                                        <a:pt x="441822" y="177966"/>
                                                      </a:cubicBezTo>
                                                      <a:cubicBezTo>
                                                        <a:pt x="437028" y="172524"/>
                                                        <a:pt x="430291" y="169350"/>
                                                        <a:pt x="423682" y="166305"/>
                                                      </a:cubicBezTo>
                                                      <a:cubicBezTo>
                                                        <a:pt x="408134" y="159114"/>
                                                        <a:pt x="392650" y="151987"/>
                                                        <a:pt x="377101" y="144796"/>
                                                      </a:cubicBezTo>
                                                      <a:cubicBezTo>
                                                        <a:pt x="368226" y="140715"/>
                                                        <a:pt x="357795" y="133912"/>
                                                        <a:pt x="359221" y="124259"/>
                                                      </a:cubicBezTo>
                                                      <a:cubicBezTo>
                                                        <a:pt x="359674" y="121085"/>
                                                        <a:pt x="361488" y="118104"/>
                                                        <a:pt x="361618" y="114865"/>
                                                      </a:cubicBezTo>
                                                      <a:cubicBezTo>
                                                        <a:pt x="361812" y="106896"/>
                                                        <a:pt x="351770" y="101390"/>
                                                        <a:pt x="352159" y="93356"/>
                                                      </a:cubicBezTo>
                                                      <a:cubicBezTo>
                                                        <a:pt x="344644" y="91024"/>
                                                        <a:pt x="339655" y="83444"/>
                                                        <a:pt x="338165" y="75670"/>
                                                      </a:cubicBezTo>
                                                      <a:cubicBezTo>
                                                        <a:pt x="336610" y="67895"/>
                                                        <a:pt x="337906" y="59927"/>
                                                        <a:pt x="339202" y="52152"/>
                                                      </a:cubicBezTo>
                                                      <a:cubicBezTo>
                                                        <a:pt x="340174" y="46063"/>
                                                        <a:pt x="341210" y="39843"/>
                                                        <a:pt x="344061" y="34336"/>
                                                      </a:cubicBezTo>
                                                      <a:cubicBezTo>
                                                        <a:pt x="346976" y="28570"/>
                                                        <a:pt x="351705" y="23841"/>
                                                        <a:pt x="354686" y="18075"/>
                                                      </a:cubicBezTo>
                                                      <a:cubicBezTo>
                                                        <a:pt x="357666" y="12309"/>
                                                        <a:pt x="358314" y="4470"/>
                                                        <a:pt x="353649" y="0"/>
                                                      </a:cubicBezTo>
                                                      <a:cubicBezTo>
                                                        <a:pt x="341988" y="518"/>
                                                        <a:pt x="330326" y="972"/>
                                                        <a:pt x="318665" y="1490"/>
                                                      </a:cubicBezTo>
                                                      <a:cubicBezTo>
                                                        <a:pt x="315102" y="1620"/>
                                                        <a:pt x="311409" y="1814"/>
                                                        <a:pt x="308299" y="3563"/>
                                                      </a:cubicBezTo>
                                                      <a:cubicBezTo>
                                                        <a:pt x="305189" y="5248"/>
                                                        <a:pt x="302792" y="9005"/>
                                                        <a:pt x="303894" y="12374"/>
                                                      </a:cubicBezTo>
                                                      <a:cubicBezTo>
                                                        <a:pt x="304736" y="15160"/>
                                                        <a:pt x="307522" y="16909"/>
                                                        <a:pt x="309984" y="18464"/>
                                                      </a:cubicBezTo>
                                                      <a:cubicBezTo>
                                                        <a:pt x="315102" y="21703"/>
                                                        <a:pt x="319896" y="25396"/>
                                                        <a:pt x="324301" y="29542"/>
                                                      </a:cubicBezTo>
                                                      <a:cubicBezTo>
                                                        <a:pt x="328966" y="33948"/>
                                                        <a:pt x="333436" y="39714"/>
                                                        <a:pt x="332529" y="45998"/>
                                                      </a:cubicBezTo>
                                                      <a:cubicBezTo>
                                                        <a:pt x="330197" y="48330"/>
                                                        <a:pt x="325985" y="47229"/>
                                                        <a:pt x="323653" y="44897"/>
                                                      </a:cubicBezTo>
                                                      <a:cubicBezTo>
                                                        <a:pt x="321321" y="42499"/>
                                                        <a:pt x="320155" y="39260"/>
                                                        <a:pt x="318341" y="36539"/>
                                                      </a:cubicBezTo>
                                                      <a:cubicBezTo>
                                                        <a:pt x="311409" y="26238"/>
                                                        <a:pt x="296897" y="25137"/>
                                                        <a:pt x="284458" y="25137"/>
                                                      </a:cubicBezTo>
                                                      <a:cubicBezTo>
                                                        <a:pt x="283940" y="25137"/>
                                                        <a:pt x="283421" y="25137"/>
                                                        <a:pt x="282968" y="25137"/>
                                                      </a:cubicBezTo>
                                                      <a:cubicBezTo>
                                                        <a:pt x="277785" y="25137"/>
                                                        <a:pt x="272019" y="25331"/>
                                                        <a:pt x="268391" y="29024"/>
                                                      </a:cubicBezTo>
                                                      <a:cubicBezTo>
                                                        <a:pt x="262496" y="35049"/>
                                                        <a:pt x="266512" y="45220"/>
                                                        <a:pt x="271760" y="51764"/>
                                                      </a:cubicBezTo>
                                                      <a:cubicBezTo>
                                                        <a:pt x="277008" y="58307"/>
                                                        <a:pt x="283810" y="65369"/>
                                                        <a:pt x="282579" y="73661"/>
                                                      </a:cubicBezTo>
                                                      <a:cubicBezTo>
                                                        <a:pt x="281996" y="77678"/>
                                                        <a:pt x="279534" y="81695"/>
                                                        <a:pt x="280700" y="85582"/>
                                                      </a:cubicBezTo>
                                                      <a:cubicBezTo>
                                                        <a:pt x="282579" y="91542"/>
                                                        <a:pt x="291908" y="93421"/>
                                                        <a:pt x="292232" y="99640"/>
                                                      </a:cubicBezTo>
                                                      <a:cubicBezTo>
                                                        <a:pt x="292362" y="102750"/>
                                                        <a:pt x="289965" y="105471"/>
                                                        <a:pt x="287373" y="107220"/>
                                                      </a:cubicBezTo>
                                                      <a:cubicBezTo>
                                                        <a:pt x="279858" y="112533"/>
                                                        <a:pt x="266642" y="111755"/>
                                                        <a:pt x="264245" y="102880"/>
                                                      </a:cubicBezTo>
                                                      <a:cubicBezTo>
                                                        <a:pt x="263597" y="100418"/>
                                                        <a:pt x="263921" y="97632"/>
                                                        <a:pt x="262625" y="95429"/>
                                                      </a:cubicBezTo>
                                                      <a:cubicBezTo>
                                                        <a:pt x="261459" y="93356"/>
                                                        <a:pt x="259127" y="92190"/>
                                                        <a:pt x="257896" y="90117"/>
                                                      </a:cubicBezTo>
                                                      <a:cubicBezTo>
                                                        <a:pt x="256082" y="87072"/>
                                                        <a:pt x="257118" y="83250"/>
                                                        <a:pt x="257442" y="79751"/>
                                                      </a:cubicBezTo>
                                                      <a:cubicBezTo>
                                                        <a:pt x="258608" y="65174"/>
                                                        <a:pt x="245651" y="53772"/>
                                                        <a:pt x="233990" y="44961"/>
                                                      </a:cubicBezTo>
                                                      <a:cubicBezTo>
                                                        <a:pt x="228937" y="41204"/>
                                                        <a:pt x="223171" y="37187"/>
                                                        <a:pt x="216951" y="38094"/>
                                                      </a:cubicBezTo>
                                                      <a:cubicBezTo>
                                                        <a:pt x="210732" y="39001"/>
                                                        <a:pt x="206197" y="47941"/>
                                                        <a:pt x="211250" y="51764"/>
                                                      </a:cubicBezTo>
                                                      <a:cubicBezTo>
                                                        <a:pt x="214101" y="53902"/>
                                                        <a:pt x="218053" y="53124"/>
                                                        <a:pt x="221551" y="53902"/>
                                                      </a:cubicBezTo>
                                                      <a:cubicBezTo>
                                                        <a:pt x="228872" y="55586"/>
                                                        <a:pt x="232629" y="65628"/>
                                                        <a:pt x="228224" y="71653"/>
                                                      </a:cubicBezTo>
                                                      <a:cubicBezTo>
                                                        <a:pt x="218830" y="76901"/>
                                                        <a:pt x="205743" y="62065"/>
                                                        <a:pt x="197580" y="69126"/>
                                                      </a:cubicBezTo>
                                                      <a:cubicBezTo>
                                                        <a:pt x="195701" y="70746"/>
                                                        <a:pt x="194730" y="73208"/>
                                                        <a:pt x="193045" y="74957"/>
                                                      </a:cubicBezTo>
                                                      <a:cubicBezTo>
                                                        <a:pt x="191361" y="76771"/>
                                                        <a:pt x="188121" y="77678"/>
                                                        <a:pt x="186567" y="75799"/>
                                                      </a:cubicBezTo>
                                                      <a:cubicBezTo>
                                                        <a:pt x="187085" y="65045"/>
                                                        <a:pt x="187085" y="52995"/>
                                                        <a:pt x="179570" y="45350"/>
                                                      </a:cubicBezTo>
                                                      <a:cubicBezTo>
                                                        <a:pt x="171342" y="36863"/>
                                                        <a:pt x="157802" y="37511"/>
                                                        <a:pt x="146011" y="38677"/>
                                                      </a:cubicBezTo>
                                                      <a:cubicBezTo>
                                                        <a:pt x="144002" y="38871"/>
                                                        <a:pt x="141800" y="39131"/>
                                                        <a:pt x="140374" y="40556"/>
                                                      </a:cubicBezTo>
                                                      <a:cubicBezTo>
                                                        <a:pt x="138690" y="42176"/>
                                                        <a:pt x="138431" y="44767"/>
                                                        <a:pt x="138431" y="47099"/>
                                                      </a:cubicBezTo>
                                                      <a:cubicBezTo>
                                                        <a:pt x="138431" y="53902"/>
                                                        <a:pt x="139662" y="60639"/>
                                                        <a:pt x="141929" y="67053"/>
                                                      </a:cubicBezTo>
                                                      <a:cubicBezTo>
                                                        <a:pt x="130657" y="69515"/>
                                                        <a:pt x="119125" y="65952"/>
                                                        <a:pt x="108176" y="62389"/>
                                                      </a:cubicBezTo>
                                                      <a:cubicBezTo>
                                                        <a:pt x="106297" y="61806"/>
                                                        <a:pt x="104224" y="60963"/>
                                                        <a:pt x="103641" y="59085"/>
                                                      </a:cubicBezTo>
                                                      <a:cubicBezTo>
                                                        <a:pt x="102734" y="56040"/>
                                                        <a:pt x="106815" y="53837"/>
                                                        <a:pt x="109990" y="54031"/>
                                                      </a:cubicBezTo>
                                                      <a:cubicBezTo>
                                                        <a:pt x="113164" y="54226"/>
                                                        <a:pt x="116533" y="55521"/>
                                                        <a:pt x="119384" y="54031"/>
                                                      </a:cubicBezTo>
                                                      <a:cubicBezTo>
                                                        <a:pt x="119902" y="51699"/>
                                                        <a:pt x="120420" y="49431"/>
                                                        <a:pt x="120939" y="47099"/>
                                                      </a:cubicBezTo>
                                                      <a:cubicBezTo>
                                                        <a:pt x="123919" y="50209"/>
                                                        <a:pt x="128260" y="43860"/>
                                                        <a:pt x="126316" y="40038"/>
                                                      </a:cubicBezTo>
                                                      <a:cubicBezTo>
                                                        <a:pt x="124372" y="36215"/>
                                                        <a:pt x="119967" y="33818"/>
                                                        <a:pt x="118930" y="29672"/>
                                                      </a:cubicBezTo>
                                                      <a:cubicBezTo>
                                                        <a:pt x="118218" y="26886"/>
                                                        <a:pt x="119189" y="23776"/>
                                                        <a:pt x="118023" y="21120"/>
                                                      </a:cubicBezTo>
                                                      <a:cubicBezTo>
                                                        <a:pt x="116080" y="16520"/>
                                                        <a:pt x="109601" y="16326"/>
                                                        <a:pt x="104807" y="17881"/>
                                                      </a:cubicBezTo>
                                                      <a:cubicBezTo>
                                                        <a:pt x="100013" y="19436"/>
                                                        <a:pt x="94960" y="21898"/>
                                                        <a:pt x="90360" y="20019"/>
                                                      </a:cubicBezTo>
                                                      <a:cubicBezTo>
                                                        <a:pt x="90230" y="25849"/>
                                                        <a:pt x="84853" y="30190"/>
                                                        <a:pt x="79476" y="32458"/>
                                                      </a:cubicBezTo>
                                                      <a:cubicBezTo>
                                                        <a:pt x="74099" y="34725"/>
                                                        <a:pt x="68138" y="35891"/>
                                                        <a:pt x="63539" y="39519"/>
                                                      </a:cubicBezTo>
                                                      <a:cubicBezTo>
                                                        <a:pt x="61789" y="40880"/>
                                                        <a:pt x="60299" y="42629"/>
                                                        <a:pt x="58485" y="43925"/>
                                                      </a:cubicBezTo>
                                                      <a:cubicBezTo>
                                                        <a:pt x="56412" y="45415"/>
                                                        <a:pt x="53950" y="46387"/>
                                                        <a:pt x="51488" y="47229"/>
                                                      </a:cubicBezTo>
                                                      <a:cubicBezTo>
                                                        <a:pt x="41511" y="50986"/>
                                                        <a:pt x="31470" y="54679"/>
                                                        <a:pt x="21493" y="58437"/>
                                                      </a:cubicBezTo>
                                                      <a:cubicBezTo>
                                                        <a:pt x="23695" y="61870"/>
                                                        <a:pt x="21104" y="66405"/>
                                                        <a:pt x="18124" y="69126"/>
                                                      </a:cubicBezTo>
                                                      <a:cubicBezTo>
                                                        <a:pt x="15144" y="71912"/>
                                                        <a:pt x="11386" y="74439"/>
                                                        <a:pt x="10544" y="78456"/>
                                                      </a:cubicBezTo>
                                                      <a:cubicBezTo>
                                                        <a:pt x="9637" y="82990"/>
                                                        <a:pt x="12552" y="89080"/>
                                                        <a:pt x="8665" y="91672"/>
                                                      </a:cubicBezTo>
                                                      <a:cubicBezTo>
                                                        <a:pt x="7045" y="92773"/>
                                                        <a:pt x="4778" y="92579"/>
                                                        <a:pt x="2964" y="93421"/>
                                                      </a:cubicBezTo>
                                                      <a:cubicBezTo>
                                                        <a:pt x="-1118" y="95365"/>
                                                        <a:pt x="-729" y="101778"/>
                                                        <a:pt x="2575" y="104888"/>
                                                      </a:cubicBezTo>
                                                      <a:cubicBezTo>
                                                        <a:pt x="5879" y="107933"/>
                                                        <a:pt x="10673" y="108581"/>
                                                        <a:pt x="15079" y="109229"/>
                                                      </a:cubicBezTo>
                                                      <a:cubicBezTo>
                                                        <a:pt x="19549" y="109877"/>
                                                        <a:pt x="24343" y="110848"/>
                                                        <a:pt x="27259" y="114282"/>
                                                      </a:cubicBezTo>
                                                      <a:cubicBezTo>
                                                        <a:pt x="28749" y="116031"/>
                                                        <a:pt x="29591" y="118299"/>
                                                        <a:pt x="31405" y="119724"/>
                                                      </a:cubicBezTo>
                                                      <a:cubicBezTo>
                                                        <a:pt x="36005" y="123287"/>
                                                        <a:pt x="42807" y="118817"/>
                                                        <a:pt x="48444" y="120242"/>
                                                      </a:cubicBezTo>
                                                      <a:cubicBezTo>
                                                        <a:pt x="46306" y="116420"/>
                                                        <a:pt x="49221" y="111367"/>
                                                        <a:pt x="53238" y="109617"/>
                                                      </a:cubicBezTo>
                                                      <a:cubicBezTo>
                                                        <a:pt x="57254" y="107933"/>
                                                        <a:pt x="61854" y="108581"/>
                                                        <a:pt x="66195" y="109229"/>
                                                      </a:cubicBezTo>
                                                      <a:cubicBezTo>
                                                        <a:pt x="73386" y="110395"/>
                                                        <a:pt x="80642" y="111496"/>
                                                        <a:pt x="87833" y="112662"/>
                                                      </a:cubicBezTo>
                                                      <a:cubicBezTo>
                                                        <a:pt x="90749" y="115578"/>
                                                        <a:pt x="86602" y="120113"/>
                                                        <a:pt x="82910" y="121862"/>
                                                      </a:cubicBezTo>
                                                      <a:cubicBezTo>
                                                        <a:pt x="70535" y="127563"/>
                                                        <a:pt x="56671" y="130025"/>
                                                        <a:pt x="43066" y="128924"/>
                                                      </a:cubicBezTo>
                                                      <a:cubicBezTo>
                                                        <a:pt x="40281" y="128729"/>
                                                        <a:pt x="37236" y="128340"/>
                                                        <a:pt x="34774" y="129831"/>
                                                      </a:cubicBezTo>
                                                      <a:cubicBezTo>
                                                        <a:pt x="32117" y="131385"/>
                                                        <a:pt x="30951" y="134625"/>
                                                        <a:pt x="29073" y="137087"/>
                                                      </a:cubicBezTo>
                                                      <a:cubicBezTo>
                                                        <a:pt x="27194" y="139548"/>
                                                        <a:pt x="23242" y="141298"/>
                                                        <a:pt x="21169" y="139030"/>
                                                      </a:cubicBezTo>
                                                      <a:cubicBezTo>
                                                        <a:pt x="19614" y="141103"/>
                                                        <a:pt x="20262" y="144083"/>
                                                        <a:pt x="21557" y="146286"/>
                                                      </a:cubicBezTo>
                                                      <a:cubicBezTo>
                                                        <a:pt x="24862" y="152052"/>
                                                        <a:pt x="31340" y="155356"/>
                                                        <a:pt x="37883" y="156911"/>
                                                      </a:cubicBezTo>
                                                      <a:cubicBezTo>
                                                        <a:pt x="58032" y="161576"/>
                                                        <a:pt x="78439" y="151922"/>
                                                        <a:pt x="99041" y="150173"/>
                                                      </a:cubicBezTo>
                                                      <a:cubicBezTo>
                                                        <a:pt x="111286" y="149137"/>
                                                        <a:pt x="123530" y="150951"/>
                                                        <a:pt x="135710" y="152765"/>
                                                      </a:cubicBezTo>
                                                      <a:cubicBezTo>
                                                        <a:pt x="139144" y="153283"/>
                                                        <a:pt x="142836" y="153931"/>
                                                        <a:pt x="145363" y="156328"/>
                                                      </a:cubicBezTo>
                                                      <a:cubicBezTo>
                                                        <a:pt x="147112" y="158012"/>
                                                        <a:pt x="148084" y="160345"/>
                                                        <a:pt x="149833" y="161964"/>
                                                      </a:cubicBezTo>
                                                      <a:cubicBezTo>
                                                        <a:pt x="154044" y="165851"/>
                                                        <a:pt x="160652" y="164297"/>
                                                        <a:pt x="166353" y="164232"/>
                                                      </a:cubicBezTo>
                                                      <a:cubicBezTo>
                                                        <a:pt x="172055" y="164232"/>
                                                        <a:pt x="179311" y="168702"/>
                                                        <a:pt x="176978" y="173950"/>
                                                      </a:cubicBezTo>
                                                      <a:cubicBezTo>
                                                        <a:pt x="175424" y="177448"/>
                                                        <a:pt x="170889" y="178096"/>
                                                        <a:pt x="167066" y="178226"/>
                                                      </a:cubicBezTo>
                                                      <a:cubicBezTo>
                                                        <a:pt x="155340" y="178679"/>
                                                        <a:pt x="143549" y="179133"/>
                                                        <a:pt x="131823" y="179586"/>
                                                      </a:cubicBezTo>
                                                      <a:cubicBezTo>
                                                        <a:pt x="126575" y="179780"/>
                                                        <a:pt x="121392" y="179975"/>
                                                        <a:pt x="116145" y="180234"/>
                                                      </a:cubicBezTo>
                                                      <a:cubicBezTo>
                                                        <a:pt x="93599" y="181141"/>
                                                        <a:pt x="71054" y="181983"/>
                                                        <a:pt x="48573" y="180623"/>
                                                      </a:cubicBezTo>
                                                      <a:cubicBezTo>
                                                        <a:pt x="49804" y="185481"/>
                                                        <a:pt x="46370" y="190988"/>
                                                        <a:pt x="41447" y="192025"/>
                                                      </a:cubicBezTo>
                                                      <a:cubicBezTo>
                                                        <a:pt x="38207" y="192738"/>
                                                        <a:pt x="33025" y="194163"/>
                                                        <a:pt x="34774" y="197013"/>
                                                      </a:cubicBezTo>
                                                      <a:lnTo>
                                                        <a:pt x="48832" y="200771"/>
                                                      </a:lnTo>
                                                      <a:cubicBezTo>
                                                        <a:pt x="47472" y="202909"/>
                                                        <a:pt x="48120" y="206083"/>
                                                        <a:pt x="50193" y="207509"/>
                                                      </a:cubicBezTo>
                                                      <a:cubicBezTo>
                                                        <a:pt x="68009" y="214894"/>
                                                        <a:pt x="87509" y="218263"/>
                                                        <a:pt x="106815" y="217226"/>
                                                      </a:cubicBezTo>
                                                      <a:cubicBezTo>
                                                        <a:pt x="114331" y="216838"/>
                                                        <a:pt x="121975" y="215801"/>
                                                        <a:pt x="129296" y="217486"/>
                                                      </a:cubicBezTo>
                                                      <a:cubicBezTo>
                                                        <a:pt x="131499" y="218004"/>
                                                        <a:pt x="133702" y="218781"/>
                                                        <a:pt x="135192" y="220466"/>
                                                      </a:cubicBezTo>
                                                      <a:cubicBezTo>
                                                        <a:pt x="136682" y="222215"/>
                                                        <a:pt x="137135" y="224547"/>
                                                        <a:pt x="137524" y="226815"/>
                                                      </a:cubicBezTo>
                                                      <a:cubicBezTo>
                                                        <a:pt x="138625" y="232710"/>
                                                        <a:pt x="139662" y="238606"/>
                                                        <a:pt x="140763" y="244501"/>
                                                      </a:cubicBezTo>
                                                      <a:cubicBezTo>
                                                        <a:pt x="141217" y="247028"/>
                                                        <a:pt x="141735" y="249684"/>
                                                        <a:pt x="143290" y="251693"/>
                                                      </a:cubicBezTo>
                                                      <a:cubicBezTo>
                                                        <a:pt x="146140" y="255385"/>
                                                        <a:pt x="151453" y="255839"/>
                                                        <a:pt x="156182" y="255968"/>
                                                      </a:cubicBezTo>
                                                      <a:cubicBezTo>
                                                        <a:pt x="176266" y="256357"/>
                                                        <a:pt x="196285" y="255774"/>
                                                        <a:pt x="216303" y="254025"/>
                                                      </a:cubicBezTo>
                                                      <a:cubicBezTo>
                                                        <a:pt x="214813" y="250008"/>
                                                        <a:pt x="219672" y="246445"/>
                                                        <a:pt x="223948" y="245991"/>
                                                      </a:cubicBezTo>
                                                      <a:cubicBezTo>
                                                        <a:pt x="228224" y="245538"/>
                                                        <a:pt x="232888" y="246445"/>
                                                        <a:pt x="236452" y="244113"/>
                                                      </a:cubicBezTo>
                                                      <a:cubicBezTo>
                                                        <a:pt x="238525" y="242752"/>
                                                        <a:pt x="239821" y="240485"/>
                                                        <a:pt x="241699" y="238865"/>
                                                      </a:cubicBezTo>
                                                      <a:cubicBezTo>
                                                        <a:pt x="246105" y="234913"/>
                                                        <a:pt x="252713" y="234913"/>
                                                        <a:pt x="258608" y="235302"/>
                                                      </a:cubicBezTo>
                                                      <a:cubicBezTo>
                                                        <a:pt x="269168" y="235885"/>
                                                        <a:pt x="280765" y="236403"/>
                                                        <a:pt x="289187" y="229989"/>
                                                      </a:cubicBezTo>
                                                      <a:cubicBezTo>
                                                        <a:pt x="295860" y="225001"/>
                                                        <a:pt x="300460" y="215866"/>
                                                        <a:pt x="308817" y="215477"/>
                                                      </a:cubicBezTo>
                                                      <a:cubicBezTo>
                                                        <a:pt x="319960" y="214959"/>
                                                        <a:pt x="325273" y="230378"/>
                                                        <a:pt x="336027" y="233488"/>
                                                      </a:cubicBezTo>
                                                      <a:cubicBezTo>
                                                        <a:pt x="341340" y="235043"/>
                                                        <a:pt x="347753" y="233358"/>
                                                        <a:pt x="352094" y="236857"/>
                                                      </a:cubicBezTo>
                                                      <a:cubicBezTo>
                                                        <a:pt x="355269" y="239383"/>
                                                        <a:pt x="356241" y="243983"/>
                                                        <a:pt x="359350" y="246639"/>
                                                      </a:cubicBezTo>
                                                      <a:cubicBezTo>
                                                        <a:pt x="362719" y="249425"/>
                                                        <a:pt x="367578" y="249295"/>
                                                        <a:pt x="371919" y="248971"/>
                                                      </a:cubicBezTo>
                                                      <a:cubicBezTo>
                                                        <a:pt x="383127" y="248129"/>
                                                        <a:pt x="394270" y="247352"/>
                                                        <a:pt x="405478" y="246510"/>
                                                      </a:cubicBezTo>
                                                      <a:cubicBezTo>
                                                        <a:pt x="409041" y="246250"/>
                                                        <a:pt x="412798" y="245927"/>
                                                        <a:pt x="415649" y="243724"/>
                                                      </a:cubicBezTo>
                                                      <a:cubicBezTo>
                                                        <a:pt x="420378" y="240031"/>
                                                        <a:pt x="423682" y="231285"/>
                                                        <a:pt x="429124" y="233876"/>
                                                      </a:cubicBezTo>
                                                      <a:cubicBezTo>
                                                        <a:pt x="431327" y="226037"/>
                                                        <a:pt x="427246" y="217939"/>
                                                        <a:pt x="423294" y="210813"/>
                                                      </a:cubicBezTo>
                                                      <a:cubicBezTo>
                                                        <a:pt x="422840" y="209970"/>
                                                        <a:pt x="422322" y="209063"/>
                                                        <a:pt x="421609" y="208416"/>
                                                      </a:cubicBezTo>
                                                      <a:cubicBezTo>
                                                        <a:pt x="416945" y="204205"/>
                                                        <a:pt x="411114" y="212108"/>
                                                        <a:pt x="405478" y="214959"/>
                                                      </a:cubicBezTo>
                                                      <a:cubicBezTo>
                                                        <a:pt x="398286" y="218587"/>
                                                        <a:pt x="388569" y="210359"/>
                                                        <a:pt x="390966" y="202650"/>
                                                      </a:cubicBezTo>
                                                      <a:cubicBezTo>
                                                        <a:pt x="396472" y="202520"/>
                                                        <a:pt x="402174" y="202391"/>
                                                        <a:pt x="407292" y="20025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3" name="Freeform: Shape 80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B21C9C65-4C70-4B2B-9970-DEF07E630D6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3981812" y="1693447"/>
                                                  <a:ext cx="162809" cy="10372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5189 w 162809"/>
                                                    <a:gd name="connsiteY0" fmla="*/ 3693 h 103721"/>
                                                    <a:gd name="connsiteX1" fmla="*/ 140224 w 162809"/>
                                                    <a:gd name="connsiteY1" fmla="*/ 0 h 103721"/>
                                                    <a:gd name="connsiteX2" fmla="*/ 136596 w 162809"/>
                                                    <a:gd name="connsiteY2" fmla="*/ 130 h 103721"/>
                                                    <a:gd name="connsiteX3" fmla="*/ 135883 w 162809"/>
                                                    <a:gd name="connsiteY3" fmla="*/ 130 h 103721"/>
                                                    <a:gd name="connsiteX4" fmla="*/ 135754 w 162809"/>
                                                    <a:gd name="connsiteY4" fmla="*/ 842 h 103721"/>
                                                    <a:gd name="connsiteX5" fmla="*/ 126360 w 162809"/>
                                                    <a:gd name="connsiteY5" fmla="*/ 22610 h 103721"/>
                                                    <a:gd name="connsiteX6" fmla="*/ 123509 w 162809"/>
                                                    <a:gd name="connsiteY6" fmla="*/ 22675 h 103721"/>
                                                    <a:gd name="connsiteX7" fmla="*/ 110617 w 162809"/>
                                                    <a:gd name="connsiteY7" fmla="*/ 17363 h 103721"/>
                                                    <a:gd name="connsiteX8" fmla="*/ 110098 w 162809"/>
                                                    <a:gd name="connsiteY8" fmla="*/ 16002 h 103721"/>
                                                    <a:gd name="connsiteX9" fmla="*/ 108155 w 162809"/>
                                                    <a:gd name="connsiteY9" fmla="*/ 12763 h 103721"/>
                                                    <a:gd name="connsiteX10" fmla="*/ 103102 w 162809"/>
                                                    <a:gd name="connsiteY10" fmla="*/ 11208 h 103721"/>
                                                    <a:gd name="connsiteX11" fmla="*/ 102518 w 162809"/>
                                                    <a:gd name="connsiteY11" fmla="*/ 11208 h 103721"/>
                                                    <a:gd name="connsiteX12" fmla="*/ 82759 w 162809"/>
                                                    <a:gd name="connsiteY12" fmla="*/ 15484 h 103721"/>
                                                    <a:gd name="connsiteX13" fmla="*/ 73494 w 162809"/>
                                                    <a:gd name="connsiteY13" fmla="*/ 19889 h 103721"/>
                                                    <a:gd name="connsiteX14" fmla="*/ 69089 w 162809"/>
                                                    <a:gd name="connsiteY14" fmla="*/ 28182 h 103721"/>
                                                    <a:gd name="connsiteX15" fmla="*/ 54318 w 162809"/>
                                                    <a:gd name="connsiteY15" fmla="*/ 39066 h 103721"/>
                                                    <a:gd name="connsiteX16" fmla="*/ 50301 w 162809"/>
                                                    <a:gd name="connsiteY16" fmla="*/ 56558 h 103721"/>
                                                    <a:gd name="connsiteX17" fmla="*/ 50301 w 162809"/>
                                                    <a:gd name="connsiteY17" fmla="*/ 57076 h 103721"/>
                                                    <a:gd name="connsiteX18" fmla="*/ 49848 w 162809"/>
                                                    <a:gd name="connsiteY18" fmla="*/ 60963 h 103721"/>
                                                    <a:gd name="connsiteX19" fmla="*/ 42009 w 162809"/>
                                                    <a:gd name="connsiteY19" fmla="*/ 65239 h 103721"/>
                                                    <a:gd name="connsiteX20" fmla="*/ 13503 w 162809"/>
                                                    <a:gd name="connsiteY20" fmla="*/ 74698 h 103721"/>
                                                    <a:gd name="connsiteX21" fmla="*/ 1842 w 162809"/>
                                                    <a:gd name="connsiteY21" fmla="*/ 83509 h 103721"/>
                                                    <a:gd name="connsiteX22" fmla="*/ 3591 w 162809"/>
                                                    <a:gd name="connsiteY22" fmla="*/ 97632 h 103721"/>
                                                    <a:gd name="connsiteX23" fmla="*/ 14539 w 162809"/>
                                                    <a:gd name="connsiteY23" fmla="*/ 99770 h 103721"/>
                                                    <a:gd name="connsiteX24" fmla="*/ 18297 w 162809"/>
                                                    <a:gd name="connsiteY24" fmla="*/ 99317 h 103721"/>
                                                    <a:gd name="connsiteX25" fmla="*/ 19982 w 162809"/>
                                                    <a:gd name="connsiteY25" fmla="*/ 96336 h 103721"/>
                                                    <a:gd name="connsiteX26" fmla="*/ 26201 w 162809"/>
                                                    <a:gd name="connsiteY26" fmla="*/ 86942 h 103721"/>
                                                    <a:gd name="connsiteX27" fmla="*/ 29764 w 162809"/>
                                                    <a:gd name="connsiteY27" fmla="*/ 86100 h 103721"/>
                                                    <a:gd name="connsiteX28" fmla="*/ 35336 w 162809"/>
                                                    <a:gd name="connsiteY28" fmla="*/ 89275 h 103721"/>
                                                    <a:gd name="connsiteX29" fmla="*/ 35854 w 162809"/>
                                                    <a:gd name="connsiteY29" fmla="*/ 93097 h 103721"/>
                                                    <a:gd name="connsiteX30" fmla="*/ 36048 w 162809"/>
                                                    <a:gd name="connsiteY30" fmla="*/ 96142 h 103721"/>
                                                    <a:gd name="connsiteX31" fmla="*/ 45248 w 162809"/>
                                                    <a:gd name="connsiteY31" fmla="*/ 103722 h 103721"/>
                                                    <a:gd name="connsiteX32" fmla="*/ 45701 w 162809"/>
                                                    <a:gd name="connsiteY32" fmla="*/ 103722 h 103721"/>
                                                    <a:gd name="connsiteX33" fmla="*/ 54447 w 162809"/>
                                                    <a:gd name="connsiteY33" fmla="*/ 95105 h 103721"/>
                                                    <a:gd name="connsiteX34" fmla="*/ 54253 w 162809"/>
                                                    <a:gd name="connsiteY34" fmla="*/ 91477 h 103721"/>
                                                    <a:gd name="connsiteX35" fmla="*/ 54253 w 162809"/>
                                                    <a:gd name="connsiteY35" fmla="*/ 86878 h 103721"/>
                                                    <a:gd name="connsiteX36" fmla="*/ 63194 w 162809"/>
                                                    <a:gd name="connsiteY36" fmla="*/ 82926 h 103721"/>
                                                    <a:gd name="connsiteX37" fmla="*/ 66368 w 162809"/>
                                                    <a:gd name="connsiteY37" fmla="*/ 83314 h 103721"/>
                                                    <a:gd name="connsiteX38" fmla="*/ 75244 w 162809"/>
                                                    <a:gd name="connsiteY38" fmla="*/ 83250 h 103721"/>
                                                    <a:gd name="connsiteX39" fmla="*/ 85286 w 162809"/>
                                                    <a:gd name="connsiteY39" fmla="*/ 69904 h 103721"/>
                                                    <a:gd name="connsiteX40" fmla="*/ 86193 w 162809"/>
                                                    <a:gd name="connsiteY40" fmla="*/ 65887 h 103721"/>
                                                    <a:gd name="connsiteX41" fmla="*/ 90080 w 162809"/>
                                                    <a:gd name="connsiteY41" fmla="*/ 54550 h 103721"/>
                                                    <a:gd name="connsiteX42" fmla="*/ 102713 w 162809"/>
                                                    <a:gd name="connsiteY42" fmla="*/ 48136 h 103721"/>
                                                    <a:gd name="connsiteX43" fmla="*/ 108284 w 162809"/>
                                                    <a:gd name="connsiteY43" fmla="*/ 49302 h 103721"/>
                                                    <a:gd name="connsiteX44" fmla="*/ 112236 w 162809"/>
                                                    <a:gd name="connsiteY44" fmla="*/ 52412 h 103721"/>
                                                    <a:gd name="connsiteX45" fmla="*/ 112560 w 162809"/>
                                                    <a:gd name="connsiteY45" fmla="*/ 61417 h 103721"/>
                                                    <a:gd name="connsiteX46" fmla="*/ 114310 w 162809"/>
                                                    <a:gd name="connsiteY46" fmla="*/ 72366 h 103721"/>
                                                    <a:gd name="connsiteX47" fmla="*/ 114504 w 162809"/>
                                                    <a:gd name="connsiteY47" fmla="*/ 72560 h 103721"/>
                                                    <a:gd name="connsiteX48" fmla="*/ 127461 w 162809"/>
                                                    <a:gd name="connsiteY48" fmla="*/ 71718 h 103721"/>
                                                    <a:gd name="connsiteX49" fmla="*/ 133097 w 162809"/>
                                                    <a:gd name="connsiteY49" fmla="*/ 60056 h 103721"/>
                                                    <a:gd name="connsiteX50" fmla="*/ 133097 w 162809"/>
                                                    <a:gd name="connsiteY50" fmla="*/ 59668 h 103721"/>
                                                    <a:gd name="connsiteX51" fmla="*/ 133097 w 162809"/>
                                                    <a:gd name="connsiteY51" fmla="*/ 58113 h 103721"/>
                                                    <a:gd name="connsiteX52" fmla="*/ 135624 w 162809"/>
                                                    <a:gd name="connsiteY52" fmla="*/ 57011 h 103721"/>
                                                    <a:gd name="connsiteX53" fmla="*/ 137244 w 162809"/>
                                                    <a:gd name="connsiteY53" fmla="*/ 57011 h 103721"/>
                                                    <a:gd name="connsiteX54" fmla="*/ 140029 w 162809"/>
                                                    <a:gd name="connsiteY54" fmla="*/ 57076 h 103721"/>
                                                    <a:gd name="connsiteX55" fmla="*/ 148192 w 162809"/>
                                                    <a:gd name="connsiteY55" fmla="*/ 48848 h 103721"/>
                                                    <a:gd name="connsiteX56" fmla="*/ 148711 w 162809"/>
                                                    <a:gd name="connsiteY56" fmla="*/ 47358 h 103721"/>
                                                    <a:gd name="connsiteX57" fmla="*/ 153116 w 162809"/>
                                                    <a:gd name="connsiteY57" fmla="*/ 39714 h 103721"/>
                                                    <a:gd name="connsiteX58" fmla="*/ 153894 w 162809"/>
                                                    <a:gd name="connsiteY58" fmla="*/ 39260 h 103721"/>
                                                    <a:gd name="connsiteX59" fmla="*/ 155967 w 162809"/>
                                                    <a:gd name="connsiteY59" fmla="*/ 37511 h 103721"/>
                                                    <a:gd name="connsiteX60" fmla="*/ 153505 w 162809"/>
                                                    <a:gd name="connsiteY60" fmla="*/ 28765 h 103721"/>
                                                    <a:gd name="connsiteX61" fmla="*/ 150006 w 162809"/>
                                                    <a:gd name="connsiteY61" fmla="*/ 23258 h 103721"/>
                                                    <a:gd name="connsiteX62" fmla="*/ 161668 w 162809"/>
                                                    <a:gd name="connsiteY62" fmla="*/ 21250 h 103721"/>
                                                    <a:gd name="connsiteX63" fmla="*/ 162057 w 162809"/>
                                                    <a:gd name="connsiteY63" fmla="*/ 21120 h 103721"/>
                                                    <a:gd name="connsiteX64" fmla="*/ 162186 w 162809"/>
                                                    <a:gd name="connsiteY64" fmla="*/ 20667 h 103721"/>
                                                    <a:gd name="connsiteX65" fmla="*/ 155060 w 162809"/>
                                                    <a:gd name="connsiteY65" fmla="*/ 3628 h 103721"/>
                                                    <a:gd name="connsiteX66" fmla="*/ 160631 w 162809"/>
                                                    <a:gd name="connsiteY66" fmla="*/ 19695 h 103721"/>
                                                    <a:gd name="connsiteX67" fmla="*/ 149423 w 162809"/>
                                                    <a:gd name="connsiteY67" fmla="*/ 21379 h 103721"/>
                                                    <a:gd name="connsiteX68" fmla="*/ 148646 w 162809"/>
                                                    <a:gd name="connsiteY68" fmla="*/ 21379 h 103721"/>
                                                    <a:gd name="connsiteX69" fmla="*/ 148452 w 162809"/>
                                                    <a:gd name="connsiteY69" fmla="*/ 22027 h 103721"/>
                                                    <a:gd name="connsiteX70" fmla="*/ 152274 w 162809"/>
                                                    <a:gd name="connsiteY70" fmla="*/ 30255 h 103721"/>
                                                    <a:gd name="connsiteX71" fmla="*/ 154541 w 162809"/>
                                                    <a:gd name="connsiteY71" fmla="*/ 36410 h 103721"/>
                                                    <a:gd name="connsiteX72" fmla="*/ 152987 w 162809"/>
                                                    <a:gd name="connsiteY72" fmla="*/ 37640 h 103721"/>
                                                    <a:gd name="connsiteX73" fmla="*/ 152080 w 162809"/>
                                                    <a:gd name="connsiteY73" fmla="*/ 38224 h 103721"/>
                                                    <a:gd name="connsiteX74" fmla="*/ 146961 w 162809"/>
                                                    <a:gd name="connsiteY74" fmla="*/ 46775 h 103721"/>
                                                    <a:gd name="connsiteX75" fmla="*/ 146443 w 162809"/>
                                                    <a:gd name="connsiteY75" fmla="*/ 48265 h 103721"/>
                                                    <a:gd name="connsiteX76" fmla="*/ 139965 w 162809"/>
                                                    <a:gd name="connsiteY76" fmla="*/ 55197 h 103721"/>
                                                    <a:gd name="connsiteX77" fmla="*/ 137503 w 162809"/>
                                                    <a:gd name="connsiteY77" fmla="*/ 55197 h 103721"/>
                                                    <a:gd name="connsiteX78" fmla="*/ 135754 w 162809"/>
                                                    <a:gd name="connsiteY78" fmla="*/ 55133 h 103721"/>
                                                    <a:gd name="connsiteX79" fmla="*/ 131348 w 162809"/>
                                                    <a:gd name="connsiteY79" fmla="*/ 57530 h 103721"/>
                                                    <a:gd name="connsiteX80" fmla="*/ 131219 w 162809"/>
                                                    <a:gd name="connsiteY80" fmla="*/ 59927 h 103721"/>
                                                    <a:gd name="connsiteX81" fmla="*/ 131219 w 162809"/>
                                                    <a:gd name="connsiteY81" fmla="*/ 60315 h 103721"/>
                                                    <a:gd name="connsiteX82" fmla="*/ 126424 w 162809"/>
                                                    <a:gd name="connsiteY82" fmla="*/ 70228 h 103721"/>
                                                    <a:gd name="connsiteX83" fmla="*/ 115605 w 162809"/>
                                                    <a:gd name="connsiteY83" fmla="*/ 70940 h 103721"/>
                                                    <a:gd name="connsiteX84" fmla="*/ 114569 w 162809"/>
                                                    <a:gd name="connsiteY84" fmla="*/ 61806 h 103721"/>
                                                    <a:gd name="connsiteX85" fmla="*/ 113986 w 162809"/>
                                                    <a:gd name="connsiteY85" fmla="*/ 51505 h 103721"/>
                                                    <a:gd name="connsiteX86" fmla="*/ 109127 w 162809"/>
                                                    <a:gd name="connsiteY86" fmla="*/ 47553 h 103721"/>
                                                    <a:gd name="connsiteX87" fmla="*/ 102778 w 162809"/>
                                                    <a:gd name="connsiteY87" fmla="*/ 46257 h 103721"/>
                                                    <a:gd name="connsiteX88" fmla="*/ 88525 w 162809"/>
                                                    <a:gd name="connsiteY88" fmla="*/ 53513 h 103721"/>
                                                    <a:gd name="connsiteX89" fmla="*/ 84379 w 162809"/>
                                                    <a:gd name="connsiteY89" fmla="*/ 65563 h 103721"/>
                                                    <a:gd name="connsiteX90" fmla="*/ 83472 w 162809"/>
                                                    <a:gd name="connsiteY90" fmla="*/ 69450 h 103721"/>
                                                    <a:gd name="connsiteX91" fmla="*/ 74725 w 162809"/>
                                                    <a:gd name="connsiteY91" fmla="*/ 81436 h 103721"/>
                                                    <a:gd name="connsiteX92" fmla="*/ 66692 w 162809"/>
                                                    <a:gd name="connsiteY92" fmla="*/ 81500 h 103721"/>
                                                    <a:gd name="connsiteX93" fmla="*/ 63453 w 162809"/>
                                                    <a:gd name="connsiteY93" fmla="*/ 81112 h 103721"/>
                                                    <a:gd name="connsiteX94" fmla="*/ 52504 w 162809"/>
                                                    <a:gd name="connsiteY94" fmla="*/ 86295 h 103721"/>
                                                    <a:gd name="connsiteX95" fmla="*/ 52310 w 162809"/>
                                                    <a:gd name="connsiteY95" fmla="*/ 91801 h 103721"/>
                                                    <a:gd name="connsiteX96" fmla="*/ 52504 w 162809"/>
                                                    <a:gd name="connsiteY96" fmla="*/ 95041 h 103721"/>
                                                    <a:gd name="connsiteX97" fmla="*/ 45637 w 162809"/>
                                                    <a:gd name="connsiteY97" fmla="*/ 101843 h 103721"/>
                                                    <a:gd name="connsiteX98" fmla="*/ 45248 w 162809"/>
                                                    <a:gd name="connsiteY98" fmla="*/ 101843 h 103721"/>
                                                    <a:gd name="connsiteX99" fmla="*/ 37992 w 162809"/>
                                                    <a:gd name="connsiteY99" fmla="*/ 95883 h 103721"/>
                                                    <a:gd name="connsiteX100" fmla="*/ 37798 w 162809"/>
                                                    <a:gd name="connsiteY100" fmla="*/ 93097 h 103721"/>
                                                    <a:gd name="connsiteX101" fmla="*/ 37150 w 162809"/>
                                                    <a:gd name="connsiteY101" fmla="*/ 88627 h 103721"/>
                                                    <a:gd name="connsiteX102" fmla="*/ 29764 w 162809"/>
                                                    <a:gd name="connsiteY102" fmla="*/ 84221 h 103721"/>
                                                    <a:gd name="connsiteX103" fmla="*/ 25229 w 162809"/>
                                                    <a:gd name="connsiteY103" fmla="*/ 85323 h 103721"/>
                                                    <a:gd name="connsiteX104" fmla="*/ 18103 w 162809"/>
                                                    <a:gd name="connsiteY104" fmla="*/ 95883 h 103721"/>
                                                    <a:gd name="connsiteX105" fmla="*/ 17196 w 162809"/>
                                                    <a:gd name="connsiteY105" fmla="*/ 97826 h 103721"/>
                                                    <a:gd name="connsiteX106" fmla="*/ 14928 w 162809"/>
                                                    <a:gd name="connsiteY106" fmla="*/ 97826 h 103721"/>
                                                    <a:gd name="connsiteX107" fmla="*/ 4562 w 162809"/>
                                                    <a:gd name="connsiteY107" fmla="*/ 95948 h 103721"/>
                                                    <a:gd name="connsiteX108" fmla="*/ 3461 w 162809"/>
                                                    <a:gd name="connsiteY108" fmla="*/ 84545 h 103721"/>
                                                    <a:gd name="connsiteX109" fmla="*/ 14345 w 162809"/>
                                                    <a:gd name="connsiteY109" fmla="*/ 76447 h 103721"/>
                                                    <a:gd name="connsiteX110" fmla="*/ 42397 w 162809"/>
                                                    <a:gd name="connsiteY110" fmla="*/ 67118 h 103721"/>
                                                    <a:gd name="connsiteX111" fmla="*/ 51662 w 162809"/>
                                                    <a:gd name="connsiteY111" fmla="*/ 61741 h 103721"/>
                                                    <a:gd name="connsiteX112" fmla="*/ 52245 w 162809"/>
                                                    <a:gd name="connsiteY112" fmla="*/ 57076 h 103721"/>
                                                    <a:gd name="connsiteX113" fmla="*/ 52245 w 162809"/>
                                                    <a:gd name="connsiteY113" fmla="*/ 56493 h 103721"/>
                                                    <a:gd name="connsiteX114" fmla="*/ 56067 w 162809"/>
                                                    <a:gd name="connsiteY114" fmla="*/ 39973 h 103721"/>
                                                    <a:gd name="connsiteX115" fmla="*/ 69996 w 162809"/>
                                                    <a:gd name="connsiteY115" fmla="*/ 30255 h 103721"/>
                                                    <a:gd name="connsiteX116" fmla="*/ 71227 w 162809"/>
                                                    <a:gd name="connsiteY116" fmla="*/ 30384 h 103721"/>
                                                    <a:gd name="connsiteX117" fmla="*/ 71097 w 162809"/>
                                                    <a:gd name="connsiteY117" fmla="*/ 29154 h 103721"/>
                                                    <a:gd name="connsiteX118" fmla="*/ 74725 w 162809"/>
                                                    <a:gd name="connsiteY118" fmla="*/ 21379 h 103721"/>
                                                    <a:gd name="connsiteX119" fmla="*/ 83407 w 162809"/>
                                                    <a:gd name="connsiteY119" fmla="*/ 17363 h 103721"/>
                                                    <a:gd name="connsiteX120" fmla="*/ 102518 w 162809"/>
                                                    <a:gd name="connsiteY120" fmla="*/ 13151 h 103721"/>
                                                    <a:gd name="connsiteX121" fmla="*/ 103102 w 162809"/>
                                                    <a:gd name="connsiteY121" fmla="*/ 13151 h 103721"/>
                                                    <a:gd name="connsiteX122" fmla="*/ 106859 w 162809"/>
                                                    <a:gd name="connsiteY122" fmla="*/ 14188 h 103721"/>
                                                    <a:gd name="connsiteX123" fmla="*/ 108284 w 162809"/>
                                                    <a:gd name="connsiteY123" fmla="*/ 16715 h 103721"/>
                                                    <a:gd name="connsiteX124" fmla="*/ 108868 w 162809"/>
                                                    <a:gd name="connsiteY124" fmla="*/ 18205 h 103721"/>
                                                    <a:gd name="connsiteX125" fmla="*/ 123509 w 162809"/>
                                                    <a:gd name="connsiteY125" fmla="*/ 24619 h 103721"/>
                                                    <a:gd name="connsiteX126" fmla="*/ 127007 w 162809"/>
                                                    <a:gd name="connsiteY126" fmla="*/ 24554 h 103721"/>
                                                    <a:gd name="connsiteX127" fmla="*/ 127461 w 162809"/>
                                                    <a:gd name="connsiteY127" fmla="*/ 24554 h 103721"/>
                                                    <a:gd name="connsiteX128" fmla="*/ 127785 w 162809"/>
                                                    <a:gd name="connsiteY128" fmla="*/ 24100 h 103721"/>
                                                    <a:gd name="connsiteX129" fmla="*/ 137438 w 162809"/>
                                                    <a:gd name="connsiteY129" fmla="*/ 2008 h 103721"/>
                                                    <a:gd name="connsiteX130" fmla="*/ 140224 w 162809"/>
                                                    <a:gd name="connsiteY130" fmla="*/ 2008 h 103721"/>
                                                    <a:gd name="connsiteX131" fmla="*/ 154153 w 162809"/>
                                                    <a:gd name="connsiteY131" fmla="*/ 5442 h 103721"/>
                                                    <a:gd name="connsiteX132" fmla="*/ 160631 w 162809"/>
                                                    <a:gd name="connsiteY132" fmla="*/ 19760 h 10372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2809" h="103721">
                                                      <a:moveTo>
                                                        <a:pt x="155189" y="3693"/>
                                                      </a:moveTo>
                                                      <a:cubicBezTo>
                                                        <a:pt x="151237" y="1231"/>
                                                        <a:pt x="146314" y="0"/>
                                                        <a:pt x="140224" y="0"/>
                                                      </a:cubicBezTo>
                                                      <a:cubicBezTo>
                                                        <a:pt x="138993" y="0"/>
                                                        <a:pt x="137827" y="65"/>
                                                        <a:pt x="136596" y="130"/>
                                                      </a:cubicBezTo>
                                                      <a:lnTo>
                                                        <a:pt x="135883" y="130"/>
                                                      </a:lnTo>
                                                      <a:cubicBezTo>
                                                        <a:pt x="135883" y="130"/>
                                                        <a:pt x="135754" y="842"/>
                                                        <a:pt x="135754" y="842"/>
                                                      </a:cubicBezTo>
                                                      <a:cubicBezTo>
                                                        <a:pt x="133680" y="8552"/>
                                                        <a:pt x="130571" y="15873"/>
                                                        <a:pt x="126360" y="22610"/>
                                                      </a:cubicBezTo>
                                                      <a:cubicBezTo>
                                                        <a:pt x="125453" y="22675"/>
                                                        <a:pt x="124481" y="22675"/>
                                                        <a:pt x="123509" y="22675"/>
                                                      </a:cubicBezTo>
                                                      <a:cubicBezTo>
                                                        <a:pt x="116577" y="22675"/>
                                                        <a:pt x="112366" y="20926"/>
                                                        <a:pt x="110617" y="17363"/>
                                                      </a:cubicBezTo>
                                                      <a:cubicBezTo>
                                                        <a:pt x="110422" y="16909"/>
                                                        <a:pt x="110228" y="16456"/>
                                                        <a:pt x="110098" y="16002"/>
                                                      </a:cubicBezTo>
                                                      <a:cubicBezTo>
                                                        <a:pt x="109645" y="14836"/>
                                                        <a:pt x="109191" y="13670"/>
                                                        <a:pt x="108155" y="12763"/>
                                                      </a:cubicBezTo>
                                                      <a:cubicBezTo>
                                                        <a:pt x="106730" y="11402"/>
                                                        <a:pt x="104721" y="11208"/>
                                                        <a:pt x="103102" y="11208"/>
                                                      </a:cubicBezTo>
                                                      <a:lnTo>
                                                        <a:pt x="102518" y="11208"/>
                                                      </a:lnTo>
                                                      <a:cubicBezTo>
                                                        <a:pt x="95651" y="11208"/>
                                                        <a:pt x="89108" y="13346"/>
                                                        <a:pt x="82759" y="15484"/>
                                                      </a:cubicBezTo>
                                                      <a:cubicBezTo>
                                                        <a:pt x="79714" y="16520"/>
                                                        <a:pt x="76280" y="17686"/>
                                                        <a:pt x="73494" y="19889"/>
                                                      </a:cubicBezTo>
                                                      <a:cubicBezTo>
                                                        <a:pt x="71292" y="21703"/>
                                                        <a:pt x="69089" y="24748"/>
                                                        <a:pt x="69089" y="28182"/>
                                                      </a:cubicBezTo>
                                                      <a:cubicBezTo>
                                                        <a:pt x="62287" y="28182"/>
                                                        <a:pt x="57039" y="33753"/>
                                                        <a:pt x="54318" y="39066"/>
                                                      </a:cubicBezTo>
                                                      <a:cubicBezTo>
                                                        <a:pt x="51597" y="44443"/>
                                                        <a:pt x="50172" y="50468"/>
                                                        <a:pt x="50301" y="56558"/>
                                                      </a:cubicBezTo>
                                                      <a:lnTo>
                                                        <a:pt x="50301" y="57076"/>
                                                      </a:lnTo>
                                                      <a:cubicBezTo>
                                                        <a:pt x="50301" y="58501"/>
                                                        <a:pt x="50301" y="59862"/>
                                                        <a:pt x="49848" y="60963"/>
                                                      </a:cubicBezTo>
                                                      <a:cubicBezTo>
                                                        <a:pt x="48746" y="63620"/>
                                                        <a:pt x="45378" y="64527"/>
                                                        <a:pt x="42009" y="65239"/>
                                                      </a:cubicBezTo>
                                                      <a:cubicBezTo>
                                                        <a:pt x="32226" y="67312"/>
                                                        <a:pt x="22638" y="70487"/>
                                                        <a:pt x="13503" y="74698"/>
                                                      </a:cubicBezTo>
                                                      <a:cubicBezTo>
                                                        <a:pt x="8968" y="76771"/>
                                                        <a:pt x="4498" y="79298"/>
                                                        <a:pt x="1842" y="83509"/>
                                                      </a:cubicBezTo>
                                                      <a:cubicBezTo>
                                                        <a:pt x="-879" y="87849"/>
                                                        <a:pt x="-815" y="94522"/>
                                                        <a:pt x="3591" y="97632"/>
                                                      </a:cubicBezTo>
                                                      <a:lnTo>
                                                        <a:pt x="14539" y="99770"/>
                                                      </a:lnTo>
                                                      <a:cubicBezTo>
                                                        <a:pt x="15900" y="99964"/>
                                                        <a:pt x="17325" y="99964"/>
                                                        <a:pt x="18297" y="99317"/>
                                                      </a:cubicBezTo>
                                                      <a:cubicBezTo>
                                                        <a:pt x="19334" y="98604"/>
                                                        <a:pt x="19658" y="97373"/>
                                                        <a:pt x="19982" y="96336"/>
                                                      </a:cubicBezTo>
                                                      <a:cubicBezTo>
                                                        <a:pt x="21277" y="91672"/>
                                                        <a:pt x="23350" y="88562"/>
                                                        <a:pt x="26201" y="86942"/>
                                                      </a:cubicBezTo>
                                                      <a:cubicBezTo>
                                                        <a:pt x="27237" y="86359"/>
                                                        <a:pt x="28468" y="86100"/>
                                                        <a:pt x="29764" y="86100"/>
                                                      </a:cubicBezTo>
                                                      <a:cubicBezTo>
                                                        <a:pt x="32356" y="86100"/>
                                                        <a:pt x="34558" y="87331"/>
                                                        <a:pt x="35336" y="89275"/>
                                                      </a:cubicBezTo>
                                                      <a:cubicBezTo>
                                                        <a:pt x="35789" y="90441"/>
                                                        <a:pt x="35854" y="91672"/>
                                                        <a:pt x="35854" y="93097"/>
                                                      </a:cubicBezTo>
                                                      <a:cubicBezTo>
                                                        <a:pt x="35854" y="94069"/>
                                                        <a:pt x="35854" y="95105"/>
                                                        <a:pt x="36048" y="96142"/>
                                                      </a:cubicBezTo>
                                                      <a:cubicBezTo>
                                                        <a:pt x="36891" y="100418"/>
                                                        <a:pt x="40907" y="103722"/>
                                                        <a:pt x="45248" y="103722"/>
                                                      </a:cubicBezTo>
                                                      <a:lnTo>
                                                        <a:pt x="45701" y="103722"/>
                                                      </a:lnTo>
                                                      <a:cubicBezTo>
                                                        <a:pt x="50172" y="103463"/>
                                                        <a:pt x="54124" y="99576"/>
                                                        <a:pt x="54447" y="95105"/>
                                                      </a:cubicBezTo>
                                                      <a:cubicBezTo>
                                                        <a:pt x="54447" y="93874"/>
                                                        <a:pt x="54447" y="92644"/>
                                                        <a:pt x="54253" y="91477"/>
                                                      </a:cubicBezTo>
                                                      <a:cubicBezTo>
                                                        <a:pt x="53994" y="89858"/>
                                                        <a:pt x="53800" y="88303"/>
                                                        <a:pt x="54253" y="86878"/>
                                                      </a:cubicBezTo>
                                                      <a:cubicBezTo>
                                                        <a:pt x="55419" y="83574"/>
                                                        <a:pt x="59825" y="82667"/>
                                                        <a:pt x="63194" y="82926"/>
                                                      </a:cubicBezTo>
                                                      <a:cubicBezTo>
                                                        <a:pt x="64230" y="83055"/>
                                                        <a:pt x="65332" y="83185"/>
                                                        <a:pt x="66368" y="83314"/>
                                                      </a:cubicBezTo>
                                                      <a:cubicBezTo>
                                                        <a:pt x="69413" y="83768"/>
                                                        <a:pt x="72717" y="84027"/>
                                                        <a:pt x="75244" y="83250"/>
                                                      </a:cubicBezTo>
                                                      <a:cubicBezTo>
                                                        <a:pt x="81657" y="81241"/>
                                                        <a:pt x="84314" y="73985"/>
                                                        <a:pt x="85286" y="69904"/>
                                                      </a:cubicBezTo>
                                                      <a:cubicBezTo>
                                                        <a:pt x="85609" y="68543"/>
                                                        <a:pt x="85933" y="67248"/>
                                                        <a:pt x="86193" y="65887"/>
                                                      </a:cubicBezTo>
                                                      <a:cubicBezTo>
                                                        <a:pt x="87035" y="61741"/>
                                                        <a:pt x="87877" y="57854"/>
                                                        <a:pt x="90080" y="54550"/>
                                                      </a:cubicBezTo>
                                                      <a:cubicBezTo>
                                                        <a:pt x="92801" y="50598"/>
                                                        <a:pt x="97595" y="48136"/>
                                                        <a:pt x="102713" y="48136"/>
                                                      </a:cubicBezTo>
                                                      <a:cubicBezTo>
                                                        <a:pt x="104656" y="48136"/>
                                                        <a:pt x="106600" y="48524"/>
                                                        <a:pt x="108284" y="49302"/>
                                                      </a:cubicBezTo>
                                                      <a:cubicBezTo>
                                                        <a:pt x="110163" y="50079"/>
                                                        <a:pt x="111524" y="51116"/>
                                                        <a:pt x="112236" y="52412"/>
                                                      </a:cubicBezTo>
                                                      <a:cubicBezTo>
                                                        <a:pt x="113662" y="54874"/>
                                                        <a:pt x="113143" y="58178"/>
                                                        <a:pt x="112560" y="61417"/>
                                                      </a:cubicBezTo>
                                                      <a:cubicBezTo>
                                                        <a:pt x="111912" y="65434"/>
                                                        <a:pt x="111200" y="69580"/>
                                                        <a:pt x="114310" y="72366"/>
                                                      </a:cubicBezTo>
                                                      <a:lnTo>
                                                        <a:pt x="114504" y="72560"/>
                                                      </a:lnTo>
                                                      <a:cubicBezTo>
                                                        <a:pt x="118456" y="74504"/>
                                                        <a:pt x="123768" y="74180"/>
                                                        <a:pt x="127461" y="71718"/>
                                                      </a:cubicBezTo>
                                                      <a:cubicBezTo>
                                                        <a:pt x="131283" y="69191"/>
                                                        <a:pt x="133486" y="64656"/>
                                                        <a:pt x="133097" y="60056"/>
                                                      </a:cubicBezTo>
                                                      <a:lnTo>
                                                        <a:pt x="133097" y="59668"/>
                                                      </a:lnTo>
                                                      <a:cubicBezTo>
                                                        <a:pt x="133097" y="59085"/>
                                                        <a:pt x="132968" y="58566"/>
                                                        <a:pt x="133097" y="58113"/>
                                                      </a:cubicBezTo>
                                                      <a:cubicBezTo>
                                                        <a:pt x="133292" y="57465"/>
                                                        <a:pt x="133810" y="57011"/>
                                                        <a:pt x="135624" y="57011"/>
                                                      </a:cubicBezTo>
                                                      <a:cubicBezTo>
                                                        <a:pt x="136142" y="57011"/>
                                                        <a:pt x="136725" y="57011"/>
                                                        <a:pt x="137244" y="57011"/>
                                                      </a:cubicBezTo>
                                                      <a:cubicBezTo>
                                                        <a:pt x="138215" y="57076"/>
                                                        <a:pt x="139187" y="57141"/>
                                                        <a:pt x="140029" y="57076"/>
                                                      </a:cubicBezTo>
                                                      <a:cubicBezTo>
                                                        <a:pt x="143463" y="56752"/>
                                                        <a:pt x="146314" y="53837"/>
                                                        <a:pt x="148192" y="48848"/>
                                                      </a:cubicBezTo>
                                                      <a:lnTo>
                                                        <a:pt x="148711" y="47358"/>
                                                      </a:lnTo>
                                                      <a:cubicBezTo>
                                                        <a:pt x="149747" y="44443"/>
                                                        <a:pt x="150784" y="41398"/>
                                                        <a:pt x="153116" y="39714"/>
                                                      </a:cubicBezTo>
                                                      <a:cubicBezTo>
                                                        <a:pt x="153375" y="39584"/>
                                                        <a:pt x="153634" y="39390"/>
                                                        <a:pt x="153894" y="39260"/>
                                                      </a:cubicBezTo>
                                                      <a:cubicBezTo>
                                                        <a:pt x="154606" y="38807"/>
                                                        <a:pt x="155384" y="38288"/>
                                                        <a:pt x="155967" y="37511"/>
                                                      </a:cubicBezTo>
                                                      <a:cubicBezTo>
                                                        <a:pt x="157975" y="34790"/>
                                                        <a:pt x="155967" y="31227"/>
                                                        <a:pt x="153505" y="28765"/>
                                                      </a:cubicBezTo>
                                                      <a:cubicBezTo>
                                                        <a:pt x="151756" y="27080"/>
                                                        <a:pt x="149942" y="25137"/>
                                                        <a:pt x="150006" y="23258"/>
                                                      </a:cubicBezTo>
                                                      <a:cubicBezTo>
                                                        <a:pt x="153958" y="23452"/>
                                                        <a:pt x="157975" y="22740"/>
                                                        <a:pt x="161668" y="21250"/>
                                                      </a:cubicBezTo>
                                                      <a:lnTo>
                                                        <a:pt x="162057" y="21120"/>
                                                      </a:lnTo>
                                                      <a:lnTo>
                                                        <a:pt x="162186" y="20667"/>
                                                      </a:lnTo>
                                                      <a:cubicBezTo>
                                                        <a:pt x="164454" y="13994"/>
                                                        <a:pt x="160178" y="6867"/>
                                                        <a:pt x="155060" y="3628"/>
                                                      </a:cubicBezTo>
                                                      <a:close/>
                                                      <a:moveTo>
                                                        <a:pt x="160631" y="19695"/>
                                                      </a:moveTo>
                                                      <a:cubicBezTo>
                                                        <a:pt x="157068" y="21055"/>
                                                        <a:pt x="153246" y="21638"/>
                                                        <a:pt x="149423" y="21379"/>
                                                      </a:cubicBezTo>
                                                      <a:lnTo>
                                                        <a:pt x="148646" y="21379"/>
                                                      </a:lnTo>
                                                      <a:cubicBezTo>
                                                        <a:pt x="148646" y="21379"/>
                                                        <a:pt x="148452" y="22027"/>
                                                        <a:pt x="148452" y="22027"/>
                                                      </a:cubicBezTo>
                                                      <a:cubicBezTo>
                                                        <a:pt x="147285" y="25461"/>
                                                        <a:pt x="150395" y="28441"/>
                                                        <a:pt x="152274" y="30255"/>
                                                      </a:cubicBezTo>
                                                      <a:cubicBezTo>
                                                        <a:pt x="154088" y="32004"/>
                                                        <a:pt x="155837" y="34660"/>
                                                        <a:pt x="154541" y="36410"/>
                                                      </a:cubicBezTo>
                                                      <a:cubicBezTo>
                                                        <a:pt x="154153" y="36928"/>
                                                        <a:pt x="153570" y="37252"/>
                                                        <a:pt x="152987" y="37640"/>
                                                      </a:cubicBezTo>
                                                      <a:cubicBezTo>
                                                        <a:pt x="152663" y="37835"/>
                                                        <a:pt x="152404" y="38029"/>
                                                        <a:pt x="152080" y="38224"/>
                                                      </a:cubicBezTo>
                                                      <a:cubicBezTo>
                                                        <a:pt x="149294" y="40297"/>
                                                        <a:pt x="148128" y="43601"/>
                                                        <a:pt x="146961" y="46775"/>
                                                      </a:cubicBezTo>
                                                      <a:lnTo>
                                                        <a:pt x="146443" y="48265"/>
                                                      </a:lnTo>
                                                      <a:cubicBezTo>
                                                        <a:pt x="145601" y="50727"/>
                                                        <a:pt x="143528" y="54874"/>
                                                        <a:pt x="139965" y="55197"/>
                                                      </a:cubicBezTo>
                                                      <a:cubicBezTo>
                                                        <a:pt x="139252" y="55262"/>
                                                        <a:pt x="138345" y="55197"/>
                                                        <a:pt x="137503" y="55197"/>
                                                      </a:cubicBezTo>
                                                      <a:cubicBezTo>
                                                        <a:pt x="136920" y="55197"/>
                                                        <a:pt x="136337" y="55133"/>
                                                        <a:pt x="135754" y="55133"/>
                                                      </a:cubicBezTo>
                                                      <a:cubicBezTo>
                                                        <a:pt x="134782" y="55133"/>
                                                        <a:pt x="132255" y="55133"/>
                                                        <a:pt x="131348" y="57530"/>
                                                      </a:cubicBezTo>
                                                      <a:cubicBezTo>
                                                        <a:pt x="131089" y="58372"/>
                                                        <a:pt x="131154" y="59214"/>
                                                        <a:pt x="131219" y="59927"/>
                                                      </a:cubicBezTo>
                                                      <a:lnTo>
                                                        <a:pt x="131219" y="60315"/>
                                                      </a:lnTo>
                                                      <a:cubicBezTo>
                                                        <a:pt x="131543" y="64073"/>
                                                        <a:pt x="129599" y="68090"/>
                                                        <a:pt x="126424" y="70228"/>
                                                      </a:cubicBezTo>
                                                      <a:cubicBezTo>
                                                        <a:pt x="123379" y="72236"/>
                                                        <a:pt x="118909" y="72560"/>
                                                        <a:pt x="115605" y="70940"/>
                                                      </a:cubicBezTo>
                                                      <a:cubicBezTo>
                                                        <a:pt x="113403" y="68802"/>
                                                        <a:pt x="113986" y="65369"/>
                                                        <a:pt x="114569" y="61806"/>
                                                      </a:cubicBezTo>
                                                      <a:cubicBezTo>
                                                        <a:pt x="115152" y="58242"/>
                                                        <a:pt x="115800" y="54550"/>
                                                        <a:pt x="113986" y="51505"/>
                                                      </a:cubicBezTo>
                                                      <a:cubicBezTo>
                                                        <a:pt x="113014" y="49885"/>
                                                        <a:pt x="111394" y="48524"/>
                                                        <a:pt x="109127" y="47553"/>
                                                      </a:cubicBezTo>
                                                      <a:cubicBezTo>
                                                        <a:pt x="107183" y="46710"/>
                                                        <a:pt x="105045" y="46257"/>
                                                        <a:pt x="102778" y="46257"/>
                                                      </a:cubicBezTo>
                                                      <a:cubicBezTo>
                                                        <a:pt x="97012" y="46257"/>
                                                        <a:pt x="91570" y="49043"/>
                                                        <a:pt x="88525" y="53513"/>
                                                      </a:cubicBezTo>
                                                      <a:cubicBezTo>
                                                        <a:pt x="86128" y="57141"/>
                                                        <a:pt x="85221" y="61417"/>
                                                        <a:pt x="84379" y="65563"/>
                                                      </a:cubicBezTo>
                                                      <a:cubicBezTo>
                                                        <a:pt x="84055" y="66859"/>
                                                        <a:pt x="83795" y="68219"/>
                                                        <a:pt x="83472" y="69450"/>
                                                      </a:cubicBezTo>
                                                      <a:cubicBezTo>
                                                        <a:pt x="82564" y="73208"/>
                                                        <a:pt x="80232" y="79751"/>
                                                        <a:pt x="74725" y="81436"/>
                                                      </a:cubicBezTo>
                                                      <a:cubicBezTo>
                                                        <a:pt x="72523" y="82148"/>
                                                        <a:pt x="69672" y="81889"/>
                                                        <a:pt x="66692" y="81500"/>
                                                      </a:cubicBezTo>
                                                      <a:cubicBezTo>
                                                        <a:pt x="65591" y="81306"/>
                                                        <a:pt x="64489" y="81176"/>
                                                        <a:pt x="63453" y="81112"/>
                                                      </a:cubicBezTo>
                                                      <a:cubicBezTo>
                                                        <a:pt x="59371" y="80723"/>
                                                        <a:pt x="53994" y="81954"/>
                                                        <a:pt x="52504" y="86295"/>
                                                      </a:cubicBezTo>
                                                      <a:cubicBezTo>
                                                        <a:pt x="51856" y="88109"/>
                                                        <a:pt x="52050" y="89987"/>
                                                        <a:pt x="52310" y="91801"/>
                                                      </a:cubicBezTo>
                                                      <a:cubicBezTo>
                                                        <a:pt x="52439" y="92903"/>
                                                        <a:pt x="52569" y="94004"/>
                                                        <a:pt x="52504" y="95041"/>
                                                      </a:cubicBezTo>
                                                      <a:cubicBezTo>
                                                        <a:pt x="52245" y="98539"/>
                                                        <a:pt x="49070" y="101649"/>
                                                        <a:pt x="45637" y="101843"/>
                                                      </a:cubicBezTo>
                                                      <a:lnTo>
                                                        <a:pt x="45248" y="101843"/>
                                                      </a:lnTo>
                                                      <a:cubicBezTo>
                                                        <a:pt x="41879" y="101843"/>
                                                        <a:pt x="38640" y="99187"/>
                                                        <a:pt x="37992" y="95883"/>
                                                      </a:cubicBezTo>
                                                      <a:cubicBezTo>
                                                        <a:pt x="37798" y="94976"/>
                                                        <a:pt x="37798" y="94069"/>
                                                        <a:pt x="37798" y="93097"/>
                                                      </a:cubicBezTo>
                                                      <a:cubicBezTo>
                                                        <a:pt x="37798" y="91607"/>
                                                        <a:pt x="37798" y="90117"/>
                                                        <a:pt x="37150" y="88627"/>
                                                      </a:cubicBezTo>
                                                      <a:cubicBezTo>
                                                        <a:pt x="36048" y="85906"/>
                                                        <a:pt x="33198" y="84221"/>
                                                        <a:pt x="29764" y="84221"/>
                                                      </a:cubicBezTo>
                                                      <a:cubicBezTo>
                                                        <a:pt x="28144" y="84221"/>
                                                        <a:pt x="26590" y="84610"/>
                                                        <a:pt x="25229" y="85323"/>
                                                      </a:cubicBezTo>
                                                      <a:cubicBezTo>
                                                        <a:pt x="21925" y="87137"/>
                                                        <a:pt x="19528" y="90700"/>
                                                        <a:pt x="18103" y="95883"/>
                                                      </a:cubicBezTo>
                                                      <a:cubicBezTo>
                                                        <a:pt x="17908" y="96660"/>
                                                        <a:pt x="17649" y="97438"/>
                                                        <a:pt x="17196" y="97826"/>
                                                      </a:cubicBezTo>
                                                      <a:cubicBezTo>
                                                        <a:pt x="16677" y="98150"/>
                                                        <a:pt x="15770" y="98021"/>
                                                        <a:pt x="14928" y="97826"/>
                                                      </a:cubicBezTo>
                                                      <a:lnTo>
                                                        <a:pt x="4562" y="95948"/>
                                                      </a:lnTo>
                                                      <a:cubicBezTo>
                                                        <a:pt x="1258" y="93421"/>
                                                        <a:pt x="1323" y="87979"/>
                                                        <a:pt x="3461" y="84545"/>
                                                      </a:cubicBezTo>
                                                      <a:cubicBezTo>
                                                        <a:pt x="5858" y="80723"/>
                                                        <a:pt x="10069" y="78391"/>
                                                        <a:pt x="14345" y="76447"/>
                                                      </a:cubicBezTo>
                                                      <a:cubicBezTo>
                                                        <a:pt x="23286" y="72301"/>
                                                        <a:pt x="32744" y="69191"/>
                                                        <a:pt x="42397" y="67118"/>
                                                      </a:cubicBezTo>
                                                      <a:cubicBezTo>
                                                        <a:pt x="46285" y="66341"/>
                                                        <a:pt x="50172" y="65239"/>
                                                        <a:pt x="51662" y="61741"/>
                                                      </a:cubicBezTo>
                                                      <a:cubicBezTo>
                                                        <a:pt x="52310" y="60186"/>
                                                        <a:pt x="52245" y="58631"/>
                                                        <a:pt x="52245" y="57076"/>
                                                      </a:cubicBezTo>
                                                      <a:lnTo>
                                                        <a:pt x="52245" y="56493"/>
                                                      </a:lnTo>
                                                      <a:cubicBezTo>
                                                        <a:pt x="52115" y="50792"/>
                                                        <a:pt x="53476" y="45091"/>
                                                        <a:pt x="56067" y="39973"/>
                                                      </a:cubicBezTo>
                                                      <a:cubicBezTo>
                                                        <a:pt x="58529" y="35114"/>
                                                        <a:pt x="63777" y="29477"/>
                                                        <a:pt x="69996" y="30255"/>
                                                      </a:cubicBezTo>
                                                      <a:lnTo>
                                                        <a:pt x="71227" y="30384"/>
                                                      </a:lnTo>
                                                      <a:lnTo>
                                                        <a:pt x="71097" y="29154"/>
                                                      </a:lnTo>
                                                      <a:cubicBezTo>
                                                        <a:pt x="70644" y="25979"/>
                                                        <a:pt x="72652" y="23064"/>
                                                        <a:pt x="74725" y="21379"/>
                                                      </a:cubicBezTo>
                                                      <a:cubicBezTo>
                                                        <a:pt x="77252" y="19436"/>
                                                        <a:pt x="80362" y="18399"/>
                                                        <a:pt x="83407" y="17363"/>
                                                      </a:cubicBezTo>
                                                      <a:cubicBezTo>
                                                        <a:pt x="89561" y="15289"/>
                                                        <a:pt x="95975" y="13151"/>
                                                        <a:pt x="102518" y="13151"/>
                                                      </a:cubicBezTo>
                                                      <a:lnTo>
                                                        <a:pt x="103102" y="13151"/>
                                                      </a:lnTo>
                                                      <a:cubicBezTo>
                                                        <a:pt x="104332" y="13151"/>
                                                        <a:pt x="105887" y="13281"/>
                                                        <a:pt x="106859" y="14188"/>
                                                      </a:cubicBezTo>
                                                      <a:cubicBezTo>
                                                        <a:pt x="107507" y="14771"/>
                                                        <a:pt x="107896" y="15743"/>
                                                        <a:pt x="108284" y="16715"/>
                                                      </a:cubicBezTo>
                                                      <a:cubicBezTo>
                                                        <a:pt x="108479" y="17233"/>
                                                        <a:pt x="108673" y="17751"/>
                                                        <a:pt x="108868" y="18205"/>
                                                      </a:cubicBezTo>
                                                      <a:cubicBezTo>
                                                        <a:pt x="111005" y="22545"/>
                                                        <a:pt x="115735" y="24619"/>
                                                        <a:pt x="123509" y="24619"/>
                                                      </a:cubicBezTo>
                                                      <a:cubicBezTo>
                                                        <a:pt x="124675" y="24619"/>
                                                        <a:pt x="125841" y="24619"/>
                                                        <a:pt x="127007" y="24554"/>
                                                      </a:cubicBezTo>
                                                      <a:lnTo>
                                                        <a:pt x="127461" y="24554"/>
                                                      </a:lnTo>
                                                      <a:cubicBezTo>
                                                        <a:pt x="127461" y="24554"/>
                                                        <a:pt x="127785" y="24100"/>
                                                        <a:pt x="127785" y="24100"/>
                                                      </a:cubicBezTo>
                                                      <a:cubicBezTo>
                                                        <a:pt x="132061" y="17233"/>
                                                        <a:pt x="135300" y="9783"/>
                                                        <a:pt x="137438" y="2008"/>
                                                      </a:cubicBezTo>
                                                      <a:cubicBezTo>
                                                        <a:pt x="138345" y="2008"/>
                                                        <a:pt x="139317" y="2008"/>
                                                        <a:pt x="140224" y="2008"/>
                                                      </a:cubicBezTo>
                                                      <a:cubicBezTo>
                                                        <a:pt x="145990" y="2008"/>
                                                        <a:pt x="150525" y="3110"/>
                                                        <a:pt x="154153" y="5442"/>
                                                      </a:cubicBezTo>
                                                      <a:cubicBezTo>
                                                        <a:pt x="158558" y="8228"/>
                                                        <a:pt x="162186" y="14123"/>
                                                        <a:pt x="160631" y="1976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4" name="Freeform: Shape 80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0B3EB21-395C-48C2-9A15-1C5E240FFF9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055878" y="1775689"/>
                                                  <a:ext cx="38366" cy="3702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7652 w 38366"/>
                                                    <a:gd name="connsiteY0" fmla="*/ 8135 h 37029"/>
                                                    <a:gd name="connsiteX1" fmla="*/ 33765 w 38366"/>
                                                    <a:gd name="connsiteY1" fmla="*/ 2174 h 37029"/>
                                                    <a:gd name="connsiteX2" fmla="*/ 33247 w 38366"/>
                                                    <a:gd name="connsiteY2" fmla="*/ 1138 h 37029"/>
                                                    <a:gd name="connsiteX3" fmla="*/ 28712 w 38366"/>
                                                    <a:gd name="connsiteY3" fmla="*/ 360 h 37029"/>
                                                    <a:gd name="connsiteX4" fmla="*/ 24306 w 38366"/>
                                                    <a:gd name="connsiteY4" fmla="*/ 5673 h 37029"/>
                                                    <a:gd name="connsiteX5" fmla="*/ 22039 w 38366"/>
                                                    <a:gd name="connsiteY5" fmla="*/ 9301 h 37029"/>
                                                    <a:gd name="connsiteX6" fmla="*/ 16921 w 38366"/>
                                                    <a:gd name="connsiteY6" fmla="*/ 12151 h 37029"/>
                                                    <a:gd name="connsiteX7" fmla="*/ 4612 w 38366"/>
                                                    <a:gd name="connsiteY7" fmla="*/ 16103 h 37029"/>
                                                    <a:gd name="connsiteX8" fmla="*/ 3769 w 38366"/>
                                                    <a:gd name="connsiteY8" fmla="*/ 16298 h 37029"/>
                                                    <a:gd name="connsiteX9" fmla="*/ 3899 w 38366"/>
                                                    <a:gd name="connsiteY9" fmla="*/ 17140 h 37029"/>
                                                    <a:gd name="connsiteX10" fmla="*/ 2668 w 38366"/>
                                                    <a:gd name="connsiteY10" fmla="*/ 26015 h 37029"/>
                                                    <a:gd name="connsiteX11" fmla="*/ 1955 w 38366"/>
                                                    <a:gd name="connsiteY11" fmla="*/ 26728 h 37029"/>
                                                    <a:gd name="connsiteX12" fmla="*/ 465 w 38366"/>
                                                    <a:gd name="connsiteY12" fmla="*/ 28477 h 37029"/>
                                                    <a:gd name="connsiteX13" fmla="*/ 2409 w 38366"/>
                                                    <a:gd name="connsiteY13" fmla="*/ 34891 h 37029"/>
                                                    <a:gd name="connsiteX14" fmla="*/ 8434 w 38366"/>
                                                    <a:gd name="connsiteY14" fmla="*/ 36770 h 37029"/>
                                                    <a:gd name="connsiteX15" fmla="*/ 12191 w 38366"/>
                                                    <a:gd name="connsiteY15" fmla="*/ 37029 h 37029"/>
                                                    <a:gd name="connsiteX16" fmla="*/ 17828 w 38366"/>
                                                    <a:gd name="connsiteY16" fmla="*/ 35668 h 37029"/>
                                                    <a:gd name="connsiteX17" fmla="*/ 18087 w 38366"/>
                                                    <a:gd name="connsiteY17" fmla="*/ 35409 h 37029"/>
                                                    <a:gd name="connsiteX18" fmla="*/ 18864 w 38366"/>
                                                    <a:gd name="connsiteY18" fmla="*/ 31134 h 37029"/>
                                                    <a:gd name="connsiteX19" fmla="*/ 19188 w 38366"/>
                                                    <a:gd name="connsiteY19" fmla="*/ 28218 h 37029"/>
                                                    <a:gd name="connsiteX20" fmla="*/ 24112 w 38366"/>
                                                    <a:gd name="connsiteY20" fmla="*/ 26015 h 37029"/>
                                                    <a:gd name="connsiteX21" fmla="*/ 24436 w 38366"/>
                                                    <a:gd name="connsiteY21" fmla="*/ 26015 h 37029"/>
                                                    <a:gd name="connsiteX22" fmla="*/ 37782 w 38366"/>
                                                    <a:gd name="connsiteY22" fmla="*/ 19926 h 37029"/>
                                                    <a:gd name="connsiteX23" fmla="*/ 38106 w 38366"/>
                                                    <a:gd name="connsiteY23" fmla="*/ 19666 h 37029"/>
                                                    <a:gd name="connsiteX24" fmla="*/ 38106 w 38366"/>
                                                    <a:gd name="connsiteY24" fmla="*/ 19278 h 37029"/>
                                                    <a:gd name="connsiteX25" fmla="*/ 37652 w 38366"/>
                                                    <a:gd name="connsiteY25" fmla="*/ 8135 h 37029"/>
                                                    <a:gd name="connsiteX26" fmla="*/ 23788 w 38366"/>
                                                    <a:gd name="connsiteY26" fmla="*/ 24137 h 37029"/>
                                                    <a:gd name="connsiteX27" fmla="*/ 17439 w 38366"/>
                                                    <a:gd name="connsiteY27" fmla="*/ 27376 h 37029"/>
                                                    <a:gd name="connsiteX28" fmla="*/ 16921 w 38366"/>
                                                    <a:gd name="connsiteY28" fmla="*/ 31198 h 37029"/>
                                                    <a:gd name="connsiteX29" fmla="*/ 16597 w 38366"/>
                                                    <a:gd name="connsiteY29" fmla="*/ 34114 h 37029"/>
                                                    <a:gd name="connsiteX30" fmla="*/ 12191 w 38366"/>
                                                    <a:gd name="connsiteY30" fmla="*/ 35085 h 37029"/>
                                                    <a:gd name="connsiteX31" fmla="*/ 8693 w 38366"/>
                                                    <a:gd name="connsiteY31" fmla="*/ 34826 h 37029"/>
                                                    <a:gd name="connsiteX32" fmla="*/ 3510 w 38366"/>
                                                    <a:gd name="connsiteY32" fmla="*/ 33336 h 37029"/>
                                                    <a:gd name="connsiteX33" fmla="*/ 2215 w 38366"/>
                                                    <a:gd name="connsiteY33" fmla="*/ 29384 h 37029"/>
                                                    <a:gd name="connsiteX34" fmla="*/ 3316 w 38366"/>
                                                    <a:gd name="connsiteY34" fmla="*/ 28153 h 37029"/>
                                                    <a:gd name="connsiteX35" fmla="*/ 4158 w 38366"/>
                                                    <a:gd name="connsiteY35" fmla="*/ 27311 h 37029"/>
                                                    <a:gd name="connsiteX36" fmla="*/ 5907 w 38366"/>
                                                    <a:gd name="connsiteY36" fmla="*/ 17723 h 37029"/>
                                                    <a:gd name="connsiteX37" fmla="*/ 17569 w 38366"/>
                                                    <a:gd name="connsiteY37" fmla="*/ 13965 h 37029"/>
                                                    <a:gd name="connsiteX38" fmla="*/ 23399 w 38366"/>
                                                    <a:gd name="connsiteY38" fmla="*/ 10661 h 37029"/>
                                                    <a:gd name="connsiteX39" fmla="*/ 26056 w 38366"/>
                                                    <a:gd name="connsiteY39" fmla="*/ 6580 h 37029"/>
                                                    <a:gd name="connsiteX40" fmla="*/ 29554 w 38366"/>
                                                    <a:gd name="connsiteY40" fmla="*/ 2109 h 37029"/>
                                                    <a:gd name="connsiteX41" fmla="*/ 31757 w 38366"/>
                                                    <a:gd name="connsiteY41" fmla="*/ 2433 h 37029"/>
                                                    <a:gd name="connsiteX42" fmla="*/ 31886 w 38366"/>
                                                    <a:gd name="connsiteY42" fmla="*/ 2757 h 37029"/>
                                                    <a:gd name="connsiteX43" fmla="*/ 31757 w 38366"/>
                                                    <a:gd name="connsiteY43" fmla="*/ 3664 h 37029"/>
                                                    <a:gd name="connsiteX44" fmla="*/ 32664 w 38366"/>
                                                    <a:gd name="connsiteY44" fmla="*/ 3859 h 37029"/>
                                                    <a:gd name="connsiteX45" fmla="*/ 35773 w 38366"/>
                                                    <a:gd name="connsiteY45" fmla="*/ 8523 h 37029"/>
                                                    <a:gd name="connsiteX46" fmla="*/ 36227 w 38366"/>
                                                    <a:gd name="connsiteY46" fmla="*/ 18695 h 37029"/>
                                                    <a:gd name="connsiteX47" fmla="*/ 24112 w 38366"/>
                                                    <a:gd name="connsiteY47" fmla="*/ 24072 h 37029"/>
                                                    <a:gd name="connsiteX48" fmla="*/ 23788 w 38366"/>
                                                    <a:gd name="connsiteY48" fmla="*/ 24072 h 3702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8366" h="37029">
                                                      <a:moveTo>
                                                        <a:pt x="37652" y="8135"/>
                                                      </a:moveTo>
                                                      <a:cubicBezTo>
                                                        <a:pt x="37069" y="4960"/>
                                                        <a:pt x="35644" y="2887"/>
                                                        <a:pt x="33765" y="2174"/>
                                                      </a:cubicBezTo>
                                                      <a:cubicBezTo>
                                                        <a:pt x="33765" y="1786"/>
                                                        <a:pt x="33506" y="1462"/>
                                                        <a:pt x="33247" y="1138"/>
                                                      </a:cubicBezTo>
                                                      <a:cubicBezTo>
                                                        <a:pt x="32275" y="36"/>
                                                        <a:pt x="30137" y="-352"/>
                                                        <a:pt x="28712" y="360"/>
                                                      </a:cubicBezTo>
                                                      <a:cubicBezTo>
                                                        <a:pt x="26444" y="1462"/>
                                                        <a:pt x="25343" y="3600"/>
                                                        <a:pt x="24306" y="5673"/>
                                                      </a:cubicBezTo>
                                                      <a:cubicBezTo>
                                                        <a:pt x="23594" y="7033"/>
                                                        <a:pt x="22946" y="8329"/>
                                                        <a:pt x="22039" y="9301"/>
                                                      </a:cubicBezTo>
                                                      <a:cubicBezTo>
                                                        <a:pt x="20743" y="10661"/>
                                                        <a:pt x="18864" y="11374"/>
                                                        <a:pt x="16921" y="12151"/>
                                                      </a:cubicBezTo>
                                                      <a:cubicBezTo>
                                                        <a:pt x="12904" y="13577"/>
                                                        <a:pt x="8758" y="14937"/>
                                                        <a:pt x="4612" y="16103"/>
                                                      </a:cubicBezTo>
                                                      <a:lnTo>
                                                        <a:pt x="3769" y="16298"/>
                                                      </a:lnTo>
                                                      <a:lnTo>
                                                        <a:pt x="3899" y="17140"/>
                                                      </a:lnTo>
                                                      <a:cubicBezTo>
                                                        <a:pt x="4352" y="20314"/>
                                                        <a:pt x="4612" y="23813"/>
                                                        <a:pt x="2668" y="26015"/>
                                                      </a:cubicBezTo>
                                                      <a:cubicBezTo>
                                                        <a:pt x="2474" y="26275"/>
                                                        <a:pt x="2215" y="26469"/>
                                                        <a:pt x="1955" y="26728"/>
                                                      </a:cubicBezTo>
                                                      <a:cubicBezTo>
                                                        <a:pt x="1437" y="27182"/>
                                                        <a:pt x="854" y="27765"/>
                                                        <a:pt x="465" y="28477"/>
                                                      </a:cubicBezTo>
                                                      <a:cubicBezTo>
                                                        <a:pt x="-701" y="30745"/>
                                                        <a:pt x="465" y="33531"/>
                                                        <a:pt x="2409" y="34891"/>
                                                      </a:cubicBezTo>
                                                      <a:cubicBezTo>
                                                        <a:pt x="4158" y="36122"/>
                                                        <a:pt x="6231" y="36511"/>
                                                        <a:pt x="8434" y="36770"/>
                                                      </a:cubicBezTo>
                                                      <a:cubicBezTo>
                                                        <a:pt x="9600" y="36899"/>
                                                        <a:pt x="10896" y="37029"/>
                                                        <a:pt x="12191" y="37029"/>
                                                      </a:cubicBezTo>
                                                      <a:cubicBezTo>
                                                        <a:pt x="14459" y="37029"/>
                                                        <a:pt x="16338" y="36575"/>
                                                        <a:pt x="17828" y="35668"/>
                                                      </a:cubicBezTo>
                                                      <a:lnTo>
                                                        <a:pt x="18087" y="35409"/>
                                                      </a:lnTo>
                                                      <a:cubicBezTo>
                                                        <a:pt x="18994" y="34114"/>
                                                        <a:pt x="18929" y="32494"/>
                                                        <a:pt x="18864" y="31134"/>
                                                      </a:cubicBezTo>
                                                      <a:cubicBezTo>
                                                        <a:pt x="18800" y="30032"/>
                                                        <a:pt x="18800" y="28996"/>
                                                        <a:pt x="19188" y="28218"/>
                                                      </a:cubicBezTo>
                                                      <a:cubicBezTo>
                                                        <a:pt x="19966" y="26728"/>
                                                        <a:pt x="22039" y="26404"/>
                                                        <a:pt x="24112" y="26015"/>
                                                      </a:cubicBezTo>
                                                      <a:lnTo>
                                                        <a:pt x="24436" y="26015"/>
                                                      </a:lnTo>
                                                      <a:cubicBezTo>
                                                        <a:pt x="29360" y="25173"/>
                                                        <a:pt x="33959" y="23035"/>
                                                        <a:pt x="37782" y="19926"/>
                                                      </a:cubicBezTo>
                                                      <a:lnTo>
                                                        <a:pt x="38106" y="19666"/>
                                                      </a:lnTo>
                                                      <a:lnTo>
                                                        <a:pt x="38106" y="19278"/>
                                                      </a:lnTo>
                                                      <a:cubicBezTo>
                                                        <a:pt x="38559" y="15585"/>
                                                        <a:pt x="38430" y="11763"/>
                                                        <a:pt x="37652" y="8135"/>
                                                      </a:cubicBezTo>
                                                      <a:close/>
                                                      <a:moveTo>
                                                        <a:pt x="23788" y="24137"/>
                                                      </a:moveTo>
                                                      <a:cubicBezTo>
                                                        <a:pt x="21521" y="24525"/>
                                                        <a:pt x="18670" y="24979"/>
                                                        <a:pt x="17439" y="27376"/>
                                                      </a:cubicBezTo>
                                                      <a:cubicBezTo>
                                                        <a:pt x="16791" y="28607"/>
                                                        <a:pt x="16856" y="29967"/>
                                                        <a:pt x="16921" y="31198"/>
                                                      </a:cubicBezTo>
                                                      <a:cubicBezTo>
                                                        <a:pt x="16921" y="32364"/>
                                                        <a:pt x="17050" y="33336"/>
                                                        <a:pt x="16597" y="34114"/>
                                                      </a:cubicBezTo>
                                                      <a:cubicBezTo>
                                                        <a:pt x="15431" y="34826"/>
                                                        <a:pt x="14005" y="35085"/>
                                                        <a:pt x="12191" y="35085"/>
                                                      </a:cubicBezTo>
                                                      <a:cubicBezTo>
                                                        <a:pt x="11025" y="35085"/>
                                                        <a:pt x="9794" y="34956"/>
                                                        <a:pt x="8693" y="34826"/>
                                                      </a:cubicBezTo>
                                                      <a:cubicBezTo>
                                                        <a:pt x="6750" y="34567"/>
                                                        <a:pt x="4936" y="34308"/>
                                                        <a:pt x="3510" y="33336"/>
                                                      </a:cubicBezTo>
                                                      <a:cubicBezTo>
                                                        <a:pt x="2344" y="32429"/>
                                                        <a:pt x="1502" y="30680"/>
                                                        <a:pt x="2215" y="29384"/>
                                                      </a:cubicBezTo>
                                                      <a:cubicBezTo>
                                                        <a:pt x="2409" y="28931"/>
                                                        <a:pt x="2862" y="28542"/>
                                                        <a:pt x="3316" y="28153"/>
                                                      </a:cubicBezTo>
                                                      <a:lnTo>
                                                        <a:pt x="4158" y="27311"/>
                                                      </a:lnTo>
                                                      <a:cubicBezTo>
                                                        <a:pt x="6426" y="24720"/>
                                                        <a:pt x="6361" y="21092"/>
                                                        <a:pt x="5907" y="17723"/>
                                                      </a:cubicBezTo>
                                                      <a:cubicBezTo>
                                                        <a:pt x="9859" y="16622"/>
                                                        <a:pt x="13746" y="15326"/>
                                                        <a:pt x="17569" y="13965"/>
                                                      </a:cubicBezTo>
                                                      <a:cubicBezTo>
                                                        <a:pt x="19771" y="13123"/>
                                                        <a:pt x="21845" y="12281"/>
                                                        <a:pt x="23399" y="10661"/>
                                                      </a:cubicBezTo>
                                                      <a:cubicBezTo>
                                                        <a:pt x="24566" y="9495"/>
                                                        <a:pt x="25343" y="8005"/>
                                                        <a:pt x="26056" y="6580"/>
                                                      </a:cubicBezTo>
                                                      <a:cubicBezTo>
                                                        <a:pt x="26963" y="4701"/>
                                                        <a:pt x="27870" y="2887"/>
                                                        <a:pt x="29554" y="2109"/>
                                                      </a:cubicBezTo>
                                                      <a:cubicBezTo>
                                                        <a:pt x="30202" y="1786"/>
                                                        <a:pt x="31368" y="1980"/>
                                                        <a:pt x="31757" y="2433"/>
                                                      </a:cubicBezTo>
                                                      <a:cubicBezTo>
                                                        <a:pt x="31886" y="2498"/>
                                                        <a:pt x="31886" y="2628"/>
                                                        <a:pt x="31886" y="2757"/>
                                                      </a:cubicBezTo>
                                                      <a:lnTo>
                                                        <a:pt x="31757" y="3664"/>
                                                      </a:lnTo>
                                                      <a:lnTo>
                                                        <a:pt x="32664" y="3859"/>
                                                      </a:lnTo>
                                                      <a:cubicBezTo>
                                                        <a:pt x="34607" y="4247"/>
                                                        <a:pt x="35450" y="6904"/>
                                                        <a:pt x="35773" y="8523"/>
                                                      </a:cubicBezTo>
                                                      <a:cubicBezTo>
                                                        <a:pt x="36486" y="11827"/>
                                                        <a:pt x="36616" y="15261"/>
                                                        <a:pt x="36227" y="18695"/>
                                                      </a:cubicBezTo>
                                                      <a:cubicBezTo>
                                                        <a:pt x="32729" y="21480"/>
                                                        <a:pt x="28582" y="23294"/>
                                                        <a:pt x="24112" y="24072"/>
                                                      </a:cubicBezTo>
                                                      <a:lnTo>
                                                        <a:pt x="23788" y="24072"/>
                                                      </a:ln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5" name="Freeform: Shape 80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5FBF0EB-112E-494A-A1E3-03B437E5B6C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098778" y="1745726"/>
                                                  <a:ext cx="295998" cy="12679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3600 w 295998"/>
                                                    <a:gd name="connsiteY0" fmla="*/ 25399 h 126796"/>
                                                    <a:gd name="connsiteX1" fmla="*/ 29153 w 295998"/>
                                                    <a:gd name="connsiteY1" fmla="*/ 30517 h 126796"/>
                                                    <a:gd name="connsiteX2" fmla="*/ 31226 w 295998"/>
                                                    <a:gd name="connsiteY2" fmla="*/ 37060 h 126796"/>
                                                    <a:gd name="connsiteX3" fmla="*/ 37834 w 295998"/>
                                                    <a:gd name="connsiteY3" fmla="*/ 40235 h 126796"/>
                                                    <a:gd name="connsiteX4" fmla="*/ 55003 w 295998"/>
                                                    <a:gd name="connsiteY4" fmla="*/ 50730 h 126796"/>
                                                    <a:gd name="connsiteX5" fmla="*/ 23063 w 295998"/>
                                                    <a:gd name="connsiteY5" fmla="*/ 50147 h 126796"/>
                                                    <a:gd name="connsiteX6" fmla="*/ 12892 w 295998"/>
                                                    <a:gd name="connsiteY6" fmla="*/ 56172 h 126796"/>
                                                    <a:gd name="connsiteX7" fmla="*/ 19694 w 295998"/>
                                                    <a:gd name="connsiteY7" fmla="*/ 61484 h 126796"/>
                                                    <a:gd name="connsiteX8" fmla="*/ 51958 w 295998"/>
                                                    <a:gd name="connsiteY8" fmla="*/ 64918 h 126796"/>
                                                    <a:gd name="connsiteX9" fmla="*/ 40750 w 295998"/>
                                                    <a:gd name="connsiteY9" fmla="*/ 71850 h 126796"/>
                                                    <a:gd name="connsiteX10" fmla="*/ 10236 w 295998"/>
                                                    <a:gd name="connsiteY10" fmla="*/ 74571 h 126796"/>
                                                    <a:gd name="connsiteX11" fmla="*/ 2202 w 295998"/>
                                                    <a:gd name="connsiteY11" fmla="*/ 76903 h 126796"/>
                                                    <a:gd name="connsiteX12" fmla="*/ 1166 w 295998"/>
                                                    <a:gd name="connsiteY12" fmla="*/ 84289 h 126796"/>
                                                    <a:gd name="connsiteX13" fmla="*/ 5247 w 295998"/>
                                                    <a:gd name="connsiteY13" fmla="*/ 85714 h 126796"/>
                                                    <a:gd name="connsiteX14" fmla="*/ 33429 w 295998"/>
                                                    <a:gd name="connsiteY14" fmla="*/ 89666 h 126796"/>
                                                    <a:gd name="connsiteX15" fmla="*/ 70810 w 295998"/>
                                                    <a:gd name="connsiteY15" fmla="*/ 82734 h 126796"/>
                                                    <a:gd name="connsiteX16" fmla="*/ 79427 w 295998"/>
                                                    <a:gd name="connsiteY16" fmla="*/ 69842 h 126796"/>
                                                    <a:gd name="connsiteX17" fmla="*/ 92967 w 295998"/>
                                                    <a:gd name="connsiteY17" fmla="*/ 65307 h 126796"/>
                                                    <a:gd name="connsiteX18" fmla="*/ 96854 w 295998"/>
                                                    <a:gd name="connsiteY18" fmla="*/ 77292 h 126796"/>
                                                    <a:gd name="connsiteX19" fmla="*/ 89145 w 295998"/>
                                                    <a:gd name="connsiteY19" fmla="*/ 88435 h 126796"/>
                                                    <a:gd name="connsiteX20" fmla="*/ 104564 w 295998"/>
                                                    <a:gd name="connsiteY20" fmla="*/ 88241 h 126796"/>
                                                    <a:gd name="connsiteX21" fmla="*/ 118622 w 295998"/>
                                                    <a:gd name="connsiteY21" fmla="*/ 80272 h 126796"/>
                                                    <a:gd name="connsiteX22" fmla="*/ 150821 w 295998"/>
                                                    <a:gd name="connsiteY22" fmla="*/ 79041 h 126796"/>
                                                    <a:gd name="connsiteX23" fmla="*/ 150821 w 295998"/>
                                                    <a:gd name="connsiteY23" fmla="*/ 86880 h 126796"/>
                                                    <a:gd name="connsiteX24" fmla="*/ 142139 w 295998"/>
                                                    <a:gd name="connsiteY24" fmla="*/ 87917 h 126796"/>
                                                    <a:gd name="connsiteX25" fmla="*/ 139289 w 295998"/>
                                                    <a:gd name="connsiteY25" fmla="*/ 95691 h 126796"/>
                                                    <a:gd name="connsiteX26" fmla="*/ 119335 w 295998"/>
                                                    <a:gd name="connsiteY26" fmla="*/ 102688 h 126796"/>
                                                    <a:gd name="connsiteX27" fmla="*/ 108321 w 295998"/>
                                                    <a:gd name="connsiteY27" fmla="*/ 105474 h 126796"/>
                                                    <a:gd name="connsiteX28" fmla="*/ 78196 w 295998"/>
                                                    <a:gd name="connsiteY28" fmla="*/ 110074 h 126796"/>
                                                    <a:gd name="connsiteX29" fmla="*/ 82407 w 295998"/>
                                                    <a:gd name="connsiteY29" fmla="*/ 120958 h 126796"/>
                                                    <a:gd name="connsiteX30" fmla="*/ 93939 w 295998"/>
                                                    <a:gd name="connsiteY30" fmla="*/ 125234 h 126796"/>
                                                    <a:gd name="connsiteX31" fmla="*/ 135143 w 295998"/>
                                                    <a:gd name="connsiteY31" fmla="*/ 124262 h 126796"/>
                                                    <a:gd name="connsiteX32" fmla="*/ 142787 w 295998"/>
                                                    <a:gd name="connsiteY32" fmla="*/ 120245 h 126796"/>
                                                    <a:gd name="connsiteX33" fmla="*/ 145119 w 295998"/>
                                                    <a:gd name="connsiteY33" fmla="*/ 116488 h 126796"/>
                                                    <a:gd name="connsiteX34" fmla="*/ 157040 w 295998"/>
                                                    <a:gd name="connsiteY34" fmla="*/ 114609 h 126796"/>
                                                    <a:gd name="connsiteX35" fmla="*/ 162029 w 295998"/>
                                                    <a:gd name="connsiteY35" fmla="*/ 105409 h 126796"/>
                                                    <a:gd name="connsiteX36" fmla="*/ 167082 w 295998"/>
                                                    <a:gd name="connsiteY36" fmla="*/ 104113 h 126796"/>
                                                    <a:gd name="connsiteX37" fmla="*/ 185222 w 295998"/>
                                                    <a:gd name="connsiteY37" fmla="*/ 92906 h 126796"/>
                                                    <a:gd name="connsiteX38" fmla="*/ 197920 w 295998"/>
                                                    <a:gd name="connsiteY38" fmla="*/ 91156 h 126796"/>
                                                    <a:gd name="connsiteX39" fmla="*/ 260049 w 295998"/>
                                                    <a:gd name="connsiteY39" fmla="*/ 90962 h 126796"/>
                                                    <a:gd name="connsiteX40" fmla="*/ 276181 w 295998"/>
                                                    <a:gd name="connsiteY40" fmla="*/ 89083 h 126796"/>
                                                    <a:gd name="connsiteX41" fmla="*/ 287259 w 295998"/>
                                                    <a:gd name="connsiteY41" fmla="*/ 78070 h 126796"/>
                                                    <a:gd name="connsiteX42" fmla="*/ 288620 w 295998"/>
                                                    <a:gd name="connsiteY42" fmla="*/ 71656 h 126796"/>
                                                    <a:gd name="connsiteX43" fmla="*/ 292766 w 295998"/>
                                                    <a:gd name="connsiteY43" fmla="*/ 66667 h 126796"/>
                                                    <a:gd name="connsiteX44" fmla="*/ 290175 w 295998"/>
                                                    <a:gd name="connsiteY44" fmla="*/ 41595 h 126796"/>
                                                    <a:gd name="connsiteX45" fmla="*/ 276246 w 295998"/>
                                                    <a:gd name="connsiteY45" fmla="*/ 34728 h 126796"/>
                                                    <a:gd name="connsiteX46" fmla="*/ 256162 w 295998"/>
                                                    <a:gd name="connsiteY46" fmla="*/ 51248 h 126796"/>
                                                    <a:gd name="connsiteX47" fmla="*/ 250655 w 295998"/>
                                                    <a:gd name="connsiteY47" fmla="*/ 50082 h 126796"/>
                                                    <a:gd name="connsiteX48" fmla="*/ 247675 w 295998"/>
                                                    <a:gd name="connsiteY48" fmla="*/ 48333 h 126796"/>
                                                    <a:gd name="connsiteX49" fmla="*/ 246704 w 295998"/>
                                                    <a:gd name="connsiteY49" fmla="*/ 44899 h 126796"/>
                                                    <a:gd name="connsiteX50" fmla="*/ 228952 w 295998"/>
                                                    <a:gd name="connsiteY50" fmla="*/ 25269 h 126796"/>
                                                    <a:gd name="connsiteX51" fmla="*/ 228952 w 295998"/>
                                                    <a:gd name="connsiteY51" fmla="*/ 17689 h 126796"/>
                                                    <a:gd name="connsiteX52" fmla="*/ 215477 w 295998"/>
                                                    <a:gd name="connsiteY52" fmla="*/ 11016 h 126796"/>
                                                    <a:gd name="connsiteX53" fmla="*/ 211914 w 295998"/>
                                                    <a:gd name="connsiteY53" fmla="*/ 4020 h 126796"/>
                                                    <a:gd name="connsiteX54" fmla="*/ 192154 w 295998"/>
                                                    <a:gd name="connsiteY54" fmla="*/ 2594 h 126796"/>
                                                    <a:gd name="connsiteX55" fmla="*/ 187749 w 295998"/>
                                                    <a:gd name="connsiteY55" fmla="*/ 5315 h 126796"/>
                                                    <a:gd name="connsiteX56" fmla="*/ 186064 w 295998"/>
                                                    <a:gd name="connsiteY56" fmla="*/ 8749 h 126796"/>
                                                    <a:gd name="connsiteX57" fmla="*/ 182307 w 295998"/>
                                                    <a:gd name="connsiteY57" fmla="*/ 27602 h 126796"/>
                                                    <a:gd name="connsiteX58" fmla="*/ 201030 w 295998"/>
                                                    <a:gd name="connsiteY58" fmla="*/ 34534 h 126796"/>
                                                    <a:gd name="connsiteX59" fmla="*/ 192348 w 295998"/>
                                                    <a:gd name="connsiteY59" fmla="*/ 40753 h 126796"/>
                                                    <a:gd name="connsiteX60" fmla="*/ 193774 w 295998"/>
                                                    <a:gd name="connsiteY60" fmla="*/ 52350 h 126796"/>
                                                    <a:gd name="connsiteX61" fmla="*/ 205176 w 295998"/>
                                                    <a:gd name="connsiteY61" fmla="*/ 58634 h 126796"/>
                                                    <a:gd name="connsiteX62" fmla="*/ 212950 w 295998"/>
                                                    <a:gd name="connsiteY62" fmla="*/ 68352 h 126796"/>
                                                    <a:gd name="connsiteX63" fmla="*/ 160668 w 295998"/>
                                                    <a:gd name="connsiteY63" fmla="*/ 65307 h 126796"/>
                                                    <a:gd name="connsiteX64" fmla="*/ 158595 w 295998"/>
                                                    <a:gd name="connsiteY64" fmla="*/ 64400 h 126796"/>
                                                    <a:gd name="connsiteX65" fmla="*/ 157299 w 295998"/>
                                                    <a:gd name="connsiteY65" fmla="*/ 61161 h 126796"/>
                                                    <a:gd name="connsiteX66" fmla="*/ 144601 w 295998"/>
                                                    <a:gd name="connsiteY66" fmla="*/ 52803 h 126796"/>
                                                    <a:gd name="connsiteX67" fmla="*/ 147646 w 295998"/>
                                                    <a:gd name="connsiteY67" fmla="*/ 44575 h 126796"/>
                                                    <a:gd name="connsiteX68" fmla="*/ 130996 w 295998"/>
                                                    <a:gd name="connsiteY68" fmla="*/ 34922 h 126796"/>
                                                    <a:gd name="connsiteX69" fmla="*/ 85128 w 295998"/>
                                                    <a:gd name="connsiteY69" fmla="*/ 22743 h 126796"/>
                                                    <a:gd name="connsiteX70" fmla="*/ 82536 w 295998"/>
                                                    <a:gd name="connsiteY70" fmla="*/ 20993 h 126796"/>
                                                    <a:gd name="connsiteX71" fmla="*/ 81370 w 295998"/>
                                                    <a:gd name="connsiteY71" fmla="*/ 16977 h 126796"/>
                                                    <a:gd name="connsiteX72" fmla="*/ 67765 w 295998"/>
                                                    <a:gd name="connsiteY72" fmla="*/ 5250 h 126796"/>
                                                    <a:gd name="connsiteX73" fmla="*/ 53512 w 295998"/>
                                                    <a:gd name="connsiteY73" fmla="*/ 10369 h 126796"/>
                                                    <a:gd name="connsiteX74" fmla="*/ 49301 w 295998"/>
                                                    <a:gd name="connsiteY74" fmla="*/ 13543 h 126796"/>
                                                    <a:gd name="connsiteX75" fmla="*/ 43730 w 295998"/>
                                                    <a:gd name="connsiteY75" fmla="*/ 25075 h 12679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95998" h="126796">
                                                      <a:moveTo>
                                                        <a:pt x="43600" y="25399"/>
                                                      </a:moveTo>
                                                      <a:cubicBezTo>
                                                        <a:pt x="39389" y="28638"/>
                                                        <a:pt x="31291" y="25658"/>
                                                        <a:pt x="29153" y="30517"/>
                                                      </a:cubicBezTo>
                                                      <a:cubicBezTo>
                                                        <a:pt x="28181" y="32784"/>
                                                        <a:pt x="29347" y="35505"/>
                                                        <a:pt x="31226" y="37060"/>
                                                      </a:cubicBezTo>
                                                      <a:cubicBezTo>
                                                        <a:pt x="33105" y="38615"/>
                                                        <a:pt x="35502" y="39393"/>
                                                        <a:pt x="37834" y="40235"/>
                                                      </a:cubicBezTo>
                                                      <a:cubicBezTo>
                                                        <a:pt x="44119" y="42632"/>
                                                        <a:pt x="50014" y="46195"/>
                                                        <a:pt x="55003" y="50730"/>
                                                      </a:cubicBezTo>
                                                      <a:cubicBezTo>
                                                        <a:pt x="44378" y="50536"/>
                                                        <a:pt x="33688" y="50341"/>
                                                        <a:pt x="23063" y="50147"/>
                                                      </a:cubicBezTo>
                                                      <a:cubicBezTo>
                                                        <a:pt x="18593" y="50082"/>
                                                        <a:pt x="12438" y="51702"/>
                                                        <a:pt x="12892" y="56172"/>
                                                      </a:cubicBezTo>
                                                      <a:cubicBezTo>
                                                        <a:pt x="13216" y="59217"/>
                                                        <a:pt x="16714" y="60772"/>
                                                        <a:pt x="19694" y="61484"/>
                                                      </a:cubicBezTo>
                                                      <a:cubicBezTo>
                                                        <a:pt x="30190" y="64205"/>
                                                        <a:pt x="41074" y="65372"/>
                                                        <a:pt x="51958" y="64918"/>
                                                      </a:cubicBezTo>
                                                      <a:cubicBezTo>
                                                        <a:pt x="51699" y="69712"/>
                                                        <a:pt x="45544" y="71461"/>
                                                        <a:pt x="40750" y="71850"/>
                                                      </a:cubicBezTo>
                                                      <a:cubicBezTo>
                                                        <a:pt x="30578" y="72757"/>
                                                        <a:pt x="20407" y="73664"/>
                                                        <a:pt x="10236" y="74571"/>
                                                      </a:cubicBezTo>
                                                      <a:cubicBezTo>
                                                        <a:pt x="7385" y="74830"/>
                                                        <a:pt x="4405" y="75154"/>
                                                        <a:pt x="2202" y="76903"/>
                                                      </a:cubicBezTo>
                                                      <a:cubicBezTo>
                                                        <a:pt x="0" y="78653"/>
                                                        <a:pt x="-907" y="82410"/>
                                                        <a:pt x="1166" y="84289"/>
                                                      </a:cubicBezTo>
                                                      <a:cubicBezTo>
                                                        <a:pt x="2267" y="85261"/>
                                                        <a:pt x="3822" y="85520"/>
                                                        <a:pt x="5247" y="85714"/>
                                                      </a:cubicBezTo>
                                                      <a:cubicBezTo>
                                                        <a:pt x="14641" y="87010"/>
                                                        <a:pt x="24035" y="88371"/>
                                                        <a:pt x="33429" y="89666"/>
                                                      </a:cubicBezTo>
                                                      <a:cubicBezTo>
                                                        <a:pt x="46516" y="91480"/>
                                                        <a:pt x="61999" y="92582"/>
                                                        <a:pt x="70810" y="82734"/>
                                                      </a:cubicBezTo>
                                                      <a:cubicBezTo>
                                                        <a:pt x="74244" y="78912"/>
                                                        <a:pt x="76123" y="73859"/>
                                                        <a:pt x="79427" y="69842"/>
                                                      </a:cubicBezTo>
                                                      <a:cubicBezTo>
                                                        <a:pt x="82731" y="65825"/>
                                                        <a:pt x="88432" y="62845"/>
                                                        <a:pt x="92967" y="65307"/>
                                                      </a:cubicBezTo>
                                                      <a:cubicBezTo>
                                                        <a:pt x="96984" y="67445"/>
                                                        <a:pt x="98215" y="72952"/>
                                                        <a:pt x="96854" y="77292"/>
                                                      </a:cubicBezTo>
                                                      <a:cubicBezTo>
                                                        <a:pt x="95494" y="81633"/>
                                                        <a:pt x="92254" y="85131"/>
                                                        <a:pt x="89145" y="88435"/>
                                                      </a:cubicBezTo>
                                                      <a:cubicBezTo>
                                                        <a:pt x="93615" y="91480"/>
                                                        <a:pt x="99705" y="90573"/>
                                                        <a:pt x="104564" y="88241"/>
                                                      </a:cubicBezTo>
                                                      <a:cubicBezTo>
                                                        <a:pt x="109423" y="85973"/>
                                                        <a:pt x="113698" y="82410"/>
                                                        <a:pt x="118622" y="80272"/>
                                                      </a:cubicBezTo>
                                                      <a:cubicBezTo>
                                                        <a:pt x="128599" y="75867"/>
                                                        <a:pt x="140066" y="77422"/>
                                                        <a:pt x="150821" y="79041"/>
                                                      </a:cubicBezTo>
                                                      <a:cubicBezTo>
                                                        <a:pt x="150821" y="81633"/>
                                                        <a:pt x="150821" y="84289"/>
                                                        <a:pt x="150821" y="86880"/>
                                                      </a:cubicBezTo>
                                                      <a:cubicBezTo>
                                                        <a:pt x="147905" y="87204"/>
                                                        <a:pt x="145055" y="87593"/>
                                                        <a:pt x="142139" y="87917"/>
                                                      </a:cubicBezTo>
                                                      <a:cubicBezTo>
                                                        <a:pt x="141168" y="90508"/>
                                                        <a:pt x="140261" y="93100"/>
                                                        <a:pt x="139289" y="95691"/>
                                                      </a:cubicBezTo>
                                                      <a:cubicBezTo>
                                                        <a:pt x="132551" y="92841"/>
                                                        <a:pt x="126008" y="99643"/>
                                                        <a:pt x="119335" y="102688"/>
                                                      </a:cubicBezTo>
                                                      <a:cubicBezTo>
                                                        <a:pt x="115901" y="104243"/>
                                                        <a:pt x="112079" y="104891"/>
                                                        <a:pt x="108321" y="105474"/>
                                                      </a:cubicBezTo>
                                                      <a:cubicBezTo>
                                                        <a:pt x="98279" y="107029"/>
                                                        <a:pt x="88238" y="108584"/>
                                                        <a:pt x="78196" y="110074"/>
                                                      </a:cubicBezTo>
                                                      <a:cubicBezTo>
                                                        <a:pt x="76965" y="114026"/>
                                                        <a:pt x="79103" y="118431"/>
                                                        <a:pt x="82407" y="120958"/>
                                                      </a:cubicBezTo>
                                                      <a:cubicBezTo>
                                                        <a:pt x="85711" y="123484"/>
                                                        <a:pt x="89857" y="124521"/>
                                                        <a:pt x="93939" y="125234"/>
                                                      </a:cubicBezTo>
                                                      <a:cubicBezTo>
                                                        <a:pt x="107544" y="127631"/>
                                                        <a:pt x="121667" y="127242"/>
                                                        <a:pt x="135143" y="124262"/>
                                                      </a:cubicBezTo>
                                                      <a:cubicBezTo>
                                                        <a:pt x="137993" y="123614"/>
                                                        <a:pt x="141103" y="122707"/>
                                                        <a:pt x="142787" y="120245"/>
                                                      </a:cubicBezTo>
                                                      <a:cubicBezTo>
                                                        <a:pt x="143629" y="119014"/>
                                                        <a:pt x="144018" y="117459"/>
                                                        <a:pt x="145119" y="116488"/>
                                                      </a:cubicBezTo>
                                                      <a:cubicBezTo>
                                                        <a:pt x="148164" y="113702"/>
                                                        <a:pt x="153671" y="117071"/>
                                                        <a:pt x="157040" y="114609"/>
                                                      </a:cubicBezTo>
                                                      <a:cubicBezTo>
                                                        <a:pt x="159891" y="112471"/>
                                                        <a:pt x="159113" y="107482"/>
                                                        <a:pt x="162029" y="105409"/>
                                                      </a:cubicBezTo>
                                                      <a:cubicBezTo>
                                                        <a:pt x="163454" y="104373"/>
                                                        <a:pt x="165333" y="104437"/>
                                                        <a:pt x="167082" y="104113"/>
                                                      </a:cubicBezTo>
                                                      <a:cubicBezTo>
                                                        <a:pt x="174143" y="102883"/>
                                                        <a:pt x="178614" y="95756"/>
                                                        <a:pt x="185222" y="92906"/>
                                                      </a:cubicBezTo>
                                                      <a:cubicBezTo>
                                                        <a:pt x="189174" y="91221"/>
                                                        <a:pt x="193579" y="91156"/>
                                                        <a:pt x="197920" y="91156"/>
                                                      </a:cubicBezTo>
                                                      <a:cubicBezTo>
                                                        <a:pt x="218651" y="91156"/>
                                                        <a:pt x="239318" y="91027"/>
                                                        <a:pt x="260049" y="90962"/>
                                                      </a:cubicBezTo>
                                                      <a:cubicBezTo>
                                                        <a:pt x="265491" y="90962"/>
                                                        <a:pt x="271063" y="90962"/>
                                                        <a:pt x="276181" y="89083"/>
                                                      </a:cubicBezTo>
                                                      <a:cubicBezTo>
                                                        <a:pt x="281299" y="87269"/>
                                                        <a:pt x="286028" y="83317"/>
                                                        <a:pt x="287259" y="78070"/>
                                                      </a:cubicBezTo>
                                                      <a:cubicBezTo>
                                                        <a:pt x="287778" y="75932"/>
                                                        <a:pt x="287648" y="73599"/>
                                                        <a:pt x="288620" y="71656"/>
                                                      </a:cubicBezTo>
                                                      <a:cubicBezTo>
                                                        <a:pt x="289592" y="69712"/>
                                                        <a:pt x="291406" y="68352"/>
                                                        <a:pt x="292766" y="66667"/>
                                                      </a:cubicBezTo>
                                                      <a:cubicBezTo>
                                                        <a:pt x="298597" y="59670"/>
                                                        <a:pt x="295811" y="48786"/>
                                                        <a:pt x="290175" y="41595"/>
                                                      </a:cubicBezTo>
                                                      <a:cubicBezTo>
                                                        <a:pt x="286806" y="37319"/>
                                                        <a:pt x="281558" y="33432"/>
                                                        <a:pt x="276246" y="34728"/>
                                                      </a:cubicBezTo>
                                                      <a:cubicBezTo>
                                                        <a:pt x="267564" y="36866"/>
                                                        <a:pt x="265103" y="50924"/>
                                                        <a:pt x="256162" y="51248"/>
                                                      </a:cubicBezTo>
                                                      <a:cubicBezTo>
                                                        <a:pt x="254283" y="51313"/>
                                                        <a:pt x="252469" y="50665"/>
                                                        <a:pt x="250655" y="50082"/>
                                                      </a:cubicBezTo>
                                                      <a:cubicBezTo>
                                                        <a:pt x="249554" y="49693"/>
                                                        <a:pt x="248388" y="49305"/>
                                                        <a:pt x="247675" y="48333"/>
                                                      </a:cubicBezTo>
                                                      <a:cubicBezTo>
                                                        <a:pt x="246963" y="47361"/>
                                                        <a:pt x="246963" y="46065"/>
                                                        <a:pt x="246704" y="44899"/>
                                                      </a:cubicBezTo>
                                                      <a:cubicBezTo>
                                                        <a:pt x="244695" y="35959"/>
                                                        <a:pt x="229535" y="34404"/>
                                                        <a:pt x="228952" y="25269"/>
                                                      </a:cubicBezTo>
                                                      <a:cubicBezTo>
                                                        <a:pt x="228758" y="22743"/>
                                                        <a:pt x="229924" y="20022"/>
                                                        <a:pt x="228952" y="17689"/>
                                                      </a:cubicBezTo>
                                                      <a:cubicBezTo>
                                                        <a:pt x="226879" y="12895"/>
                                                        <a:pt x="219040" y="14774"/>
                                                        <a:pt x="215477" y="11016"/>
                                                      </a:cubicBezTo>
                                                      <a:cubicBezTo>
                                                        <a:pt x="213663" y="9138"/>
                                                        <a:pt x="213339" y="6222"/>
                                                        <a:pt x="211914" y="4020"/>
                                                      </a:cubicBezTo>
                                                      <a:cubicBezTo>
                                                        <a:pt x="208026" y="-2070"/>
                                                        <a:pt x="198827" y="-127"/>
                                                        <a:pt x="192154" y="2594"/>
                                                      </a:cubicBezTo>
                                                      <a:cubicBezTo>
                                                        <a:pt x="190534" y="3242"/>
                                                        <a:pt x="188850" y="3955"/>
                                                        <a:pt x="187749" y="5315"/>
                                                      </a:cubicBezTo>
                                                      <a:cubicBezTo>
                                                        <a:pt x="186906" y="6287"/>
                                                        <a:pt x="186518" y="7518"/>
                                                        <a:pt x="186064" y="8749"/>
                                                      </a:cubicBezTo>
                                                      <a:cubicBezTo>
                                                        <a:pt x="184056" y="14839"/>
                                                        <a:pt x="182825" y="21188"/>
                                                        <a:pt x="182307" y="27602"/>
                                                      </a:cubicBezTo>
                                                      <a:cubicBezTo>
                                                        <a:pt x="188526" y="29934"/>
                                                        <a:pt x="194810" y="32201"/>
                                                        <a:pt x="201030" y="34534"/>
                                                      </a:cubicBezTo>
                                                      <a:cubicBezTo>
                                                        <a:pt x="200123" y="38097"/>
                                                        <a:pt x="195004" y="38226"/>
                                                        <a:pt x="192348" y="40753"/>
                                                      </a:cubicBezTo>
                                                      <a:cubicBezTo>
                                                        <a:pt x="189174" y="43798"/>
                                                        <a:pt x="190599" y="49370"/>
                                                        <a:pt x="193774" y="52350"/>
                                                      </a:cubicBezTo>
                                                      <a:cubicBezTo>
                                                        <a:pt x="196948" y="55330"/>
                                                        <a:pt x="201289" y="56626"/>
                                                        <a:pt x="205176" y="58634"/>
                                                      </a:cubicBezTo>
                                                      <a:cubicBezTo>
                                                        <a:pt x="209063" y="60642"/>
                                                        <a:pt x="212821" y="64011"/>
                                                        <a:pt x="212950" y="68352"/>
                                                      </a:cubicBezTo>
                                                      <a:cubicBezTo>
                                                        <a:pt x="195523" y="70490"/>
                                                        <a:pt x="177707" y="69453"/>
                                                        <a:pt x="160668" y="65307"/>
                                                      </a:cubicBezTo>
                                                      <a:cubicBezTo>
                                                        <a:pt x="159955" y="65112"/>
                                                        <a:pt x="159178" y="64918"/>
                                                        <a:pt x="158595" y="64400"/>
                                                      </a:cubicBezTo>
                                                      <a:cubicBezTo>
                                                        <a:pt x="157753" y="63622"/>
                                                        <a:pt x="157623" y="62327"/>
                                                        <a:pt x="157299" y="61161"/>
                                                      </a:cubicBezTo>
                                                      <a:cubicBezTo>
                                                        <a:pt x="155874" y="56042"/>
                                                        <a:pt x="149784" y="54034"/>
                                                        <a:pt x="144601" y="52803"/>
                                                      </a:cubicBezTo>
                                                      <a:cubicBezTo>
                                                        <a:pt x="146091" y="50277"/>
                                                        <a:pt x="147193" y="47491"/>
                                                        <a:pt x="147646" y="44575"/>
                                                      </a:cubicBezTo>
                                                      <a:cubicBezTo>
                                                        <a:pt x="141168" y="46325"/>
                                                        <a:pt x="136114" y="39263"/>
                                                        <a:pt x="130996" y="34922"/>
                                                      </a:cubicBezTo>
                                                      <a:cubicBezTo>
                                                        <a:pt x="118752" y="24621"/>
                                                        <a:pt x="99899" y="28962"/>
                                                        <a:pt x="85128" y="22743"/>
                                                      </a:cubicBezTo>
                                                      <a:cubicBezTo>
                                                        <a:pt x="84156" y="22354"/>
                                                        <a:pt x="83184" y="21836"/>
                                                        <a:pt x="82536" y="20993"/>
                                                      </a:cubicBezTo>
                                                      <a:cubicBezTo>
                                                        <a:pt x="81694" y="19892"/>
                                                        <a:pt x="81629" y="18402"/>
                                                        <a:pt x="81370" y="16977"/>
                                                      </a:cubicBezTo>
                                                      <a:cubicBezTo>
                                                        <a:pt x="80269" y="10563"/>
                                                        <a:pt x="74244" y="5380"/>
                                                        <a:pt x="67765" y="5250"/>
                                                      </a:cubicBezTo>
                                                      <a:cubicBezTo>
                                                        <a:pt x="62647" y="5121"/>
                                                        <a:pt x="57918" y="7777"/>
                                                        <a:pt x="53512" y="10369"/>
                                                      </a:cubicBezTo>
                                                      <a:cubicBezTo>
                                                        <a:pt x="51958" y="11276"/>
                                                        <a:pt x="50403" y="12183"/>
                                                        <a:pt x="49301" y="13543"/>
                                                      </a:cubicBezTo>
                                                      <a:cubicBezTo>
                                                        <a:pt x="46580" y="16912"/>
                                                        <a:pt x="47164" y="22483"/>
                                                        <a:pt x="43730" y="2507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6" name="Freeform: Shape 80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076FBF5-EAD2-405A-AE7E-488BC5ABA85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162592" y="1669070"/>
                                                  <a:ext cx="34465" cy="2397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376 w 34465"/>
                                                    <a:gd name="connsiteY0" fmla="*/ 11485 h 23979"/>
                                                    <a:gd name="connsiteX1" fmla="*/ 8810 w 34465"/>
                                                    <a:gd name="connsiteY1" fmla="*/ 16862 h 23979"/>
                                                    <a:gd name="connsiteX2" fmla="*/ 27339 w 34465"/>
                                                    <a:gd name="connsiteY2" fmla="*/ 23924 h 23979"/>
                                                    <a:gd name="connsiteX3" fmla="*/ 31420 w 34465"/>
                                                    <a:gd name="connsiteY3" fmla="*/ 23470 h 23979"/>
                                                    <a:gd name="connsiteX4" fmla="*/ 34465 w 34465"/>
                                                    <a:gd name="connsiteY4" fmla="*/ 15955 h 23979"/>
                                                    <a:gd name="connsiteX5" fmla="*/ 33752 w 34465"/>
                                                    <a:gd name="connsiteY5" fmla="*/ 11809 h 23979"/>
                                                    <a:gd name="connsiteX6" fmla="*/ 30578 w 34465"/>
                                                    <a:gd name="connsiteY6" fmla="*/ 9477 h 23979"/>
                                                    <a:gd name="connsiteX7" fmla="*/ 24423 w 34465"/>
                                                    <a:gd name="connsiteY7" fmla="*/ 4877 h 23979"/>
                                                    <a:gd name="connsiteX8" fmla="*/ 4145 w 34465"/>
                                                    <a:gd name="connsiteY8" fmla="*/ 212 h 23979"/>
                                                    <a:gd name="connsiteX9" fmla="*/ 971 w 34465"/>
                                                    <a:gd name="connsiteY9" fmla="*/ 1379 h 23979"/>
                                                    <a:gd name="connsiteX10" fmla="*/ 1036 w 34465"/>
                                                    <a:gd name="connsiteY10" fmla="*/ 7080 h 23979"/>
                                                    <a:gd name="connsiteX11" fmla="*/ 5312 w 34465"/>
                                                    <a:gd name="connsiteY11" fmla="*/ 11550 h 2397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4465" h="23979">
                                                      <a:moveTo>
                                                        <a:pt x="5376" y="11485"/>
                                                      </a:moveTo>
                                                      <a:cubicBezTo>
                                                        <a:pt x="6737" y="13105"/>
                                                        <a:pt x="7514" y="15113"/>
                                                        <a:pt x="8810" y="16862"/>
                                                      </a:cubicBezTo>
                                                      <a:cubicBezTo>
                                                        <a:pt x="12891" y="22369"/>
                                                        <a:pt x="20536" y="23406"/>
                                                        <a:pt x="27339" y="23924"/>
                                                      </a:cubicBezTo>
                                                      <a:cubicBezTo>
                                                        <a:pt x="28699" y="23989"/>
                                                        <a:pt x="30189" y="24118"/>
                                                        <a:pt x="31420" y="23470"/>
                                                      </a:cubicBezTo>
                                                      <a:cubicBezTo>
                                                        <a:pt x="33947" y="22175"/>
                                                        <a:pt x="34400" y="18806"/>
                                                        <a:pt x="34465" y="15955"/>
                                                      </a:cubicBezTo>
                                                      <a:cubicBezTo>
                                                        <a:pt x="34465" y="14530"/>
                                                        <a:pt x="34465" y="12975"/>
                                                        <a:pt x="33752" y="11809"/>
                                                      </a:cubicBezTo>
                                                      <a:cubicBezTo>
                                                        <a:pt x="33040" y="10708"/>
                                                        <a:pt x="31744" y="10060"/>
                                                        <a:pt x="30578" y="9477"/>
                                                      </a:cubicBezTo>
                                                      <a:cubicBezTo>
                                                        <a:pt x="28310" y="8246"/>
                                                        <a:pt x="26237" y="6691"/>
                                                        <a:pt x="24423" y="4877"/>
                                                      </a:cubicBezTo>
                                                      <a:cubicBezTo>
                                                        <a:pt x="18463" y="1055"/>
                                                        <a:pt x="11207" y="-630"/>
                                                        <a:pt x="4145" y="212"/>
                                                      </a:cubicBezTo>
                                                      <a:cubicBezTo>
                                                        <a:pt x="3044" y="342"/>
                                                        <a:pt x="1813" y="601"/>
                                                        <a:pt x="971" y="1379"/>
                                                      </a:cubicBezTo>
                                                      <a:cubicBezTo>
                                                        <a:pt x="-519" y="2804"/>
                                                        <a:pt x="-130" y="5395"/>
                                                        <a:pt x="1036" y="7080"/>
                                                      </a:cubicBezTo>
                                                      <a:cubicBezTo>
                                                        <a:pt x="2202" y="8764"/>
                                                        <a:pt x="4016" y="9995"/>
                                                        <a:pt x="5312" y="1155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7" name="Freeform: Shape 80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07EE57A-9644-4D12-ABED-F89C9873753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210617" y="1667983"/>
                                                  <a:ext cx="83412" cy="4348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5609 w 83412"/>
                                                    <a:gd name="connsiteY0" fmla="*/ 10304 h 43482"/>
                                                    <a:gd name="connsiteX1" fmla="*/ 82907 w 83412"/>
                                                    <a:gd name="connsiteY1" fmla="*/ 7130 h 43482"/>
                                                    <a:gd name="connsiteX2" fmla="*/ 80704 w 83412"/>
                                                    <a:gd name="connsiteY2" fmla="*/ 1040 h 43482"/>
                                                    <a:gd name="connsiteX3" fmla="*/ 73578 w 83412"/>
                                                    <a:gd name="connsiteY3" fmla="*/ 68 h 43482"/>
                                                    <a:gd name="connsiteX4" fmla="*/ 20842 w 83412"/>
                                                    <a:gd name="connsiteY4" fmla="*/ 2336 h 43482"/>
                                                    <a:gd name="connsiteX5" fmla="*/ 18056 w 83412"/>
                                                    <a:gd name="connsiteY5" fmla="*/ 3048 h 43482"/>
                                                    <a:gd name="connsiteX6" fmla="*/ 17344 w 83412"/>
                                                    <a:gd name="connsiteY6" fmla="*/ 10758 h 43482"/>
                                                    <a:gd name="connsiteX7" fmla="*/ 10865 w 83412"/>
                                                    <a:gd name="connsiteY7" fmla="*/ 15487 h 43482"/>
                                                    <a:gd name="connsiteX8" fmla="*/ 2702 w 83412"/>
                                                    <a:gd name="connsiteY8" fmla="*/ 17819 h 43482"/>
                                                    <a:gd name="connsiteX9" fmla="*/ 46 w 83412"/>
                                                    <a:gd name="connsiteY9" fmla="*/ 23326 h 43482"/>
                                                    <a:gd name="connsiteX10" fmla="*/ 8403 w 83412"/>
                                                    <a:gd name="connsiteY10" fmla="*/ 36996 h 43482"/>
                                                    <a:gd name="connsiteX11" fmla="*/ 24664 w 83412"/>
                                                    <a:gd name="connsiteY11" fmla="*/ 41337 h 43482"/>
                                                    <a:gd name="connsiteX12" fmla="*/ 38593 w 83412"/>
                                                    <a:gd name="connsiteY12" fmla="*/ 43215 h 43482"/>
                                                    <a:gd name="connsiteX13" fmla="*/ 44813 w 83412"/>
                                                    <a:gd name="connsiteY13" fmla="*/ 43021 h 43482"/>
                                                    <a:gd name="connsiteX14" fmla="*/ 49736 w 83412"/>
                                                    <a:gd name="connsiteY14" fmla="*/ 39004 h 43482"/>
                                                    <a:gd name="connsiteX15" fmla="*/ 63018 w 83412"/>
                                                    <a:gd name="connsiteY15" fmla="*/ 31878 h 43482"/>
                                                    <a:gd name="connsiteX16" fmla="*/ 71634 w 83412"/>
                                                    <a:gd name="connsiteY16" fmla="*/ 27731 h 43482"/>
                                                    <a:gd name="connsiteX17" fmla="*/ 68265 w 83412"/>
                                                    <a:gd name="connsiteY17" fmla="*/ 19957 h 43482"/>
                                                    <a:gd name="connsiteX18" fmla="*/ 59066 w 83412"/>
                                                    <a:gd name="connsiteY18" fmla="*/ 18597 h 43482"/>
                                                    <a:gd name="connsiteX19" fmla="*/ 59713 w 83412"/>
                                                    <a:gd name="connsiteY19" fmla="*/ 12896 h 43482"/>
                                                    <a:gd name="connsiteX20" fmla="*/ 65544 w 83412"/>
                                                    <a:gd name="connsiteY20" fmla="*/ 10369 h 4348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3412" h="43482">
                                                      <a:moveTo>
                                                        <a:pt x="65609" y="10304"/>
                                                      </a:moveTo>
                                                      <a:cubicBezTo>
                                                        <a:pt x="71310" y="9008"/>
                                                        <a:pt x="77076" y="7972"/>
                                                        <a:pt x="82907" y="7130"/>
                                                      </a:cubicBezTo>
                                                      <a:cubicBezTo>
                                                        <a:pt x="84202" y="5056"/>
                                                        <a:pt x="82842" y="2206"/>
                                                        <a:pt x="80704" y="1040"/>
                                                      </a:cubicBezTo>
                                                      <a:cubicBezTo>
                                                        <a:pt x="78566" y="-126"/>
                                                        <a:pt x="76039" y="-62"/>
                                                        <a:pt x="73578" y="68"/>
                                                      </a:cubicBezTo>
                                                      <a:cubicBezTo>
                                                        <a:pt x="56021" y="845"/>
                                                        <a:pt x="38464" y="1623"/>
                                                        <a:pt x="20842" y="2336"/>
                                                      </a:cubicBezTo>
                                                      <a:cubicBezTo>
                                                        <a:pt x="19870" y="2336"/>
                                                        <a:pt x="18834" y="2465"/>
                                                        <a:pt x="18056" y="3048"/>
                                                      </a:cubicBezTo>
                                                      <a:cubicBezTo>
                                                        <a:pt x="15918" y="4733"/>
                                                        <a:pt x="17862" y="8101"/>
                                                        <a:pt x="17344" y="10758"/>
                                                      </a:cubicBezTo>
                                                      <a:cubicBezTo>
                                                        <a:pt x="16825" y="13543"/>
                                                        <a:pt x="13651" y="15033"/>
                                                        <a:pt x="10865" y="15487"/>
                                                      </a:cubicBezTo>
                                                      <a:cubicBezTo>
                                                        <a:pt x="8014" y="15940"/>
                                                        <a:pt x="4970" y="16005"/>
                                                        <a:pt x="2702" y="17819"/>
                                                      </a:cubicBezTo>
                                                      <a:cubicBezTo>
                                                        <a:pt x="1082" y="19115"/>
                                                        <a:pt x="240" y="21253"/>
                                                        <a:pt x="46" y="23326"/>
                                                      </a:cubicBezTo>
                                                      <a:cubicBezTo>
                                                        <a:pt x="-473" y="28962"/>
                                                        <a:pt x="3479" y="34210"/>
                                                        <a:pt x="8403" y="36996"/>
                                                      </a:cubicBezTo>
                                                      <a:cubicBezTo>
                                                        <a:pt x="13327" y="39782"/>
                                                        <a:pt x="19093" y="40559"/>
                                                        <a:pt x="24664" y="41337"/>
                                                      </a:cubicBezTo>
                                                      <a:cubicBezTo>
                                                        <a:pt x="29329" y="41984"/>
                                                        <a:pt x="33929" y="42567"/>
                                                        <a:pt x="38593" y="43215"/>
                                                      </a:cubicBezTo>
                                                      <a:cubicBezTo>
                                                        <a:pt x="40666" y="43474"/>
                                                        <a:pt x="42869" y="43734"/>
                                                        <a:pt x="44813" y="43021"/>
                                                      </a:cubicBezTo>
                                                      <a:cubicBezTo>
                                                        <a:pt x="46821" y="42244"/>
                                                        <a:pt x="48246" y="40494"/>
                                                        <a:pt x="49736" y="39004"/>
                                                      </a:cubicBezTo>
                                                      <a:cubicBezTo>
                                                        <a:pt x="53364" y="35441"/>
                                                        <a:pt x="58029" y="32979"/>
                                                        <a:pt x="63018" y="31878"/>
                                                      </a:cubicBezTo>
                                                      <a:cubicBezTo>
                                                        <a:pt x="66257" y="31165"/>
                                                        <a:pt x="70144" y="30712"/>
                                                        <a:pt x="71634" y="27731"/>
                                                      </a:cubicBezTo>
                                                      <a:cubicBezTo>
                                                        <a:pt x="72995" y="24946"/>
                                                        <a:pt x="71051" y="21382"/>
                                                        <a:pt x="68265" y="19957"/>
                                                      </a:cubicBezTo>
                                                      <a:cubicBezTo>
                                                        <a:pt x="65479" y="18467"/>
                                                        <a:pt x="62240" y="18532"/>
                                                        <a:pt x="59066" y="18597"/>
                                                      </a:cubicBezTo>
                                                      <a:cubicBezTo>
                                                        <a:pt x="57576" y="17042"/>
                                                        <a:pt x="58159" y="14321"/>
                                                        <a:pt x="59713" y="12896"/>
                                                      </a:cubicBezTo>
                                                      <a:cubicBezTo>
                                                        <a:pt x="61268" y="11406"/>
                                                        <a:pt x="63406" y="10887"/>
                                                        <a:pt x="65544" y="1036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8" name="Freeform: Shape 80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36CD1AE-EBAF-404D-BFE0-EFE709665AE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199584" y="1635024"/>
                                                  <a:ext cx="54698" cy="1890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1958 w 54698"/>
                                                    <a:gd name="connsiteY0" fmla="*/ 9381 h 18904"/>
                                                    <a:gd name="connsiteX1" fmla="*/ 48913 w 54698"/>
                                                    <a:gd name="connsiteY1" fmla="*/ 7696 h 18904"/>
                                                    <a:gd name="connsiteX2" fmla="*/ 46192 w 54698"/>
                                                    <a:gd name="connsiteY2" fmla="*/ 6271 h 18904"/>
                                                    <a:gd name="connsiteX3" fmla="*/ 44313 w 54698"/>
                                                    <a:gd name="connsiteY3" fmla="*/ 4716 h 18904"/>
                                                    <a:gd name="connsiteX4" fmla="*/ 42888 w 54698"/>
                                                    <a:gd name="connsiteY4" fmla="*/ 3421 h 18904"/>
                                                    <a:gd name="connsiteX5" fmla="*/ 30190 w 54698"/>
                                                    <a:gd name="connsiteY5" fmla="*/ 116 h 18904"/>
                                                    <a:gd name="connsiteX6" fmla="*/ 17816 w 54698"/>
                                                    <a:gd name="connsiteY6" fmla="*/ 4133 h 18904"/>
                                                    <a:gd name="connsiteX7" fmla="*/ 4859 w 54698"/>
                                                    <a:gd name="connsiteY7" fmla="*/ 12102 h 18904"/>
                                                    <a:gd name="connsiteX8" fmla="*/ 842 w 54698"/>
                                                    <a:gd name="connsiteY8" fmla="*/ 13657 h 18904"/>
                                                    <a:gd name="connsiteX9" fmla="*/ 518 w 54698"/>
                                                    <a:gd name="connsiteY9" fmla="*/ 14564 h 18904"/>
                                                    <a:gd name="connsiteX10" fmla="*/ 518 w 54698"/>
                                                    <a:gd name="connsiteY10" fmla="*/ 14564 h 18904"/>
                                                    <a:gd name="connsiteX11" fmla="*/ 259 w 54698"/>
                                                    <a:gd name="connsiteY11" fmla="*/ 15212 h 18904"/>
                                                    <a:gd name="connsiteX12" fmla="*/ 453 w 54698"/>
                                                    <a:gd name="connsiteY12" fmla="*/ 14564 h 18904"/>
                                                    <a:gd name="connsiteX13" fmla="*/ 453 w 54698"/>
                                                    <a:gd name="connsiteY13" fmla="*/ 14564 h 18904"/>
                                                    <a:gd name="connsiteX14" fmla="*/ 648 w 54698"/>
                                                    <a:gd name="connsiteY14" fmla="*/ 13851 h 18904"/>
                                                    <a:gd name="connsiteX15" fmla="*/ 648 w 54698"/>
                                                    <a:gd name="connsiteY15" fmla="*/ 13657 h 18904"/>
                                                    <a:gd name="connsiteX16" fmla="*/ 324 w 54698"/>
                                                    <a:gd name="connsiteY16" fmla="*/ 14564 h 18904"/>
                                                    <a:gd name="connsiteX17" fmla="*/ 0 w 54698"/>
                                                    <a:gd name="connsiteY17" fmla="*/ 15471 h 18904"/>
                                                    <a:gd name="connsiteX18" fmla="*/ 0 w 54698"/>
                                                    <a:gd name="connsiteY18" fmla="*/ 15471 h 18904"/>
                                                    <a:gd name="connsiteX19" fmla="*/ 25526 w 54698"/>
                                                    <a:gd name="connsiteY19" fmla="*/ 18710 h 18904"/>
                                                    <a:gd name="connsiteX20" fmla="*/ 47488 w 54698"/>
                                                    <a:gd name="connsiteY20" fmla="*/ 18904 h 18904"/>
                                                    <a:gd name="connsiteX21" fmla="*/ 47682 w 54698"/>
                                                    <a:gd name="connsiteY21" fmla="*/ 18904 h 18904"/>
                                                    <a:gd name="connsiteX22" fmla="*/ 54226 w 54698"/>
                                                    <a:gd name="connsiteY22" fmla="*/ 16248 h 18904"/>
                                                    <a:gd name="connsiteX23" fmla="*/ 51829 w 54698"/>
                                                    <a:gd name="connsiteY23" fmla="*/ 9381 h 18904"/>
                                                    <a:gd name="connsiteX24" fmla="*/ 47617 w 54698"/>
                                                    <a:gd name="connsiteY24" fmla="*/ 16961 h 18904"/>
                                                    <a:gd name="connsiteX25" fmla="*/ 25720 w 54698"/>
                                                    <a:gd name="connsiteY25" fmla="*/ 16766 h 18904"/>
                                                    <a:gd name="connsiteX26" fmla="*/ 4341 w 54698"/>
                                                    <a:gd name="connsiteY26" fmla="*/ 14823 h 18904"/>
                                                    <a:gd name="connsiteX27" fmla="*/ 6025 w 54698"/>
                                                    <a:gd name="connsiteY27" fmla="*/ 13657 h 18904"/>
                                                    <a:gd name="connsiteX28" fmla="*/ 18723 w 54698"/>
                                                    <a:gd name="connsiteY28" fmla="*/ 5882 h 18904"/>
                                                    <a:gd name="connsiteX29" fmla="*/ 30385 w 54698"/>
                                                    <a:gd name="connsiteY29" fmla="*/ 2060 h 18904"/>
                                                    <a:gd name="connsiteX30" fmla="*/ 41657 w 54698"/>
                                                    <a:gd name="connsiteY30" fmla="*/ 4911 h 18904"/>
                                                    <a:gd name="connsiteX31" fmla="*/ 43018 w 54698"/>
                                                    <a:gd name="connsiteY31" fmla="*/ 6142 h 18904"/>
                                                    <a:gd name="connsiteX32" fmla="*/ 45091 w 54698"/>
                                                    <a:gd name="connsiteY32" fmla="*/ 7826 h 18904"/>
                                                    <a:gd name="connsiteX33" fmla="*/ 48071 w 54698"/>
                                                    <a:gd name="connsiteY33" fmla="*/ 9446 h 18904"/>
                                                    <a:gd name="connsiteX34" fmla="*/ 50857 w 54698"/>
                                                    <a:gd name="connsiteY34" fmla="*/ 10936 h 18904"/>
                                                    <a:gd name="connsiteX35" fmla="*/ 52606 w 54698"/>
                                                    <a:gd name="connsiteY35" fmla="*/ 15341 h 18904"/>
                                                    <a:gd name="connsiteX36" fmla="*/ 47812 w 54698"/>
                                                    <a:gd name="connsiteY36" fmla="*/ 16961 h 18904"/>
                                                    <a:gd name="connsiteX37" fmla="*/ 47812 w 54698"/>
                                                    <a:gd name="connsiteY37" fmla="*/ 17933 h 18904"/>
                                                    <a:gd name="connsiteX38" fmla="*/ 47617 w 54698"/>
                                                    <a:gd name="connsiteY38" fmla="*/ 16961 h 1890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4698" h="18904">
                                                      <a:moveTo>
                                                        <a:pt x="51958" y="9381"/>
                                                      </a:moveTo>
                                                      <a:cubicBezTo>
                                                        <a:pt x="50986" y="8668"/>
                                                        <a:pt x="49950" y="8150"/>
                                                        <a:pt x="48913" y="7696"/>
                                                      </a:cubicBezTo>
                                                      <a:cubicBezTo>
                                                        <a:pt x="47941" y="7243"/>
                                                        <a:pt x="47034" y="6789"/>
                                                        <a:pt x="46192" y="6271"/>
                                                      </a:cubicBezTo>
                                                      <a:cubicBezTo>
                                                        <a:pt x="45544" y="5818"/>
                                                        <a:pt x="44961" y="5235"/>
                                                        <a:pt x="44313" y="4716"/>
                                                      </a:cubicBezTo>
                                                      <a:cubicBezTo>
                                                        <a:pt x="43860" y="4263"/>
                                                        <a:pt x="43406" y="3809"/>
                                                        <a:pt x="42888" y="3421"/>
                                                      </a:cubicBezTo>
                                                      <a:cubicBezTo>
                                                        <a:pt x="39649" y="829"/>
                                                        <a:pt x="34919" y="-402"/>
                                                        <a:pt x="30190" y="116"/>
                                                      </a:cubicBezTo>
                                                      <a:cubicBezTo>
                                                        <a:pt x="25461" y="570"/>
                                                        <a:pt x="21120" y="2514"/>
                                                        <a:pt x="17816" y="4133"/>
                                                      </a:cubicBezTo>
                                                      <a:cubicBezTo>
                                                        <a:pt x="13281" y="6401"/>
                                                        <a:pt x="8940" y="9057"/>
                                                        <a:pt x="4859" y="12102"/>
                                                      </a:cubicBezTo>
                                                      <a:cubicBezTo>
                                                        <a:pt x="3498" y="13138"/>
                                                        <a:pt x="2008" y="14110"/>
                                                        <a:pt x="842" y="13657"/>
                                                      </a:cubicBezTo>
                                                      <a:lnTo>
                                                        <a:pt x="518" y="14564"/>
                                                      </a:lnTo>
                                                      <a:lnTo>
                                                        <a:pt x="518" y="14564"/>
                                                      </a:lnTo>
                                                      <a:cubicBezTo>
                                                        <a:pt x="518" y="14564"/>
                                                        <a:pt x="259" y="15212"/>
                                                        <a:pt x="259" y="15212"/>
                                                      </a:cubicBezTo>
                                                      <a:lnTo>
                                                        <a:pt x="453" y="14564"/>
                                                      </a:lnTo>
                                                      <a:lnTo>
                                                        <a:pt x="453" y="14564"/>
                                                      </a:lnTo>
                                                      <a:lnTo>
                                                        <a:pt x="648" y="13851"/>
                                                      </a:lnTo>
                                                      <a:lnTo>
                                                        <a:pt x="648" y="13657"/>
                                                      </a:lnTo>
                                                      <a:lnTo>
                                                        <a:pt x="324" y="14564"/>
                                                      </a:lnTo>
                                                      <a:lnTo>
                                                        <a:pt x="0" y="15471"/>
                                                      </a:lnTo>
                                                      <a:lnTo>
                                                        <a:pt x="0" y="15471"/>
                                                      </a:lnTo>
                                                      <a:cubicBezTo>
                                                        <a:pt x="8228" y="18580"/>
                                                        <a:pt x="17427" y="18645"/>
                                                        <a:pt x="25526" y="18710"/>
                                                      </a:cubicBezTo>
                                                      <a:lnTo>
                                                        <a:pt x="47488" y="18904"/>
                                                      </a:lnTo>
                                                      <a:lnTo>
                                                        <a:pt x="47682" y="18904"/>
                                                      </a:lnTo>
                                                      <a:cubicBezTo>
                                                        <a:pt x="49885" y="18904"/>
                                                        <a:pt x="52930" y="18645"/>
                                                        <a:pt x="54226" y="16248"/>
                                                      </a:cubicBezTo>
                                                      <a:cubicBezTo>
                                                        <a:pt x="55521" y="13786"/>
                                                        <a:pt x="53967" y="10871"/>
                                                        <a:pt x="51829" y="9381"/>
                                                      </a:cubicBezTo>
                                                      <a:close/>
                                                      <a:moveTo>
                                                        <a:pt x="47617" y="16961"/>
                                                      </a:moveTo>
                                                      <a:lnTo>
                                                        <a:pt x="25720" y="16766"/>
                                                      </a:lnTo>
                                                      <a:cubicBezTo>
                                                        <a:pt x="18593" y="16702"/>
                                                        <a:pt x="11273" y="16702"/>
                                                        <a:pt x="4341" y="14823"/>
                                                      </a:cubicBezTo>
                                                      <a:cubicBezTo>
                                                        <a:pt x="4924" y="14499"/>
                                                        <a:pt x="5507" y="14045"/>
                                                        <a:pt x="6025" y="13657"/>
                                                      </a:cubicBezTo>
                                                      <a:cubicBezTo>
                                                        <a:pt x="10042" y="10677"/>
                                                        <a:pt x="14253" y="8085"/>
                                                        <a:pt x="18723" y="5882"/>
                                                      </a:cubicBezTo>
                                                      <a:cubicBezTo>
                                                        <a:pt x="21833" y="4328"/>
                                                        <a:pt x="25914" y="2449"/>
                                                        <a:pt x="30385" y="2060"/>
                                                      </a:cubicBezTo>
                                                      <a:cubicBezTo>
                                                        <a:pt x="34596" y="1607"/>
                                                        <a:pt x="38871" y="2643"/>
                                                        <a:pt x="41657" y="4911"/>
                                                      </a:cubicBezTo>
                                                      <a:cubicBezTo>
                                                        <a:pt x="42175" y="5299"/>
                                                        <a:pt x="42564" y="5688"/>
                                                        <a:pt x="43018" y="6142"/>
                                                      </a:cubicBezTo>
                                                      <a:cubicBezTo>
                                                        <a:pt x="43666" y="6725"/>
                                                        <a:pt x="44313" y="7308"/>
                                                        <a:pt x="45091" y="7826"/>
                                                      </a:cubicBezTo>
                                                      <a:cubicBezTo>
                                                        <a:pt x="46063" y="8539"/>
                                                        <a:pt x="47099" y="8992"/>
                                                        <a:pt x="48071" y="9446"/>
                                                      </a:cubicBezTo>
                                                      <a:cubicBezTo>
                                                        <a:pt x="49043" y="9899"/>
                                                        <a:pt x="50015" y="10353"/>
                                                        <a:pt x="50857" y="10936"/>
                                                      </a:cubicBezTo>
                                                      <a:cubicBezTo>
                                                        <a:pt x="52282" y="11972"/>
                                                        <a:pt x="53383" y="13916"/>
                                                        <a:pt x="52606" y="15341"/>
                                                      </a:cubicBezTo>
                                                      <a:cubicBezTo>
                                                        <a:pt x="52023" y="16442"/>
                                                        <a:pt x="50533" y="16961"/>
                                                        <a:pt x="47812" y="16961"/>
                                                      </a:cubicBezTo>
                                                      <a:lnTo>
                                                        <a:pt x="47812" y="17933"/>
                                                      </a:lnTo>
                                                      <a:lnTo>
                                                        <a:pt x="47617" y="16961"/>
                                                      </a:ln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09" name="Freeform: Shape 80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F3A9E4D-344E-4F5C-94F1-63D33B28597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265601" y="1635829"/>
                                                  <a:ext cx="41916" cy="1816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1916 w 41916"/>
                                                    <a:gd name="connsiteY0" fmla="*/ 15961 h 18166"/>
                                                    <a:gd name="connsiteX1" fmla="*/ 30903 w 41916"/>
                                                    <a:gd name="connsiteY1" fmla="*/ 2356 h 18166"/>
                                                    <a:gd name="connsiteX2" fmla="*/ 13475 w 41916"/>
                                                    <a:gd name="connsiteY2" fmla="*/ 1319 h 18166"/>
                                                    <a:gd name="connsiteX3" fmla="*/ 9718 w 41916"/>
                                                    <a:gd name="connsiteY3" fmla="*/ 3457 h 18166"/>
                                                    <a:gd name="connsiteX4" fmla="*/ 6608 w 41916"/>
                                                    <a:gd name="connsiteY4" fmla="*/ 7603 h 18166"/>
                                                    <a:gd name="connsiteX5" fmla="*/ 0 w 41916"/>
                                                    <a:gd name="connsiteY5" fmla="*/ 13305 h 18166"/>
                                                    <a:gd name="connsiteX6" fmla="*/ 12892 w 41916"/>
                                                    <a:gd name="connsiteY6" fmla="*/ 18163 h 18166"/>
                                                    <a:gd name="connsiteX7" fmla="*/ 41916 w 41916"/>
                                                    <a:gd name="connsiteY7" fmla="*/ 16026 h 1816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1916" h="18166">
                                                      <a:moveTo>
                                                        <a:pt x="41916" y="15961"/>
                                                      </a:moveTo>
                                                      <a:cubicBezTo>
                                                        <a:pt x="40361" y="10195"/>
                                                        <a:pt x="36280" y="5142"/>
                                                        <a:pt x="30903" y="2356"/>
                                                      </a:cubicBezTo>
                                                      <a:cubicBezTo>
                                                        <a:pt x="25590" y="-365"/>
                                                        <a:pt x="19112" y="-754"/>
                                                        <a:pt x="13475" y="1319"/>
                                                      </a:cubicBezTo>
                                                      <a:cubicBezTo>
                                                        <a:pt x="12115" y="1837"/>
                                                        <a:pt x="10819" y="2485"/>
                                                        <a:pt x="9718" y="3457"/>
                                                      </a:cubicBezTo>
                                                      <a:cubicBezTo>
                                                        <a:pt x="8422" y="4623"/>
                                                        <a:pt x="7645" y="6243"/>
                                                        <a:pt x="6608" y="7603"/>
                                                      </a:cubicBezTo>
                                                      <a:cubicBezTo>
                                                        <a:pt x="4924" y="10000"/>
                                                        <a:pt x="2591" y="11944"/>
                                                        <a:pt x="0" y="13305"/>
                                                      </a:cubicBezTo>
                                                      <a:cubicBezTo>
                                                        <a:pt x="2656" y="14600"/>
                                                        <a:pt x="9912" y="18293"/>
                                                        <a:pt x="12892" y="18163"/>
                                                      </a:cubicBezTo>
                                                      <a:cubicBezTo>
                                                        <a:pt x="22545" y="17580"/>
                                                        <a:pt x="32263" y="16868"/>
                                                        <a:pt x="41916" y="1602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0" name="Freeform: Shape 80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98CA7EA-C45E-4066-95AD-16AD3E09C5B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383417" y="1680840"/>
                                                  <a:ext cx="45233" cy="3800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2014 w 45233"/>
                                                    <a:gd name="connsiteY0" fmla="*/ 26148 h 38003"/>
                                                    <a:gd name="connsiteX1" fmla="*/ 15059 w 45233"/>
                                                    <a:gd name="connsiteY1" fmla="*/ 28480 h 38003"/>
                                                    <a:gd name="connsiteX2" fmla="*/ 20761 w 45233"/>
                                                    <a:gd name="connsiteY2" fmla="*/ 36189 h 38003"/>
                                                    <a:gd name="connsiteX3" fmla="*/ 30543 w 45233"/>
                                                    <a:gd name="connsiteY3" fmla="*/ 38003 h 38003"/>
                                                    <a:gd name="connsiteX4" fmla="*/ 41298 w 45233"/>
                                                    <a:gd name="connsiteY4" fmla="*/ 35671 h 38003"/>
                                                    <a:gd name="connsiteX5" fmla="*/ 44602 w 45233"/>
                                                    <a:gd name="connsiteY5" fmla="*/ 26018 h 38003"/>
                                                    <a:gd name="connsiteX6" fmla="*/ 41362 w 45233"/>
                                                    <a:gd name="connsiteY6" fmla="*/ 22584 h 38003"/>
                                                    <a:gd name="connsiteX7" fmla="*/ 22575 w 45233"/>
                                                    <a:gd name="connsiteY7" fmla="*/ 7295 h 38003"/>
                                                    <a:gd name="connsiteX8" fmla="*/ 13958 w 45233"/>
                                                    <a:gd name="connsiteY8" fmla="*/ 1464 h 38003"/>
                                                    <a:gd name="connsiteX9" fmla="*/ 3852 w 45233"/>
                                                    <a:gd name="connsiteY9" fmla="*/ 622 h 38003"/>
                                                    <a:gd name="connsiteX10" fmla="*/ 1325 w 45233"/>
                                                    <a:gd name="connsiteY10" fmla="*/ 14875 h 38003"/>
                                                    <a:gd name="connsiteX11" fmla="*/ 12079 w 45233"/>
                                                    <a:gd name="connsiteY11" fmla="*/ 26212 h 3800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5233" h="38003">
                                                      <a:moveTo>
                                                        <a:pt x="12014" y="26148"/>
                                                      </a:moveTo>
                                                      <a:cubicBezTo>
                                                        <a:pt x="13051" y="26925"/>
                                                        <a:pt x="14023" y="27702"/>
                                                        <a:pt x="15059" y="28480"/>
                                                      </a:cubicBezTo>
                                                      <a:cubicBezTo>
                                                        <a:pt x="15189" y="31849"/>
                                                        <a:pt x="17716" y="34699"/>
                                                        <a:pt x="20761" y="36189"/>
                                                      </a:cubicBezTo>
                                                      <a:cubicBezTo>
                                                        <a:pt x="23741" y="37679"/>
                                                        <a:pt x="27239" y="37939"/>
                                                        <a:pt x="30543" y="38003"/>
                                                      </a:cubicBezTo>
                                                      <a:cubicBezTo>
                                                        <a:pt x="34236" y="38003"/>
                                                        <a:pt x="38188" y="37679"/>
                                                        <a:pt x="41298" y="35671"/>
                                                      </a:cubicBezTo>
                                                      <a:cubicBezTo>
                                                        <a:pt x="44407" y="33663"/>
                                                        <a:pt x="46286" y="29322"/>
                                                        <a:pt x="44602" y="26018"/>
                                                      </a:cubicBezTo>
                                                      <a:cubicBezTo>
                                                        <a:pt x="43889" y="24593"/>
                                                        <a:pt x="42593" y="23556"/>
                                                        <a:pt x="41362" y="22584"/>
                                                      </a:cubicBezTo>
                                                      <a:cubicBezTo>
                                                        <a:pt x="35078" y="17466"/>
                                                        <a:pt x="28859" y="12413"/>
                                                        <a:pt x="22575" y="7295"/>
                                                      </a:cubicBezTo>
                                                      <a:cubicBezTo>
                                                        <a:pt x="19854" y="5092"/>
                                                        <a:pt x="17133" y="2889"/>
                                                        <a:pt x="13958" y="1464"/>
                                                      </a:cubicBezTo>
                                                      <a:cubicBezTo>
                                                        <a:pt x="10784" y="39"/>
                                                        <a:pt x="7091" y="-544"/>
                                                        <a:pt x="3852" y="622"/>
                                                      </a:cubicBezTo>
                                                      <a:cubicBezTo>
                                                        <a:pt x="-424" y="3667"/>
                                                        <a:pt x="-943" y="10145"/>
                                                        <a:pt x="1325" y="14875"/>
                                                      </a:cubicBezTo>
                                                      <a:cubicBezTo>
                                                        <a:pt x="3592" y="19604"/>
                                                        <a:pt x="7868" y="22973"/>
                                                        <a:pt x="12079" y="2621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1" name="Freeform: Shape 81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FD2CC71-0E41-4B69-A607-4BB8B16DA87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415598" y="1814691"/>
                                                  <a:ext cx="28488" cy="2070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8422 w 28488"/>
                                                    <a:gd name="connsiteY0" fmla="*/ 813 h 20702"/>
                                                    <a:gd name="connsiteX1" fmla="*/ 15465 w 28488"/>
                                                    <a:gd name="connsiteY1" fmla="*/ 100 h 20702"/>
                                                    <a:gd name="connsiteX2" fmla="*/ 8015 w 28488"/>
                                                    <a:gd name="connsiteY2" fmla="*/ 295 h 20702"/>
                                                    <a:gd name="connsiteX3" fmla="*/ 241 w 28488"/>
                                                    <a:gd name="connsiteY3" fmla="*/ 6514 h 20702"/>
                                                    <a:gd name="connsiteX4" fmla="*/ 3674 w 28488"/>
                                                    <a:gd name="connsiteY4" fmla="*/ 15714 h 20702"/>
                                                    <a:gd name="connsiteX5" fmla="*/ 20195 w 28488"/>
                                                    <a:gd name="connsiteY5" fmla="*/ 20702 h 20702"/>
                                                    <a:gd name="connsiteX6" fmla="*/ 25637 w 28488"/>
                                                    <a:gd name="connsiteY6" fmla="*/ 20508 h 20702"/>
                                                    <a:gd name="connsiteX7" fmla="*/ 27645 w 28488"/>
                                                    <a:gd name="connsiteY7" fmla="*/ 19860 h 20702"/>
                                                    <a:gd name="connsiteX8" fmla="*/ 28487 w 28488"/>
                                                    <a:gd name="connsiteY8" fmla="*/ 17009 h 20702"/>
                                                    <a:gd name="connsiteX9" fmla="*/ 28487 w 28488"/>
                                                    <a:gd name="connsiteY9" fmla="*/ 813 h 20702"/>
                                                    <a:gd name="connsiteX10" fmla="*/ 26285 w 28488"/>
                                                    <a:gd name="connsiteY10" fmla="*/ 18370 h 20702"/>
                                                    <a:gd name="connsiteX11" fmla="*/ 25442 w 28488"/>
                                                    <a:gd name="connsiteY11" fmla="*/ 18564 h 20702"/>
                                                    <a:gd name="connsiteX12" fmla="*/ 20130 w 28488"/>
                                                    <a:gd name="connsiteY12" fmla="*/ 18759 h 20702"/>
                                                    <a:gd name="connsiteX13" fmla="*/ 4905 w 28488"/>
                                                    <a:gd name="connsiteY13" fmla="*/ 14224 h 20702"/>
                                                    <a:gd name="connsiteX14" fmla="*/ 2055 w 28488"/>
                                                    <a:gd name="connsiteY14" fmla="*/ 7032 h 20702"/>
                                                    <a:gd name="connsiteX15" fmla="*/ 8339 w 28488"/>
                                                    <a:gd name="connsiteY15" fmla="*/ 2238 h 20702"/>
                                                    <a:gd name="connsiteX16" fmla="*/ 11902 w 28488"/>
                                                    <a:gd name="connsiteY16" fmla="*/ 1914 h 20702"/>
                                                    <a:gd name="connsiteX17" fmla="*/ 15271 w 28488"/>
                                                    <a:gd name="connsiteY17" fmla="*/ 2044 h 20702"/>
                                                    <a:gd name="connsiteX18" fmla="*/ 26414 w 28488"/>
                                                    <a:gd name="connsiteY18" fmla="*/ 2692 h 20702"/>
                                                    <a:gd name="connsiteX19" fmla="*/ 26414 w 28488"/>
                                                    <a:gd name="connsiteY19" fmla="*/ 17204 h 20702"/>
                                                    <a:gd name="connsiteX20" fmla="*/ 26285 w 28488"/>
                                                    <a:gd name="connsiteY20" fmla="*/ 18370 h 2070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8488" h="20702">
                                                      <a:moveTo>
                                                        <a:pt x="28422" y="813"/>
                                                      </a:moveTo>
                                                      <a:lnTo>
                                                        <a:pt x="15465" y="100"/>
                                                      </a:lnTo>
                                                      <a:cubicBezTo>
                                                        <a:pt x="12809" y="-29"/>
                                                        <a:pt x="10153" y="-94"/>
                                                        <a:pt x="8015" y="295"/>
                                                      </a:cubicBezTo>
                                                      <a:cubicBezTo>
                                                        <a:pt x="4905" y="943"/>
                                                        <a:pt x="1212" y="2886"/>
                                                        <a:pt x="241" y="6514"/>
                                                      </a:cubicBezTo>
                                                      <a:cubicBezTo>
                                                        <a:pt x="-731" y="10142"/>
                                                        <a:pt x="1407" y="13641"/>
                                                        <a:pt x="3674" y="15714"/>
                                                      </a:cubicBezTo>
                                                      <a:cubicBezTo>
                                                        <a:pt x="7497" y="19147"/>
                                                        <a:pt x="12744" y="20702"/>
                                                        <a:pt x="20195" y="20702"/>
                                                      </a:cubicBezTo>
                                                      <a:cubicBezTo>
                                                        <a:pt x="21814" y="20702"/>
                                                        <a:pt x="23564" y="20702"/>
                                                        <a:pt x="25637" y="20508"/>
                                                      </a:cubicBezTo>
                                                      <a:cubicBezTo>
                                                        <a:pt x="26155" y="20443"/>
                                                        <a:pt x="26997" y="20378"/>
                                                        <a:pt x="27645" y="19860"/>
                                                      </a:cubicBezTo>
                                                      <a:cubicBezTo>
                                                        <a:pt x="28552" y="19018"/>
                                                        <a:pt x="28487" y="17852"/>
                                                        <a:pt x="28487" y="17009"/>
                                                      </a:cubicBezTo>
                                                      <a:lnTo>
                                                        <a:pt x="28487" y="813"/>
                                                      </a:lnTo>
                                                      <a:close/>
                                                      <a:moveTo>
                                                        <a:pt x="26285" y="18370"/>
                                                      </a:moveTo>
                                                      <a:cubicBezTo>
                                                        <a:pt x="26285" y="18370"/>
                                                        <a:pt x="25701" y="18564"/>
                                                        <a:pt x="25442" y="18564"/>
                                                      </a:cubicBezTo>
                                                      <a:cubicBezTo>
                                                        <a:pt x="23434" y="18694"/>
                                                        <a:pt x="21750" y="18759"/>
                                                        <a:pt x="20130" y="18759"/>
                                                      </a:cubicBezTo>
                                                      <a:cubicBezTo>
                                                        <a:pt x="13198" y="18759"/>
                                                        <a:pt x="8339" y="17333"/>
                                                        <a:pt x="4905" y="14224"/>
                                                      </a:cubicBezTo>
                                                      <a:cubicBezTo>
                                                        <a:pt x="3156" y="12669"/>
                                                        <a:pt x="1342" y="9753"/>
                                                        <a:pt x="2055" y="7032"/>
                                                      </a:cubicBezTo>
                                                      <a:cubicBezTo>
                                                        <a:pt x="2832" y="4247"/>
                                                        <a:pt x="5942" y="2692"/>
                                                        <a:pt x="8339" y="2238"/>
                                                      </a:cubicBezTo>
                                                      <a:cubicBezTo>
                                                        <a:pt x="9375" y="2044"/>
                                                        <a:pt x="10542" y="1914"/>
                                                        <a:pt x="11902" y="1914"/>
                                                      </a:cubicBezTo>
                                                      <a:cubicBezTo>
                                                        <a:pt x="13003" y="1914"/>
                                                        <a:pt x="14170" y="1914"/>
                                                        <a:pt x="15271" y="2044"/>
                                                      </a:cubicBezTo>
                                                      <a:lnTo>
                                                        <a:pt x="26414" y="2692"/>
                                                      </a:lnTo>
                                                      <a:lnTo>
                                                        <a:pt x="26414" y="17204"/>
                                                      </a:lnTo>
                                                      <a:cubicBezTo>
                                                        <a:pt x="26414" y="17528"/>
                                                        <a:pt x="26414" y="18176"/>
                                                        <a:pt x="26285" y="1837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2" name="Freeform: Shape 81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F78CA74-BA9B-4F1F-BB94-72BD8D1C81A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422377" y="1732157"/>
                                                  <a:ext cx="174627" cy="11016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40914 w 174627"/>
                                                    <a:gd name="connsiteY0" fmla="*/ 26270 h 110165"/>
                                                    <a:gd name="connsiteX1" fmla="*/ 130289 w 174627"/>
                                                    <a:gd name="connsiteY1" fmla="*/ 23938 h 110165"/>
                                                    <a:gd name="connsiteX2" fmla="*/ 120571 w 174627"/>
                                                    <a:gd name="connsiteY2" fmla="*/ 17265 h 110165"/>
                                                    <a:gd name="connsiteX3" fmla="*/ 114482 w 174627"/>
                                                    <a:gd name="connsiteY3" fmla="*/ 16941 h 110165"/>
                                                    <a:gd name="connsiteX4" fmla="*/ 110854 w 174627"/>
                                                    <a:gd name="connsiteY4" fmla="*/ 9880 h 110165"/>
                                                    <a:gd name="connsiteX5" fmla="*/ 104375 w 174627"/>
                                                    <a:gd name="connsiteY5" fmla="*/ 7353 h 110165"/>
                                                    <a:gd name="connsiteX6" fmla="*/ 95176 w 174627"/>
                                                    <a:gd name="connsiteY6" fmla="*/ 32 h 110165"/>
                                                    <a:gd name="connsiteX7" fmla="*/ 91677 w 174627"/>
                                                    <a:gd name="connsiteY7" fmla="*/ 2624 h 110165"/>
                                                    <a:gd name="connsiteX8" fmla="*/ 94528 w 174627"/>
                                                    <a:gd name="connsiteY8" fmla="*/ 18496 h 110165"/>
                                                    <a:gd name="connsiteX9" fmla="*/ 105088 w 174627"/>
                                                    <a:gd name="connsiteY9" fmla="*/ 31907 h 110165"/>
                                                    <a:gd name="connsiteX10" fmla="*/ 107096 w 174627"/>
                                                    <a:gd name="connsiteY10" fmla="*/ 35794 h 110165"/>
                                                    <a:gd name="connsiteX11" fmla="*/ 110789 w 174627"/>
                                                    <a:gd name="connsiteY11" fmla="*/ 38709 h 110165"/>
                                                    <a:gd name="connsiteX12" fmla="*/ 120960 w 174627"/>
                                                    <a:gd name="connsiteY12" fmla="*/ 44864 h 110165"/>
                                                    <a:gd name="connsiteX13" fmla="*/ 104310 w 174627"/>
                                                    <a:gd name="connsiteY13" fmla="*/ 48038 h 110165"/>
                                                    <a:gd name="connsiteX14" fmla="*/ 99451 w 174627"/>
                                                    <a:gd name="connsiteY14" fmla="*/ 46160 h 110165"/>
                                                    <a:gd name="connsiteX15" fmla="*/ 94398 w 174627"/>
                                                    <a:gd name="connsiteY15" fmla="*/ 37673 h 110165"/>
                                                    <a:gd name="connsiteX16" fmla="*/ 86883 w 174627"/>
                                                    <a:gd name="connsiteY16" fmla="*/ 34045 h 110165"/>
                                                    <a:gd name="connsiteX17" fmla="*/ 75805 w 174627"/>
                                                    <a:gd name="connsiteY17" fmla="*/ 27048 h 110165"/>
                                                    <a:gd name="connsiteX18" fmla="*/ 64337 w 174627"/>
                                                    <a:gd name="connsiteY18" fmla="*/ 29574 h 110165"/>
                                                    <a:gd name="connsiteX19" fmla="*/ 67318 w 174627"/>
                                                    <a:gd name="connsiteY19" fmla="*/ 39098 h 110165"/>
                                                    <a:gd name="connsiteX20" fmla="*/ 73407 w 174627"/>
                                                    <a:gd name="connsiteY20" fmla="*/ 47585 h 110165"/>
                                                    <a:gd name="connsiteX21" fmla="*/ 71270 w 174627"/>
                                                    <a:gd name="connsiteY21" fmla="*/ 57886 h 110165"/>
                                                    <a:gd name="connsiteX22" fmla="*/ 66605 w 174627"/>
                                                    <a:gd name="connsiteY22" fmla="*/ 62162 h 110165"/>
                                                    <a:gd name="connsiteX23" fmla="*/ 63042 w 174627"/>
                                                    <a:gd name="connsiteY23" fmla="*/ 59441 h 110165"/>
                                                    <a:gd name="connsiteX24" fmla="*/ 30584 w 174627"/>
                                                    <a:gd name="connsiteY24" fmla="*/ 15581 h 110165"/>
                                                    <a:gd name="connsiteX25" fmla="*/ 26244 w 174627"/>
                                                    <a:gd name="connsiteY25" fmla="*/ 11370 h 110165"/>
                                                    <a:gd name="connsiteX26" fmla="*/ 21190 w 174627"/>
                                                    <a:gd name="connsiteY26" fmla="*/ 10592 h 110165"/>
                                                    <a:gd name="connsiteX27" fmla="*/ 8363 w 174627"/>
                                                    <a:gd name="connsiteY27" fmla="*/ 10463 h 110165"/>
                                                    <a:gd name="connsiteX28" fmla="*/ 2402 w 174627"/>
                                                    <a:gd name="connsiteY28" fmla="*/ 11758 h 110165"/>
                                                    <a:gd name="connsiteX29" fmla="*/ 5 w 174627"/>
                                                    <a:gd name="connsiteY29" fmla="*/ 18496 h 110165"/>
                                                    <a:gd name="connsiteX30" fmla="*/ 8881 w 174627"/>
                                                    <a:gd name="connsiteY30" fmla="*/ 36571 h 110165"/>
                                                    <a:gd name="connsiteX31" fmla="*/ 19441 w 174627"/>
                                                    <a:gd name="connsiteY31" fmla="*/ 43892 h 110165"/>
                                                    <a:gd name="connsiteX32" fmla="*/ 23587 w 174627"/>
                                                    <a:gd name="connsiteY32" fmla="*/ 55294 h 110165"/>
                                                    <a:gd name="connsiteX33" fmla="*/ 33240 w 174627"/>
                                                    <a:gd name="connsiteY33" fmla="*/ 57951 h 110165"/>
                                                    <a:gd name="connsiteX34" fmla="*/ 40237 w 174627"/>
                                                    <a:gd name="connsiteY34" fmla="*/ 68057 h 110165"/>
                                                    <a:gd name="connsiteX35" fmla="*/ 54814 w 174627"/>
                                                    <a:gd name="connsiteY35" fmla="*/ 70325 h 110165"/>
                                                    <a:gd name="connsiteX36" fmla="*/ 58183 w 174627"/>
                                                    <a:gd name="connsiteY36" fmla="*/ 73693 h 110165"/>
                                                    <a:gd name="connsiteX37" fmla="*/ 80793 w 174627"/>
                                                    <a:gd name="connsiteY37" fmla="*/ 71944 h 110165"/>
                                                    <a:gd name="connsiteX38" fmla="*/ 95176 w 174627"/>
                                                    <a:gd name="connsiteY38" fmla="*/ 65530 h 110165"/>
                                                    <a:gd name="connsiteX39" fmla="*/ 109104 w 174627"/>
                                                    <a:gd name="connsiteY39" fmla="*/ 65271 h 110165"/>
                                                    <a:gd name="connsiteX40" fmla="*/ 112279 w 174627"/>
                                                    <a:gd name="connsiteY40" fmla="*/ 63457 h 110165"/>
                                                    <a:gd name="connsiteX41" fmla="*/ 114482 w 174627"/>
                                                    <a:gd name="connsiteY41" fmla="*/ 65466 h 110165"/>
                                                    <a:gd name="connsiteX42" fmla="*/ 106837 w 174627"/>
                                                    <a:gd name="connsiteY42" fmla="*/ 83865 h 110165"/>
                                                    <a:gd name="connsiteX43" fmla="*/ 102302 w 174627"/>
                                                    <a:gd name="connsiteY43" fmla="*/ 85808 h 110165"/>
                                                    <a:gd name="connsiteX44" fmla="*/ 101848 w 174627"/>
                                                    <a:gd name="connsiteY44" fmla="*/ 95138 h 110165"/>
                                                    <a:gd name="connsiteX45" fmla="*/ 103533 w 174627"/>
                                                    <a:gd name="connsiteY45" fmla="*/ 100061 h 110165"/>
                                                    <a:gd name="connsiteX46" fmla="*/ 108521 w 174627"/>
                                                    <a:gd name="connsiteY46" fmla="*/ 108419 h 110165"/>
                                                    <a:gd name="connsiteX47" fmla="*/ 137221 w 174627"/>
                                                    <a:gd name="connsiteY47" fmla="*/ 106605 h 110165"/>
                                                    <a:gd name="connsiteX48" fmla="*/ 144672 w 174627"/>
                                                    <a:gd name="connsiteY48" fmla="*/ 108678 h 110165"/>
                                                    <a:gd name="connsiteX49" fmla="*/ 153548 w 174627"/>
                                                    <a:gd name="connsiteY49" fmla="*/ 101616 h 110165"/>
                                                    <a:gd name="connsiteX50" fmla="*/ 164626 w 174627"/>
                                                    <a:gd name="connsiteY50" fmla="*/ 99478 h 110165"/>
                                                    <a:gd name="connsiteX51" fmla="*/ 173307 w 174627"/>
                                                    <a:gd name="connsiteY51" fmla="*/ 95526 h 110165"/>
                                                    <a:gd name="connsiteX52" fmla="*/ 168966 w 174627"/>
                                                    <a:gd name="connsiteY52" fmla="*/ 84837 h 110165"/>
                                                    <a:gd name="connsiteX53" fmla="*/ 174279 w 174627"/>
                                                    <a:gd name="connsiteY53" fmla="*/ 76220 h 110165"/>
                                                    <a:gd name="connsiteX54" fmla="*/ 167347 w 174627"/>
                                                    <a:gd name="connsiteY54" fmla="*/ 60153 h 110165"/>
                                                    <a:gd name="connsiteX55" fmla="*/ 172854 w 174627"/>
                                                    <a:gd name="connsiteY55" fmla="*/ 53286 h 110165"/>
                                                    <a:gd name="connsiteX56" fmla="*/ 173631 w 174627"/>
                                                    <a:gd name="connsiteY56" fmla="*/ 45058 h 110165"/>
                                                    <a:gd name="connsiteX57" fmla="*/ 166245 w 174627"/>
                                                    <a:gd name="connsiteY57" fmla="*/ 40264 h 110165"/>
                                                    <a:gd name="connsiteX58" fmla="*/ 164237 w 174627"/>
                                                    <a:gd name="connsiteY58" fmla="*/ 30676 h 110165"/>
                                                    <a:gd name="connsiteX59" fmla="*/ 161451 w 174627"/>
                                                    <a:gd name="connsiteY59" fmla="*/ 25817 h 110165"/>
                                                    <a:gd name="connsiteX60" fmla="*/ 157175 w 174627"/>
                                                    <a:gd name="connsiteY60" fmla="*/ 19597 h 110165"/>
                                                    <a:gd name="connsiteX61" fmla="*/ 148948 w 174627"/>
                                                    <a:gd name="connsiteY61" fmla="*/ 14026 h 110165"/>
                                                    <a:gd name="connsiteX62" fmla="*/ 143117 w 174627"/>
                                                    <a:gd name="connsiteY62" fmla="*/ 21735 h 110165"/>
                                                    <a:gd name="connsiteX63" fmla="*/ 140979 w 174627"/>
                                                    <a:gd name="connsiteY63" fmla="*/ 26335 h 11016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74627" h="110165">
                                                      <a:moveTo>
                                                        <a:pt x="140914" y="26270"/>
                                                      </a:moveTo>
                                                      <a:cubicBezTo>
                                                        <a:pt x="137999" y="29056"/>
                                                        <a:pt x="133075" y="26789"/>
                                                        <a:pt x="130289" y="23938"/>
                                                      </a:cubicBezTo>
                                                      <a:cubicBezTo>
                                                        <a:pt x="127504" y="21087"/>
                                                        <a:pt x="124653" y="17395"/>
                                                        <a:pt x="120571" y="17265"/>
                                                      </a:cubicBezTo>
                                                      <a:cubicBezTo>
                                                        <a:pt x="118498" y="17200"/>
                                                        <a:pt x="116231" y="18107"/>
                                                        <a:pt x="114482" y="16941"/>
                                                      </a:cubicBezTo>
                                                      <a:cubicBezTo>
                                                        <a:pt x="112214" y="15451"/>
                                                        <a:pt x="112732" y="11823"/>
                                                        <a:pt x="110854" y="9880"/>
                                                      </a:cubicBezTo>
                                                      <a:cubicBezTo>
                                                        <a:pt x="109234" y="8195"/>
                                                        <a:pt x="106448" y="8454"/>
                                                        <a:pt x="104375" y="7353"/>
                                                      </a:cubicBezTo>
                                                      <a:cubicBezTo>
                                                        <a:pt x="100812" y="5409"/>
                                                        <a:pt x="99192" y="-486"/>
                                                        <a:pt x="95176" y="32"/>
                                                      </a:cubicBezTo>
                                                      <a:cubicBezTo>
                                                        <a:pt x="93685" y="226"/>
                                                        <a:pt x="92454" y="1328"/>
                                                        <a:pt x="91677" y="2624"/>
                                                      </a:cubicBezTo>
                                                      <a:cubicBezTo>
                                                        <a:pt x="88697" y="7482"/>
                                                        <a:pt x="91029" y="13961"/>
                                                        <a:pt x="94528" y="18496"/>
                                                      </a:cubicBezTo>
                                                      <a:cubicBezTo>
                                                        <a:pt x="98026" y="23031"/>
                                                        <a:pt x="102691" y="26724"/>
                                                        <a:pt x="105088" y="31907"/>
                                                      </a:cubicBezTo>
                                                      <a:cubicBezTo>
                                                        <a:pt x="105736" y="33267"/>
                                                        <a:pt x="106189" y="34628"/>
                                                        <a:pt x="107096" y="35794"/>
                                                      </a:cubicBezTo>
                                                      <a:cubicBezTo>
                                                        <a:pt x="108068" y="37025"/>
                                                        <a:pt x="109428" y="37867"/>
                                                        <a:pt x="110789" y="38709"/>
                                                      </a:cubicBezTo>
                                                      <a:cubicBezTo>
                                                        <a:pt x="114158" y="40782"/>
                                                        <a:pt x="117526" y="42791"/>
                                                        <a:pt x="120960" y="44864"/>
                                                      </a:cubicBezTo>
                                                      <a:cubicBezTo>
                                                        <a:pt x="115972" y="47779"/>
                                                        <a:pt x="110011" y="48881"/>
                                                        <a:pt x="104310" y="48038"/>
                                                      </a:cubicBezTo>
                                                      <a:cubicBezTo>
                                                        <a:pt x="102561" y="47779"/>
                                                        <a:pt x="100812" y="47326"/>
                                                        <a:pt x="99451" y="46160"/>
                                                      </a:cubicBezTo>
                                                      <a:cubicBezTo>
                                                        <a:pt x="96925" y="44022"/>
                                                        <a:pt x="96730" y="40070"/>
                                                        <a:pt x="94398" y="37673"/>
                                                      </a:cubicBezTo>
                                                      <a:cubicBezTo>
                                                        <a:pt x="92454" y="35664"/>
                                                        <a:pt x="89474" y="35211"/>
                                                        <a:pt x="86883" y="34045"/>
                                                      </a:cubicBezTo>
                                                      <a:cubicBezTo>
                                                        <a:pt x="82866" y="32295"/>
                                                        <a:pt x="79756" y="28927"/>
                                                        <a:pt x="75805" y="27048"/>
                                                      </a:cubicBezTo>
                                                      <a:cubicBezTo>
                                                        <a:pt x="71853" y="25169"/>
                                                        <a:pt x="66087" y="25558"/>
                                                        <a:pt x="64337" y="29574"/>
                                                      </a:cubicBezTo>
                                                      <a:cubicBezTo>
                                                        <a:pt x="62977" y="32814"/>
                                                        <a:pt x="64985" y="36506"/>
                                                        <a:pt x="67318" y="39098"/>
                                                      </a:cubicBezTo>
                                                      <a:cubicBezTo>
                                                        <a:pt x="69650" y="41689"/>
                                                        <a:pt x="72565" y="44151"/>
                                                        <a:pt x="73407" y="47585"/>
                                                      </a:cubicBezTo>
                                                      <a:cubicBezTo>
                                                        <a:pt x="74250" y="51083"/>
                                                        <a:pt x="72760" y="54646"/>
                                                        <a:pt x="71270" y="57886"/>
                                                      </a:cubicBezTo>
                                                      <a:cubicBezTo>
                                                        <a:pt x="70363" y="59959"/>
                                                        <a:pt x="68873" y="62356"/>
                                                        <a:pt x="66605" y="62162"/>
                                                      </a:cubicBezTo>
                                                      <a:cubicBezTo>
                                                        <a:pt x="65050" y="62032"/>
                                                        <a:pt x="63949" y="60672"/>
                                                        <a:pt x="63042" y="59441"/>
                                                      </a:cubicBezTo>
                                                      <a:cubicBezTo>
                                                        <a:pt x="52223" y="44799"/>
                                                        <a:pt x="41403" y="30222"/>
                                                        <a:pt x="30584" y="15581"/>
                                                      </a:cubicBezTo>
                                                      <a:cubicBezTo>
                                                        <a:pt x="29353" y="13961"/>
                                                        <a:pt x="28057" y="12212"/>
                                                        <a:pt x="26244" y="11370"/>
                                                      </a:cubicBezTo>
                                                      <a:cubicBezTo>
                                                        <a:pt x="24689" y="10657"/>
                                                        <a:pt x="22875" y="10592"/>
                                                        <a:pt x="21190" y="10592"/>
                                                      </a:cubicBezTo>
                                                      <a:cubicBezTo>
                                                        <a:pt x="16914" y="10592"/>
                                                        <a:pt x="12638" y="10527"/>
                                                        <a:pt x="8363" y="10463"/>
                                                      </a:cubicBezTo>
                                                      <a:cubicBezTo>
                                                        <a:pt x="6289" y="10463"/>
                                                        <a:pt x="4022" y="10463"/>
                                                        <a:pt x="2402" y="11758"/>
                                                      </a:cubicBezTo>
                                                      <a:cubicBezTo>
                                                        <a:pt x="459" y="13248"/>
                                                        <a:pt x="-60" y="16034"/>
                                                        <a:pt x="5" y="18496"/>
                                                      </a:cubicBezTo>
                                                      <a:cubicBezTo>
                                                        <a:pt x="200" y="25428"/>
                                                        <a:pt x="3504" y="32166"/>
                                                        <a:pt x="8881" y="36571"/>
                                                      </a:cubicBezTo>
                                                      <a:cubicBezTo>
                                                        <a:pt x="12185" y="39292"/>
                                                        <a:pt x="16202" y="41041"/>
                                                        <a:pt x="19441" y="43892"/>
                                                      </a:cubicBezTo>
                                                      <a:cubicBezTo>
                                                        <a:pt x="22680" y="46743"/>
                                                        <a:pt x="25013" y="51213"/>
                                                        <a:pt x="23587" y="55294"/>
                                                      </a:cubicBezTo>
                                                      <a:cubicBezTo>
                                                        <a:pt x="25272" y="58339"/>
                                                        <a:pt x="30131" y="56460"/>
                                                        <a:pt x="33240" y="57951"/>
                                                      </a:cubicBezTo>
                                                      <a:cubicBezTo>
                                                        <a:pt x="36998" y="59765"/>
                                                        <a:pt x="36868" y="65595"/>
                                                        <a:pt x="40237" y="68057"/>
                                                      </a:cubicBezTo>
                                                      <a:cubicBezTo>
                                                        <a:pt x="44254" y="71037"/>
                                                        <a:pt x="50603" y="67539"/>
                                                        <a:pt x="54814" y="70325"/>
                                                      </a:cubicBezTo>
                                                      <a:cubicBezTo>
                                                        <a:pt x="56174" y="71232"/>
                                                        <a:pt x="57017" y="72592"/>
                                                        <a:pt x="58183" y="73693"/>
                                                      </a:cubicBezTo>
                                                      <a:cubicBezTo>
                                                        <a:pt x="64014" y="79459"/>
                                                        <a:pt x="73926" y="76414"/>
                                                        <a:pt x="80793" y="71944"/>
                                                      </a:cubicBezTo>
                                                      <a:cubicBezTo>
                                                        <a:pt x="85263" y="69029"/>
                                                        <a:pt x="89863" y="65530"/>
                                                        <a:pt x="95176" y="65530"/>
                                                      </a:cubicBezTo>
                                                      <a:cubicBezTo>
                                                        <a:pt x="99970" y="65530"/>
                                                        <a:pt x="105347" y="68187"/>
                                                        <a:pt x="109104" y="65271"/>
                                                      </a:cubicBezTo>
                                                      <a:cubicBezTo>
                                                        <a:pt x="110076" y="64494"/>
                                                        <a:pt x="110983" y="63328"/>
                                                        <a:pt x="112279" y="63457"/>
                                                      </a:cubicBezTo>
                                                      <a:cubicBezTo>
                                                        <a:pt x="113315" y="63522"/>
                                                        <a:pt x="114028" y="64494"/>
                                                        <a:pt x="114482" y="65466"/>
                                                      </a:cubicBezTo>
                                                      <a:cubicBezTo>
                                                        <a:pt x="117786" y="72203"/>
                                                        <a:pt x="113963" y="81468"/>
                                                        <a:pt x="106837" y="83865"/>
                                                      </a:cubicBezTo>
                                                      <a:cubicBezTo>
                                                        <a:pt x="105282" y="84383"/>
                                                        <a:pt x="103533" y="84707"/>
                                                        <a:pt x="102302" y="85808"/>
                                                      </a:cubicBezTo>
                                                      <a:cubicBezTo>
                                                        <a:pt x="99840" y="88011"/>
                                                        <a:pt x="100747" y="92028"/>
                                                        <a:pt x="101848" y="95138"/>
                                                      </a:cubicBezTo>
                                                      <a:cubicBezTo>
                                                        <a:pt x="102431" y="96757"/>
                                                        <a:pt x="103015" y="98442"/>
                                                        <a:pt x="103533" y="100061"/>
                                                      </a:cubicBezTo>
                                                      <a:cubicBezTo>
                                                        <a:pt x="104634" y="103171"/>
                                                        <a:pt x="105865" y="106475"/>
                                                        <a:pt x="108521" y="108419"/>
                                                      </a:cubicBezTo>
                                                      <a:cubicBezTo>
                                                        <a:pt x="116490" y="114314"/>
                                                        <a:pt x="127957" y="103106"/>
                                                        <a:pt x="137221" y="106605"/>
                                                      </a:cubicBezTo>
                                                      <a:cubicBezTo>
                                                        <a:pt x="139683" y="107576"/>
                                                        <a:pt x="142210" y="109585"/>
                                                        <a:pt x="144672" y="108678"/>
                                                      </a:cubicBezTo>
                                                      <a:cubicBezTo>
                                                        <a:pt x="144283" y="104531"/>
                                                        <a:pt x="149466" y="102394"/>
                                                        <a:pt x="153548" y="101616"/>
                                                      </a:cubicBezTo>
                                                      <a:cubicBezTo>
                                                        <a:pt x="157240" y="100903"/>
                                                        <a:pt x="160933" y="100191"/>
                                                        <a:pt x="164626" y="99478"/>
                                                      </a:cubicBezTo>
                                                      <a:cubicBezTo>
                                                        <a:pt x="167800" y="98895"/>
                                                        <a:pt x="171299" y="98118"/>
                                                        <a:pt x="173307" y="95526"/>
                                                      </a:cubicBezTo>
                                                      <a:cubicBezTo>
                                                        <a:pt x="176158" y="91833"/>
                                                        <a:pt x="173566" y="85484"/>
                                                        <a:pt x="168966" y="84837"/>
                                                      </a:cubicBezTo>
                                                      <a:cubicBezTo>
                                                        <a:pt x="172141" y="83217"/>
                                                        <a:pt x="174279" y="79783"/>
                                                        <a:pt x="174279" y="76220"/>
                                                      </a:cubicBezTo>
                                                      <a:cubicBezTo>
                                                        <a:pt x="167735" y="74600"/>
                                                        <a:pt x="164043" y="66049"/>
                                                        <a:pt x="167347" y="60153"/>
                                                      </a:cubicBezTo>
                                                      <a:cubicBezTo>
                                                        <a:pt x="168772" y="57562"/>
                                                        <a:pt x="171169" y="55683"/>
                                                        <a:pt x="172854" y="53286"/>
                                                      </a:cubicBezTo>
                                                      <a:cubicBezTo>
                                                        <a:pt x="174538" y="50889"/>
                                                        <a:pt x="175445" y="47390"/>
                                                        <a:pt x="173631" y="45058"/>
                                                      </a:cubicBezTo>
                                                      <a:cubicBezTo>
                                                        <a:pt x="170586" y="46224"/>
                                                        <a:pt x="167347" y="43374"/>
                                                        <a:pt x="166245" y="40264"/>
                                                      </a:cubicBezTo>
                                                      <a:cubicBezTo>
                                                        <a:pt x="165209" y="37154"/>
                                                        <a:pt x="165338" y="33721"/>
                                                        <a:pt x="164237" y="30676"/>
                                                      </a:cubicBezTo>
                                                      <a:cubicBezTo>
                                                        <a:pt x="163589" y="28927"/>
                                                        <a:pt x="162488" y="27372"/>
                                                        <a:pt x="161451" y="25817"/>
                                                      </a:cubicBezTo>
                                                      <a:cubicBezTo>
                                                        <a:pt x="160026" y="23744"/>
                                                        <a:pt x="158601" y="21671"/>
                                                        <a:pt x="157175" y="19597"/>
                                                      </a:cubicBezTo>
                                                      <a:cubicBezTo>
                                                        <a:pt x="155167" y="16747"/>
                                                        <a:pt x="152381" y="13508"/>
                                                        <a:pt x="148948" y="14026"/>
                                                      </a:cubicBezTo>
                                                      <a:cubicBezTo>
                                                        <a:pt x="145579" y="14609"/>
                                                        <a:pt x="143959" y="18431"/>
                                                        <a:pt x="143117" y="21735"/>
                                                      </a:cubicBezTo>
                                                      <a:cubicBezTo>
                                                        <a:pt x="142663" y="23355"/>
                                                        <a:pt x="142210" y="25169"/>
                                                        <a:pt x="140979" y="2633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3" name="Freeform: Shape 81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1EE0F4B-D7EC-4987-B3C8-E4116E5092F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390887" y="1589294"/>
                                                  <a:ext cx="167117" cy="9360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832 w 167117"/>
                                                    <a:gd name="connsiteY0" fmla="*/ 20126 h 93601"/>
                                                    <a:gd name="connsiteX1" fmla="*/ 12125 w 167117"/>
                                                    <a:gd name="connsiteY1" fmla="*/ 21746 h 93601"/>
                                                    <a:gd name="connsiteX2" fmla="*/ 43481 w 167117"/>
                                                    <a:gd name="connsiteY2" fmla="*/ 26670 h 93601"/>
                                                    <a:gd name="connsiteX3" fmla="*/ 55531 w 167117"/>
                                                    <a:gd name="connsiteY3" fmla="*/ 32112 h 93601"/>
                                                    <a:gd name="connsiteX4" fmla="*/ 58835 w 167117"/>
                                                    <a:gd name="connsiteY4" fmla="*/ 44097 h 93601"/>
                                                    <a:gd name="connsiteX5" fmla="*/ 22685 w 167117"/>
                                                    <a:gd name="connsiteY5" fmla="*/ 50964 h 93601"/>
                                                    <a:gd name="connsiteX6" fmla="*/ 17761 w 167117"/>
                                                    <a:gd name="connsiteY6" fmla="*/ 58739 h 93601"/>
                                                    <a:gd name="connsiteX7" fmla="*/ 27349 w 167117"/>
                                                    <a:gd name="connsiteY7" fmla="*/ 64828 h 93601"/>
                                                    <a:gd name="connsiteX8" fmla="*/ 62593 w 167117"/>
                                                    <a:gd name="connsiteY8" fmla="*/ 61265 h 93601"/>
                                                    <a:gd name="connsiteX9" fmla="*/ 68164 w 167117"/>
                                                    <a:gd name="connsiteY9" fmla="*/ 57378 h 93601"/>
                                                    <a:gd name="connsiteX10" fmla="*/ 73218 w 167117"/>
                                                    <a:gd name="connsiteY10" fmla="*/ 56082 h 93601"/>
                                                    <a:gd name="connsiteX11" fmla="*/ 99067 w 167117"/>
                                                    <a:gd name="connsiteY11" fmla="*/ 62755 h 93601"/>
                                                    <a:gd name="connsiteX12" fmla="*/ 110145 w 167117"/>
                                                    <a:gd name="connsiteY12" fmla="*/ 69493 h 93601"/>
                                                    <a:gd name="connsiteX13" fmla="*/ 116235 w 167117"/>
                                                    <a:gd name="connsiteY13" fmla="*/ 70983 h 93601"/>
                                                    <a:gd name="connsiteX14" fmla="*/ 119410 w 167117"/>
                                                    <a:gd name="connsiteY14" fmla="*/ 77332 h 93601"/>
                                                    <a:gd name="connsiteX15" fmla="*/ 129257 w 167117"/>
                                                    <a:gd name="connsiteY15" fmla="*/ 85495 h 93601"/>
                                                    <a:gd name="connsiteX16" fmla="*/ 133079 w 167117"/>
                                                    <a:gd name="connsiteY16" fmla="*/ 86272 h 93601"/>
                                                    <a:gd name="connsiteX17" fmla="*/ 137161 w 167117"/>
                                                    <a:gd name="connsiteY17" fmla="*/ 89512 h 93601"/>
                                                    <a:gd name="connsiteX18" fmla="*/ 148563 w 167117"/>
                                                    <a:gd name="connsiteY18" fmla="*/ 93399 h 93601"/>
                                                    <a:gd name="connsiteX19" fmla="*/ 155236 w 167117"/>
                                                    <a:gd name="connsiteY19" fmla="*/ 84394 h 93601"/>
                                                    <a:gd name="connsiteX20" fmla="*/ 165407 w 167117"/>
                                                    <a:gd name="connsiteY20" fmla="*/ 82450 h 93601"/>
                                                    <a:gd name="connsiteX21" fmla="*/ 167092 w 167117"/>
                                                    <a:gd name="connsiteY21" fmla="*/ 77138 h 93601"/>
                                                    <a:gd name="connsiteX22" fmla="*/ 158929 w 167117"/>
                                                    <a:gd name="connsiteY22" fmla="*/ 63921 h 93601"/>
                                                    <a:gd name="connsiteX23" fmla="*/ 155754 w 167117"/>
                                                    <a:gd name="connsiteY23" fmla="*/ 61719 h 93601"/>
                                                    <a:gd name="connsiteX24" fmla="*/ 154459 w 167117"/>
                                                    <a:gd name="connsiteY24" fmla="*/ 54204 h 93601"/>
                                                    <a:gd name="connsiteX25" fmla="*/ 140465 w 167117"/>
                                                    <a:gd name="connsiteY25" fmla="*/ 40469 h 93601"/>
                                                    <a:gd name="connsiteX26" fmla="*/ 121418 w 167117"/>
                                                    <a:gd name="connsiteY26" fmla="*/ 32630 h 93601"/>
                                                    <a:gd name="connsiteX27" fmla="*/ 111182 w 167117"/>
                                                    <a:gd name="connsiteY27" fmla="*/ 20385 h 93601"/>
                                                    <a:gd name="connsiteX28" fmla="*/ 96929 w 167117"/>
                                                    <a:gd name="connsiteY28" fmla="*/ 16628 h 93601"/>
                                                    <a:gd name="connsiteX29" fmla="*/ 85462 w 167117"/>
                                                    <a:gd name="connsiteY29" fmla="*/ 24661 h 93601"/>
                                                    <a:gd name="connsiteX30" fmla="*/ 80344 w 167117"/>
                                                    <a:gd name="connsiteY30" fmla="*/ 15267 h 93601"/>
                                                    <a:gd name="connsiteX31" fmla="*/ 73153 w 167117"/>
                                                    <a:gd name="connsiteY31" fmla="*/ 8594 h 93601"/>
                                                    <a:gd name="connsiteX32" fmla="*/ 65638 w 167117"/>
                                                    <a:gd name="connsiteY32" fmla="*/ 1986 h 93601"/>
                                                    <a:gd name="connsiteX33" fmla="*/ 4415 w 167117"/>
                                                    <a:gd name="connsiteY33" fmla="*/ 8918 h 93601"/>
                                                    <a:gd name="connsiteX34" fmla="*/ 204 w 167117"/>
                                                    <a:gd name="connsiteY34" fmla="*/ 13194 h 93601"/>
                                                    <a:gd name="connsiteX35" fmla="*/ 3767 w 167117"/>
                                                    <a:gd name="connsiteY35" fmla="*/ 20191 h 9360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7117" h="93601">
                                                      <a:moveTo>
                                                        <a:pt x="3832" y="20126"/>
                                                      </a:moveTo>
                                                      <a:cubicBezTo>
                                                        <a:pt x="6359" y="21487"/>
                                                        <a:pt x="9274" y="21616"/>
                                                        <a:pt x="12125" y="21746"/>
                                                      </a:cubicBezTo>
                                                      <a:cubicBezTo>
                                                        <a:pt x="22685" y="22394"/>
                                                        <a:pt x="33245" y="24013"/>
                                                        <a:pt x="43481" y="26670"/>
                                                      </a:cubicBezTo>
                                                      <a:cubicBezTo>
                                                        <a:pt x="47822" y="27771"/>
                                                        <a:pt x="52227" y="29131"/>
                                                        <a:pt x="55531" y="32112"/>
                                                      </a:cubicBezTo>
                                                      <a:cubicBezTo>
                                                        <a:pt x="58835" y="35092"/>
                                                        <a:pt x="60779" y="40080"/>
                                                        <a:pt x="58835" y="44097"/>
                                                      </a:cubicBezTo>
                                                      <a:cubicBezTo>
                                                        <a:pt x="46785" y="46883"/>
                                                        <a:pt x="33245" y="44615"/>
                                                        <a:pt x="22685" y="50964"/>
                                                      </a:cubicBezTo>
                                                      <a:cubicBezTo>
                                                        <a:pt x="19899" y="52649"/>
                                                        <a:pt x="17178" y="55499"/>
                                                        <a:pt x="17761" y="58739"/>
                                                      </a:cubicBezTo>
                                                      <a:cubicBezTo>
                                                        <a:pt x="18474" y="62755"/>
                                                        <a:pt x="23332" y="64181"/>
                                                        <a:pt x="27349" y="64828"/>
                                                      </a:cubicBezTo>
                                                      <a:cubicBezTo>
                                                        <a:pt x="39335" y="66707"/>
                                                        <a:pt x="52745" y="68327"/>
                                                        <a:pt x="62593" y="61265"/>
                                                      </a:cubicBezTo>
                                                      <a:cubicBezTo>
                                                        <a:pt x="64471" y="59969"/>
                                                        <a:pt x="66156" y="58350"/>
                                                        <a:pt x="68164" y="57378"/>
                                                      </a:cubicBezTo>
                                                      <a:cubicBezTo>
                                                        <a:pt x="69719" y="56601"/>
                                                        <a:pt x="71468" y="56277"/>
                                                        <a:pt x="73218" y="56082"/>
                                                      </a:cubicBezTo>
                                                      <a:cubicBezTo>
                                                        <a:pt x="82223" y="54916"/>
                                                        <a:pt x="91681" y="57378"/>
                                                        <a:pt x="99067" y="62755"/>
                                                      </a:cubicBezTo>
                                                      <a:cubicBezTo>
                                                        <a:pt x="102565" y="65347"/>
                                                        <a:pt x="105870" y="68651"/>
                                                        <a:pt x="110145" y="69493"/>
                                                      </a:cubicBezTo>
                                                      <a:cubicBezTo>
                                                        <a:pt x="112218" y="69882"/>
                                                        <a:pt x="114486" y="69752"/>
                                                        <a:pt x="116235" y="70983"/>
                                                      </a:cubicBezTo>
                                                      <a:cubicBezTo>
                                                        <a:pt x="118179" y="72408"/>
                                                        <a:pt x="118568" y="75065"/>
                                                        <a:pt x="119410" y="77332"/>
                                                      </a:cubicBezTo>
                                                      <a:cubicBezTo>
                                                        <a:pt x="121029" y="81478"/>
                                                        <a:pt x="124916" y="84653"/>
                                                        <a:pt x="129257" y="85495"/>
                                                      </a:cubicBezTo>
                                                      <a:cubicBezTo>
                                                        <a:pt x="130553" y="85754"/>
                                                        <a:pt x="131849" y="85754"/>
                                                        <a:pt x="133079" y="86272"/>
                                                      </a:cubicBezTo>
                                                      <a:cubicBezTo>
                                                        <a:pt x="134699" y="86920"/>
                                                        <a:pt x="135865" y="88346"/>
                                                        <a:pt x="137161" y="89512"/>
                                                      </a:cubicBezTo>
                                                      <a:cubicBezTo>
                                                        <a:pt x="140206" y="92362"/>
                                                        <a:pt x="144482" y="94241"/>
                                                        <a:pt x="148563" y="93399"/>
                                                      </a:cubicBezTo>
                                                      <a:cubicBezTo>
                                                        <a:pt x="152645" y="92557"/>
                                                        <a:pt x="156079" y="88410"/>
                                                        <a:pt x="155236" y="84394"/>
                                                      </a:cubicBezTo>
                                                      <a:cubicBezTo>
                                                        <a:pt x="158216" y="82515"/>
                                                        <a:pt x="162687" y="84718"/>
                                                        <a:pt x="165407" y="82450"/>
                                                      </a:cubicBezTo>
                                                      <a:cubicBezTo>
                                                        <a:pt x="166898" y="81219"/>
                                                        <a:pt x="167222" y="79016"/>
                                                        <a:pt x="167092" y="77138"/>
                                                      </a:cubicBezTo>
                                                      <a:cubicBezTo>
                                                        <a:pt x="166703" y="71760"/>
                                                        <a:pt x="163593" y="66642"/>
                                                        <a:pt x="158929" y="63921"/>
                                                      </a:cubicBezTo>
                                                      <a:cubicBezTo>
                                                        <a:pt x="157828" y="63274"/>
                                                        <a:pt x="156597" y="62690"/>
                                                        <a:pt x="155754" y="61719"/>
                                                      </a:cubicBezTo>
                                                      <a:cubicBezTo>
                                                        <a:pt x="154135" y="59710"/>
                                                        <a:pt x="154653" y="56795"/>
                                                        <a:pt x="154459" y="54204"/>
                                                      </a:cubicBezTo>
                                                      <a:cubicBezTo>
                                                        <a:pt x="153811" y="47336"/>
                                                        <a:pt x="147008" y="42736"/>
                                                        <a:pt x="140465" y="40469"/>
                                                      </a:cubicBezTo>
                                                      <a:cubicBezTo>
                                                        <a:pt x="133922" y="38201"/>
                                                        <a:pt x="126731" y="37100"/>
                                                        <a:pt x="121418" y="32630"/>
                                                      </a:cubicBezTo>
                                                      <a:cubicBezTo>
                                                        <a:pt x="117337" y="29261"/>
                                                        <a:pt x="114875" y="24272"/>
                                                        <a:pt x="111182" y="20385"/>
                                                      </a:cubicBezTo>
                                                      <a:cubicBezTo>
                                                        <a:pt x="107489" y="16498"/>
                                                        <a:pt x="101464" y="13842"/>
                                                        <a:pt x="96929" y="16628"/>
                                                      </a:cubicBezTo>
                                                      <a:cubicBezTo>
                                                        <a:pt x="92783" y="19154"/>
                                                        <a:pt x="90256" y="25763"/>
                                                        <a:pt x="85462" y="24661"/>
                                                      </a:cubicBezTo>
                                                      <a:cubicBezTo>
                                                        <a:pt x="81769" y="23819"/>
                                                        <a:pt x="80992" y="19025"/>
                                                        <a:pt x="80344" y="15267"/>
                                                      </a:cubicBezTo>
                                                      <a:cubicBezTo>
                                                        <a:pt x="79696" y="11510"/>
                                                        <a:pt x="76586" y="6975"/>
                                                        <a:pt x="73153" y="8594"/>
                                                      </a:cubicBezTo>
                                                      <a:cubicBezTo>
                                                        <a:pt x="74384" y="4966"/>
                                                        <a:pt x="69395" y="2569"/>
                                                        <a:pt x="65638" y="1986"/>
                                                      </a:cubicBezTo>
                                                      <a:cubicBezTo>
                                                        <a:pt x="44906" y="-1188"/>
                                                        <a:pt x="22490" y="-1642"/>
                                                        <a:pt x="4415" y="8918"/>
                                                      </a:cubicBezTo>
                                                      <a:cubicBezTo>
                                                        <a:pt x="2666" y="9955"/>
                                                        <a:pt x="787" y="11251"/>
                                                        <a:pt x="204" y="13194"/>
                                                      </a:cubicBezTo>
                                                      <a:cubicBezTo>
                                                        <a:pt x="-638" y="15915"/>
                                                        <a:pt x="1241" y="18895"/>
                                                        <a:pt x="3767" y="2019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4" name="Freeform: Shape 81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9CF9A6C-67F0-461F-A2AB-89A70C228BE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531541" y="1542302"/>
                                                  <a:ext cx="36216" cy="3323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5443 w 36216"/>
                                                    <a:gd name="connsiteY0" fmla="*/ 15484 h 33235"/>
                                                    <a:gd name="connsiteX1" fmla="*/ 31362 w 36216"/>
                                                    <a:gd name="connsiteY1" fmla="*/ 9200 h 33235"/>
                                                    <a:gd name="connsiteX2" fmla="*/ 26956 w 36216"/>
                                                    <a:gd name="connsiteY2" fmla="*/ 3693 h 33235"/>
                                                    <a:gd name="connsiteX3" fmla="*/ 25401 w 36216"/>
                                                    <a:gd name="connsiteY3" fmla="*/ 2268 h 33235"/>
                                                    <a:gd name="connsiteX4" fmla="*/ 22939 w 36216"/>
                                                    <a:gd name="connsiteY4" fmla="*/ 1490 h 33235"/>
                                                    <a:gd name="connsiteX5" fmla="*/ 4605 w 36216"/>
                                                    <a:gd name="connsiteY5" fmla="*/ 0 h 33235"/>
                                                    <a:gd name="connsiteX6" fmla="*/ 4281 w 36216"/>
                                                    <a:gd name="connsiteY6" fmla="*/ 0 h 33235"/>
                                                    <a:gd name="connsiteX7" fmla="*/ 1819 w 36216"/>
                                                    <a:gd name="connsiteY7" fmla="*/ 648 h 33235"/>
                                                    <a:gd name="connsiteX8" fmla="*/ 783 w 36216"/>
                                                    <a:gd name="connsiteY8" fmla="*/ 2008 h 33235"/>
                                                    <a:gd name="connsiteX9" fmla="*/ 4411 w 36216"/>
                                                    <a:gd name="connsiteY9" fmla="*/ 14577 h 33235"/>
                                                    <a:gd name="connsiteX10" fmla="*/ 13157 w 36216"/>
                                                    <a:gd name="connsiteY10" fmla="*/ 19501 h 33235"/>
                                                    <a:gd name="connsiteX11" fmla="*/ 15813 w 36216"/>
                                                    <a:gd name="connsiteY11" fmla="*/ 20731 h 33235"/>
                                                    <a:gd name="connsiteX12" fmla="*/ 17951 w 36216"/>
                                                    <a:gd name="connsiteY12" fmla="*/ 22092 h 33235"/>
                                                    <a:gd name="connsiteX13" fmla="*/ 19571 w 36216"/>
                                                    <a:gd name="connsiteY13" fmla="*/ 26627 h 33235"/>
                                                    <a:gd name="connsiteX14" fmla="*/ 22810 w 36216"/>
                                                    <a:gd name="connsiteY14" fmla="*/ 32652 h 33235"/>
                                                    <a:gd name="connsiteX15" fmla="*/ 25272 w 36216"/>
                                                    <a:gd name="connsiteY15" fmla="*/ 33235 h 33235"/>
                                                    <a:gd name="connsiteX16" fmla="*/ 27863 w 36216"/>
                                                    <a:gd name="connsiteY16" fmla="*/ 32911 h 33235"/>
                                                    <a:gd name="connsiteX17" fmla="*/ 31232 w 36216"/>
                                                    <a:gd name="connsiteY17" fmla="*/ 31162 h 33235"/>
                                                    <a:gd name="connsiteX18" fmla="*/ 31880 w 36216"/>
                                                    <a:gd name="connsiteY18" fmla="*/ 28830 h 33235"/>
                                                    <a:gd name="connsiteX19" fmla="*/ 32010 w 36216"/>
                                                    <a:gd name="connsiteY19" fmla="*/ 27923 h 33235"/>
                                                    <a:gd name="connsiteX20" fmla="*/ 33694 w 36216"/>
                                                    <a:gd name="connsiteY20" fmla="*/ 25331 h 33235"/>
                                                    <a:gd name="connsiteX21" fmla="*/ 35184 w 36216"/>
                                                    <a:gd name="connsiteY21" fmla="*/ 23323 h 33235"/>
                                                    <a:gd name="connsiteX22" fmla="*/ 35443 w 36216"/>
                                                    <a:gd name="connsiteY22" fmla="*/ 15484 h 33235"/>
                                                    <a:gd name="connsiteX23" fmla="*/ 33500 w 36216"/>
                                                    <a:gd name="connsiteY23" fmla="*/ 22351 h 33235"/>
                                                    <a:gd name="connsiteX24" fmla="*/ 32204 w 36216"/>
                                                    <a:gd name="connsiteY24" fmla="*/ 24036 h 33235"/>
                                                    <a:gd name="connsiteX25" fmla="*/ 30066 w 36216"/>
                                                    <a:gd name="connsiteY25" fmla="*/ 27469 h 33235"/>
                                                    <a:gd name="connsiteX26" fmla="*/ 29936 w 36216"/>
                                                    <a:gd name="connsiteY26" fmla="*/ 28700 h 33235"/>
                                                    <a:gd name="connsiteX27" fmla="*/ 29612 w 36216"/>
                                                    <a:gd name="connsiteY27" fmla="*/ 30125 h 33235"/>
                                                    <a:gd name="connsiteX28" fmla="*/ 27475 w 36216"/>
                                                    <a:gd name="connsiteY28" fmla="*/ 31032 h 33235"/>
                                                    <a:gd name="connsiteX29" fmla="*/ 23717 w 36216"/>
                                                    <a:gd name="connsiteY29" fmla="*/ 30968 h 33235"/>
                                                    <a:gd name="connsiteX30" fmla="*/ 21514 w 36216"/>
                                                    <a:gd name="connsiteY30" fmla="*/ 26238 h 33235"/>
                                                    <a:gd name="connsiteX31" fmla="*/ 19311 w 36216"/>
                                                    <a:gd name="connsiteY31" fmla="*/ 20731 h 33235"/>
                                                    <a:gd name="connsiteX32" fmla="*/ 16655 w 36216"/>
                                                    <a:gd name="connsiteY32" fmla="*/ 18982 h 33235"/>
                                                    <a:gd name="connsiteX33" fmla="*/ 13934 w 36216"/>
                                                    <a:gd name="connsiteY33" fmla="*/ 17751 h 33235"/>
                                                    <a:gd name="connsiteX34" fmla="*/ 5707 w 36216"/>
                                                    <a:gd name="connsiteY34" fmla="*/ 13087 h 33235"/>
                                                    <a:gd name="connsiteX35" fmla="*/ 2532 w 36216"/>
                                                    <a:gd name="connsiteY35" fmla="*/ 2851 h 33235"/>
                                                    <a:gd name="connsiteX36" fmla="*/ 2986 w 36216"/>
                                                    <a:gd name="connsiteY36" fmla="*/ 2203 h 33235"/>
                                                    <a:gd name="connsiteX37" fmla="*/ 4281 w 36216"/>
                                                    <a:gd name="connsiteY37" fmla="*/ 1944 h 33235"/>
                                                    <a:gd name="connsiteX38" fmla="*/ 4605 w 36216"/>
                                                    <a:gd name="connsiteY38" fmla="*/ 1944 h 33235"/>
                                                    <a:gd name="connsiteX39" fmla="*/ 22616 w 36216"/>
                                                    <a:gd name="connsiteY39" fmla="*/ 3434 h 33235"/>
                                                    <a:gd name="connsiteX40" fmla="*/ 24365 w 36216"/>
                                                    <a:gd name="connsiteY40" fmla="*/ 3887 h 33235"/>
                                                    <a:gd name="connsiteX41" fmla="*/ 25401 w 36216"/>
                                                    <a:gd name="connsiteY41" fmla="*/ 4924 h 33235"/>
                                                    <a:gd name="connsiteX42" fmla="*/ 29872 w 36216"/>
                                                    <a:gd name="connsiteY42" fmla="*/ 10431 h 33235"/>
                                                    <a:gd name="connsiteX43" fmla="*/ 33629 w 36216"/>
                                                    <a:gd name="connsiteY43" fmla="*/ 16196 h 33235"/>
                                                    <a:gd name="connsiteX44" fmla="*/ 33500 w 36216"/>
                                                    <a:gd name="connsiteY44" fmla="*/ 22351 h 3323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6216" h="33235">
                                                      <a:moveTo>
                                                        <a:pt x="35443" y="15484"/>
                                                      </a:moveTo>
                                                      <a:cubicBezTo>
                                                        <a:pt x="34536" y="13087"/>
                                                        <a:pt x="32852" y="11014"/>
                                                        <a:pt x="31362" y="9200"/>
                                                      </a:cubicBezTo>
                                                      <a:lnTo>
                                                        <a:pt x="26956" y="3693"/>
                                                      </a:lnTo>
                                                      <a:cubicBezTo>
                                                        <a:pt x="26568" y="3239"/>
                                                        <a:pt x="26049" y="2656"/>
                                                        <a:pt x="25401" y="2268"/>
                                                      </a:cubicBezTo>
                                                      <a:cubicBezTo>
                                                        <a:pt x="24559" y="1749"/>
                                                        <a:pt x="23652" y="1620"/>
                                                        <a:pt x="22939" y="1490"/>
                                                      </a:cubicBezTo>
                                                      <a:cubicBezTo>
                                                        <a:pt x="16850" y="648"/>
                                                        <a:pt x="10695" y="130"/>
                                                        <a:pt x="4605" y="0"/>
                                                      </a:cubicBezTo>
                                                      <a:lnTo>
                                                        <a:pt x="4281" y="0"/>
                                                      </a:lnTo>
                                                      <a:cubicBezTo>
                                                        <a:pt x="3504" y="0"/>
                                                        <a:pt x="2597" y="0"/>
                                                        <a:pt x="1819" y="648"/>
                                                      </a:cubicBezTo>
                                                      <a:cubicBezTo>
                                                        <a:pt x="1301" y="1101"/>
                                                        <a:pt x="977" y="1620"/>
                                                        <a:pt x="783" y="2008"/>
                                                      </a:cubicBezTo>
                                                      <a:cubicBezTo>
                                                        <a:pt x="-1290" y="6349"/>
                                                        <a:pt x="1042" y="11597"/>
                                                        <a:pt x="4411" y="14577"/>
                                                      </a:cubicBezTo>
                                                      <a:cubicBezTo>
                                                        <a:pt x="7002" y="16780"/>
                                                        <a:pt x="10112" y="18140"/>
                                                        <a:pt x="13157" y="19501"/>
                                                      </a:cubicBezTo>
                                                      <a:cubicBezTo>
                                                        <a:pt x="14064" y="19889"/>
                                                        <a:pt x="14971" y="20343"/>
                                                        <a:pt x="15813" y="20731"/>
                                                      </a:cubicBezTo>
                                                      <a:cubicBezTo>
                                                        <a:pt x="16591" y="21120"/>
                                                        <a:pt x="17368" y="21509"/>
                                                        <a:pt x="17951" y="22092"/>
                                                      </a:cubicBezTo>
                                                      <a:cubicBezTo>
                                                        <a:pt x="18988" y="23129"/>
                                                        <a:pt x="19247" y="24813"/>
                                                        <a:pt x="19571" y="26627"/>
                                                      </a:cubicBezTo>
                                                      <a:cubicBezTo>
                                                        <a:pt x="20024" y="28894"/>
                                                        <a:pt x="20478" y="31486"/>
                                                        <a:pt x="22810" y="32652"/>
                                                      </a:cubicBezTo>
                                                      <a:cubicBezTo>
                                                        <a:pt x="23523" y="33041"/>
                                                        <a:pt x="24365" y="33235"/>
                                                        <a:pt x="25272" y="33235"/>
                                                      </a:cubicBezTo>
                                                      <a:cubicBezTo>
                                                        <a:pt x="26179" y="33235"/>
                                                        <a:pt x="27021" y="33041"/>
                                                        <a:pt x="27863" y="32911"/>
                                                      </a:cubicBezTo>
                                                      <a:cubicBezTo>
                                                        <a:pt x="28835" y="32717"/>
                                                        <a:pt x="30390" y="32458"/>
                                                        <a:pt x="31232" y="31162"/>
                                                      </a:cubicBezTo>
                                                      <a:cubicBezTo>
                                                        <a:pt x="31750" y="30385"/>
                                                        <a:pt x="31815" y="29607"/>
                                                        <a:pt x="31880" y="28830"/>
                                                      </a:cubicBezTo>
                                                      <a:cubicBezTo>
                                                        <a:pt x="31880" y="28571"/>
                                                        <a:pt x="31880" y="28247"/>
                                                        <a:pt x="32010" y="27923"/>
                                                      </a:cubicBezTo>
                                                      <a:cubicBezTo>
                                                        <a:pt x="32204" y="26951"/>
                                                        <a:pt x="32917" y="26173"/>
                                                        <a:pt x="33694" y="25331"/>
                                                      </a:cubicBezTo>
                                                      <a:cubicBezTo>
                                                        <a:pt x="34212" y="24683"/>
                                                        <a:pt x="34795" y="24100"/>
                                                        <a:pt x="35184" y="23323"/>
                                                      </a:cubicBezTo>
                                                      <a:cubicBezTo>
                                                        <a:pt x="36480" y="21185"/>
                                                        <a:pt x="36545" y="18270"/>
                                                        <a:pt x="35443" y="15484"/>
                                                      </a:cubicBezTo>
                                                      <a:close/>
                                                      <a:moveTo>
                                                        <a:pt x="33500" y="22351"/>
                                                      </a:moveTo>
                                                      <a:cubicBezTo>
                                                        <a:pt x="33176" y="22934"/>
                                                        <a:pt x="32722" y="23452"/>
                                                        <a:pt x="32204" y="24036"/>
                                                      </a:cubicBezTo>
                                                      <a:cubicBezTo>
                                                        <a:pt x="31362" y="25007"/>
                                                        <a:pt x="30390" y="26044"/>
                                                        <a:pt x="30066" y="27469"/>
                                                      </a:cubicBezTo>
                                                      <a:cubicBezTo>
                                                        <a:pt x="30066" y="27858"/>
                                                        <a:pt x="30066" y="28311"/>
                                                        <a:pt x="29936" y="28700"/>
                                                      </a:cubicBezTo>
                                                      <a:cubicBezTo>
                                                        <a:pt x="29872" y="29283"/>
                                                        <a:pt x="29872" y="29737"/>
                                                        <a:pt x="29612" y="30125"/>
                                                      </a:cubicBezTo>
                                                      <a:cubicBezTo>
                                                        <a:pt x="29289" y="30644"/>
                                                        <a:pt x="28382" y="30838"/>
                                                        <a:pt x="27475" y="31032"/>
                                                      </a:cubicBezTo>
                                                      <a:cubicBezTo>
                                                        <a:pt x="26049" y="31292"/>
                                                        <a:pt x="24624" y="31421"/>
                                                        <a:pt x="23717" y="30968"/>
                                                      </a:cubicBezTo>
                                                      <a:cubicBezTo>
                                                        <a:pt x="22227" y="30190"/>
                                                        <a:pt x="21903" y="28376"/>
                                                        <a:pt x="21514" y="26238"/>
                                                      </a:cubicBezTo>
                                                      <a:cubicBezTo>
                                                        <a:pt x="21125" y="24295"/>
                                                        <a:pt x="20802" y="22222"/>
                                                        <a:pt x="19311" y="20731"/>
                                                      </a:cubicBezTo>
                                                      <a:cubicBezTo>
                                                        <a:pt x="18534" y="19889"/>
                                                        <a:pt x="17627" y="19436"/>
                                                        <a:pt x="16655" y="18982"/>
                                                      </a:cubicBezTo>
                                                      <a:cubicBezTo>
                                                        <a:pt x="15748" y="18529"/>
                                                        <a:pt x="14841" y="18140"/>
                                                        <a:pt x="13934" y="17751"/>
                                                      </a:cubicBezTo>
                                                      <a:cubicBezTo>
                                                        <a:pt x="10889" y="16391"/>
                                                        <a:pt x="8039" y="15160"/>
                                                        <a:pt x="5707" y="13087"/>
                                                      </a:cubicBezTo>
                                                      <a:cubicBezTo>
                                                        <a:pt x="2856" y="10625"/>
                                                        <a:pt x="912" y="6284"/>
                                                        <a:pt x="2532" y="2851"/>
                                                      </a:cubicBezTo>
                                                      <a:cubicBezTo>
                                                        <a:pt x="2726" y="2527"/>
                                                        <a:pt x="2856" y="2332"/>
                                                        <a:pt x="2986" y="2203"/>
                                                      </a:cubicBezTo>
                                                      <a:cubicBezTo>
                                                        <a:pt x="3309" y="2008"/>
                                                        <a:pt x="3828" y="1944"/>
                                                        <a:pt x="4281" y="1944"/>
                                                      </a:cubicBezTo>
                                                      <a:lnTo>
                                                        <a:pt x="4605" y="1944"/>
                                                      </a:lnTo>
                                                      <a:cubicBezTo>
                                                        <a:pt x="10566" y="2073"/>
                                                        <a:pt x="16655" y="2591"/>
                                                        <a:pt x="22616" y="3434"/>
                                                      </a:cubicBezTo>
                                                      <a:cubicBezTo>
                                                        <a:pt x="23264" y="3498"/>
                                                        <a:pt x="23911" y="3563"/>
                                                        <a:pt x="24365" y="3887"/>
                                                      </a:cubicBezTo>
                                                      <a:cubicBezTo>
                                                        <a:pt x="24753" y="4146"/>
                                                        <a:pt x="25078" y="4535"/>
                                                        <a:pt x="25401" y="4924"/>
                                                      </a:cubicBezTo>
                                                      <a:lnTo>
                                                        <a:pt x="29872" y="10431"/>
                                                      </a:lnTo>
                                                      <a:cubicBezTo>
                                                        <a:pt x="31297" y="12180"/>
                                                        <a:pt x="32787" y="14059"/>
                                                        <a:pt x="33629" y="16196"/>
                                                      </a:cubicBezTo>
                                                      <a:cubicBezTo>
                                                        <a:pt x="34536" y="18399"/>
                                                        <a:pt x="34471" y="20731"/>
                                                        <a:pt x="33500" y="2235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5" name="Freeform: Shape 81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BFFDAE1-A050-40F0-872E-E0E74E162C8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583004" y="1622475"/>
                                                  <a:ext cx="76974" cy="5903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644 w 76974"/>
                                                    <a:gd name="connsiteY0" fmla="*/ 41171 h 59034"/>
                                                    <a:gd name="connsiteX1" fmla="*/ 13328 w 76974"/>
                                                    <a:gd name="connsiteY1" fmla="*/ 50111 h 59034"/>
                                                    <a:gd name="connsiteX2" fmla="*/ 22981 w 76974"/>
                                                    <a:gd name="connsiteY2" fmla="*/ 56331 h 59034"/>
                                                    <a:gd name="connsiteX3" fmla="*/ 46433 w 76974"/>
                                                    <a:gd name="connsiteY3" fmla="*/ 56525 h 59034"/>
                                                    <a:gd name="connsiteX4" fmla="*/ 53042 w 76974"/>
                                                    <a:gd name="connsiteY4" fmla="*/ 51796 h 59034"/>
                                                    <a:gd name="connsiteX5" fmla="*/ 70599 w 76974"/>
                                                    <a:gd name="connsiteY5" fmla="*/ 49917 h 59034"/>
                                                    <a:gd name="connsiteX6" fmla="*/ 76689 w 76974"/>
                                                    <a:gd name="connsiteY6" fmla="*/ 40847 h 59034"/>
                                                    <a:gd name="connsiteX7" fmla="*/ 76235 w 76974"/>
                                                    <a:gd name="connsiteY7" fmla="*/ 29574 h 59034"/>
                                                    <a:gd name="connsiteX8" fmla="*/ 73255 w 76974"/>
                                                    <a:gd name="connsiteY8" fmla="*/ 19144 h 59034"/>
                                                    <a:gd name="connsiteX9" fmla="*/ 64314 w 76974"/>
                                                    <a:gd name="connsiteY9" fmla="*/ 14091 h 59034"/>
                                                    <a:gd name="connsiteX10" fmla="*/ 60557 w 76974"/>
                                                    <a:gd name="connsiteY10" fmla="*/ 15386 h 59034"/>
                                                    <a:gd name="connsiteX11" fmla="*/ 45980 w 76974"/>
                                                    <a:gd name="connsiteY11" fmla="*/ 21994 h 59034"/>
                                                    <a:gd name="connsiteX12" fmla="*/ 40538 w 76974"/>
                                                    <a:gd name="connsiteY12" fmla="*/ 23161 h 59034"/>
                                                    <a:gd name="connsiteX13" fmla="*/ 34124 w 76974"/>
                                                    <a:gd name="connsiteY13" fmla="*/ 16164 h 59034"/>
                                                    <a:gd name="connsiteX14" fmla="*/ 23435 w 76974"/>
                                                    <a:gd name="connsiteY14" fmla="*/ 12536 h 59034"/>
                                                    <a:gd name="connsiteX15" fmla="*/ 16697 w 76974"/>
                                                    <a:gd name="connsiteY15" fmla="*/ 2948 h 59034"/>
                                                    <a:gd name="connsiteX16" fmla="*/ 5748 w 76974"/>
                                                    <a:gd name="connsiteY16" fmla="*/ 745 h 59034"/>
                                                    <a:gd name="connsiteX17" fmla="*/ 47 w 76974"/>
                                                    <a:gd name="connsiteY17" fmla="*/ 14155 h 59034"/>
                                                    <a:gd name="connsiteX18" fmla="*/ 7821 w 76974"/>
                                                    <a:gd name="connsiteY18" fmla="*/ 35340 h 59034"/>
                                                    <a:gd name="connsiteX19" fmla="*/ 11579 w 76974"/>
                                                    <a:gd name="connsiteY19" fmla="*/ 41171 h 5903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76974" h="59034">
                                                      <a:moveTo>
                                                        <a:pt x="11644" y="41171"/>
                                                      </a:moveTo>
                                                      <a:cubicBezTo>
                                                        <a:pt x="12615" y="44086"/>
                                                        <a:pt x="12032" y="47391"/>
                                                        <a:pt x="13328" y="50111"/>
                                                      </a:cubicBezTo>
                                                      <a:cubicBezTo>
                                                        <a:pt x="15012" y="53675"/>
                                                        <a:pt x="19224" y="55165"/>
                                                        <a:pt x="22981" y="56331"/>
                                                      </a:cubicBezTo>
                                                      <a:cubicBezTo>
                                                        <a:pt x="30691" y="58663"/>
                                                        <a:pt x="39631" y="60931"/>
                                                        <a:pt x="46433" y="56525"/>
                                                      </a:cubicBezTo>
                                                      <a:cubicBezTo>
                                                        <a:pt x="48701" y="55035"/>
                                                        <a:pt x="50580" y="52897"/>
                                                        <a:pt x="53042" y="51796"/>
                                                      </a:cubicBezTo>
                                                      <a:cubicBezTo>
                                                        <a:pt x="58484" y="49334"/>
                                                        <a:pt x="65286" y="52509"/>
                                                        <a:pt x="70599" y="49917"/>
                                                      </a:cubicBezTo>
                                                      <a:cubicBezTo>
                                                        <a:pt x="74032" y="48298"/>
                                                        <a:pt x="76041" y="44605"/>
                                                        <a:pt x="76689" y="40847"/>
                                                      </a:cubicBezTo>
                                                      <a:cubicBezTo>
                                                        <a:pt x="77336" y="37090"/>
                                                        <a:pt x="76753" y="33332"/>
                                                        <a:pt x="76235" y="29574"/>
                                                      </a:cubicBezTo>
                                                      <a:cubicBezTo>
                                                        <a:pt x="75717" y="25946"/>
                                                        <a:pt x="75134" y="22254"/>
                                                        <a:pt x="73255" y="19144"/>
                                                      </a:cubicBezTo>
                                                      <a:cubicBezTo>
                                                        <a:pt x="71376" y="16034"/>
                                                        <a:pt x="67878" y="13572"/>
                                                        <a:pt x="64314" y="14091"/>
                                                      </a:cubicBezTo>
                                                      <a:cubicBezTo>
                                                        <a:pt x="63019" y="14285"/>
                                                        <a:pt x="61788" y="14803"/>
                                                        <a:pt x="60557" y="15386"/>
                                                      </a:cubicBezTo>
                                                      <a:cubicBezTo>
                                                        <a:pt x="55698" y="17589"/>
                                                        <a:pt x="50839" y="19792"/>
                                                        <a:pt x="45980" y="21994"/>
                                                      </a:cubicBezTo>
                                                      <a:cubicBezTo>
                                                        <a:pt x="44231" y="22772"/>
                                                        <a:pt x="42352" y="23549"/>
                                                        <a:pt x="40538" y="23161"/>
                                                      </a:cubicBezTo>
                                                      <a:cubicBezTo>
                                                        <a:pt x="37364" y="22448"/>
                                                        <a:pt x="36133" y="18690"/>
                                                        <a:pt x="34124" y="16164"/>
                                                      </a:cubicBezTo>
                                                      <a:cubicBezTo>
                                                        <a:pt x="31662" y="13054"/>
                                                        <a:pt x="27322" y="11629"/>
                                                        <a:pt x="23435" y="12536"/>
                                                      </a:cubicBezTo>
                                                      <a:cubicBezTo>
                                                        <a:pt x="21621" y="9037"/>
                                                        <a:pt x="19677" y="5474"/>
                                                        <a:pt x="16697" y="2948"/>
                                                      </a:cubicBezTo>
                                                      <a:cubicBezTo>
                                                        <a:pt x="13717" y="421"/>
                                                        <a:pt x="9311" y="-940"/>
                                                        <a:pt x="5748" y="745"/>
                                                      </a:cubicBezTo>
                                                      <a:cubicBezTo>
                                                        <a:pt x="1019" y="2883"/>
                                                        <a:pt x="-277" y="9037"/>
                                                        <a:pt x="47" y="14155"/>
                                                      </a:cubicBezTo>
                                                      <a:cubicBezTo>
                                                        <a:pt x="500" y="21735"/>
                                                        <a:pt x="3222" y="29186"/>
                                                        <a:pt x="7821" y="35340"/>
                                                      </a:cubicBezTo>
                                                      <a:cubicBezTo>
                                                        <a:pt x="9247" y="37219"/>
                                                        <a:pt x="10801" y="38968"/>
                                                        <a:pt x="11579" y="4117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6" name="Freeform: Shape 81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6514EF8-1195-406F-AF60-E3033A15681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630753" y="1681685"/>
                                                  <a:ext cx="69669" cy="2970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9430 w 69669"/>
                                                    <a:gd name="connsiteY0" fmla="*/ 3923 h 29707"/>
                                                    <a:gd name="connsiteX1" fmla="*/ 69301 w 69669"/>
                                                    <a:gd name="connsiteY1" fmla="*/ 3404 h 29707"/>
                                                    <a:gd name="connsiteX2" fmla="*/ 68783 w 69669"/>
                                                    <a:gd name="connsiteY2" fmla="*/ 3275 h 29707"/>
                                                    <a:gd name="connsiteX3" fmla="*/ 42091 w 69669"/>
                                                    <a:gd name="connsiteY3" fmla="*/ 36 h 29707"/>
                                                    <a:gd name="connsiteX4" fmla="*/ 38269 w 69669"/>
                                                    <a:gd name="connsiteY4" fmla="*/ 1072 h 29707"/>
                                                    <a:gd name="connsiteX5" fmla="*/ 37038 w 69669"/>
                                                    <a:gd name="connsiteY5" fmla="*/ 2757 h 29707"/>
                                                    <a:gd name="connsiteX6" fmla="*/ 36584 w 69669"/>
                                                    <a:gd name="connsiteY6" fmla="*/ 3469 h 29707"/>
                                                    <a:gd name="connsiteX7" fmla="*/ 28680 w 69669"/>
                                                    <a:gd name="connsiteY7" fmla="*/ 6061 h 29707"/>
                                                    <a:gd name="connsiteX8" fmla="*/ 27125 w 69669"/>
                                                    <a:gd name="connsiteY8" fmla="*/ 6061 h 29707"/>
                                                    <a:gd name="connsiteX9" fmla="*/ 15917 w 69669"/>
                                                    <a:gd name="connsiteY9" fmla="*/ 6514 h 29707"/>
                                                    <a:gd name="connsiteX10" fmla="*/ 4126 w 69669"/>
                                                    <a:gd name="connsiteY10" fmla="*/ 10401 h 29707"/>
                                                    <a:gd name="connsiteX11" fmla="*/ 952 w 69669"/>
                                                    <a:gd name="connsiteY11" fmla="*/ 22322 h 29707"/>
                                                    <a:gd name="connsiteX12" fmla="*/ 1081 w 69669"/>
                                                    <a:gd name="connsiteY12" fmla="*/ 22581 h 29707"/>
                                                    <a:gd name="connsiteX13" fmla="*/ 1341 w 69669"/>
                                                    <a:gd name="connsiteY13" fmla="*/ 22711 h 29707"/>
                                                    <a:gd name="connsiteX14" fmla="*/ 20193 w 69669"/>
                                                    <a:gd name="connsiteY14" fmla="*/ 29319 h 29707"/>
                                                    <a:gd name="connsiteX15" fmla="*/ 25117 w 69669"/>
                                                    <a:gd name="connsiteY15" fmla="*/ 29707 h 29707"/>
                                                    <a:gd name="connsiteX16" fmla="*/ 39694 w 69669"/>
                                                    <a:gd name="connsiteY16" fmla="*/ 25108 h 29707"/>
                                                    <a:gd name="connsiteX17" fmla="*/ 40666 w 69669"/>
                                                    <a:gd name="connsiteY17" fmla="*/ 24265 h 29707"/>
                                                    <a:gd name="connsiteX18" fmla="*/ 44034 w 69669"/>
                                                    <a:gd name="connsiteY18" fmla="*/ 22127 h 29707"/>
                                                    <a:gd name="connsiteX19" fmla="*/ 45978 w 69669"/>
                                                    <a:gd name="connsiteY19" fmla="*/ 21868 h 29707"/>
                                                    <a:gd name="connsiteX20" fmla="*/ 46626 w 69669"/>
                                                    <a:gd name="connsiteY20" fmla="*/ 21868 h 29707"/>
                                                    <a:gd name="connsiteX21" fmla="*/ 60360 w 69669"/>
                                                    <a:gd name="connsiteY21" fmla="*/ 16750 h 29707"/>
                                                    <a:gd name="connsiteX22" fmla="*/ 67033 w 69669"/>
                                                    <a:gd name="connsiteY22" fmla="*/ 12086 h 29707"/>
                                                    <a:gd name="connsiteX23" fmla="*/ 69430 w 69669"/>
                                                    <a:gd name="connsiteY23" fmla="*/ 3923 h 29707"/>
                                                    <a:gd name="connsiteX24" fmla="*/ 45848 w 69669"/>
                                                    <a:gd name="connsiteY24" fmla="*/ 19925 h 29707"/>
                                                    <a:gd name="connsiteX25" fmla="*/ 43516 w 69669"/>
                                                    <a:gd name="connsiteY25" fmla="*/ 20249 h 29707"/>
                                                    <a:gd name="connsiteX26" fmla="*/ 39370 w 69669"/>
                                                    <a:gd name="connsiteY26" fmla="*/ 22775 h 29707"/>
                                                    <a:gd name="connsiteX27" fmla="*/ 38463 w 69669"/>
                                                    <a:gd name="connsiteY27" fmla="*/ 23553 h 29707"/>
                                                    <a:gd name="connsiteX28" fmla="*/ 25117 w 69669"/>
                                                    <a:gd name="connsiteY28" fmla="*/ 27764 h 29707"/>
                                                    <a:gd name="connsiteX29" fmla="*/ 20452 w 69669"/>
                                                    <a:gd name="connsiteY29" fmla="*/ 27375 h 29707"/>
                                                    <a:gd name="connsiteX30" fmla="*/ 2507 w 69669"/>
                                                    <a:gd name="connsiteY30" fmla="*/ 21091 h 29707"/>
                                                    <a:gd name="connsiteX31" fmla="*/ 5357 w 69669"/>
                                                    <a:gd name="connsiteY31" fmla="*/ 11956 h 29707"/>
                                                    <a:gd name="connsiteX32" fmla="*/ 16112 w 69669"/>
                                                    <a:gd name="connsiteY32" fmla="*/ 8458 h 29707"/>
                                                    <a:gd name="connsiteX33" fmla="*/ 27061 w 69669"/>
                                                    <a:gd name="connsiteY33" fmla="*/ 8004 h 29707"/>
                                                    <a:gd name="connsiteX34" fmla="*/ 28680 w 69669"/>
                                                    <a:gd name="connsiteY34" fmla="*/ 8004 h 29707"/>
                                                    <a:gd name="connsiteX35" fmla="*/ 38204 w 69669"/>
                                                    <a:gd name="connsiteY35" fmla="*/ 4506 h 29707"/>
                                                    <a:gd name="connsiteX36" fmla="*/ 38722 w 69669"/>
                                                    <a:gd name="connsiteY36" fmla="*/ 3728 h 29707"/>
                                                    <a:gd name="connsiteX37" fmla="*/ 39564 w 69669"/>
                                                    <a:gd name="connsiteY37" fmla="*/ 2562 h 29707"/>
                                                    <a:gd name="connsiteX38" fmla="*/ 42091 w 69669"/>
                                                    <a:gd name="connsiteY38" fmla="*/ 1979 h 29707"/>
                                                    <a:gd name="connsiteX39" fmla="*/ 67681 w 69669"/>
                                                    <a:gd name="connsiteY39" fmla="*/ 4959 h 29707"/>
                                                    <a:gd name="connsiteX40" fmla="*/ 65608 w 69669"/>
                                                    <a:gd name="connsiteY40" fmla="*/ 10725 h 29707"/>
                                                    <a:gd name="connsiteX41" fmla="*/ 59453 w 69669"/>
                                                    <a:gd name="connsiteY41" fmla="*/ 15066 h 29707"/>
                                                    <a:gd name="connsiteX42" fmla="*/ 46496 w 69669"/>
                                                    <a:gd name="connsiteY42" fmla="*/ 19925 h 29707"/>
                                                    <a:gd name="connsiteX43" fmla="*/ 45848 w 69669"/>
                                                    <a:gd name="connsiteY43" fmla="*/ 19925 h 2970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9669" h="29707">
                                                      <a:moveTo>
                                                        <a:pt x="69430" y="3923"/>
                                                      </a:moveTo>
                                                      <a:lnTo>
                                                        <a:pt x="69301" y="3404"/>
                                                      </a:lnTo>
                                                      <a:lnTo>
                                                        <a:pt x="68783" y="3275"/>
                                                      </a:lnTo>
                                                      <a:cubicBezTo>
                                                        <a:pt x="60101" y="943"/>
                                                        <a:pt x="51031" y="-224"/>
                                                        <a:pt x="42091" y="36"/>
                                                      </a:cubicBezTo>
                                                      <a:cubicBezTo>
                                                        <a:pt x="40795" y="36"/>
                                                        <a:pt x="39370" y="165"/>
                                                        <a:pt x="38269" y="1072"/>
                                                      </a:cubicBezTo>
                                                      <a:cubicBezTo>
                                                        <a:pt x="37685" y="1526"/>
                                                        <a:pt x="37361" y="2173"/>
                                                        <a:pt x="37038" y="2757"/>
                                                      </a:cubicBezTo>
                                                      <a:cubicBezTo>
                                                        <a:pt x="36908" y="3016"/>
                                                        <a:pt x="36778" y="3210"/>
                                                        <a:pt x="36584" y="3469"/>
                                                      </a:cubicBezTo>
                                                      <a:cubicBezTo>
                                                        <a:pt x="35029" y="5737"/>
                                                        <a:pt x="31725" y="6061"/>
                                                        <a:pt x="28680" y="6061"/>
                                                      </a:cubicBezTo>
                                                      <a:lnTo>
                                                        <a:pt x="27125" y="6061"/>
                                                      </a:lnTo>
                                                      <a:cubicBezTo>
                                                        <a:pt x="23368" y="5931"/>
                                                        <a:pt x="19610" y="6125"/>
                                                        <a:pt x="15917" y="6514"/>
                                                      </a:cubicBezTo>
                                                      <a:cubicBezTo>
                                                        <a:pt x="11966" y="6903"/>
                                                        <a:pt x="7560" y="7745"/>
                                                        <a:pt x="4126" y="10401"/>
                                                      </a:cubicBezTo>
                                                      <a:cubicBezTo>
                                                        <a:pt x="758" y="13057"/>
                                                        <a:pt x="-1316" y="18240"/>
                                                        <a:pt x="952" y="22322"/>
                                                      </a:cubicBezTo>
                                                      <a:lnTo>
                                                        <a:pt x="1081" y="22581"/>
                                                      </a:lnTo>
                                                      <a:lnTo>
                                                        <a:pt x="1341" y="22711"/>
                                                      </a:lnTo>
                                                      <a:cubicBezTo>
                                                        <a:pt x="7301" y="25432"/>
                                                        <a:pt x="13455" y="28282"/>
                                                        <a:pt x="20193" y="29319"/>
                                                      </a:cubicBezTo>
                                                      <a:cubicBezTo>
                                                        <a:pt x="21813" y="29578"/>
                                                        <a:pt x="23497" y="29707"/>
                                                        <a:pt x="25117" y="29707"/>
                                                      </a:cubicBezTo>
                                                      <a:cubicBezTo>
                                                        <a:pt x="30818" y="29707"/>
                                                        <a:pt x="35871" y="28088"/>
                                                        <a:pt x="39694" y="25108"/>
                                                      </a:cubicBezTo>
                                                      <a:cubicBezTo>
                                                        <a:pt x="40018" y="24848"/>
                                                        <a:pt x="40341" y="24589"/>
                                                        <a:pt x="40666" y="24265"/>
                                                      </a:cubicBezTo>
                                                      <a:cubicBezTo>
                                                        <a:pt x="41767" y="23358"/>
                                                        <a:pt x="42803" y="22451"/>
                                                        <a:pt x="44034" y="22127"/>
                                                      </a:cubicBezTo>
                                                      <a:cubicBezTo>
                                                        <a:pt x="44617" y="21933"/>
                                                        <a:pt x="45265" y="21933"/>
                                                        <a:pt x="45978" y="21868"/>
                                                      </a:cubicBezTo>
                                                      <a:lnTo>
                                                        <a:pt x="46626" y="21868"/>
                                                      </a:lnTo>
                                                      <a:cubicBezTo>
                                                        <a:pt x="51679" y="21480"/>
                                                        <a:pt x="56344" y="18953"/>
                                                        <a:pt x="60360" y="16750"/>
                                                      </a:cubicBezTo>
                                                      <a:cubicBezTo>
                                                        <a:pt x="62628" y="15519"/>
                                                        <a:pt x="65155" y="14159"/>
                                                        <a:pt x="67033" y="12086"/>
                                                      </a:cubicBezTo>
                                                      <a:cubicBezTo>
                                                        <a:pt x="69236" y="9624"/>
                                                        <a:pt x="70143" y="6514"/>
                                                        <a:pt x="69430" y="3923"/>
                                                      </a:cubicBezTo>
                                                      <a:close/>
                                                      <a:moveTo>
                                                        <a:pt x="45848" y="19925"/>
                                                      </a:moveTo>
                                                      <a:cubicBezTo>
                                                        <a:pt x="45136" y="19925"/>
                                                        <a:pt x="44358" y="20054"/>
                                                        <a:pt x="43516" y="20249"/>
                                                      </a:cubicBezTo>
                                                      <a:cubicBezTo>
                                                        <a:pt x="41896" y="20702"/>
                                                        <a:pt x="40601" y="21739"/>
                                                        <a:pt x="39370" y="22775"/>
                                                      </a:cubicBezTo>
                                                      <a:cubicBezTo>
                                                        <a:pt x="39111" y="23034"/>
                                                        <a:pt x="38787" y="23358"/>
                                                        <a:pt x="38463" y="23553"/>
                                                      </a:cubicBezTo>
                                                      <a:cubicBezTo>
                                                        <a:pt x="34122" y="27051"/>
                                                        <a:pt x="28810" y="27764"/>
                                                        <a:pt x="25117" y="27764"/>
                                                      </a:cubicBezTo>
                                                      <a:cubicBezTo>
                                                        <a:pt x="23562" y="27764"/>
                                                        <a:pt x="22007" y="27634"/>
                                                        <a:pt x="20452" y="27375"/>
                                                      </a:cubicBezTo>
                                                      <a:cubicBezTo>
                                                        <a:pt x="14168" y="26403"/>
                                                        <a:pt x="8208" y="23747"/>
                                                        <a:pt x="2507" y="21091"/>
                                                      </a:cubicBezTo>
                                                      <a:cubicBezTo>
                                                        <a:pt x="1017" y="17981"/>
                                                        <a:pt x="2766" y="13964"/>
                                                        <a:pt x="5357" y="11956"/>
                                                      </a:cubicBezTo>
                                                      <a:cubicBezTo>
                                                        <a:pt x="8338" y="9559"/>
                                                        <a:pt x="12484" y="8846"/>
                                                        <a:pt x="16112" y="8458"/>
                                                      </a:cubicBezTo>
                                                      <a:cubicBezTo>
                                                        <a:pt x="19740" y="8069"/>
                                                        <a:pt x="23433" y="7939"/>
                                                        <a:pt x="27061" y="8004"/>
                                                      </a:cubicBezTo>
                                                      <a:lnTo>
                                                        <a:pt x="28680" y="8004"/>
                                                      </a:lnTo>
                                                      <a:cubicBezTo>
                                                        <a:pt x="32243" y="8004"/>
                                                        <a:pt x="36130" y="7615"/>
                                                        <a:pt x="38204" y="4506"/>
                                                      </a:cubicBezTo>
                                                      <a:cubicBezTo>
                                                        <a:pt x="38398" y="4247"/>
                                                        <a:pt x="38528" y="3987"/>
                                                        <a:pt x="38722" y="3728"/>
                                                      </a:cubicBezTo>
                                                      <a:cubicBezTo>
                                                        <a:pt x="38981" y="3275"/>
                                                        <a:pt x="39240" y="2821"/>
                                                        <a:pt x="39564" y="2562"/>
                                                      </a:cubicBezTo>
                                                      <a:cubicBezTo>
                                                        <a:pt x="40147" y="2044"/>
                                                        <a:pt x="41119" y="1979"/>
                                                        <a:pt x="42091" y="1979"/>
                                                      </a:cubicBezTo>
                                                      <a:cubicBezTo>
                                                        <a:pt x="50772" y="1785"/>
                                                        <a:pt x="59389" y="2821"/>
                                                        <a:pt x="67681" y="4959"/>
                                                      </a:cubicBezTo>
                                                      <a:cubicBezTo>
                                                        <a:pt x="68005" y="7162"/>
                                                        <a:pt x="66904" y="9365"/>
                                                        <a:pt x="65608" y="10725"/>
                                                      </a:cubicBezTo>
                                                      <a:cubicBezTo>
                                                        <a:pt x="63924" y="12604"/>
                                                        <a:pt x="61656" y="13835"/>
                                                        <a:pt x="59453" y="15066"/>
                                                      </a:cubicBezTo>
                                                      <a:cubicBezTo>
                                                        <a:pt x="55566" y="17139"/>
                                                        <a:pt x="51161" y="19601"/>
                                                        <a:pt x="46496" y="19925"/>
                                                      </a:cubicBezTo>
                                                      <a:lnTo>
                                                        <a:pt x="45848" y="19925"/>
                                                      </a:ln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7" name="Freeform: Shape 81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235B3AB-238E-4024-B767-070A1EA99FD9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618233" y="1724213"/>
                                                  <a:ext cx="416516" cy="14294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27430 w 416516"/>
                                                    <a:gd name="connsiteY0" fmla="*/ 123683 h 142944"/>
                                                    <a:gd name="connsiteX1" fmla="*/ 146217 w 416516"/>
                                                    <a:gd name="connsiteY1" fmla="*/ 128996 h 142944"/>
                                                    <a:gd name="connsiteX2" fmla="*/ 151465 w 416516"/>
                                                    <a:gd name="connsiteY2" fmla="*/ 138455 h 142944"/>
                                                    <a:gd name="connsiteX3" fmla="*/ 162155 w 416516"/>
                                                    <a:gd name="connsiteY3" fmla="*/ 139167 h 142944"/>
                                                    <a:gd name="connsiteX4" fmla="*/ 183923 w 416516"/>
                                                    <a:gd name="connsiteY4" fmla="*/ 122582 h 142944"/>
                                                    <a:gd name="connsiteX5" fmla="*/ 187551 w 416516"/>
                                                    <a:gd name="connsiteY5" fmla="*/ 118112 h 142944"/>
                                                    <a:gd name="connsiteX6" fmla="*/ 202127 w 416516"/>
                                                    <a:gd name="connsiteY6" fmla="*/ 124266 h 142944"/>
                                                    <a:gd name="connsiteX7" fmla="*/ 212364 w 416516"/>
                                                    <a:gd name="connsiteY7" fmla="*/ 138584 h 142944"/>
                                                    <a:gd name="connsiteX8" fmla="*/ 235622 w 416516"/>
                                                    <a:gd name="connsiteY8" fmla="*/ 137094 h 142944"/>
                                                    <a:gd name="connsiteX9" fmla="*/ 268079 w 416516"/>
                                                    <a:gd name="connsiteY9" fmla="*/ 142601 h 142944"/>
                                                    <a:gd name="connsiteX10" fmla="*/ 304100 w 416516"/>
                                                    <a:gd name="connsiteY10" fmla="*/ 136835 h 142944"/>
                                                    <a:gd name="connsiteX11" fmla="*/ 313170 w 416516"/>
                                                    <a:gd name="connsiteY11" fmla="*/ 132818 h 142944"/>
                                                    <a:gd name="connsiteX12" fmla="*/ 328589 w 416516"/>
                                                    <a:gd name="connsiteY12" fmla="*/ 118565 h 142944"/>
                                                    <a:gd name="connsiteX13" fmla="*/ 355475 w 416516"/>
                                                    <a:gd name="connsiteY13" fmla="*/ 134373 h 142944"/>
                                                    <a:gd name="connsiteX14" fmla="*/ 381519 w 416516"/>
                                                    <a:gd name="connsiteY14" fmla="*/ 122388 h 142944"/>
                                                    <a:gd name="connsiteX15" fmla="*/ 391431 w 416516"/>
                                                    <a:gd name="connsiteY15" fmla="*/ 119472 h 142944"/>
                                                    <a:gd name="connsiteX16" fmla="*/ 409701 w 416516"/>
                                                    <a:gd name="connsiteY16" fmla="*/ 106969 h 142944"/>
                                                    <a:gd name="connsiteX17" fmla="*/ 416503 w 416516"/>
                                                    <a:gd name="connsiteY17" fmla="*/ 95696 h 142944"/>
                                                    <a:gd name="connsiteX18" fmla="*/ 406850 w 416516"/>
                                                    <a:gd name="connsiteY18" fmla="*/ 85136 h 142944"/>
                                                    <a:gd name="connsiteX19" fmla="*/ 321657 w 416516"/>
                                                    <a:gd name="connsiteY19" fmla="*/ 73604 h 142944"/>
                                                    <a:gd name="connsiteX20" fmla="*/ 285248 w 416516"/>
                                                    <a:gd name="connsiteY20" fmla="*/ 79629 h 142944"/>
                                                    <a:gd name="connsiteX21" fmla="*/ 267432 w 416516"/>
                                                    <a:gd name="connsiteY21" fmla="*/ 87792 h 142944"/>
                                                    <a:gd name="connsiteX22" fmla="*/ 221369 w 416516"/>
                                                    <a:gd name="connsiteY22" fmla="*/ 81897 h 142944"/>
                                                    <a:gd name="connsiteX23" fmla="*/ 203035 w 416516"/>
                                                    <a:gd name="connsiteY23" fmla="*/ 90319 h 142944"/>
                                                    <a:gd name="connsiteX24" fmla="*/ 193252 w 416516"/>
                                                    <a:gd name="connsiteY24" fmla="*/ 75029 h 142944"/>
                                                    <a:gd name="connsiteX25" fmla="*/ 165718 w 416516"/>
                                                    <a:gd name="connsiteY25" fmla="*/ 71531 h 142944"/>
                                                    <a:gd name="connsiteX26" fmla="*/ 157555 w 416516"/>
                                                    <a:gd name="connsiteY26" fmla="*/ 64988 h 142944"/>
                                                    <a:gd name="connsiteX27" fmla="*/ 169216 w 416516"/>
                                                    <a:gd name="connsiteY27" fmla="*/ 53067 h 142944"/>
                                                    <a:gd name="connsiteX28" fmla="*/ 177574 w 416516"/>
                                                    <a:gd name="connsiteY28" fmla="*/ 39786 h 142944"/>
                                                    <a:gd name="connsiteX29" fmla="*/ 160082 w 416516"/>
                                                    <a:gd name="connsiteY29" fmla="*/ 35575 h 142944"/>
                                                    <a:gd name="connsiteX30" fmla="*/ 154575 w 416516"/>
                                                    <a:gd name="connsiteY30" fmla="*/ 29550 h 142944"/>
                                                    <a:gd name="connsiteX31" fmla="*/ 142719 w 416516"/>
                                                    <a:gd name="connsiteY31" fmla="*/ 25922 h 142944"/>
                                                    <a:gd name="connsiteX32" fmla="*/ 98470 w 416516"/>
                                                    <a:gd name="connsiteY32" fmla="*/ 22553 h 142944"/>
                                                    <a:gd name="connsiteX33" fmla="*/ 90955 w 416516"/>
                                                    <a:gd name="connsiteY33" fmla="*/ 21192 h 142944"/>
                                                    <a:gd name="connsiteX34" fmla="*/ 83699 w 416516"/>
                                                    <a:gd name="connsiteY34" fmla="*/ 17824 h 142944"/>
                                                    <a:gd name="connsiteX35" fmla="*/ 72167 w 416516"/>
                                                    <a:gd name="connsiteY35" fmla="*/ 17176 h 142944"/>
                                                    <a:gd name="connsiteX36" fmla="*/ 65754 w 416516"/>
                                                    <a:gd name="connsiteY36" fmla="*/ 12900 h 142944"/>
                                                    <a:gd name="connsiteX37" fmla="*/ 8742 w 416516"/>
                                                    <a:gd name="connsiteY37" fmla="*/ 3830 h 142944"/>
                                                    <a:gd name="connsiteX38" fmla="*/ 968 w 416516"/>
                                                    <a:gd name="connsiteY38" fmla="*/ 9531 h 142944"/>
                                                    <a:gd name="connsiteX39" fmla="*/ 4272 w 416516"/>
                                                    <a:gd name="connsiteY39" fmla="*/ 21711 h 142944"/>
                                                    <a:gd name="connsiteX40" fmla="*/ 17488 w 416516"/>
                                                    <a:gd name="connsiteY40" fmla="*/ 22747 h 142944"/>
                                                    <a:gd name="connsiteX41" fmla="*/ 27206 w 416516"/>
                                                    <a:gd name="connsiteY41" fmla="*/ 34668 h 142944"/>
                                                    <a:gd name="connsiteX42" fmla="*/ 35434 w 416516"/>
                                                    <a:gd name="connsiteY42" fmla="*/ 35704 h 142944"/>
                                                    <a:gd name="connsiteX43" fmla="*/ 40228 w 416516"/>
                                                    <a:gd name="connsiteY43" fmla="*/ 39527 h 142944"/>
                                                    <a:gd name="connsiteX44" fmla="*/ 61219 w 416516"/>
                                                    <a:gd name="connsiteY44" fmla="*/ 44450 h 142944"/>
                                                    <a:gd name="connsiteX45" fmla="*/ 75018 w 416516"/>
                                                    <a:gd name="connsiteY45" fmla="*/ 38231 h 142944"/>
                                                    <a:gd name="connsiteX46" fmla="*/ 89530 w 416516"/>
                                                    <a:gd name="connsiteY46" fmla="*/ 38620 h 142944"/>
                                                    <a:gd name="connsiteX47" fmla="*/ 101904 w 416516"/>
                                                    <a:gd name="connsiteY47" fmla="*/ 57796 h 142944"/>
                                                    <a:gd name="connsiteX48" fmla="*/ 107735 w 416516"/>
                                                    <a:gd name="connsiteY48" fmla="*/ 60129 h 142944"/>
                                                    <a:gd name="connsiteX49" fmla="*/ 113760 w 416516"/>
                                                    <a:gd name="connsiteY49" fmla="*/ 72373 h 142944"/>
                                                    <a:gd name="connsiteX50" fmla="*/ 112788 w 416516"/>
                                                    <a:gd name="connsiteY50" fmla="*/ 101008 h 142944"/>
                                                    <a:gd name="connsiteX51" fmla="*/ 127235 w 416516"/>
                                                    <a:gd name="connsiteY51" fmla="*/ 123683 h 14294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16516" h="142944">
                                                      <a:moveTo>
                                                        <a:pt x="127430" y="123683"/>
                                                      </a:moveTo>
                                                      <a:cubicBezTo>
                                                        <a:pt x="133843" y="125562"/>
                                                        <a:pt x="142071" y="123683"/>
                                                        <a:pt x="146217" y="128996"/>
                                                      </a:cubicBezTo>
                                                      <a:cubicBezTo>
                                                        <a:pt x="148485" y="131846"/>
                                                        <a:pt x="148679" y="136058"/>
                                                        <a:pt x="151465" y="138455"/>
                                                      </a:cubicBezTo>
                                                      <a:cubicBezTo>
                                                        <a:pt x="154316" y="140916"/>
                                                        <a:pt x="158591" y="140333"/>
                                                        <a:pt x="162155" y="139167"/>
                                                      </a:cubicBezTo>
                                                      <a:cubicBezTo>
                                                        <a:pt x="170966" y="136252"/>
                                                        <a:pt x="178740" y="130292"/>
                                                        <a:pt x="183923" y="122582"/>
                                                      </a:cubicBezTo>
                                                      <a:cubicBezTo>
                                                        <a:pt x="185024" y="120962"/>
                                                        <a:pt x="185996" y="119213"/>
                                                        <a:pt x="187551" y="118112"/>
                                                      </a:cubicBezTo>
                                                      <a:cubicBezTo>
                                                        <a:pt x="192410" y="114678"/>
                                                        <a:pt x="199083" y="119213"/>
                                                        <a:pt x="202127" y="124266"/>
                                                      </a:cubicBezTo>
                                                      <a:cubicBezTo>
                                                        <a:pt x="205172" y="129385"/>
                                                        <a:pt x="207116" y="135734"/>
                                                        <a:pt x="212364" y="138584"/>
                                                      </a:cubicBezTo>
                                                      <a:cubicBezTo>
                                                        <a:pt x="219296" y="142407"/>
                                                        <a:pt x="227718" y="138066"/>
                                                        <a:pt x="235622" y="137094"/>
                                                      </a:cubicBezTo>
                                                      <a:cubicBezTo>
                                                        <a:pt x="246571" y="135734"/>
                                                        <a:pt x="257130" y="141240"/>
                                                        <a:pt x="268079" y="142601"/>
                                                      </a:cubicBezTo>
                                                      <a:cubicBezTo>
                                                        <a:pt x="280259" y="144091"/>
                                                        <a:pt x="292374" y="140463"/>
                                                        <a:pt x="304100" y="136835"/>
                                                      </a:cubicBezTo>
                                                      <a:cubicBezTo>
                                                        <a:pt x="307275" y="135863"/>
                                                        <a:pt x="310514" y="134827"/>
                                                        <a:pt x="313170" y="132818"/>
                                                      </a:cubicBezTo>
                                                      <a:cubicBezTo>
                                                        <a:pt x="318871" y="128542"/>
                                                        <a:pt x="321592" y="119991"/>
                                                        <a:pt x="328589" y="118565"/>
                                                      </a:cubicBezTo>
                                                      <a:cubicBezTo>
                                                        <a:pt x="339149" y="116427"/>
                                                        <a:pt x="344915" y="132300"/>
                                                        <a:pt x="355475" y="134373"/>
                                                      </a:cubicBezTo>
                                                      <a:cubicBezTo>
                                                        <a:pt x="365128" y="136252"/>
                                                        <a:pt x="372449" y="126145"/>
                                                        <a:pt x="381519" y="122388"/>
                                                      </a:cubicBezTo>
                                                      <a:cubicBezTo>
                                                        <a:pt x="384694" y="121092"/>
                                                        <a:pt x="388192" y="120574"/>
                                                        <a:pt x="391431" y="119472"/>
                                                      </a:cubicBezTo>
                                                      <a:cubicBezTo>
                                                        <a:pt x="398493" y="117075"/>
                                                        <a:pt x="404194" y="111957"/>
                                                        <a:pt x="409701" y="106969"/>
                                                      </a:cubicBezTo>
                                                      <a:cubicBezTo>
                                                        <a:pt x="413070" y="103924"/>
                                                        <a:pt x="416763" y="100231"/>
                                                        <a:pt x="416503" y="95696"/>
                                                      </a:cubicBezTo>
                                                      <a:cubicBezTo>
                                                        <a:pt x="416244" y="90707"/>
                                                        <a:pt x="411385" y="87339"/>
                                                        <a:pt x="406850" y="85136"/>
                                                      </a:cubicBezTo>
                                                      <a:cubicBezTo>
                                                        <a:pt x="380807" y="72503"/>
                                                        <a:pt x="350616" y="72891"/>
                                                        <a:pt x="321657" y="73604"/>
                                                      </a:cubicBezTo>
                                                      <a:cubicBezTo>
                                                        <a:pt x="309283" y="73928"/>
                                                        <a:pt x="296455" y="74317"/>
                                                        <a:pt x="285248" y="79629"/>
                                                      </a:cubicBezTo>
                                                      <a:cubicBezTo>
                                                        <a:pt x="279352" y="82480"/>
                                                        <a:pt x="273910" y="86626"/>
                                                        <a:pt x="267432" y="87792"/>
                                                      </a:cubicBezTo>
                                                      <a:cubicBezTo>
                                                        <a:pt x="251818" y="90448"/>
                                                        <a:pt x="235363" y="74382"/>
                                                        <a:pt x="221369" y="81897"/>
                                                      </a:cubicBezTo>
                                                      <a:cubicBezTo>
                                                        <a:pt x="215149" y="85266"/>
                                                        <a:pt x="209513" y="93040"/>
                                                        <a:pt x="203035" y="90319"/>
                                                      </a:cubicBezTo>
                                                      <a:cubicBezTo>
                                                        <a:pt x="197333" y="87922"/>
                                                        <a:pt x="197398" y="79629"/>
                                                        <a:pt x="193252" y="75029"/>
                                                      </a:cubicBezTo>
                                                      <a:cubicBezTo>
                                                        <a:pt x="186838" y="67968"/>
                                                        <a:pt x="175112" y="73151"/>
                                                        <a:pt x="165718" y="71531"/>
                                                      </a:cubicBezTo>
                                                      <a:cubicBezTo>
                                                        <a:pt x="162090" y="70883"/>
                                                        <a:pt x="158268" y="68616"/>
                                                        <a:pt x="157555" y="64988"/>
                                                      </a:cubicBezTo>
                                                      <a:cubicBezTo>
                                                        <a:pt x="156454" y="59027"/>
                                                        <a:pt x="163580" y="55335"/>
                                                        <a:pt x="169216" y="53067"/>
                                                      </a:cubicBezTo>
                                                      <a:cubicBezTo>
                                                        <a:pt x="174853" y="50799"/>
                                                        <a:pt x="181137" y="44710"/>
                                                        <a:pt x="177574" y="39786"/>
                                                      </a:cubicBezTo>
                                                      <a:cubicBezTo>
                                                        <a:pt x="173946" y="34797"/>
                                                        <a:pt x="165329" y="38944"/>
                                                        <a:pt x="160082" y="35575"/>
                                                      </a:cubicBezTo>
                                                      <a:cubicBezTo>
                                                        <a:pt x="157749" y="34085"/>
                                                        <a:pt x="156583" y="31364"/>
                                                        <a:pt x="154575" y="29550"/>
                                                      </a:cubicBezTo>
                                                      <a:cubicBezTo>
                                                        <a:pt x="151465" y="26699"/>
                                                        <a:pt x="146930" y="26246"/>
                                                        <a:pt x="142719" y="25922"/>
                                                      </a:cubicBezTo>
                                                      <a:cubicBezTo>
                                                        <a:pt x="127948" y="24820"/>
                                                        <a:pt x="113177" y="23654"/>
                                                        <a:pt x="98470" y="22553"/>
                                                      </a:cubicBezTo>
                                                      <a:cubicBezTo>
                                                        <a:pt x="95944" y="22359"/>
                                                        <a:pt x="93352" y="22164"/>
                                                        <a:pt x="90955" y="21192"/>
                                                      </a:cubicBezTo>
                                                      <a:cubicBezTo>
                                                        <a:pt x="88493" y="20221"/>
                                                        <a:pt x="86291" y="18471"/>
                                                        <a:pt x="83699" y="17824"/>
                                                      </a:cubicBezTo>
                                                      <a:cubicBezTo>
                                                        <a:pt x="79942" y="16852"/>
                                                        <a:pt x="75860" y="18342"/>
                                                        <a:pt x="72167" y="17176"/>
                                                      </a:cubicBezTo>
                                                      <a:cubicBezTo>
                                                        <a:pt x="69705" y="16398"/>
                                                        <a:pt x="67697" y="14584"/>
                                                        <a:pt x="65754" y="12900"/>
                                                      </a:cubicBezTo>
                                                      <a:cubicBezTo>
                                                        <a:pt x="50205" y="7"/>
                                                        <a:pt x="27530" y="-3621"/>
                                                        <a:pt x="8742" y="3830"/>
                                                      </a:cubicBezTo>
                                                      <a:cubicBezTo>
                                                        <a:pt x="5697" y="5061"/>
                                                        <a:pt x="2588" y="6680"/>
                                                        <a:pt x="968" y="9531"/>
                                                      </a:cubicBezTo>
                                                      <a:cubicBezTo>
                                                        <a:pt x="-1235" y="13548"/>
                                                        <a:pt x="514" y="19055"/>
                                                        <a:pt x="4272" y="21711"/>
                                                      </a:cubicBezTo>
                                                      <a:cubicBezTo>
                                                        <a:pt x="8030" y="24367"/>
                                                        <a:pt x="13212" y="24432"/>
                                                        <a:pt x="17488" y="22747"/>
                                                      </a:cubicBezTo>
                                                      <a:cubicBezTo>
                                                        <a:pt x="17294" y="28319"/>
                                                        <a:pt x="21699" y="33761"/>
                                                        <a:pt x="27206" y="34668"/>
                                                      </a:cubicBezTo>
                                                      <a:cubicBezTo>
                                                        <a:pt x="29927" y="35121"/>
                                                        <a:pt x="32907" y="34668"/>
                                                        <a:pt x="35434" y="35704"/>
                                                      </a:cubicBezTo>
                                                      <a:cubicBezTo>
                                                        <a:pt x="37313" y="36547"/>
                                                        <a:pt x="38738" y="38166"/>
                                                        <a:pt x="40228" y="39527"/>
                                                      </a:cubicBezTo>
                                                      <a:cubicBezTo>
                                                        <a:pt x="45800" y="44515"/>
                                                        <a:pt x="54027" y="46459"/>
                                                        <a:pt x="61219" y="44450"/>
                                                      </a:cubicBezTo>
                                                      <a:cubicBezTo>
                                                        <a:pt x="66077" y="43090"/>
                                                        <a:pt x="70353" y="40110"/>
                                                        <a:pt x="75018" y="38231"/>
                                                      </a:cubicBezTo>
                                                      <a:cubicBezTo>
                                                        <a:pt x="79683" y="36352"/>
                                                        <a:pt x="85448" y="35640"/>
                                                        <a:pt x="89530" y="38620"/>
                                                      </a:cubicBezTo>
                                                      <a:cubicBezTo>
                                                        <a:pt x="95749" y="43220"/>
                                                        <a:pt x="95102" y="54104"/>
                                                        <a:pt x="101904" y="57796"/>
                                                      </a:cubicBezTo>
                                                      <a:cubicBezTo>
                                                        <a:pt x="103718" y="58768"/>
                                                        <a:pt x="105856" y="59092"/>
                                                        <a:pt x="107735" y="60129"/>
                                                      </a:cubicBezTo>
                                                      <a:cubicBezTo>
                                                        <a:pt x="111881" y="62396"/>
                                                        <a:pt x="113436" y="67644"/>
                                                        <a:pt x="113760" y="72373"/>
                                                      </a:cubicBezTo>
                                                      <a:cubicBezTo>
                                                        <a:pt x="114537" y="81897"/>
                                                        <a:pt x="112205" y="91485"/>
                                                        <a:pt x="112788" y="101008"/>
                                                      </a:cubicBezTo>
                                                      <a:cubicBezTo>
                                                        <a:pt x="113371" y="110532"/>
                                                        <a:pt x="118036" y="121027"/>
                                                        <a:pt x="127235" y="12368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8" name="Freeform: Shape 81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11BC0E9-F2EA-40E2-BC36-3D887A73F60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473212" y="1886485"/>
                                                  <a:ext cx="153445" cy="14585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48192 w 153445"/>
                                                    <a:gd name="connsiteY0" fmla="*/ 77896 h 145852"/>
                                                    <a:gd name="connsiteX1" fmla="*/ 152597 w 153445"/>
                                                    <a:gd name="connsiteY1" fmla="*/ 69085 h 145852"/>
                                                    <a:gd name="connsiteX2" fmla="*/ 149099 w 153445"/>
                                                    <a:gd name="connsiteY2" fmla="*/ 53472 h 145852"/>
                                                    <a:gd name="connsiteX3" fmla="*/ 133421 w 153445"/>
                                                    <a:gd name="connsiteY3" fmla="*/ 50103 h 145852"/>
                                                    <a:gd name="connsiteX4" fmla="*/ 144434 w 153445"/>
                                                    <a:gd name="connsiteY4" fmla="*/ 70251 h 145852"/>
                                                    <a:gd name="connsiteX5" fmla="*/ 138280 w 153445"/>
                                                    <a:gd name="connsiteY5" fmla="*/ 76924 h 145852"/>
                                                    <a:gd name="connsiteX6" fmla="*/ 128950 w 153445"/>
                                                    <a:gd name="connsiteY6" fmla="*/ 75369 h 145852"/>
                                                    <a:gd name="connsiteX7" fmla="*/ 123314 w 153445"/>
                                                    <a:gd name="connsiteY7" fmla="*/ 68826 h 145852"/>
                                                    <a:gd name="connsiteX8" fmla="*/ 122213 w 153445"/>
                                                    <a:gd name="connsiteY8" fmla="*/ 58072 h 145852"/>
                                                    <a:gd name="connsiteX9" fmla="*/ 102000 w 153445"/>
                                                    <a:gd name="connsiteY9" fmla="*/ 53277 h 145852"/>
                                                    <a:gd name="connsiteX10" fmla="*/ 99278 w 153445"/>
                                                    <a:gd name="connsiteY10" fmla="*/ 42588 h 145852"/>
                                                    <a:gd name="connsiteX11" fmla="*/ 108349 w 153445"/>
                                                    <a:gd name="connsiteY11" fmla="*/ 35397 h 145852"/>
                                                    <a:gd name="connsiteX12" fmla="*/ 121824 w 153445"/>
                                                    <a:gd name="connsiteY12" fmla="*/ 33194 h 145852"/>
                                                    <a:gd name="connsiteX13" fmla="*/ 131671 w 153445"/>
                                                    <a:gd name="connsiteY13" fmla="*/ 20172 h 145852"/>
                                                    <a:gd name="connsiteX14" fmla="*/ 119751 w 153445"/>
                                                    <a:gd name="connsiteY14" fmla="*/ 10519 h 145852"/>
                                                    <a:gd name="connsiteX15" fmla="*/ 114503 w 153445"/>
                                                    <a:gd name="connsiteY15" fmla="*/ 4170 h 145852"/>
                                                    <a:gd name="connsiteX16" fmla="*/ 103101 w 153445"/>
                                                    <a:gd name="connsiteY16" fmla="*/ 24 h 145852"/>
                                                    <a:gd name="connsiteX17" fmla="*/ 93059 w 153445"/>
                                                    <a:gd name="connsiteY17" fmla="*/ 5401 h 145852"/>
                                                    <a:gd name="connsiteX18" fmla="*/ 90273 w 153445"/>
                                                    <a:gd name="connsiteY18" fmla="*/ 17321 h 145852"/>
                                                    <a:gd name="connsiteX19" fmla="*/ 59694 w 153445"/>
                                                    <a:gd name="connsiteY19" fmla="*/ 13110 h 145852"/>
                                                    <a:gd name="connsiteX20" fmla="*/ 36890 w 153445"/>
                                                    <a:gd name="connsiteY20" fmla="*/ 21144 h 145852"/>
                                                    <a:gd name="connsiteX21" fmla="*/ 29245 w 153445"/>
                                                    <a:gd name="connsiteY21" fmla="*/ 32870 h 145852"/>
                                                    <a:gd name="connsiteX22" fmla="*/ 38510 w 153445"/>
                                                    <a:gd name="connsiteY22" fmla="*/ 37858 h 145852"/>
                                                    <a:gd name="connsiteX23" fmla="*/ 60925 w 153445"/>
                                                    <a:gd name="connsiteY23" fmla="*/ 41292 h 145852"/>
                                                    <a:gd name="connsiteX24" fmla="*/ 65266 w 153445"/>
                                                    <a:gd name="connsiteY24" fmla="*/ 42653 h 145852"/>
                                                    <a:gd name="connsiteX25" fmla="*/ 67210 w 153445"/>
                                                    <a:gd name="connsiteY25" fmla="*/ 45050 h 145852"/>
                                                    <a:gd name="connsiteX26" fmla="*/ 61055 w 153445"/>
                                                    <a:gd name="connsiteY26" fmla="*/ 59497 h 145852"/>
                                                    <a:gd name="connsiteX27" fmla="*/ 55224 w 153445"/>
                                                    <a:gd name="connsiteY27" fmla="*/ 61311 h 145852"/>
                                                    <a:gd name="connsiteX28" fmla="*/ 48292 w 153445"/>
                                                    <a:gd name="connsiteY28" fmla="*/ 74009 h 145852"/>
                                                    <a:gd name="connsiteX29" fmla="*/ 40907 w 153445"/>
                                                    <a:gd name="connsiteY29" fmla="*/ 74009 h 145852"/>
                                                    <a:gd name="connsiteX30" fmla="*/ 18685 w 153445"/>
                                                    <a:gd name="connsiteY30" fmla="*/ 62218 h 145852"/>
                                                    <a:gd name="connsiteX31" fmla="*/ 15705 w 153445"/>
                                                    <a:gd name="connsiteY31" fmla="*/ 58784 h 145852"/>
                                                    <a:gd name="connsiteX32" fmla="*/ 11105 w 153445"/>
                                                    <a:gd name="connsiteY32" fmla="*/ 57942 h 145852"/>
                                                    <a:gd name="connsiteX33" fmla="*/ 4238 w 153445"/>
                                                    <a:gd name="connsiteY33" fmla="*/ 57942 h 145852"/>
                                                    <a:gd name="connsiteX34" fmla="*/ 999 w 153445"/>
                                                    <a:gd name="connsiteY34" fmla="*/ 58849 h 145852"/>
                                                    <a:gd name="connsiteX35" fmla="*/ 92 w 153445"/>
                                                    <a:gd name="connsiteY35" fmla="*/ 61376 h 145852"/>
                                                    <a:gd name="connsiteX36" fmla="*/ 6635 w 153445"/>
                                                    <a:gd name="connsiteY36" fmla="*/ 79969 h 145852"/>
                                                    <a:gd name="connsiteX37" fmla="*/ 22508 w 153445"/>
                                                    <a:gd name="connsiteY37" fmla="*/ 92408 h 145852"/>
                                                    <a:gd name="connsiteX38" fmla="*/ 42850 w 153445"/>
                                                    <a:gd name="connsiteY38" fmla="*/ 102450 h 145852"/>
                                                    <a:gd name="connsiteX39" fmla="*/ 55224 w 153445"/>
                                                    <a:gd name="connsiteY39" fmla="*/ 112556 h 145852"/>
                                                    <a:gd name="connsiteX40" fmla="*/ 55872 w 153445"/>
                                                    <a:gd name="connsiteY40" fmla="*/ 117739 h 145852"/>
                                                    <a:gd name="connsiteX41" fmla="*/ 67728 w 153445"/>
                                                    <a:gd name="connsiteY41" fmla="*/ 130826 h 145852"/>
                                                    <a:gd name="connsiteX42" fmla="*/ 77381 w 153445"/>
                                                    <a:gd name="connsiteY42" fmla="*/ 141516 h 145852"/>
                                                    <a:gd name="connsiteX43" fmla="*/ 90468 w 153445"/>
                                                    <a:gd name="connsiteY43" fmla="*/ 145208 h 145852"/>
                                                    <a:gd name="connsiteX44" fmla="*/ 96752 w 153445"/>
                                                    <a:gd name="connsiteY44" fmla="*/ 139896 h 145852"/>
                                                    <a:gd name="connsiteX45" fmla="*/ 104980 w 153445"/>
                                                    <a:gd name="connsiteY45" fmla="*/ 125190 h 145852"/>
                                                    <a:gd name="connsiteX46" fmla="*/ 105757 w 153445"/>
                                                    <a:gd name="connsiteY46" fmla="*/ 121238 h 145852"/>
                                                    <a:gd name="connsiteX47" fmla="*/ 117030 w 153445"/>
                                                    <a:gd name="connsiteY47" fmla="*/ 119488 h 145852"/>
                                                    <a:gd name="connsiteX48" fmla="*/ 137761 w 153445"/>
                                                    <a:gd name="connsiteY48" fmla="*/ 111390 h 145852"/>
                                                    <a:gd name="connsiteX49" fmla="*/ 146443 w 153445"/>
                                                    <a:gd name="connsiteY49" fmla="*/ 90335 h 145852"/>
                                                    <a:gd name="connsiteX50" fmla="*/ 148257 w 153445"/>
                                                    <a:gd name="connsiteY50" fmla="*/ 77896 h 14585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3445" h="145852">
                                                      <a:moveTo>
                                                        <a:pt x="148192" y="77896"/>
                                                      </a:moveTo>
                                                      <a:cubicBezTo>
                                                        <a:pt x="149358" y="74851"/>
                                                        <a:pt x="151496" y="72195"/>
                                                        <a:pt x="152597" y="69085"/>
                                                      </a:cubicBezTo>
                                                      <a:cubicBezTo>
                                                        <a:pt x="154541" y="63773"/>
                                                        <a:pt x="153051" y="57424"/>
                                                        <a:pt x="149099" y="53472"/>
                                                      </a:cubicBezTo>
                                                      <a:cubicBezTo>
                                                        <a:pt x="145082" y="49520"/>
                                                        <a:pt x="138733" y="48095"/>
                                                        <a:pt x="133421" y="50103"/>
                                                      </a:cubicBezTo>
                                                      <a:cubicBezTo>
                                                        <a:pt x="132190" y="57942"/>
                                                        <a:pt x="145082" y="62347"/>
                                                        <a:pt x="144434" y="70251"/>
                                                      </a:cubicBezTo>
                                                      <a:cubicBezTo>
                                                        <a:pt x="144175" y="73491"/>
                                                        <a:pt x="141454" y="76147"/>
                                                        <a:pt x="138280" y="76924"/>
                                                      </a:cubicBezTo>
                                                      <a:cubicBezTo>
                                                        <a:pt x="135170" y="77702"/>
                                                        <a:pt x="131801" y="76924"/>
                                                        <a:pt x="128950" y="75369"/>
                                                      </a:cubicBezTo>
                                                      <a:cubicBezTo>
                                                        <a:pt x="126359" y="73944"/>
                                                        <a:pt x="124027" y="71677"/>
                                                        <a:pt x="123314" y="68826"/>
                                                      </a:cubicBezTo>
                                                      <a:cubicBezTo>
                                                        <a:pt x="122407" y="65263"/>
                                                        <a:pt x="124027" y="61246"/>
                                                        <a:pt x="122213" y="58072"/>
                                                      </a:cubicBezTo>
                                                      <a:cubicBezTo>
                                                        <a:pt x="118585" y="51787"/>
                                                        <a:pt x="108025" y="57229"/>
                                                        <a:pt x="102000" y="53277"/>
                                                      </a:cubicBezTo>
                                                      <a:cubicBezTo>
                                                        <a:pt x="98631" y="51075"/>
                                                        <a:pt x="97724" y="46281"/>
                                                        <a:pt x="99278" y="42588"/>
                                                      </a:cubicBezTo>
                                                      <a:cubicBezTo>
                                                        <a:pt x="100833" y="38895"/>
                                                        <a:pt x="104461" y="36433"/>
                                                        <a:pt x="108349" y="35397"/>
                                                      </a:cubicBezTo>
                                                      <a:cubicBezTo>
                                                        <a:pt x="112754" y="34166"/>
                                                        <a:pt x="117483" y="34619"/>
                                                        <a:pt x="121824" y="33194"/>
                                                      </a:cubicBezTo>
                                                      <a:cubicBezTo>
                                                        <a:pt x="127396" y="31380"/>
                                                        <a:pt x="131931" y="26003"/>
                                                        <a:pt x="131671" y="20172"/>
                                                      </a:cubicBezTo>
                                                      <a:cubicBezTo>
                                                        <a:pt x="131412" y="14341"/>
                                                        <a:pt x="125452" y="9094"/>
                                                        <a:pt x="119751" y="10519"/>
                                                      </a:cubicBezTo>
                                                      <a:cubicBezTo>
                                                        <a:pt x="120010" y="7604"/>
                                                        <a:pt x="117095" y="5530"/>
                                                        <a:pt x="114503" y="4170"/>
                                                      </a:cubicBezTo>
                                                      <a:cubicBezTo>
                                                        <a:pt x="110940" y="2291"/>
                                                        <a:pt x="107182" y="283"/>
                                                        <a:pt x="103101" y="24"/>
                                                      </a:cubicBezTo>
                                                      <a:cubicBezTo>
                                                        <a:pt x="99019" y="-236"/>
                                                        <a:pt x="94549" y="1643"/>
                                                        <a:pt x="93059" y="5401"/>
                                                      </a:cubicBezTo>
                                                      <a:cubicBezTo>
                                                        <a:pt x="91569" y="9288"/>
                                                        <a:pt x="93318" y="14471"/>
                                                        <a:pt x="90273" y="17321"/>
                                                      </a:cubicBezTo>
                                                      <a:cubicBezTo>
                                                        <a:pt x="80426" y="20690"/>
                                                        <a:pt x="70125" y="13369"/>
                                                        <a:pt x="59694" y="13110"/>
                                                      </a:cubicBezTo>
                                                      <a:cubicBezTo>
                                                        <a:pt x="51531" y="12916"/>
                                                        <a:pt x="44016" y="17062"/>
                                                        <a:pt x="36890" y="21144"/>
                                                      </a:cubicBezTo>
                                                      <a:cubicBezTo>
                                                        <a:pt x="32420" y="23670"/>
                                                        <a:pt x="27302" y="28076"/>
                                                        <a:pt x="29245" y="32870"/>
                                                      </a:cubicBezTo>
                                                      <a:cubicBezTo>
                                                        <a:pt x="30606" y="36304"/>
                                                        <a:pt x="34882" y="37340"/>
                                                        <a:pt x="38510" y="37858"/>
                                                      </a:cubicBezTo>
                                                      <a:cubicBezTo>
                                                        <a:pt x="45960" y="39025"/>
                                                        <a:pt x="53475" y="40191"/>
                                                        <a:pt x="60925" y="41292"/>
                                                      </a:cubicBezTo>
                                                      <a:cubicBezTo>
                                                        <a:pt x="62416" y="41551"/>
                                                        <a:pt x="64035" y="41810"/>
                                                        <a:pt x="65266" y="42653"/>
                                                      </a:cubicBezTo>
                                                      <a:cubicBezTo>
                                                        <a:pt x="66108" y="43236"/>
                                                        <a:pt x="66756" y="44143"/>
                                                        <a:pt x="67210" y="45050"/>
                                                      </a:cubicBezTo>
                                                      <a:cubicBezTo>
                                                        <a:pt x="69931" y="50362"/>
                                                        <a:pt x="66756" y="57748"/>
                                                        <a:pt x="61055" y="59497"/>
                                                      </a:cubicBezTo>
                                                      <a:cubicBezTo>
                                                        <a:pt x="59111" y="60080"/>
                                                        <a:pt x="56909" y="60145"/>
                                                        <a:pt x="55224" y="61311"/>
                                                      </a:cubicBezTo>
                                                      <a:cubicBezTo>
                                                        <a:pt x="51143" y="64097"/>
                                                        <a:pt x="52568" y="71482"/>
                                                        <a:pt x="48292" y="74009"/>
                                                      </a:cubicBezTo>
                                                      <a:cubicBezTo>
                                                        <a:pt x="46089" y="75305"/>
                                                        <a:pt x="43369" y="74657"/>
                                                        <a:pt x="40907" y="74009"/>
                                                      </a:cubicBezTo>
                                                      <a:cubicBezTo>
                                                        <a:pt x="32614" y="71806"/>
                                                        <a:pt x="23674" y="69215"/>
                                                        <a:pt x="18685" y="62218"/>
                                                      </a:cubicBezTo>
                                                      <a:cubicBezTo>
                                                        <a:pt x="17778" y="60987"/>
                                                        <a:pt x="17001" y="59626"/>
                                                        <a:pt x="15705" y="58784"/>
                                                      </a:cubicBezTo>
                                                      <a:cubicBezTo>
                                                        <a:pt x="14344" y="57942"/>
                                                        <a:pt x="12660" y="57942"/>
                                                        <a:pt x="11105" y="57942"/>
                                                      </a:cubicBezTo>
                                                      <a:lnTo>
                                                        <a:pt x="4238" y="57942"/>
                                                      </a:lnTo>
                                                      <a:cubicBezTo>
                                                        <a:pt x="3072" y="57942"/>
                                                        <a:pt x="1841" y="58072"/>
                                                        <a:pt x="999" y="58849"/>
                                                      </a:cubicBezTo>
                                                      <a:cubicBezTo>
                                                        <a:pt x="351" y="59497"/>
                                                        <a:pt x="156" y="60469"/>
                                                        <a:pt x="92" y="61376"/>
                                                      </a:cubicBezTo>
                                                      <a:cubicBezTo>
                                                        <a:pt x="-556" y="68113"/>
                                                        <a:pt x="2294" y="74786"/>
                                                        <a:pt x="6635" y="79969"/>
                                                      </a:cubicBezTo>
                                                      <a:cubicBezTo>
                                                        <a:pt x="10976" y="85152"/>
                                                        <a:pt x="16677" y="88974"/>
                                                        <a:pt x="22508" y="92408"/>
                                                      </a:cubicBezTo>
                                                      <a:cubicBezTo>
                                                        <a:pt x="29051" y="96230"/>
                                                        <a:pt x="35853" y="99534"/>
                                                        <a:pt x="42850" y="102450"/>
                                                      </a:cubicBezTo>
                                                      <a:cubicBezTo>
                                                        <a:pt x="47968" y="104523"/>
                                                        <a:pt x="53928" y="107179"/>
                                                        <a:pt x="55224" y="112556"/>
                                                      </a:cubicBezTo>
                                                      <a:cubicBezTo>
                                                        <a:pt x="55613" y="114241"/>
                                                        <a:pt x="55483" y="116055"/>
                                                        <a:pt x="55872" y="117739"/>
                                                      </a:cubicBezTo>
                                                      <a:cubicBezTo>
                                                        <a:pt x="57103" y="123635"/>
                                                        <a:pt x="63258" y="126744"/>
                                                        <a:pt x="67728" y="130826"/>
                                                      </a:cubicBezTo>
                                                      <a:cubicBezTo>
                                                        <a:pt x="71226" y="134065"/>
                                                        <a:pt x="73818" y="138276"/>
                                                        <a:pt x="77381" y="141516"/>
                                                      </a:cubicBezTo>
                                                      <a:cubicBezTo>
                                                        <a:pt x="80944" y="144755"/>
                                                        <a:pt x="86062" y="147022"/>
                                                        <a:pt x="90468" y="145208"/>
                                                      </a:cubicBezTo>
                                                      <a:cubicBezTo>
                                                        <a:pt x="93059" y="144172"/>
                                                        <a:pt x="94938" y="142034"/>
                                                        <a:pt x="96752" y="139896"/>
                                                      </a:cubicBezTo>
                                                      <a:cubicBezTo>
                                                        <a:pt x="100445" y="135555"/>
                                                        <a:pt x="104332" y="130826"/>
                                                        <a:pt x="104980" y="125190"/>
                                                      </a:cubicBezTo>
                                                      <a:cubicBezTo>
                                                        <a:pt x="105109" y="123829"/>
                                                        <a:pt x="105109" y="122469"/>
                                                        <a:pt x="105757" y="121238"/>
                                                      </a:cubicBezTo>
                                                      <a:cubicBezTo>
                                                        <a:pt x="107636" y="117610"/>
                                                        <a:pt x="113013" y="118905"/>
                                                        <a:pt x="117030" y="119488"/>
                                                      </a:cubicBezTo>
                                                      <a:cubicBezTo>
                                                        <a:pt x="124675" y="120590"/>
                                                        <a:pt x="132578" y="117091"/>
                                                        <a:pt x="137761" y="111390"/>
                                                      </a:cubicBezTo>
                                                      <a:cubicBezTo>
                                                        <a:pt x="142944" y="105689"/>
                                                        <a:pt x="145665" y="98044"/>
                                                        <a:pt x="146443" y="90335"/>
                                                      </a:cubicBezTo>
                                                      <a:cubicBezTo>
                                                        <a:pt x="146896" y="86124"/>
                                                        <a:pt x="146767" y="81848"/>
                                                        <a:pt x="148257" y="7789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19" name="Freeform: Shape 81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0E6DD4B-F17C-4EB5-B02A-58E7FC9E2AF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618020" y="1809854"/>
                                                  <a:ext cx="81339" cy="4860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8692 w 81339"/>
                                                    <a:gd name="connsiteY0" fmla="*/ 45492 h 48609"/>
                                                    <a:gd name="connsiteX1" fmla="*/ 53268 w 81339"/>
                                                    <a:gd name="connsiteY1" fmla="*/ 45622 h 48609"/>
                                                    <a:gd name="connsiteX2" fmla="*/ 57285 w 81339"/>
                                                    <a:gd name="connsiteY2" fmla="*/ 48084 h 48609"/>
                                                    <a:gd name="connsiteX3" fmla="*/ 66485 w 81339"/>
                                                    <a:gd name="connsiteY3" fmla="*/ 46983 h 48609"/>
                                                    <a:gd name="connsiteX4" fmla="*/ 81062 w 81339"/>
                                                    <a:gd name="connsiteY4" fmla="*/ 34932 h 48609"/>
                                                    <a:gd name="connsiteX5" fmla="*/ 72315 w 81339"/>
                                                    <a:gd name="connsiteY5" fmla="*/ 17570 h 48609"/>
                                                    <a:gd name="connsiteX6" fmla="*/ 49900 w 81339"/>
                                                    <a:gd name="connsiteY6" fmla="*/ 1114 h 48609"/>
                                                    <a:gd name="connsiteX7" fmla="*/ 46142 w 81339"/>
                                                    <a:gd name="connsiteY7" fmla="*/ 142 h 48609"/>
                                                    <a:gd name="connsiteX8" fmla="*/ 43356 w 81339"/>
                                                    <a:gd name="connsiteY8" fmla="*/ 2604 h 48609"/>
                                                    <a:gd name="connsiteX9" fmla="*/ 28391 w 81339"/>
                                                    <a:gd name="connsiteY9" fmla="*/ 4807 h 48609"/>
                                                    <a:gd name="connsiteX10" fmla="*/ 19451 w 81339"/>
                                                    <a:gd name="connsiteY10" fmla="*/ 14590 h 48609"/>
                                                    <a:gd name="connsiteX11" fmla="*/ 403 w 81339"/>
                                                    <a:gd name="connsiteY11" fmla="*/ 24761 h 48609"/>
                                                    <a:gd name="connsiteX12" fmla="*/ 5457 w 81339"/>
                                                    <a:gd name="connsiteY12" fmla="*/ 35127 h 48609"/>
                                                    <a:gd name="connsiteX13" fmla="*/ 17442 w 81339"/>
                                                    <a:gd name="connsiteY13" fmla="*/ 38819 h 48609"/>
                                                    <a:gd name="connsiteX14" fmla="*/ 38692 w 81339"/>
                                                    <a:gd name="connsiteY14" fmla="*/ 45492 h 4860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1339" h="48609">
                                                      <a:moveTo>
                                                        <a:pt x="38692" y="45492"/>
                                                      </a:moveTo>
                                                      <a:cubicBezTo>
                                                        <a:pt x="43615" y="45492"/>
                                                        <a:pt x="48863" y="43355"/>
                                                        <a:pt x="53268" y="45622"/>
                                                      </a:cubicBezTo>
                                                      <a:cubicBezTo>
                                                        <a:pt x="54694" y="46335"/>
                                                        <a:pt x="55860" y="47501"/>
                                                        <a:pt x="57285" y="48084"/>
                                                      </a:cubicBezTo>
                                                      <a:cubicBezTo>
                                                        <a:pt x="60201" y="49315"/>
                                                        <a:pt x="63570" y="48149"/>
                                                        <a:pt x="66485" y="46983"/>
                                                      </a:cubicBezTo>
                                                      <a:cubicBezTo>
                                                        <a:pt x="72575" y="44585"/>
                                                        <a:pt x="79507" y="41346"/>
                                                        <a:pt x="81062" y="34932"/>
                                                      </a:cubicBezTo>
                                                      <a:cubicBezTo>
                                                        <a:pt x="82617" y="28259"/>
                                                        <a:pt x="77369" y="22105"/>
                                                        <a:pt x="72315" y="17570"/>
                                                      </a:cubicBezTo>
                                                      <a:cubicBezTo>
                                                        <a:pt x="65384" y="11415"/>
                                                        <a:pt x="57868" y="5908"/>
                                                        <a:pt x="49900" y="1114"/>
                                                      </a:cubicBezTo>
                                                      <a:cubicBezTo>
                                                        <a:pt x="48734" y="402"/>
                                                        <a:pt x="47373" y="-311"/>
                                                        <a:pt x="46142" y="142"/>
                                                      </a:cubicBezTo>
                                                      <a:cubicBezTo>
                                                        <a:pt x="44976" y="531"/>
                                                        <a:pt x="44263" y="1762"/>
                                                        <a:pt x="43356" y="2604"/>
                                                      </a:cubicBezTo>
                                                      <a:cubicBezTo>
                                                        <a:pt x="39599" y="6167"/>
                                                        <a:pt x="33185" y="2863"/>
                                                        <a:pt x="28391" y="4807"/>
                                                      </a:cubicBezTo>
                                                      <a:cubicBezTo>
                                                        <a:pt x="24245" y="6491"/>
                                                        <a:pt x="22690" y="11480"/>
                                                        <a:pt x="19451" y="14590"/>
                                                      </a:cubicBezTo>
                                                      <a:cubicBezTo>
                                                        <a:pt x="14138" y="19578"/>
                                                        <a:pt x="4874" y="18995"/>
                                                        <a:pt x="403" y="24761"/>
                                                      </a:cubicBezTo>
                                                      <a:cubicBezTo>
                                                        <a:pt x="-1087" y="28648"/>
                                                        <a:pt x="1764" y="33054"/>
                                                        <a:pt x="5457" y="35127"/>
                                                      </a:cubicBezTo>
                                                      <a:cubicBezTo>
                                                        <a:pt x="9149" y="37200"/>
                                                        <a:pt x="13425" y="37589"/>
                                                        <a:pt x="17442" y="38819"/>
                                                      </a:cubicBezTo>
                                                      <a:cubicBezTo>
                                                        <a:pt x="24568" y="40957"/>
                                                        <a:pt x="31177" y="45557"/>
                                                        <a:pt x="38692" y="4549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0" name="Freeform: Shape 81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48CE509-3D5E-48C6-A84B-0FB9D3AB14E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48132" y="1690298"/>
                                                  <a:ext cx="46818" cy="2848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0419 w 46818"/>
                                                    <a:gd name="connsiteY0" fmla="*/ 17856 h 28480"/>
                                                    <a:gd name="connsiteX1" fmla="*/ 44954 w 46818"/>
                                                    <a:gd name="connsiteY1" fmla="*/ 16560 h 28480"/>
                                                    <a:gd name="connsiteX2" fmla="*/ 46638 w 46818"/>
                                                    <a:gd name="connsiteY2" fmla="*/ 12479 h 28480"/>
                                                    <a:gd name="connsiteX3" fmla="*/ 45991 w 46818"/>
                                                    <a:gd name="connsiteY3" fmla="*/ 11377 h 28480"/>
                                                    <a:gd name="connsiteX4" fmla="*/ 11589 w 46818"/>
                                                    <a:gd name="connsiteY4" fmla="*/ 2178 h 28480"/>
                                                    <a:gd name="connsiteX5" fmla="*/ 8998 w 46818"/>
                                                    <a:gd name="connsiteY5" fmla="*/ 3992 h 28480"/>
                                                    <a:gd name="connsiteX6" fmla="*/ 7314 w 46818"/>
                                                    <a:gd name="connsiteY6" fmla="*/ 8267 h 28480"/>
                                                    <a:gd name="connsiteX7" fmla="*/ 58 w 46818"/>
                                                    <a:gd name="connsiteY7" fmla="*/ 12090 h 28480"/>
                                                    <a:gd name="connsiteX8" fmla="*/ 9775 w 46818"/>
                                                    <a:gd name="connsiteY8" fmla="*/ 22585 h 28480"/>
                                                    <a:gd name="connsiteX9" fmla="*/ 13857 w 46818"/>
                                                    <a:gd name="connsiteY9" fmla="*/ 23168 h 28480"/>
                                                    <a:gd name="connsiteX10" fmla="*/ 15153 w 46818"/>
                                                    <a:gd name="connsiteY10" fmla="*/ 25436 h 28480"/>
                                                    <a:gd name="connsiteX11" fmla="*/ 22668 w 46818"/>
                                                    <a:gd name="connsiteY11" fmla="*/ 28481 h 28480"/>
                                                    <a:gd name="connsiteX12" fmla="*/ 29729 w 46818"/>
                                                    <a:gd name="connsiteY12" fmla="*/ 28351 h 28480"/>
                                                    <a:gd name="connsiteX13" fmla="*/ 33033 w 46818"/>
                                                    <a:gd name="connsiteY13" fmla="*/ 27120 h 28480"/>
                                                    <a:gd name="connsiteX14" fmla="*/ 33552 w 46818"/>
                                                    <a:gd name="connsiteY14" fmla="*/ 22067 h 28480"/>
                                                    <a:gd name="connsiteX15" fmla="*/ 40484 w 46818"/>
                                                    <a:gd name="connsiteY15" fmla="*/ 17856 h 2848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6818" h="28480">
                                                      <a:moveTo>
                                                        <a:pt x="40419" y="17856"/>
                                                      </a:moveTo>
                                                      <a:cubicBezTo>
                                                        <a:pt x="41974" y="17661"/>
                                                        <a:pt x="43594" y="17467"/>
                                                        <a:pt x="44954" y="16560"/>
                                                      </a:cubicBezTo>
                                                      <a:cubicBezTo>
                                                        <a:pt x="46314" y="15718"/>
                                                        <a:pt x="47222" y="13969"/>
                                                        <a:pt x="46638" y="12479"/>
                                                      </a:cubicBezTo>
                                                      <a:cubicBezTo>
                                                        <a:pt x="46509" y="12090"/>
                                                        <a:pt x="46250" y="11701"/>
                                                        <a:pt x="45991" y="11377"/>
                                                      </a:cubicBezTo>
                                                      <a:cubicBezTo>
                                                        <a:pt x="38346" y="1141"/>
                                                        <a:pt x="23316" y="-2876"/>
                                                        <a:pt x="11589" y="2178"/>
                                                      </a:cubicBezTo>
                                                      <a:cubicBezTo>
                                                        <a:pt x="10617" y="2631"/>
                                                        <a:pt x="9646" y="3085"/>
                                                        <a:pt x="8998" y="3992"/>
                                                      </a:cubicBezTo>
                                                      <a:cubicBezTo>
                                                        <a:pt x="8091" y="5223"/>
                                                        <a:pt x="8156" y="7037"/>
                                                        <a:pt x="7314" y="8267"/>
                                                      </a:cubicBezTo>
                                                      <a:cubicBezTo>
                                                        <a:pt x="5759" y="10600"/>
                                                        <a:pt x="2195" y="10276"/>
                                                        <a:pt x="58" y="12090"/>
                                                      </a:cubicBezTo>
                                                      <a:cubicBezTo>
                                                        <a:pt x="-590" y="17467"/>
                                                        <a:pt x="4333" y="22779"/>
                                                        <a:pt x="9775" y="22585"/>
                                                      </a:cubicBezTo>
                                                      <a:cubicBezTo>
                                                        <a:pt x="11201" y="22585"/>
                                                        <a:pt x="12820" y="22196"/>
                                                        <a:pt x="13857" y="23168"/>
                                                      </a:cubicBezTo>
                                                      <a:cubicBezTo>
                                                        <a:pt x="14505" y="23751"/>
                                                        <a:pt x="14699" y="24658"/>
                                                        <a:pt x="15153" y="25436"/>
                                                      </a:cubicBezTo>
                                                      <a:cubicBezTo>
                                                        <a:pt x="16513" y="27898"/>
                                                        <a:pt x="19817" y="28416"/>
                                                        <a:pt x="22668" y="28481"/>
                                                      </a:cubicBezTo>
                                                      <a:cubicBezTo>
                                                        <a:pt x="25000" y="28481"/>
                                                        <a:pt x="27397" y="28481"/>
                                                        <a:pt x="29729" y="28351"/>
                                                      </a:cubicBezTo>
                                                      <a:cubicBezTo>
                                                        <a:pt x="30960" y="28286"/>
                                                        <a:pt x="32321" y="28092"/>
                                                        <a:pt x="33033" y="27120"/>
                                                      </a:cubicBezTo>
                                                      <a:cubicBezTo>
                                                        <a:pt x="34070" y="25760"/>
                                                        <a:pt x="33228" y="23751"/>
                                                        <a:pt x="33552" y="22067"/>
                                                      </a:cubicBezTo>
                                                      <a:cubicBezTo>
                                                        <a:pt x="34135" y="19216"/>
                                                        <a:pt x="37633" y="18244"/>
                                                        <a:pt x="40484" y="1785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1" name="Freeform: Shape 82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753D59D-5CC4-494E-85A1-D27B548DFB0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68986" y="1354889"/>
                                                  <a:ext cx="736478" cy="41743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5 w 736478"/>
                                                    <a:gd name="connsiteY0" fmla="*/ 115955 h 417433"/>
                                                    <a:gd name="connsiteX1" fmla="*/ 11402 w 736478"/>
                                                    <a:gd name="connsiteY1" fmla="*/ 127292 h 417433"/>
                                                    <a:gd name="connsiteX2" fmla="*/ 48201 w 736478"/>
                                                    <a:gd name="connsiteY2" fmla="*/ 147959 h 417433"/>
                                                    <a:gd name="connsiteX3" fmla="*/ 85971 w 736478"/>
                                                    <a:gd name="connsiteY3" fmla="*/ 138241 h 417433"/>
                                                    <a:gd name="connsiteX4" fmla="*/ 89469 w 736478"/>
                                                    <a:gd name="connsiteY4" fmla="*/ 133318 h 417433"/>
                                                    <a:gd name="connsiteX5" fmla="*/ 101778 w 736478"/>
                                                    <a:gd name="connsiteY5" fmla="*/ 140768 h 417433"/>
                                                    <a:gd name="connsiteX6" fmla="*/ 107220 w 736478"/>
                                                    <a:gd name="connsiteY6" fmla="*/ 156576 h 417433"/>
                                                    <a:gd name="connsiteX7" fmla="*/ 122963 w 736478"/>
                                                    <a:gd name="connsiteY7" fmla="*/ 160139 h 417433"/>
                                                    <a:gd name="connsiteX8" fmla="*/ 163584 w 736478"/>
                                                    <a:gd name="connsiteY8" fmla="*/ 157807 h 417433"/>
                                                    <a:gd name="connsiteX9" fmla="*/ 172071 w 736478"/>
                                                    <a:gd name="connsiteY9" fmla="*/ 155604 h 417433"/>
                                                    <a:gd name="connsiteX10" fmla="*/ 176606 w 736478"/>
                                                    <a:gd name="connsiteY10" fmla="*/ 150939 h 417433"/>
                                                    <a:gd name="connsiteX11" fmla="*/ 188915 w 736478"/>
                                                    <a:gd name="connsiteY11" fmla="*/ 148348 h 417433"/>
                                                    <a:gd name="connsiteX12" fmla="*/ 233812 w 736478"/>
                                                    <a:gd name="connsiteY12" fmla="*/ 146987 h 417433"/>
                                                    <a:gd name="connsiteX13" fmla="*/ 241910 w 736478"/>
                                                    <a:gd name="connsiteY13" fmla="*/ 144849 h 417433"/>
                                                    <a:gd name="connsiteX14" fmla="*/ 247093 w 736478"/>
                                                    <a:gd name="connsiteY14" fmla="*/ 139667 h 417433"/>
                                                    <a:gd name="connsiteX15" fmla="*/ 272489 w 736478"/>
                                                    <a:gd name="connsiteY15" fmla="*/ 128264 h 417433"/>
                                                    <a:gd name="connsiteX16" fmla="*/ 280911 w 736478"/>
                                                    <a:gd name="connsiteY16" fmla="*/ 112392 h 417433"/>
                                                    <a:gd name="connsiteX17" fmla="*/ 278838 w 736478"/>
                                                    <a:gd name="connsiteY17" fmla="*/ 151652 h 417433"/>
                                                    <a:gd name="connsiteX18" fmla="*/ 272165 w 736478"/>
                                                    <a:gd name="connsiteY18" fmla="*/ 155928 h 417433"/>
                                                    <a:gd name="connsiteX19" fmla="*/ 268731 w 736478"/>
                                                    <a:gd name="connsiteY19" fmla="*/ 160268 h 417433"/>
                                                    <a:gd name="connsiteX20" fmla="*/ 247222 w 736478"/>
                                                    <a:gd name="connsiteY20" fmla="*/ 167719 h 417433"/>
                                                    <a:gd name="connsiteX21" fmla="*/ 200512 w 736478"/>
                                                    <a:gd name="connsiteY21" fmla="*/ 171088 h 417433"/>
                                                    <a:gd name="connsiteX22" fmla="*/ 191571 w 736478"/>
                                                    <a:gd name="connsiteY22" fmla="*/ 175428 h 417433"/>
                                                    <a:gd name="connsiteX23" fmla="*/ 198957 w 736478"/>
                                                    <a:gd name="connsiteY23" fmla="*/ 184239 h 417433"/>
                                                    <a:gd name="connsiteX24" fmla="*/ 210748 w 736478"/>
                                                    <a:gd name="connsiteY24" fmla="*/ 188969 h 417433"/>
                                                    <a:gd name="connsiteX25" fmla="*/ 214765 w 736478"/>
                                                    <a:gd name="connsiteY25" fmla="*/ 194994 h 417433"/>
                                                    <a:gd name="connsiteX26" fmla="*/ 219688 w 736478"/>
                                                    <a:gd name="connsiteY26" fmla="*/ 196160 h 417433"/>
                                                    <a:gd name="connsiteX27" fmla="*/ 230702 w 736478"/>
                                                    <a:gd name="connsiteY27" fmla="*/ 202897 h 417433"/>
                                                    <a:gd name="connsiteX28" fmla="*/ 223381 w 736478"/>
                                                    <a:gd name="connsiteY28" fmla="*/ 217928 h 417433"/>
                                                    <a:gd name="connsiteX29" fmla="*/ 207185 w 736478"/>
                                                    <a:gd name="connsiteY29" fmla="*/ 213717 h 417433"/>
                                                    <a:gd name="connsiteX30" fmla="*/ 202779 w 736478"/>
                                                    <a:gd name="connsiteY30" fmla="*/ 207692 h 417433"/>
                                                    <a:gd name="connsiteX31" fmla="*/ 189304 w 736478"/>
                                                    <a:gd name="connsiteY31" fmla="*/ 204064 h 417433"/>
                                                    <a:gd name="connsiteX32" fmla="*/ 182566 w 736478"/>
                                                    <a:gd name="connsiteY32" fmla="*/ 192532 h 417433"/>
                                                    <a:gd name="connsiteX33" fmla="*/ 164815 w 736478"/>
                                                    <a:gd name="connsiteY33" fmla="*/ 184563 h 417433"/>
                                                    <a:gd name="connsiteX34" fmla="*/ 162677 w 736478"/>
                                                    <a:gd name="connsiteY34" fmla="*/ 179769 h 417433"/>
                                                    <a:gd name="connsiteX35" fmla="*/ 157041 w 736478"/>
                                                    <a:gd name="connsiteY35" fmla="*/ 176659 h 417433"/>
                                                    <a:gd name="connsiteX36" fmla="*/ 124777 w 736478"/>
                                                    <a:gd name="connsiteY36" fmla="*/ 170958 h 417433"/>
                                                    <a:gd name="connsiteX37" fmla="*/ 107026 w 736478"/>
                                                    <a:gd name="connsiteY37" fmla="*/ 173226 h 417433"/>
                                                    <a:gd name="connsiteX38" fmla="*/ 96984 w 736478"/>
                                                    <a:gd name="connsiteY38" fmla="*/ 188645 h 417433"/>
                                                    <a:gd name="connsiteX39" fmla="*/ 121732 w 736478"/>
                                                    <a:gd name="connsiteY39" fmla="*/ 215855 h 417433"/>
                                                    <a:gd name="connsiteX40" fmla="*/ 130608 w 736478"/>
                                                    <a:gd name="connsiteY40" fmla="*/ 217215 h 417433"/>
                                                    <a:gd name="connsiteX41" fmla="*/ 133199 w 736478"/>
                                                    <a:gd name="connsiteY41" fmla="*/ 221102 h 417433"/>
                                                    <a:gd name="connsiteX42" fmla="*/ 143112 w 736478"/>
                                                    <a:gd name="connsiteY42" fmla="*/ 229978 h 417433"/>
                                                    <a:gd name="connsiteX43" fmla="*/ 145833 w 736478"/>
                                                    <a:gd name="connsiteY43" fmla="*/ 241769 h 417433"/>
                                                    <a:gd name="connsiteX44" fmla="*/ 164815 w 736478"/>
                                                    <a:gd name="connsiteY44" fmla="*/ 251940 h 417433"/>
                                                    <a:gd name="connsiteX45" fmla="*/ 168572 w 736478"/>
                                                    <a:gd name="connsiteY45" fmla="*/ 254208 h 417433"/>
                                                    <a:gd name="connsiteX46" fmla="*/ 193256 w 736478"/>
                                                    <a:gd name="connsiteY46" fmla="*/ 269108 h 417433"/>
                                                    <a:gd name="connsiteX47" fmla="*/ 197143 w 736478"/>
                                                    <a:gd name="connsiteY47" fmla="*/ 272089 h 417433"/>
                                                    <a:gd name="connsiteX48" fmla="*/ 199540 w 736478"/>
                                                    <a:gd name="connsiteY48" fmla="*/ 281353 h 417433"/>
                                                    <a:gd name="connsiteX49" fmla="*/ 195329 w 736478"/>
                                                    <a:gd name="connsiteY49" fmla="*/ 291524 h 417433"/>
                                                    <a:gd name="connsiteX50" fmla="*/ 188138 w 736478"/>
                                                    <a:gd name="connsiteY50" fmla="*/ 289905 h 417433"/>
                                                    <a:gd name="connsiteX51" fmla="*/ 143889 w 736478"/>
                                                    <a:gd name="connsiteY51" fmla="*/ 270728 h 417433"/>
                                                    <a:gd name="connsiteX52" fmla="*/ 127239 w 736478"/>
                                                    <a:gd name="connsiteY52" fmla="*/ 266971 h 417433"/>
                                                    <a:gd name="connsiteX53" fmla="*/ 105277 w 736478"/>
                                                    <a:gd name="connsiteY53" fmla="*/ 273384 h 417433"/>
                                                    <a:gd name="connsiteX54" fmla="*/ 93356 w 736478"/>
                                                    <a:gd name="connsiteY54" fmla="*/ 279474 h 417433"/>
                                                    <a:gd name="connsiteX55" fmla="*/ 79233 w 736478"/>
                                                    <a:gd name="connsiteY55" fmla="*/ 281094 h 417433"/>
                                                    <a:gd name="connsiteX56" fmla="*/ 68738 w 736478"/>
                                                    <a:gd name="connsiteY56" fmla="*/ 306231 h 417433"/>
                                                    <a:gd name="connsiteX57" fmla="*/ 94522 w 736478"/>
                                                    <a:gd name="connsiteY57" fmla="*/ 308304 h 417433"/>
                                                    <a:gd name="connsiteX58" fmla="*/ 119530 w 736478"/>
                                                    <a:gd name="connsiteY58" fmla="*/ 304546 h 417433"/>
                                                    <a:gd name="connsiteX59" fmla="*/ 130154 w 736478"/>
                                                    <a:gd name="connsiteY59" fmla="*/ 292496 h 417433"/>
                                                    <a:gd name="connsiteX60" fmla="*/ 144666 w 736478"/>
                                                    <a:gd name="connsiteY60" fmla="*/ 289127 h 417433"/>
                                                    <a:gd name="connsiteX61" fmla="*/ 134107 w 736478"/>
                                                    <a:gd name="connsiteY61" fmla="*/ 302214 h 417433"/>
                                                    <a:gd name="connsiteX62" fmla="*/ 133912 w 736478"/>
                                                    <a:gd name="connsiteY62" fmla="*/ 310442 h 417433"/>
                                                    <a:gd name="connsiteX63" fmla="*/ 121991 w 736478"/>
                                                    <a:gd name="connsiteY63" fmla="*/ 317309 h 417433"/>
                                                    <a:gd name="connsiteX64" fmla="*/ 129571 w 736478"/>
                                                    <a:gd name="connsiteY64" fmla="*/ 328841 h 417433"/>
                                                    <a:gd name="connsiteX65" fmla="*/ 137864 w 736478"/>
                                                    <a:gd name="connsiteY65" fmla="*/ 329424 h 417433"/>
                                                    <a:gd name="connsiteX66" fmla="*/ 144731 w 736478"/>
                                                    <a:gd name="connsiteY66" fmla="*/ 335255 h 417433"/>
                                                    <a:gd name="connsiteX67" fmla="*/ 158531 w 736478"/>
                                                    <a:gd name="connsiteY67" fmla="*/ 353071 h 417433"/>
                                                    <a:gd name="connsiteX68" fmla="*/ 147647 w 736478"/>
                                                    <a:gd name="connsiteY68" fmla="*/ 357282 h 417433"/>
                                                    <a:gd name="connsiteX69" fmla="*/ 148748 w 736478"/>
                                                    <a:gd name="connsiteY69" fmla="*/ 364862 h 417433"/>
                                                    <a:gd name="connsiteX70" fmla="*/ 132033 w 736478"/>
                                                    <a:gd name="connsiteY70" fmla="*/ 363566 h 417433"/>
                                                    <a:gd name="connsiteX71" fmla="*/ 128081 w 736478"/>
                                                    <a:gd name="connsiteY71" fmla="*/ 361817 h 417433"/>
                                                    <a:gd name="connsiteX72" fmla="*/ 126462 w 736478"/>
                                                    <a:gd name="connsiteY72" fmla="*/ 357152 h 417433"/>
                                                    <a:gd name="connsiteX73" fmla="*/ 112921 w 736478"/>
                                                    <a:gd name="connsiteY73" fmla="*/ 345232 h 417433"/>
                                                    <a:gd name="connsiteX74" fmla="*/ 103528 w 736478"/>
                                                    <a:gd name="connsiteY74" fmla="*/ 330137 h 417433"/>
                                                    <a:gd name="connsiteX75" fmla="*/ 85388 w 736478"/>
                                                    <a:gd name="connsiteY75" fmla="*/ 325537 h 417433"/>
                                                    <a:gd name="connsiteX76" fmla="*/ 72171 w 736478"/>
                                                    <a:gd name="connsiteY76" fmla="*/ 323917 h 417433"/>
                                                    <a:gd name="connsiteX77" fmla="*/ 66470 w 736478"/>
                                                    <a:gd name="connsiteY77" fmla="*/ 323788 h 417433"/>
                                                    <a:gd name="connsiteX78" fmla="*/ 58372 w 736478"/>
                                                    <a:gd name="connsiteY78" fmla="*/ 336745 h 417433"/>
                                                    <a:gd name="connsiteX79" fmla="*/ 70487 w 736478"/>
                                                    <a:gd name="connsiteY79" fmla="*/ 347240 h 417433"/>
                                                    <a:gd name="connsiteX80" fmla="*/ 79103 w 736478"/>
                                                    <a:gd name="connsiteY80" fmla="*/ 348341 h 417433"/>
                                                    <a:gd name="connsiteX81" fmla="*/ 86618 w 736478"/>
                                                    <a:gd name="connsiteY81" fmla="*/ 364084 h 417433"/>
                                                    <a:gd name="connsiteX82" fmla="*/ 86230 w 736478"/>
                                                    <a:gd name="connsiteY82" fmla="*/ 367388 h 417433"/>
                                                    <a:gd name="connsiteX83" fmla="*/ 81047 w 736478"/>
                                                    <a:gd name="connsiteY83" fmla="*/ 369202 h 417433"/>
                                                    <a:gd name="connsiteX84" fmla="*/ 39778 w 736478"/>
                                                    <a:gd name="connsiteY84" fmla="*/ 370563 h 417433"/>
                                                    <a:gd name="connsiteX85" fmla="*/ 30644 w 736478"/>
                                                    <a:gd name="connsiteY85" fmla="*/ 372118 h 417433"/>
                                                    <a:gd name="connsiteX86" fmla="*/ 22027 w 736478"/>
                                                    <a:gd name="connsiteY86" fmla="*/ 380929 h 417433"/>
                                                    <a:gd name="connsiteX87" fmla="*/ 27663 w 736478"/>
                                                    <a:gd name="connsiteY87" fmla="*/ 393756 h 417433"/>
                                                    <a:gd name="connsiteX88" fmla="*/ 42759 w 736478"/>
                                                    <a:gd name="connsiteY88" fmla="*/ 396088 h 417433"/>
                                                    <a:gd name="connsiteX89" fmla="*/ 95559 w 736478"/>
                                                    <a:gd name="connsiteY89" fmla="*/ 395376 h 417433"/>
                                                    <a:gd name="connsiteX90" fmla="*/ 103463 w 736478"/>
                                                    <a:gd name="connsiteY90" fmla="*/ 397708 h 417433"/>
                                                    <a:gd name="connsiteX91" fmla="*/ 106637 w 736478"/>
                                                    <a:gd name="connsiteY91" fmla="*/ 406260 h 417433"/>
                                                    <a:gd name="connsiteX92" fmla="*/ 123352 w 736478"/>
                                                    <a:gd name="connsiteY92" fmla="*/ 408463 h 417433"/>
                                                    <a:gd name="connsiteX93" fmla="*/ 128146 w 736478"/>
                                                    <a:gd name="connsiteY93" fmla="*/ 412091 h 417433"/>
                                                    <a:gd name="connsiteX94" fmla="*/ 136050 w 736478"/>
                                                    <a:gd name="connsiteY94" fmla="*/ 411572 h 417433"/>
                                                    <a:gd name="connsiteX95" fmla="*/ 156263 w 736478"/>
                                                    <a:gd name="connsiteY95" fmla="*/ 398680 h 417433"/>
                                                    <a:gd name="connsiteX96" fmla="*/ 160215 w 736478"/>
                                                    <a:gd name="connsiteY96" fmla="*/ 392136 h 417433"/>
                                                    <a:gd name="connsiteX97" fmla="*/ 167989 w 736478"/>
                                                    <a:gd name="connsiteY97" fmla="*/ 390258 h 417433"/>
                                                    <a:gd name="connsiteX98" fmla="*/ 228305 w 736478"/>
                                                    <a:gd name="connsiteY98" fmla="*/ 403409 h 417433"/>
                                                    <a:gd name="connsiteX99" fmla="*/ 242299 w 736478"/>
                                                    <a:gd name="connsiteY99" fmla="*/ 414811 h 417433"/>
                                                    <a:gd name="connsiteX100" fmla="*/ 259272 w 736478"/>
                                                    <a:gd name="connsiteY100" fmla="*/ 414876 h 417433"/>
                                                    <a:gd name="connsiteX101" fmla="*/ 264909 w 736478"/>
                                                    <a:gd name="connsiteY101" fmla="*/ 409370 h 417433"/>
                                                    <a:gd name="connsiteX102" fmla="*/ 283373 w 736478"/>
                                                    <a:gd name="connsiteY102" fmla="*/ 406260 h 417433"/>
                                                    <a:gd name="connsiteX103" fmla="*/ 287325 w 736478"/>
                                                    <a:gd name="connsiteY103" fmla="*/ 401466 h 417433"/>
                                                    <a:gd name="connsiteX104" fmla="*/ 306436 w 736478"/>
                                                    <a:gd name="connsiteY104" fmla="*/ 399781 h 417433"/>
                                                    <a:gd name="connsiteX105" fmla="*/ 319329 w 736478"/>
                                                    <a:gd name="connsiteY105" fmla="*/ 382160 h 417433"/>
                                                    <a:gd name="connsiteX106" fmla="*/ 302225 w 736478"/>
                                                    <a:gd name="connsiteY106" fmla="*/ 367518 h 417433"/>
                                                    <a:gd name="connsiteX107" fmla="*/ 293479 w 736478"/>
                                                    <a:gd name="connsiteY107" fmla="*/ 372506 h 417433"/>
                                                    <a:gd name="connsiteX108" fmla="*/ 293285 w 736478"/>
                                                    <a:gd name="connsiteY108" fmla="*/ 376653 h 417433"/>
                                                    <a:gd name="connsiteX109" fmla="*/ 285835 w 736478"/>
                                                    <a:gd name="connsiteY109" fmla="*/ 379698 h 417433"/>
                                                    <a:gd name="connsiteX110" fmla="*/ 282790 w 736478"/>
                                                    <a:gd name="connsiteY110" fmla="*/ 375940 h 417433"/>
                                                    <a:gd name="connsiteX111" fmla="*/ 256098 w 736478"/>
                                                    <a:gd name="connsiteY111" fmla="*/ 367712 h 417433"/>
                                                    <a:gd name="connsiteX112" fmla="*/ 227268 w 736478"/>
                                                    <a:gd name="connsiteY112" fmla="*/ 365898 h 417433"/>
                                                    <a:gd name="connsiteX113" fmla="*/ 217162 w 736478"/>
                                                    <a:gd name="connsiteY113" fmla="*/ 367064 h 417433"/>
                                                    <a:gd name="connsiteX114" fmla="*/ 214894 w 736478"/>
                                                    <a:gd name="connsiteY114" fmla="*/ 355014 h 417433"/>
                                                    <a:gd name="connsiteX115" fmla="*/ 218522 w 736478"/>
                                                    <a:gd name="connsiteY115" fmla="*/ 346981 h 417433"/>
                                                    <a:gd name="connsiteX116" fmla="*/ 225649 w 736478"/>
                                                    <a:gd name="connsiteY116" fmla="*/ 346722 h 417433"/>
                                                    <a:gd name="connsiteX117" fmla="*/ 307408 w 736478"/>
                                                    <a:gd name="connsiteY117" fmla="*/ 345167 h 417433"/>
                                                    <a:gd name="connsiteX118" fmla="*/ 300800 w 736478"/>
                                                    <a:gd name="connsiteY118" fmla="*/ 312256 h 417433"/>
                                                    <a:gd name="connsiteX119" fmla="*/ 316996 w 736478"/>
                                                    <a:gd name="connsiteY119" fmla="*/ 307202 h 417433"/>
                                                    <a:gd name="connsiteX120" fmla="*/ 339866 w 736478"/>
                                                    <a:gd name="connsiteY120" fmla="*/ 308433 h 417433"/>
                                                    <a:gd name="connsiteX121" fmla="*/ 355544 w 736478"/>
                                                    <a:gd name="connsiteY121" fmla="*/ 306295 h 417433"/>
                                                    <a:gd name="connsiteX122" fmla="*/ 359885 w 736478"/>
                                                    <a:gd name="connsiteY122" fmla="*/ 292820 h 417433"/>
                                                    <a:gd name="connsiteX123" fmla="*/ 374073 w 736478"/>
                                                    <a:gd name="connsiteY123" fmla="*/ 277725 h 417433"/>
                                                    <a:gd name="connsiteX124" fmla="*/ 388455 w 736478"/>
                                                    <a:gd name="connsiteY124" fmla="*/ 253042 h 417433"/>
                                                    <a:gd name="connsiteX125" fmla="*/ 329435 w 736478"/>
                                                    <a:gd name="connsiteY125" fmla="*/ 250968 h 417433"/>
                                                    <a:gd name="connsiteX126" fmla="*/ 318227 w 736478"/>
                                                    <a:gd name="connsiteY126" fmla="*/ 245656 h 417433"/>
                                                    <a:gd name="connsiteX127" fmla="*/ 328204 w 736478"/>
                                                    <a:gd name="connsiteY127" fmla="*/ 234837 h 417433"/>
                                                    <a:gd name="connsiteX128" fmla="*/ 381393 w 736478"/>
                                                    <a:gd name="connsiteY128" fmla="*/ 229136 h 417433"/>
                                                    <a:gd name="connsiteX129" fmla="*/ 405170 w 736478"/>
                                                    <a:gd name="connsiteY129" fmla="*/ 228229 h 417433"/>
                                                    <a:gd name="connsiteX130" fmla="*/ 415795 w 736478"/>
                                                    <a:gd name="connsiteY130" fmla="*/ 209570 h 417433"/>
                                                    <a:gd name="connsiteX131" fmla="*/ 422597 w 736478"/>
                                                    <a:gd name="connsiteY131" fmla="*/ 207173 h 417433"/>
                                                    <a:gd name="connsiteX132" fmla="*/ 452723 w 736478"/>
                                                    <a:gd name="connsiteY132" fmla="*/ 209830 h 417433"/>
                                                    <a:gd name="connsiteX133" fmla="*/ 461922 w 736478"/>
                                                    <a:gd name="connsiteY133" fmla="*/ 209246 h 417433"/>
                                                    <a:gd name="connsiteX134" fmla="*/ 469373 w 736478"/>
                                                    <a:gd name="connsiteY134" fmla="*/ 200695 h 417433"/>
                                                    <a:gd name="connsiteX135" fmla="*/ 489780 w 736478"/>
                                                    <a:gd name="connsiteY135" fmla="*/ 171412 h 417433"/>
                                                    <a:gd name="connsiteX136" fmla="*/ 518091 w 736478"/>
                                                    <a:gd name="connsiteY136" fmla="*/ 161888 h 417433"/>
                                                    <a:gd name="connsiteX137" fmla="*/ 562858 w 736478"/>
                                                    <a:gd name="connsiteY137" fmla="*/ 144526 h 417433"/>
                                                    <a:gd name="connsiteX138" fmla="*/ 593502 w 736478"/>
                                                    <a:gd name="connsiteY138" fmla="*/ 122563 h 417433"/>
                                                    <a:gd name="connsiteX139" fmla="*/ 651550 w 736478"/>
                                                    <a:gd name="connsiteY139" fmla="*/ 108310 h 417433"/>
                                                    <a:gd name="connsiteX140" fmla="*/ 622915 w 736478"/>
                                                    <a:gd name="connsiteY140" fmla="*/ 95742 h 417433"/>
                                                    <a:gd name="connsiteX141" fmla="*/ 590198 w 736478"/>
                                                    <a:gd name="connsiteY141" fmla="*/ 100536 h 417433"/>
                                                    <a:gd name="connsiteX142" fmla="*/ 575880 w 736478"/>
                                                    <a:gd name="connsiteY142" fmla="*/ 89652 h 417433"/>
                                                    <a:gd name="connsiteX143" fmla="*/ 587995 w 736478"/>
                                                    <a:gd name="connsiteY143" fmla="*/ 83173 h 417433"/>
                                                    <a:gd name="connsiteX144" fmla="*/ 663535 w 736478"/>
                                                    <a:gd name="connsiteY144" fmla="*/ 76695 h 417433"/>
                                                    <a:gd name="connsiteX145" fmla="*/ 731431 w 736478"/>
                                                    <a:gd name="connsiteY145" fmla="*/ 45533 h 417433"/>
                                                    <a:gd name="connsiteX146" fmla="*/ 735512 w 736478"/>
                                                    <a:gd name="connsiteY146" fmla="*/ 32835 h 417433"/>
                                                    <a:gd name="connsiteX147" fmla="*/ 705516 w 736478"/>
                                                    <a:gd name="connsiteY147" fmla="*/ 40480 h 417433"/>
                                                    <a:gd name="connsiteX148" fmla="*/ 644294 w 736478"/>
                                                    <a:gd name="connsiteY148" fmla="*/ 7892 h 417433"/>
                                                    <a:gd name="connsiteX149" fmla="*/ 627709 w 736478"/>
                                                    <a:gd name="connsiteY149" fmla="*/ 10419 h 417433"/>
                                                    <a:gd name="connsiteX150" fmla="*/ 590522 w 736478"/>
                                                    <a:gd name="connsiteY150" fmla="*/ 20590 h 417433"/>
                                                    <a:gd name="connsiteX151" fmla="*/ 585015 w 736478"/>
                                                    <a:gd name="connsiteY151" fmla="*/ 20914 h 417433"/>
                                                    <a:gd name="connsiteX152" fmla="*/ 580350 w 736478"/>
                                                    <a:gd name="connsiteY152" fmla="*/ 15019 h 417433"/>
                                                    <a:gd name="connsiteX153" fmla="*/ 537333 w 736478"/>
                                                    <a:gd name="connsiteY153" fmla="*/ 5495 h 417433"/>
                                                    <a:gd name="connsiteX154" fmla="*/ 515241 w 736478"/>
                                                    <a:gd name="connsiteY154" fmla="*/ 21044 h 417433"/>
                                                    <a:gd name="connsiteX155" fmla="*/ 495287 w 736478"/>
                                                    <a:gd name="connsiteY155" fmla="*/ 10289 h 417433"/>
                                                    <a:gd name="connsiteX156" fmla="*/ 465097 w 736478"/>
                                                    <a:gd name="connsiteY156" fmla="*/ 7309 h 417433"/>
                                                    <a:gd name="connsiteX157" fmla="*/ 452399 w 736478"/>
                                                    <a:gd name="connsiteY157" fmla="*/ 13205 h 417433"/>
                                                    <a:gd name="connsiteX158" fmla="*/ 434647 w 736478"/>
                                                    <a:gd name="connsiteY158" fmla="*/ 15472 h 417433"/>
                                                    <a:gd name="connsiteX159" fmla="*/ 371157 w 736478"/>
                                                    <a:gd name="connsiteY159" fmla="*/ 16703 h 417433"/>
                                                    <a:gd name="connsiteX160" fmla="*/ 360338 w 736478"/>
                                                    <a:gd name="connsiteY160" fmla="*/ 14436 h 417433"/>
                                                    <a:gd name="connsiteX161" fmla="*/ 354572 w 736478"/>
                                                    <a:gd name="connsiteY161" fmla="*/ 6143 h 417433"/>
                                                    <a:gd name="connsiteX162" fmla="*/ 325224 w 736478"/>
                                                    <a:gd name="connsiteY162" fmla="*/ 11909 h 417433"/>
                                                    <a:gd name="connsiteX163" fmla="*/ 323410 w 736478"/>
                                                    <a:gd name="connsiteY163" fmla="*/ 17351 h 417433"/>
                                                    <a:gd name="connsiteX164" fmla="*/ 308898 w 736478"/>
                                                    <a:gd name="connsiteY164" fmla="*/ 11520 h 417433"/>
                                                    <a:gd name="connsiteX165" fmla="*/ 259532 w 736478"/>
                                                    <a:gd name="connsiteY165" fmla="*/ 15472 h 417433"/>
                                                    <a:gd name="connsiteX166" fmla="*/ 236792 w 736478"/>
                                                    <a:gd name="connsiteY166" fmla="*/ 22275 h 417433"/>
                                                    <a:gd name="connsiteX167" fmla="*/ 235043 w 736478"/>
                                                    <a:gd name="connsiteY167" fmla="*/ 28883 h 417433"/>
                                                    <a:gd name="connsiteX168" fmla="*/ 197920 w 736478"/>
                                                    <a:gd name="connsiteY168" fmla="*/ 38730 h 417433"/>
                                                    <a:gd name="connsiteX169" fmla="*/ 192349 w 736478"/>
                                                    <a:gd name="connsiteY169" fmla="*/ 49420 h 417433"/>
                                                    <a:gd name="connsiteX170" fmla="*/ 172524 w 736478"/>
                                                    <a:gd name="connsiteY170" fmla="*/ 51040 h 417433"/>
                                                    <a:gd name="connsiteX171" fmla="*/ 154967 w 736478"/>
                                                    <a:gd name="connsiteY171" fmla="*/ 38342 h 417433"/>
                                                    <a:gd name="connsiteX172" fmla="*/ 115902 w 736478"/>
                                                    <a:gd name="connsiteY172" fmla="*/ 40739 h 417433"/>
                                                    <a:gd name="connsiteX173" fmla="*/ 94263 w 736478"/>
                                                    <a:gd name="connsiteY173" fmla="*/ 74622 h 417433"/>
                                                    <a:gd name="connsiteX174" fmla="*/ 78455 w 736478"/>
                                                    <a:gd name="connsiteY174" fmla="*/ 74687 h 417433"/>
                                                    <a:gd name="connsiteX175" fmla="*/ 58890 w 736478"/>
                                                    <a:gd name="connsiteY175" fmla="*/ 57972 h 417433"/>
                                                    <a:gd name="connsiteX176" fmla="*/ 35503 w 736478"/>
                                                    <a:gd name="connsiteY176" fmla="*/ 69439 h 417433"/>
                                                    <a:gd name="connsiteX177" fmla="*/ 31939 w 736478"/>
                                                    <a:gd name="connsiteY177" fmla="*/ 73520 h 417433"/>
                                                    <a:gd name="connsiteX178" fmla="*/ 10495 w 736478"/>
                                                    <a:gd name="connsiteY178" fmla="*/ 79481 h 417433"/>
                                                    <a:gd name="connsiteX179" fmla="*/ 11856 w 736478"/>
                                                    <a:gd name="connsiteY179" fmla="*/ 90365 h 417433"/>
                                                    <a:gd name="connsiteX180" fmla="*/ 18399 w 736478"/>
                                                    <a:gd name="connsiteY180" fmla="*/ 99953 h 417433"/>
                                                    <a:gd name="connsiteX181" fmla="*/ 14836 w 736478"/>
                                                    <a:gd name="connsiteY181" fmla="*/ 114465 h 417433"/>
                                                    <a:gd name="connsiteX182" fmla="*/ 0 w 736478"/>
                                                    <a:gd name="connsiteY182" fmla="*/ 115890 h 41743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736478" h="417433">
                                                      <a:moveTo>
                                                        <a:pt x="65" y="115955"/>
                                                      </a:moveTo>
                                                      <a:cubicBezTo>
                                                        <a:pt x="583" y="121527"/>
                                                        <a:pt x="6479" y="124636"/>
                                                        <a:pt x="11402" y="127292"/>
                                                      </a:cubicBezTo>
                                                      <a:cubicBezTo>
                                                        <a:pt x="23841" y="133901"/>
                                                        <a:pt x="34855" y="143359"/>
                                                        <a:pt x="48201" y="147959"/>
                                                      </a:cubicBezTo>
                                                      <a:cubicBezTo>
                                                        <a:pt x="61546" y="152559"/>
                                                        <a:pt x="78909" y="150421"/>
                                                        <a:pt x="85971" y="138241"/>
                                                      </a:cubicBezTo>
                                                      <a:cubicBezTo>
                                                        <a:pt x="87007" y="136492"/>
                                                        <a:pt x="87849" y="134484"/>
                                                        <a:pt x="89469" y="133318"/>
                                                      </a:cubicBezTo>
                                                      <a:cubicBezTo>
                                                        <a:pt x="94069" y="130013"/>
                                                        <a:pt x="100224" y="135391"/>
                                                        <a:pt x="101778" y="140768"/>
                                                      </a:cubicBezTo>
                                                      <a:cubicBezTo>
                                                        <a:pt x="103333" y="146210"/>
                                                        <a:pt x="103204" y="152559"/>
                                                        <a:pt x="107220" y="156576"/>
                                                      </a:cubicBezTo>
                                                      <a:cubicBezTo>
                                                        <a:pt x="111172" y="160528"/>
                                                        <a:pt x="117457" y="160463"/>
                                                        <a:pt x="122963" y="160139"/>
                                                      </a:cubicBezTo>
                                                      <a:cubicBezTo>
                                                        <a:pt x="136504" y="159361"/>
                                                        <a:pt x="150044" y="158584"/>
                                                        <a:pt x="163584" y="157807"/>
                                                      </a:cubicBezTo>
                                                      <a:cubicBezTo>
                                                        <a:pt x="166564" y="157612"/>
                                                        <a:pt x="169674" y="157418"/>
                                                        <a:pt x="172071" y="155604"/>
                                                      </a:cubicBezTo>
                                                      <a:cubicBezTo>
                                                        <a:pt x="173820" y="154308"/>
                                                        <a:pt x="174921" y="152300"/>
                                                        <a:pt x="176606" y="150939"/>
                                                      </a:cubicBezTo>
                                                      <a:cubicBezTo>
                                                        <a:pt x="179910" y="148218"/>
                                                        <a:pt x="184574" y="148218"/>
                                                        <a:pt x="188915" y="148348"/>
                                                      </a:cubicBezTo>
                                                      <a:cubicBezTo>
                                                        <a:pt x="203881" y="148737"/>
                                                        <a:pt x="218911" y="148348"/>
                                                        <a:pt x="233812" y="146987"/>
                                                      </a:cubicBezTo>
                                                      <a:cubicBezTo>
                                                        <a:pt x="236597" y="146728"/>
                                                        <a:pt x="239578" y="146404"/>
                                                        <a:pt x="241910" y="144849"/>
                                                      </a:cubicBezTo>
                                                      <a:cubicBezTo>
                                                        <a:pt x="243983" y="143489"/>
                                                        <a:pt x="245343" y="141351"/>
                                                        <a:pt x="247093" y="139667"/>
                                                      </a:cubicBezTo>
                                                      <a:cubicBezTo>
                                                        <a:pt x="253830" y="133123"/>
                                                        <a:pt x="264779" y="133577"/>
                                                        <a:pt x="272489" y="128264"/>
                                                      </a:cubicBezTo>
                                                      <a:cubicBezTo>
                                                        <a:pt x="277607" y="124701"/>
                                                        <a:pt x="280846" y="118611"/>
                                                        <a:pt x="280911" y="112392"/>
                                                      </a:cubicBezTo>
                                                      <a:cubicBezTo>
                                                        <a:pt x="293155" y="121786"/>
                                                        <a:pt x="291989" y="143619"/>
                                                        <a:pt x="278838" y="151652"/>
                                                      </a:cubicBezTo>
                                                      <a:cubicBezTo>
                                                        <a:pt x="276570" y="153012"/>
                                                        <a:pt x="274044" y="154049"/>
                                                        <a:pt x="272165" y="155928"/>
                                                      </a:cubicBezTo>
                                                      <a:cubicBezTo>
                                                        <a:pt x="270869" y="157224"/>
                                                        <a:pt x="269897" y="158843"/>
                                                        <a:pt x="268731" y="160268"/>
                                                      </a:cubicBezTo>
                                                      <a:cubicBezTo>
                                                        <a:pt x="263678" y="166164"/>
                                                        <a:pt x="254996" y="167201"/>
                                                        <a:pt x="247222" y="167719"/>
                                                      </a:cubicBezTo>
                                                      <a:cubicBezTo>
                                                        <a:pt x="231674" y="168820"/>
                                                        <a:pt x="216060" y="169986"/>
                                                        <a:pt x="200512" y="171088"/>
                                                      </a:cubicBezTo>
                                                      <a:cubicBezTo>
                                                        <a:pt x="197013" y="171347"/>
                                                        <a:pt x="192802" y="172124"/>
                                                        <a:pt x="191571" y="175428"/>
                                                      </a:cubicBezTo>
                                                      <a:cubicBezTo>
                                                        <a:pt x="190081" y="179510"/>
                                                        <a:pt x="194746" y="183203"/>
                                                        <a:pt x="198957" y="184239"/>
                                                      </a:cubicBezTo>
                                                      <a:cubicBezTo>
                                                        <a:pt x="203168" y="185276"/>
                                                        <a:pt x="208157" y="185535"/>
                                                        <a:pt x="210748" y="188969"/>
                                                      </a:cubicBezTo>
                                                      <a:cubicBezTo>
                                                        <a:pt x="212238" y="190912"/>
                                                        <a:pt x="212691" y="193633"/>
                                                        <a:pt x="214765" y="194994"/>
                                                      </a:cubicBezTo>
                                                      <a:cubicBezTo>
                                                        <a:pt x="216190" y="195901"/>
                                                        <a:pt x="218004" y="195965"/>
                                                        <a:pt x="219688" y="196160"/>
                                                      </a:cubicBezTo>
                                                      <a:cubicBezTo>
                                                        <a:pt x="224094" y="196808"/>
                                                        <a:pt x="228175" y="199269"/>
                                                        <a:pt x="230702" y="202897"/>
                                                      </a:cubicBezTo>
                                                      <a:cubicBezTo>
                                                        <a:pt x="232127" y="208793"/>
                                                        <a:pt x="228888" y="215401"/>
                                                        <a:pt x="223381" y="217928"/>
                                                      </a:cubicBezTo>
                                                      <a:cubicBezTo>
                                                        <a:pt x="217874" y="220454"/>
                                                        <a:pt x="210748" y="218576"/>
                                                        <a:pt x="207185" y="213717"/>
                                                      </a:cubicBezTo>
                                                      <a:cubicBezTo>
                                                        <a:pt x="205695" y="211708"/>
                                                        <a:pt x="204788" y="209182"/>
                                                        <a:pt x="202779" y="207692"/>
                                                      </a:cubicBezTo>
                                                      <a:cubicBezTo>
                                                        <a:pt x="198957" y="204906"/>
                                                        <a:pt x="193061" y="206914"/>
                                                        <a:pt x="189304" y="204064"/>
                                                      </a:cubicBezTo>
                                                      <a:cubicBezTo>
                                                        <a:pt x="185676" y="201407"/>
                                                        <a:pt x="185741" y="195706"/>
                                                        <a:pt x="182566" y="192532"/>
                                                      </a:cubicBezTo>
                                                      <a:cubicBezTo>
                                                        <a:pt x="177837" y="187802"/>
                                                        <a:pt x="168119" y="190329"/>
                                                        <a:pt x="164815" y="184563"/>
                                                      </a:cubicBezTo>
                                                      <a:cubicBezTo>
                                                        <a:pt x="163908" y="183073"/>
                                                        <a:pt x="163713" y="181194"/>
                                                        <a:pt x="162677" y="179769"/>
                                                      </a:cubicBezTo>
                                                      <a:cubicBezTo>
                                                        <a:pt x="161381" y="178020"/>
                                                        <a:pt x="159179" y="177242"/>
                                                        <a:pt x="157041" y="176659"/>
                                                      </a:cubicBezTo>
                                                      <a:cubicBezTo>
                                                        <a:pt x="146480" y="173744"/>
                                                        <a:pt x="135661" y="171800"/>
                                                        <a:pt x="124777" y="170958"/>
                                                      </a:cubicBezTo>
                                                      <a:cubicBezTo>
                                                        <a:pt x="118752" y="170505"/>
                                                        <a:pt x="112338" y="170375"/>
                                                        <a:pt x="107026" y="173226"/>
                                                      </a:cubicBezTo>
                                                      <a:cubicBezTo>
                                                        <a:pt x="101390" y="176271"/>
                                                        <a:pt x="97762" y="182360"/>
                                                        <a:pt x="96984" y="188645"/>
                                                      </a:cubicBezTo>
                                                      <a:cubicBezTo>
                                                        <a:pt x="95170" y="202509"/>
                                                        <a:pt x="107803" y="216373"/>
                                                        <a:pt x="121732" y="215855"/>
                                                      </a:cubicBezTo>
                                                      <a:cubicBezTo>
                                                        <a:pt x="124777" y="215725"/>
                                                        <a:pt x="128276" y="215142"/>
                                                        <a:pt x="130608" y="217215"/>
                                                      </a:cubicBezTo>
                                                      <a:cubicBezTo>
                                                        <a:pt x="131774" y="218252"/>
                                                        <a:pt x="132357" y="219806"/>
                                                        <a:pt x="133199" y="221102"/>
                                                      </a:cubicBezTo>
                                                      <a:cubicBezTo>
                                                        <a:pt x="135532" y="224860"/>
                                                        <a:pt x="139807" y="226998"/>
                                                        <a:pt x="143112" y="229978"/>
                                                      </a:cubicBezTo>
                                                      <a:cubicBezTo>
                                                        <a:pt x="146416" y="233023"/>
                                                        <a:pt x="148618" y="238335"/>
                                                        <a:pt x="145833" y="241769"/>
                                                      </a:cubicBezTo>
                                                      <a:cubicBezTo>
                                                        <a:pt x="152506" y="244490"/>
                                                        <a:pt x="158660" y="248183"/>
                                                        <a:pt x="164815" y="251940"/>
                                                      </a:cubicBezTo>
                                                      <a:cubicBezTo>
                                                        <a:pt x="166046" y="252718"/>
                                                        <a:pt x="167277" y="253430"/>
                                                        <a:pt x="168572" y="254208"/>
                                                      </a:cubicBezTo>
                                                      <a:cubicBezTo>
                                                        <a:pt x="176800" y="259196"/>
                                                        <a:pt x="185028" y="264120"/>
                                                        <a:pt x="193256" y="269108"/>
                                                      </a:cubicBezTo>
                                                      <a:cubicBezTo>
                                                        <a:pt x="194681" y="269951"/>
                                                        <a:pt x="196106" y="270858"/>
                                                        <a:pt x="197143" y="272089"/>
                                                      </a:cubicBezTo>
                                                      <a:cubicBezTo>
                                                        <a:pt x="199216" y="274615"/>
                                                        <a:pt x="199410" y="278114"/>
                                                        <a:pt x="199540" y="281353"/>
                                                      </a:cubicBezTo>
                                                      <a:cubicBezTo>
                                                        <a:pt x="199670" y="285305"/>
                                                        <a:pt x="199087" y="290293"/>
                                                        <a:pt x="195329" y="291524"/>
                                                      </a:cubicBezTo>
                                                      <a:cubicBezTo>
                                                        <a:pt x="192932" y="292302"/>
                                                        <a:pt x="190340" y="291071"/>
                                                        <a:pt x="188138" y="289905"/>
                                                      </a:cubicBezTo>
                                                      <a:cubicBezTo>
                                                        <a:pt x="173950" y="282390"/>
                                                        <a:pt x="159114" y="275911"/>
                                                        <a:pt x="143889" y="270728"/>
                                                      </a:cubicBezTo>
                                                      <a:cubicBezTo>
                                                        <a:pt x="138512" y="268849"/>
                                                        <a:pt x="132940" y="267165"/>
                                                        <a:pt x="127239" y="266971"/>
                                                      </a:cubicBezTo>
                                                      <a:cubicBezTo>
                                                        <a:pt x="119530" y="266711"/>
                                                        <a:pt x="111885" y="269368"/>
                                                        <a:pt x="105277" y="273384"/>
                                                      </a:cubicBezTo>
                                                      <a:cubicBezTo>
                                                        <a:pt x="101454" y="275717"/>
                                                        <a:pt x="97762" y="278502"/>
                                                        <a:pt x="93356" y="279474"/>
                                                      </a:cubicBezTo>
                                                      <a:cubicBezTo>
                                                        <a:pt x="88692" y="280511"/>
                                                        <a:pt x="83638" y="279474"/>
                                                        <a:pt x="79233" y="281094"/>
                                                      </a:cubicBezTo>
                                                      <a:cubicBezTo>
                                                        <a:pt x="70163" y="284527"/>
                                                        <a:pt x="68738" y="296513"/>
                                                        <a:pt x="68738" y="306231"/>
                                                      </a:cubicBezTo>
                                                      <a:cubicBezTo>
                                                        <a:pt x="77224" y="304546"/>
                                                        <a:pt x="85971" y="306943"/>
                                                        <a:pt x="94522" y="308304"/>
                                                      </a:cubicBezTo>
                                                      <a:cubicBezTo>
                                                        <a:pt x="103074" y="309664"/>
                                                        <a:pt x="112662" y="309859"/>
                                                        <a:pt x="119530" y="304546"/>
                                                      </a:cubicBezTo>
                                                      <a:cubicBezTo>
                                                        <a:pt x="123805" y="301242"/>
                                                        <a:pt x="126397" y="296254"/>
                                                        <a:pt x="130154" y="292496"/>
                                                      </a:cubicBezTo>
                                                      <a:cubicBezTo>
                                                        <a:pt x="133912" y="288739"/>
                                                        <a:pt x="140196" y="286147"/>
                                                        <a:pt x="144666" y="289127"/>
                                                      </a:cubicBezTo>
                                                      <a:cubicBezTo>
                                                        <a:pt x="146221" y="295411"/>
                                                        <a:pt x="140585" y="302408"/>
                                                        <a:pt x="134107" y="302214"/>
                                                      </a:cubicBezTo>
                                                      <a:cubicBezTo>
                                                        <a:pt x="134107" y="304935"/>
                                                        <a:pt x="133977" y="307721"/>
                                                        <a:pt x="133912" y="310442"/>
                                                      </a:cubicBezTo>
                                                      <a:cubicBezTo>
                                                        <a:pt x="128988" y="308952"/>
                                                        <a:pt x="123158" y="312321"/>
                                                        <a:pt x="121991" y="317309"/>
                                                      </a:cubicBezTo>
                                                      <a:cubicBezTo>
                                                        <a:pt x="120825" y="322298"/>
                                                        <a:pt x="124518" y="327934"/>
                                                        <a:pt x="129571" y="328841"/>
                                                      </a:cubicBezTo>
                                                      <a:cubicBezTo>
                                                        <a:pt x="132292" y="329294"/>
                                                        <a:pt x="135208" y="328582"/>
                                                        <a:pt x="137864" y="329424"/>
                                                      </a:cubicBezTo>
                                                      <a:cubicBezTo>
                                                        <a:pt x="140779" y="330331"/>
                                                        <a:pt x="142852" y="332858"/>
                                                        <a:pt x="144731" y="335255"/>
                                                      </a:cubicBezTo>
                                                      <a:cubicBezTo>
                                                        <a:pt x="149331" y="341215"/>
                                                        <a:pt x="153931" y="347110"/>
                                                        <a:pt x="158531" y="353071"/>
                                                      </a:cubicBezTo>
                                                      <a:cubicBezTo>
                                                        <a:pt x="155162" y="355079"/>
                                                        <a:pt x="151469" y="356504"/>
                                                        <a:pt x="147647" y="357282"/>
                                                      </a:cubicBezTo>
                                                      <a:cubicBezTo>
                                                        <a:pt x="148554" y="359679"/>
                                                        <a:pt x="148878" y="362335"/>
                                                        <a:pt x="148748" y="364862"/>
                                                      </a:cubicBezTo>
                                                      <a:cubicBezTo>
                                                        <a:pt x="143176" y="365121"/>
                                                        <a:pt x="137540" y="364667"/>
                                                        <a:pt x="132033" y="363566"/>
                                                      </a:cubicBezTo>
                                                      <a:cubicBezTo>
                                                        <a:pt x="130608" y="363242"/>
                                                        <a:pt x="129053" y="362853"/>
                                                        <a:pt x="128081" y="361817"/>
                                                      </a:cubicBezTo>
                                                      <a:cubicBezTo>
                                                        <a:pt x="126980" y="360586"/>
                                                        <a:pt x="126786" y="358772"/>
                                                        <a:pt x="126462" y="357152"/>
                                                      </a:cubicBezTo>
                                                      <a:cubicBezTo>
                                                        <a:pt x="125036" y="350868"/>
                                                        <a:pt x="119335" y="345880"/>
                                                        <a:pt x="112921" y="345232"/>
                                                      </a:cubicBezTo>
                                                      <a:cubicBezTo>
                                                        <a:pt x="113440" y="339012"/>
                                                        <a:pt x="109034" y="333182"/>
                                                        <a:pt x="103528" y="330137"/>
                                                      </a:cubicBezTo>
                                                      <a:cubicBezTo>
                                                        <a:pt x="98021" y="327092"/>
                                                        <a:pt x="91607" y="326314"/>
                                                        <a:pt x="85388" y="325537"/>
                                                      </a:cubicBezTo>
                                                      <a:cubicBezTo>
                                                        <a:pt x="80982" y="325019"/>
                                                        <a:pt x="76577" y="324435"/>
                                                        <a:pt x="72171" y="323917"/>
                                                      </a:cubicBezTo>
                                                      <a:cubicBezTo>
                                                        <a:pt x="70293" y="323658"/>
                                                        <a:pt x="68349" y="323464"/>
                                                        <a:pt x="66470" y="323788"/>
                                                      </a:cubicBezTo>
                                                      <a:cubicBezTo>
                                                        <a:pt x="60899" y="324824"/>
                                                        <a:pt x="57141" y="331173"/>
                                                        <a:pt x="58372" y="336745"/>
                                                      </a:cubicBezTo>
                                                      <a:cubicBezTo>
                                                        <a:pt x="59538" y="342316"/>
                                                        <a:pt x="64851" y="346463"/>
                                                        <a:pt x="70487" y="347240"/>
                                                      </a:cubicBezTo>
                                                      <a:cubicBezTo>
                                                        <a:pt x="73402" y="347629"/>
                                                        <a:pt x="76447" y="347240"/>
                                                        <a:pt x="79103" y="348341"/>
                                                      </a:cubicBezTo>
                                                      <a:cubicBezTo>
                                                        <a:pt x="84804" y="350674"/>
                                                        <a:pt x="86100" y="357994"/>
                                                        <a:pt x="86618" y="364084"/>
                                                      </a:cubicBezTo>
                                                      <a:cubicBezTo>
                                                        <a:pt x="86683" y="365250"/>
                                                        <a:pt x="86813" y="366417"/>
                                                        <a:pt x="86230" y="367388"/>
                                                      </a:cubicBezTo>
                                                      <a:cubicBezTo>
                                                        <a:pt x="85258" y="369008"/>
                                                        <a:pt x="82990" y="369202"/>
                                                        <a:pt x="81047" y="369202"/>
                                                      </a:cubicBezTo>
                                                      <a:cubicBezTo>
                                                        <a:pt x="67636" y="369073"/>
                                                        <a:pt x="52995" y="368295"/>
                                                        <a:pt x="39778" y="370563"/>
                                                      </a:cubicBezTo>
                                                      <a:lnTo>
                                                        <a:pt x="30644" y="372118"/>
                                                      </a:lnTo>
                                                      <a:cubicBezTo>
                                                        <a:pt x="31291" y="376782"/>
                                                        <a:pt x="26757" y="381447"/>
                                                        <a:pt x="22027" y="380929"/>
                                                      </a:cubicBezTo>
                                                      <a:cubicBezTo>
                                                        <a:pt x="19889" y="385593"/>
                                                        <a:pt x="23129" y="391359"/>
                                                        <a:pt x="27663" y="393756"/>
                                                      </a:cubicBezTo>
                                                      <a:cubicBezTo>
                                                        <a:pt x="32199" y="396153"/>
                                                        <a:pt x="37576" y="396153"/>
                                                        <a:pt x="42759" y="396088"/>
                                                      </a:cubicBezTo>
                                                      <a:cubicBezTo>
                                                        <a:pt x="60380" y="395829"/>
                                                        <a:pt x="78002" y="395635"/>
                                                        <a:pt x="95559" y="395376"/>
                                                      </a:cubicBezTo>
                                                      <a:cubicBezTo>
                                                        <a:pt x="98410" y="395376"/>
                                                        <a:pt x="101714" y="395505"/>
                                                        <a:pt x="103463" y="397708"/>
                                                      </a:cubicBezTo>
                                                      <a:cubicBezTo>
                                                        <a:pt x="105406" y="400105"/>
                                                        <a:pt x="104694" y="403863"/>
                                                        <a:pt x="106637" y="406260"/>
                                                      </a:cubicBezTo>
                                                      <a:cubicBezTo>
                                                        <a:pt x="110330" y="410795"/>
                                                        <a:pt x="118169" y="405742"/>
                                                        <a:pt x="123352" y="408463"/>
                                                      </a:cubicBezTo>
                                                      <a:cubicBezTo>
                                                        <a:pt x="125101" y="409434"/>
                                                        <a:pt x="126332" y="411184"/>
                                                        <a:pt x="128146" y="412091"/>
                                                      </a:cubicBezTo>
                                                      <a:cubicBezTo>
                                                        <a:pt x="130608" y="413257"/>
                                                        <a:pt x="133523" y="412414"/>
                                                        <a:pt x="136050" y="411572"/>
                                                      </a:cubicBezTo>
                                                      <a:cubicBezTo>
                                                        <a:pt x="143889" y="409046"/>
                                                        <a:pt x="152441" y="405936"/>
                                                        <a:pt x="156263" y="398680"/>
                                                      </a:cubicBezTo>
                                                      <a:cubicBezTo>
                                                        <a:pt x="157494" y="396412"/>
                                                        <a:pt x="158207" y="393756"/>
                                                        <a:pt x="160215" y="392136"/>
                                                      </a:cubicBezTo>
                                                      <a:cubicBezTo>
                                                        <a:pt x="162353" y="390387"/>
                                                        <a:pt x="165268" y="390322"/>
                                                        <a:pt x="167989" y="390258"/>
                                                      </a:cubicBezTo>
                                                      <a:cubicBezTo>
                                                        <a:pt x="188980" y="390063"/>
                                                        <a:pt x="211785" y="390452"/>
                                                        <a:pt x="228305" y="403409"/>
                                                      </a:cubicBezTo>
                                                      <a:cubicBezTo>
                                                        <a:pt x="233034" y="407167"/>
                                                        <a:pt x="237116" y="411831"/>
                                                        <a:pt x="242299" y="414811"/>
                                                      </a:cubicBezTo>
                                                      <a:cubicBezTo>
                                                        <a:pt x="247546" y="417792"/>
                                                        <a:pt x="254673" y="418763"/>
                                                        <a:pt x="259272" y="414876"/>
                                                      </a:cubicBezTo>
                                                      <a:cubicBezTo>
                                                        <a:pt x="261281" y="413192"/>
                                                        <a:pt x="262641" y="410730"/>
                                                        <a:pt x="264909" y="409370"/>
                                                      </a:cubicBezTo>
                                                      <a:cubicBezTo>
                                                        <a:pt x="270351" y="406065"/>
                                                        <a:pt x="278514" y="410406"/>
                                                        <a:pt x="283373" y="406260"/>
                                                      </a:cubicBezTo>
                                                      <a:cubicBezTo>
                                                        <a:pt x="284992" y="404899"/>
                                                        <a:pt x="285835" y="402891"/>
                                                        <a:pt x="287325" y="401466"/>
                                                      </a:cubicBezTo>
                                                      <a:cubicBezTo>
                                                        <a:pt x="292119" y="396931"/>
                                                        <a:pt x="299893" y="400494"/>
                                                        <a:pt x="306436" y="399781"/>
                                                      </a:cubicBezTo>
                                                      <a:cubicBezTo>
                                                        <a:pt x="314535" y="398874"/>
                                                        <a:pt x="320560" y="390193"/>
                                                        <a:pt x="319329" y="382160"/>
                                                      </a:cubicBezTo>
                                                      <a:cubicBezTo>
                                                        <a:pt x="318098" y="374126"/>
                                                        <a:pt x="310388" y="367842"/>
                                                        <a:pt x="302225" y="367518"/>
                                                      </a:cubicBezTo>
                                                      <a:cubicBezTo>
                                                        <a:pt x="298597" y="367388"/>
                                                        <a:pt x="294192" y="368943"/>
                                                        <a:pt x="293479" y="372506"/>
                                                      </a:cubicBezTo>
                                                      <a:cubicBezTo>
                                                        <a:pt x="293220" y="373867"/>
                                                        <a:pt x="293544" y="375292"/>
                                                        <a:pt x="293285" y="376653"/>
                                                      </a:cubicBezTo>
                                                      <a:cubicBezTo>
                                                        <a:pt x="292702" y="379762"/>
                                                        <a:pt x="288491" y="381512"/>
                                                        <a:pt x="285835" y="379698"/>
                                                      </a:cubicBezTo>
                                                      <a:cubicBezTo>
                                                        <a:pt x="284474" y="378791"/>
                                                        <a:pt x="283697" y="377301"/>
                                                        <a:pt x="282790" y="375940"/>
                                                      </a:cubicBezTo>
                                                      <a:cubicBezTo>
                                                        <a:pt x="277153" y="367971"/>
                                                        <a:pt x="265816" y="366870"/>
                                                        <a:pt x="256098" y="367712"/>
                                                      </a:cubicBezTo>
                                                      <a:cubicBezTo>
                                                        <a:pt x="246380" y="368555"/>
                                                        <a:pt x="235949" y="370369"/>
                                                        <a:pt x="227268" y="365898"/>
                                                      </a:cubicBezTo>
                                                      <a:cubicBezTo>
                                                        <a:pt x="226361" y="369980"/>
                                                        <a:pt x="219883" y="370239"/>
                                                        <a:pt x="217162" y="367064"/>
                                                      </a:cubicBezTo>
                                                      <a:cubicBezTo>
                                                        <a:pt x="214441" y="363890"/>
                                                        <a:pt x="214505" y="359225"/>
                                                        <a:pt x="214894" y="355014"/>
                                                      </a:cubicBezTo>
                                                      <a:cubicBezTo>
                                                        <a:pt x="215153" y="351969"/>
                                                        <a:pt x="215866" y="348471"/>
                                                        <a:pt x="218522" y="346981"/>
                                                      </a:cubicBezTo>
                                                      <a:cubicBezTo>
                                                        <a:pt x="220660" y="345750"/>
                                                        <a:pt x="223252" y="346268"/>
                                                        <a:pt x="225649" y="346722"/>
                                                      </a:cubicBezTo>
                                                      <a:cubicBezTo>
                                                        <a:pt x="252599" y="352099"/>
                                                        <a:pt x="280716" y="351581"/>
                                                        <a:pt x="307408" y="345167"/>
                                                      </a:cubicBezTo>
                                                      <a:cubicBezTo>
                                                        <a:pt x="312332" y="334542"/>
                                                        <a:pt x="294646" y="322298"/>
                                                        <a:pt x="300800" y="312256"/>
                                                      </a:cubicBezTo>
                                                      <a:cubicBezTo>
                                                        <a:pt x="303910" y="307202"/>
                                                        <a:pt x="311036" y="306879"/>
                                                        <a:pt x="316996" y="307202"/>
                                                      </a:cubicBezTo>
                                                      <a:cubicBezTo>
                                                        <a:pt x="324641" y="307591"/>
                                                        <a:pt x="332286" y="308045"/>
                                                        <a:pt x="339866" y="308433"/>
                                                      </a:cubicBezTo>
                                                      <a:cubicBezTo>
                                                        <a:pt x="345178" y="308693"/>
                                                        <a:pt x="350879" y="308952"/>
                                                        <a:pt x="355544" y="306295"/>
                                                      </a:cubicBezTo>
                                                      <a:cubicBezTo>
                                                        <a:pt x="360209" y="303704"/>
                                                        <a:pt x="363059" y="297161"/>
                                                        <a:pt x="359885" y="292820"/>
                                                      </a:cubicBezTo>
                                                      <a:cubicBezTo>
                                                        <a:pt x="367141" y="292302"/>
                                                        <a:pt x="371028" y="284333"/>
                                                        <a:pt x="374073" y="277725"/>
                                                      </a:cubicBezTo>
                                                      <a:cubicBezTo>
                                                        <a:pt x="378025" y="269044"/>
                                                        <a:pt x="382884" y="260751"/>
                                                        <a:pt x="388455" y="253042"/>
                                                      </a:cubicBezTo>
                                                      <a:cubicBezTo>
                                                        <a:pt x="368760" y="252329"/>
                                                        <a:pt x="349130" y="251616"/>
                                                        <a:pt x="329435" y="250968"/>
                                                      </a:cubicBezTo>
                                                      <a:cubicBezTo>
                                                        <a:pt x="325030" y="250839"/>
                                                        <a:pt x="319523" y="249932"/>
                                                        <a:pt x="318227" y="245656"/>
                                                      </a:cubicBezTo>
                                                      <a:cubicBezTo>
                                                        <a:pt x="316608" y="240408"/>
                                                        <a:pt x="322957" y="236392"/>
                                                        <a:pt x="328204" y="234837"/>
                                                      </a:cubicBezTo>
                                                      <a:cubicBezTo>
                                                        <a:pt x="345373" y="229719"/>
                                                        <a:pt x="363513" y="227775"/>
                                                        <a:pt x="381393" y="229136"/>
                                                      </a:cubicBezTo>
                                                      <a:cubicBezTo>
                                                        <a:pt x="389362" y="229719"/>
                                                        <a:pt x="397655" y="230950"/>
                                                        <a:pt x="405170" y="228229"/>
                                                      </a:cubicBezTo>
                                                      <a:cubicBezTo>
                                                        <a:pt x="412685" y="225508"/>
                                                        <a:pt x="418840" y="216956"/>
                                                        <a:pt x="415795" y="209570"/>
                                                      </a:cubicBezTo>
                                                      <a:cubicBezTo>
                                                        <a:pt x="418062" y="208793"/>
                                                        <a:pt x="420330" y="208015"/>
                                                        <a:pt x="422597" y="207173"/>
                                                      </a:cubicBezTo>
                                                      <a:cubicBezTo>
                                                        <a:pt x="432056" y="203869"/>
                                                        <a:pt x="442746" y="208728"/>
                                                        <a:pt x="452723" y="209830"/>
                                                      </a:cubicBezTo>
                                                      <a:cubicBezTo>
                                                        <a:pt x="455832" y="210153"/>
                                                        <a:pt x="459071" y="210477"/>
                                                        <a:pt x="461922" y="209246"/>
                                                      </a:cubicBezTo>
                                                      <a:cubicBezTo>
                                                        <a:pt x="465485" y="207692"/>
                                                        <a:pt x="467623" y="204128"/>
                                                        <a:pt x="469373" y="200695"/>
                                                      </a:cubicBezTo>
                                                      <a:cubicBezTo>
                                                        <a:pt x="474944" y="190070"/>
                                                        <a:pt x="479997" y="178344"/>
                                                        <a:pt x="489780" y="171412"/>
                                                      </a:cubicBezTo>
                                                      <a:cubicBezTo>
                                                        <a:pt x="497943" y="165581"/>
                                                        <a:pt x="508309" y="163961"/>
                                                        <a:pt x="518091" y="161888"/>
                                                      </a:cubicBezTo>
                                                      <a:cubicBezTo>
                                                        <a:pt x="533834" y="158584"/>
                                                        <a:pt x="549513" y="153596"/>
                                                        <a:pt x="562858" y="144526"/>
                                                      </a:cubicBezTo>
                                                      <a:cubicBezTo>
                                                        <a:pt x="573224" y="137399"/>
                                                        <a:pt x="582035" y="127811"/>
                                                        <a:pt x="593502" y="122563"/>
                                                      </a:cubicBezTo>
                                                      <a:cubicBezTo>
                                                        <a:pt x="611707" y="114206"/>
                                                        <a:pt x="633928" y="117834"/>
                                                        <a:pt x="651550" y="108310"/>
                                                      </a:cubicBezTo>
                                                      <a:cubicBezTo>
                                                        <a:pt x="646432" y="98528"/>
                                                        <a:pt x="633928" y="95029"/>
                                                        <a:pt x="622915" y="95742"/>
                                                      </a:cubicBezTo>
                                                      <a:cubicBezTo>
                                                        <a:pt x="611901" y="96454"/>
                                                        <a:pt x="601211" y="100212"/>
                                                        <a:pt x="590198" y="100536"/>
                                                      </a:cubicBezTo>
                                                      <a:cubicBezTo>
                                                        <a:pt x="583136" y="100730"/>
                                                        <a:pt x="573872" y="96390"/>
                                                        <a:pt x="575880" y="89652"/>
                                                      </a:cubicBezTo>
                                                      <a:cubicBezTo>
                                                        <a:pt x="577241" y="84987"/>
                                                        <a:pt x="583136" y="83627"/>
                                                        <a:pt x="587995" y="83173"/>
                                                      </a:cubicBezTo>
                                                      <a:cubicBezTo>
                                                        <a:pt x="613197" y="80841"/>
                                                        <a:pt x="638658" y="80906"/>
                                                        <a:pt x="663535" y="76695"/>
                                                      </a:cubicBezTo>
                                                      <a:cubicBezTo>
                                                        <a:pt x="688413" y="72484"/>
                                                        <a:pt x="713485" y="63349"/>
                                                        <a:pt x="731431" y="45533"/>
                                                      </a:cubicBezTo>
                                                      <a:cubicBezTo>
                                                        <a:pt x="734864" y="42164"/>
                                                        <a:pt x="738168" y="36916"/>
                                                        <a:pt x="735512" y="32835"/>
                                                      </a:cubicBezTo>
                                                      <a:cubicBezTo>
                                                        <a:pt x="725794" y="28559"/>
                                                        <a:pt x="715947" y="38471"/>
                                                        <a:pt x="705516" y="40480"/>
                                                      </a:cubicBezTo>
                                                      <a:cubicBezTo>
                                                        <a:pt x="682064" y="44885"/>
                                                        <a:pt x="668070" y="9901"/>
                                                        <a:pt x="644294" y="7892"/>
                                                      </a:cubicBezTo>
                                                      <a:cubicBezTo>
                                                        <a:pt x="638722" y="7439"/>
                                                        <a:pt x="633151" y="8929"/>
                                                        <a:pt x="627709" y="10419"/>
                                                      </a:cubicBezTo>
                                                      <a:cubicBezTo>
                                                        <a:pt x="615335" y="13788"/>
                                                        <a:pt x="602896" y="17157"/>
                                                        <a:pt x="590522" y="20590"/>
                                                      </a:cubicBezTo>
                                                      <a:cubicBezTo>
                                                        <a:pt x="588708" y="21109"/>
                                                        <a:pt x="586764" y="21562"/>
                                                        <a:pt x="585015" y="20914"/>
                                                      </a:cubicBezTo>
                                                      <a:cubicBezTo>
                                                        <a:pt x="582618" y="20007"/>
                                                        <a:pt x="581517" y="17286"/>
                                                        <a:pt x="580350" y="15019"/>
                                                      </a:cubicBezTo>
                                                      <a:cubicBezTo>
                                                        <a:pt x="572771" y="53"/>
                                                        <a:pt x="550549" y="-4870"/>
                                                        <a:pt x="537333" y="5495"/>
                                                      </a:cubicBezTo>
                                                      <a:cubicBezTo>
                                                        <a:pt x="530077" y="11196"/>
                                                        <a:pt x="524505" y="20850"/>
                                                        <a:pt x="515241" y="21044"/>
                                                      </a:cubicBezTo>
                                                      <a:cubicBezTo>
                                                        <a:pt x="507531" y="21173"/>
                                                        <a:pt x="501701" y="14501"/>
                                                        <a:pt x="495287" y="10289"/>
                                                      </a:cubicBezTo>
                                                      <a:cubicBezTo>
                                                        <a:pt x="486476" y="4588"/>
                                                        <a:pt x="474815" y="3422"/>
                                                        <a:pt x="465097" y="7309"/>
                                                      </a:cubicBezTo>
                                                      <a:cubicBezTo>
                                                        <a:pt x="460756" y="8994"/>
                                                        <a:pt x="456804" y="11650"/>
                                                        <a:pt x="452399" y="13205"/>
                                                      </a:cubicBezTo>
                                                      <a:cubicBezTo>
                                                        <a:pt x="446762" y="15213"/>
                                                        <a:pt x="440672" y="15343"/>
                                                        <a:pt x="434647" y="15472"/>
                                                      </a:cubicBezTo>
                                                      <a:cubicBezTo>
                                                        <a:pt x="413462" y="15861"/>
                                                        <a:pt x="392342" y="16315"/>
                                                        <a:pt x="371157" y="16703"/>
                                                      </a:cubicBezTo>
                                                      <a:cubicBezTo>
                                                        <a:pt x="367400" y="16768"/>
                                                        <a:pt x="363318" y="16703"/>
                                                        <a:pt x="360338" y="14436"/>
                                                      </a:cubicBezTo>
                                                      <a:cubicBezTo>
                                                        <a:pt x="357682" y="12363"/>
                                                        <a:pt x="356516" y="8929"/>
                                                        <a:pt x="354572" y="6143"/>
                                                      </a:cubicBezTo>
                                                      <a:cubicBezTo>
                                                        <a:pt x="347316" y="-4158"/>
                                                        <a:pt x="328010" y="-335"/>
                                                        <a:pt x="325224" y="11909"/>
                                                      </a:cubicBezTo>
                                                      <a:cubicBezTo>
                                                        <a:pt x="324771" y="13788"/>
                                                        <a:pt x="324641" y="15861"/>
                                                        <a:pt x="323410" y="17351"/>
                                                      </a:cubicBezTo>
                                                      <a:cubicBezTo>
                                                        <a:pt x="319588" y="21951"/>
                                                        <a:pt x="312915" y="15926"/>
                                                        <a:pt x="308898" y="11520"/>
                                                      </a:cubicBezTo>
                                                      <a:cubicBezTo>
                                                        <a:pt x="296135" y="-2668"/>
                                                        <a:pt x="269832" y="-595"/>
                                                        <a:pt x="259532" y="15472"/>
                                                      </a:cubicBezTo>
                                                      <a:cubicBezTo>
                                                        <a:pt x="252340" y="9447"/>
                                                        <a:pt x="239448" y="13270"/>
                                                        <a:pt x="236792" y="22275"/>
                                                      </a:cubicBezTo>
                                                      <a:cubicBezTo>
                                                        <a:pt x="236144" y="24478"/>
                                                        <a:pt x="236014" y="26810"/>
                                                        <a:pt x="235043" y="28883"/>
                                                      </a:cubicBezTo>
                                                      <a:cubicBezTo>
                                                        <a:pt x="229212" y="41128"/>
                                                        <a:pt x="206666" y="28365"/>
                                                        <a:pt x="197920" y="38730"/>
                                                      </a:cubicBezTo>
                                                      <a:cubicBezTo>
                                                        <a:pt x="195329" y="41840"/>
                                                        <a:pt x="194811" y="46246"/>
                                                        <a:pt x="192349" y="49420"/>
                                                      </a:cubicBezTo>
                                                      <a:cubicBezTo>
                                                        <a:pt x="187879" y="55121"/>
                                                        <a:pt x="178809" y="54538"/>
                                                        <a:pt x="172524" y="51040"/>
                                                      </a:cubicBezTo>
                                                      <a:cubicBezTo>
                                                        <a:pt x="166175" y="47541"/>
                                                        <a:pt x="161252" y="41905"/>
                                                        <a:pt x="154967" y="38342"/>
                                                      </a:cubicBezTo>
                                                      <a:cubicBezTo>
                                                        <a:pt x="143047" y="31474"/>
                                                        <a:pt x="127369" y="33094"/>
                                                        <a:pt x="115902" y="40739"/>
                                                      </a:cubicBezTo>
                                                      <a:cubicBezTo>
                                                        <a:pt x="104435" y="48383"/>
                                                        <a:pt x="97114" y="61211"/>
                                                        <a:pt x="94263" y="74622"/>
                                                      </a:cubicBezTo>
                                                      <a:cubicBezTo>
                                                        <a:pt x="89016" y="74622"/>
                                                        <a:pt x="83703" y="74622"/>
                                                        <a:pt x="78455" y="74687"/>
                                                      </a:cubicBezTo>
                                                      <a:cubicBezTo>
                                                        <a:pt x="78261" y="65617"/>
                                                        <a:pt x="67896" y="58749"/>
                                                        <a:pt x="58890" y="57972"/>
                                                      </a:cubicBezTo>
                                                      <a:cubicBezTo>
                                                        <a:pt x="49885" y="57194"/>
                                                        <a:pt x="40945" y="62183"/>
                                                        <a:pt x="35503" y="69439"/>
                                                      </a:cubicBezTo>
                                                      <a:cubicBezTo>
                                                        <a:pt x="34401" y="70864"/>
                                                        <a:pt x="33429" y="72419"/>
                                                        <a:pt x="31939" y="73520"/>
                                                      </a:cubicBezTo>
                                                      <a:cubicBezTo>
                                                        <a:pt x="25849" y="78185"/>
                                                        <a:pt x="14642" y="73002"/>
                                                        <a:pt x="10495" y="79481"/>
                                                      </a:cubicBezTo>
                                                      <a:cubicBezTo>
                                                        <a:pt x="8422" y="82720"/>
                                                        <a:pt x="9718" y="87125"/>
                                                        <a:pt x="11856" y="90365"/>
                                                      </a:cubicBezTo>
                                                      <a:cubicBezTo>
                                                        <a:pt x="13994" y="93604"/>
                                                        <a:pt x="16974" y="96325"/>
                                                        <a:pt x="18399" y="99953"/>
                                                      </a:cubicBezTo>
                                                      <a:cubicBezTo>
                                                        <a:pt x="20343" y="104877"/>
                                                        <a:pt x="18853" y="110967"/>
                                                        <a:pt x="14836" y="114465"/>
                                                      </a:cubicBezTo>
                                                      <a:cubicBezTo>
                                                        <a:pt x="10819" y="117963"/>
                                                        <a:pt x="4600" y="118546"/>
                                                        <a:pt x="0" y="11589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2" name="Freeform: Shape 82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EA1C5140-201D-456C-9FEA-AAAA13C0B01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42784" y="1433592"/>
                                                  <a:ext cx="28745" cy="1690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693 w 28745"/>
                                                    <a:gd name="connsiteY0" fmla="*/ 15160 h 16907"/>
                                                    <a:gd name="connsiteX1" fmla="*/ 11560 w 28745"/>
                                                    <a:gd name="connsiteY1" fmla="*/ 16844 h 16907"/>
                                                    <a:gd name="connsiteX2" fmla="*/ 15966 w 28745"/>
                                                    <a:gd name="connsiteY2" fmla="*/ 12115 h 16907"/>
                                                    <a:gd name="connsiteX3" fmla="*/ 22056 w 28745"/>
                                                    <a:gd name="connsiteY3" fmla="*/ 12957 h 16907"/>
                                                    <a:gd name="connsiteX4" fmla="*/ 28016 w 28745"/>
                                                    <a:gd name="connsiteY4" fmla="*/ 12633 h 16907"/>
                                                    <a:gd name="connsiteX5" fmla="*/ 26591 w 28745"/>
                                                    <a:gd name="connsiteY5" fmla="*/ 5766 h 16907"/>
                                                    <a:gd name="connsiteX6" fmla="*/ 23286 w 28745"/>
                                                    <a:gd name="connsiteY6" fmla="*/ 2268 h 16907"/>
                                                    <a:gd name="connsiteX7" fmla="*/ 13763 w 28745"/>
                                                    <a:gd name="connsiteY7" fmla="*/ 130 h 16907"/>
                                                    <a:gd name="connsiteX8" fmla="*/ 6248 w 28745"/>
                                                    <a:gd name="connsiteY8" fmla="*/ 0 h 16907"/>
                                                    <a:gd name="connsiteX9" fmla="*/ 28 w 28745"/>
                                                    <a:gd name="connsiteY9" fmla="*/ 10560 h 16907"/>
                                                    <a:gd name="connsiteX10" fmla="*/ 4758 w 28745"/>
                                                    <a:gd name="connsiteY10" fmla="*/ 15160 h 1690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8745" h="16907">
                                                      <a:moveTo>
                                                        <a:pt x="4693" y="15160"/>
                                                      </a:moveTo>
                                                      <a:cubicBezTo>
                                                        <a:pt x="6896" y="16196"/>
                                                        <a:pt x="9163" y="17168"/>
                                                        <a:pt x="11560" y="16844"/>
                                                      </a:cubicBezTo>
                                                      <a:cubicBezTo>
                                                        <a:pt x="13957" y="16585"/>
                                                        <a:pt x="16290" y="14512"/>
                                                        <a:pt x="15966" y="12115"/>
                                                      </a:cubicBezTo>
                                                      <a:cubicBezTo>
                                                        <a:pt x="17845" y="11143"/>
                                                        <a:pt x="20112" y="12115"/>
                                                        <a:pt x="22056" y="12957"/>
                                                      </a:cubicBezTo>
                                                      <a:cubicBezTo>
                                                        <a:pt x="23999" y="13735"/>
                                                        <a:pt x="26591" y="14253"/>
                                                        <a:pt x="28016" y="12633"/>
                                                      </a:cubicBezTo>
                                                      <a:cubicBezTo>
                                                        <a:pt x="29700" y="10690"/>
                                                        <a:pt x="28145" y="7774"/>
                                                        <a:pt x="26591" y="5766"/>
                                                      </a:cubicBezTo>
                                                      <a:cubicBezTo>
                                                        <a:pt x="25619" y="4470"/>
                                                        <a:pt x="24582" y="3174"/>
                                                        <a:pt x="23286" y="2268"/>
                                                      </a:cubicBezTo>
                                                      <a:cubicBezTo>
                                                        <a:pt x="20630" y="324"/>
                                                        <a:pt x="17067" y="194"/>
                                                        <a:pt x="13763" y="130"/>
                                                      </a:cubicBezTo>
                                                      <a:cubicBezTo>
                                                        <a:pt x="11236" y="130"/>
                                                        <a:pt x="8775" y="0"/>
                                                        <a:pt x="6248" y="0"/>
                                                      </a:cubicBezTo>
                                                      <a:cubicBezTo>
                                                        <a:pt x="6248" y="4211"/>
                                                        <a:pt x="-490" y="6349"/>
                                                        <a:pt x="28" y="10560"/>
                                                      </a:cubicBezTo>
                                                      <a:cubicBezTo>
                                                        <a:pt x="288" y="12828"/>
                                                        <a:pt x="2620" y="14188"/>
                                                        <a:pt x="4758" y="1516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3" name="Freeform: Shape 82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38AA56E-F0FE-45F9-AF6E-402BD43847A0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616734" y="1468996"/>
                                                  <a:ext cx="277824" cy="19589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678 w 277824"/>
                                                    <a:gd name="connsiteY0" fmla="*/ 93778 h 195890"/>
                                                    <a:gd name="connsiteX1" fmla="*/ 18988 w 277824"/>
                                                    <a:gd name="connsiteY1" fmla="*/ 97730 h 195890"/>
                                                    <a:gd name="connsiteX2" fmla="*/ 20413 w 277824"/>
                                                    <a:gd name="connsiteY2" fmla="*/ 106411 h 195890"/>
                                                    <a:gd name="connsiteX3" fmla="*/ 26114 w 277824"/>
                                                    <a:gd name="connsiteY3" fmla="*/ 111529 h 195890"/>
                                                    <a:gd name="connsiteX4" fmla="*/ 27734 w 277824"/>
                                                    <a:gd name="connsiteY4" fmla="*/ 119692 h 195890"/>
                                                    <a:gd name="connsiteX5" fmla="*/ 37063 w 277824"/>
                                                    <a:gd name="connsiteY5" fmla="*/ 121247 h 195890"/>
                                                    <a:gd name="connsiteX6" fmla="*/ 94204 w 277824"/>
                                                    <a:gd name="connsiteY6" fmla="*/ 114704 h 195890"/>
                                                    <a:gd name="connsiteX7" fmla="*/ 108522 w 277824"/>
                                                    <a:gd name="connsiteY7" fmla="*/ 114963 h 195890"/>
                                                    <a:gd name="connsiteX8" fmla="*/ 112020 w 277824"/>
                                                    <a:gd name="connsiteY8" fmla="*/ 126883 h 195890"/>
                                                    <a:gd name="connsiteX9" fmla="*/ 97573 w 277824"/>
                                                    <a:gd name="connsiteY9" fmla="*/ 131418 h 195890"/>
                                                    <a:gd name="connsiteX10" fmla="*/ 94269 w 277824"/>
                                                    <a:gd name="connsiteY10" fmla="*/ 135889 h 195890"/>
                                                    <a:gd name="connsiteX11" fmla="*/ 73278 w 277824"/>
                                                    <a:gd name="connsiteY11" fmla="*/ 139711 h 195890"/>
                                                    <a:gd name="connsiteX12" fmla="*/ 68484 w 277824"/>
                                                    <a:gd name="connsiteY12" fmla="*/ 145736 h 195890"/>
                                                    <a:gd name="connsiteX13" fmla="*/ 75157 w 277824"/>
                                                    <a:gd name="connsiteY13" fmla="*/ 158564 h 195890"/>
                                                    <a:gd name="connsiteX14" fmla="*/ 90058 w 277824"/>
                                                    <a:gd name="connsiteY14" fmla="*/ 162192 h 195890"/>
                                                    <a:gd name="connsiteX15" fmla="*/ 94269 w 277824"/>
                                                    <a:gd name="connsiteY15" fmla="*/ 169383 h 195890"/>
                                                    <a:gd name="connsiteX16" fmla="*/ 102885 w 277824"/>
                                                    <a:gd name="connsiteY16" fmla="*/ 173529 h 195890"/>
                                                    <a:gd name="connsiteX17" fmla="*/ 104375 w 277824"/>
                                                    <a:gd name="connsiteY17" fmla="*/ 178842 h 195890"/>
                                                    <a:gd name="connsiteX18" fmla="*/ 123941 w 277824"/>
                                                    <a:gd name="connsiteY18" fmla="*/ 186422 h 195890"/>
                                                    <a:gd name="connsiteX19" fmla="*/ 128346 w 277824"/>
                                                    <a:gd name="connsiteY19" fmla="*/ 194649 h 195890"/>
                                                    <a:gd name="connsiteX20" fmla="*/ 138388 w 277824"/>
                                                    <a:gd name="connsiteY20" fmla="*/ 195815 h 195890"/>
                                                    <a:gd name="connsiteX21" fmla="*/ 150762 w 277824"/>
                                                    <a:gd name="connsiteY21" fmla="*/ 195232 h 195890"/>
                                                    <a:gd name="connsiteX22" fmla="*/ 157305 w 277824"/>
                                                    <a:gd name="connsiteY22" fmla="*/ 193030 h 195890"/>
                                                    <a:gd name="connsiteX23" fmla="*/ 159184 w 277824"/>
                                                    <a:gd name="connsiteY23" fmla="*/ 189207 h 195890"/>
                                                    <a:gd name="connsiteX24" fmla="*/ 167217 w 277824"/>
                                                    <a:gd name="connsiteY24" fmla="*/ 184802 h 195890"/>
                                                    <a:gd name="connsiteX25" fmla="*/ 180434 w 277824"/>
                                                    <a:gd name="connsiteY25" fmla="*/ 183701 h 195890"/>
                                                    <a:gd name="connsiteX26" fmla="*/ 188532 w 277824"/>
                                                    <a:gd name="connsiteY26" fmla="*/ 193030 h 195890"/>
                                                    <a:gd name="connsiteX27" fmla="*/ 199027 w 277824"/>
                                                    <a:gd name="connsiteY27" fmla="*/ 192900 h 195890"/>
                                                    <a:gd name="connsiteX28" fmla="*/ 203562 w 277824"/>
                                                    <a:gd name="connsiteY28" fmla="*/ 182858 h 195890"/>
                                                    <a:gd name="connsiteX29" fmla="*/ 202720 w 277824"/>
                                                    <a:gd name="connsiteY29" fmla="*/ 173270 h 195890"/>
                                                    <a:gd name="connsiteX30" fmla="*/ 215936 w 277824"/>
                                                    <a:gd name="connsiteY30" fmla="*/ 153640 h 195890"/>
                                                    <a:gd name="connsiteX31" fmla="*/ 220471 w 277824"/>
                                                    <a:gd name="connsiteY31" fmla="*/ 151308 h 195890"/>
                                                    <a:gd name="connsiteX32" fmla="*/ 223128 w 277824"/>
                                                    <a:gd name="connsiteY32" fmla="*/ 146449 h 195890"/>
                                                    <a:gd name="connsiteX33" fmla="*/ 235437 w 277824"/>
                                                    <a:gd name="connsiteY33" fmla="*/ 142367 h 195890"/>
                                                    <a:gd name="connsiteX34" fmla="*/ 245284 w 277824"/>
                                                    <a:gd name="connsiteY34" fmla="*/ 130641 h 195890"/>
                                                    <a:gd name="connsiteX35" fmla="*/ 252929 w 277824"/>
                                                    <a:gd name="connsiteY35" fmla="*/ 129669 h 195890"/>
                                                    <a:gd name="connsiteX36" fmla="*/ 269514 w 277824"/>
                                                    <a:gd name="connsiteY36" fmla="*/ 129864 h 195890"/>
                                                    <a:gd name="connsiteX37" fmla="*/ 277288 w 277824"/>
                                                    <a:gd name="connsiteY37" fmla="*/ 117295 h 195890"/>
                                                    <a:gd name="connsiteX38" fmla="*/ 263424 w 277824"/>
                                                    <a:gd name="connsiteY38" fmla="*/ 111205 h 195890"/>
                                                    <a:gd name="connsiteX39" fmla="*/ 232781 w 277824"/>
                                                    <a:gd name="connsiteY39" fmla="*/ 109845 h 195890"/>
                                                    <a:gd name="connsiteX40" fmla="*/ 229736 w 277824"/>
                                                    <a:gd name="connsiteY40" fmla="*/ 109132 h 195890"/>
                                                    <a:gd name="connsiteX41" fmla="*/ 227857 w 277824"/>
                                                    <a:gd name="connsiteY41" fmla="*/ 105699 h 195890"/>
                                                    <a:gd name="connsiteX42" fmla="*/ 224942 w 277824"/>
                                                    <a:gd name="connsiteY42" fmla="*/ 94685 h 195890"/>
                                                    <a:gd name="connsiteX43" fmla="*/ 235890 w 277824"/>
                                                    <a:gd name="connsiteY43" fmla="*/ 91834 h 195890"/>
                                                    <a:gd name="connsiteX44" fmla="*/ 230319 w 277824"/>
                                                    <a:gd name="connsiteY44" fmla="*/ 81857 h 195890"/>
                                                    <a:gd name="connsiteX45" fmla="*/ 220083 w 277824"/>
                                                    <a:gd name="connsiteY45" fmla="*/ 74796 h 195890"/>
                                                    <a:gd name="connsiteX46" fmla="*/ 219564 w 277824"/>
                                                    <a:gd name="connsiteY46" fmla="*/ 62033 h 195890"/>
                                                    <a:gd name="connsiteX47" fmla="*/ 211142 w 277824"/>
                                                    <a:gd name="connsiteY47" fmla="*/ 56332 h 195890"/>
                                                    <a:gd name="connsiteX48" fmla="*/ 210430 w 277824"/>
                                                    <a:gd name="connsiteY48" fmla="*/ 73565 h 195890"/>
                                                    <a:gd name="connsiteX49" fmla="*/ 196695 w 277824"/>
                                                    <a:gd name="connsiteY49" fmla="*/ 73435 h 195890"/>
                                                    <a:gd name="connsiteX50" fmla="*/ 187819 w 277824"/>
                                                    <a:gd name="connsiteY50" fmla="*/ 63912 h 195890"/>
                                                    <a:gd name="connsiteX51" fmla="*/ 187431 w 277824"/>
                                                    <a:gd name="connsiteY51" fmla="*/ 60349 h 195890"/>
                                                    <a:gd name="connsiteX52" fmla="*/ 179332 w 277824"/>
                                                    <a:gd name="connsiteY52" fmla="*/ 54971 h 195890"/>
                                                    <a:gd name="connsiteX53" fmla="*/ 177130 w 277824"/>
                                                    <a:gd name="connsiteY53" fmla="*/ 46420 h 195890"/>
                                                    <a:gd name="connsiteX54" fmla="*/ 174538 w 277824"/>
                                                    <a:gd name="connsiteY54" fmla="*/ 44865 h 195890"/>
                                                    <a:gd name="connsiteX55" fmla="*/ 148883 w 277824"/>
                                                    <a:gd name="connsiteY55" fmla="*/ 34175 h 195890"/>
                                                    <a:gd name="connsiteX56" fmla="*/ 142210 w 277824"/>
                                                    <a:gd name="connsiteY56" fmla="*/ 32167 h 195890"/>
                                                    <a:gd name="connsiteX57" fmla="*/ 132751 w 277824"/>
                                                    <a:gd name="connsiteY57" fmla="*/ 29705 h 195890"/>
                                                    <a:gd name="connsiteX58" fmla="*/ 131456 w 277824"/>
                                                    <a:gd name="connsiteY58" fmla="*/ 25688 h 195890"/>
                                                    <a:gd name="connsiteX59" fmla="*/ 120636 w 277824"/>
                                                    <a:gd name="connsiteY59" fmla="*/ 22384 h 195890"/>
                                                    <a:gd name="connsiteX60" fmla="*/ 118110 w 277824"/>
                                                    <a:gd name="connsiteY60" fmla="*/ 16229 h 195890"/>
                                                    <a:gd name="connsiteX61" fmla="*/ 109169 w 277824"/>
                                                    <a:gd name="connsiteY61" fmla="*/ 11824 h 195890"/>
                                                    <a:gd name="connsiteX62" fmla="*/ 108457 w 277824"/>
                                                    <a:gd name="connsiteY62" fmla="*/ 7678 h 195890"/>
                                                    <a:gd name="connsiteX63" fmla="*/ 93491 w 277824"/>
                                                    <a:gd name="connsiteY63" fmla="*/ 33 h 195890"/>
                                                    <a:gd name="connsiteX64" fmla="*/ 74703 w 277824"/>
                                                    <a:gd name="connsiteY64" fmla="*/ 3855 h 195890"/>
                                                    <a:gd name="connsiteX65" fmla="*/ 66994 w 277824"/>
                                                    <a:gd name="connsiteY65" fmla="*/ 9816 h 195890"/>
                                                    <a:gd name="connsiteX66" fmla="*/ 59090 w 277824"/>
                                                    <a:gd name="connsiteY66" fmla="*/ 10140 h 195890"/>
                                                    <a:gd name="connsiteX67" fmla="*/ 39978 w 277824"/>
                                                    <a:gd name="connsiteY67" fmla="*/ 7743 h 195890"/>
                                                    <a:gd name="connsiteX68" fmla="*/ 40885 w 277824"/>
                                                    <a:gd name="connsiteY68" fmla="*/ 14934 h 195890"/>
                                                    <a:gd name="connsiteX69" fmla="*/ 47817 w 277824"/>
                                                    <a:gd name="connsiteY69" fmla="*/ 18627 h 195890"/>
                                                    <a:gd name="connsiteX70" fmla="*/ 59414 w 277824"/>
                                                    <a:gd name="connsiteY70" fmla="*/ 31001 h 195890"/>
                                                    <a:gd name="connsiteX71" fmla="*/ 43412 w 277824"/>
                                                    <a:gd name="connsiteY71" fmla="*/ 37479 h 195890"/>
                                                    <a:gd name="connsiteX72" fmla="*/ 20478 w 277824"/>
                                                    <a:gd name="connsiteY72" fmla="*/ 40654 h 195890"/>
                                                    <a:gd name="connsiteX73" fmla="*/ 11602 w 277824"/>
                                                    <a:gd name="connsiteY73" fmla="*/ 48946 h 195890"/>
                                                    <a:gd name="connsiteX74" fmla="*/ 18210 w 277824"/>
                                                    <a:gd name="connsiteY74" fmla="*/ 55943 h 195890"/>
                                                    <a:gd name="connsiteX75" fmla="*/ 27475 w 277824"/>
                                                    <a:gd name="connsiteY75" fmla="*/ 60089 h 195890"/>
                                                    <a:gd name="connsiteX76" fmla="*/ 28058 w 277824"/>
                                                    <a:gd name="connsiteY76" fmla="*/ 68447 h 195890"/>
                                                    <a:gd name="connsiteX77" fmla="*/ 38164 w 277824"/>
                                                    <a:gd name="connsiteY77" fmla="*/ 69678 h 195890"/>
                                                    <a:gd name="connsiteX78" fmla="*/ 47493 w 277824"/>
                                                    <a:gd name="connsiteY78" fmla="*/ 72982 h 195890"/>
                                                    <a:gd name="connsiteX79" fmla="*/ 36739 w 277824"/>
                                                    <a:gd name="connsiteY79" fmla="*/ 80432 h 195890"/>
                                                    <a:gd name="connsiteX80" fmla="*/ 20607 w 277824"/>
                                                    <a:gd name="connsiteY80" fmla="*/ 82505 h 195890"/>
                                                    <a:gd name="connsiteX81" fmla="*/ 18340 w 277824"/>
                                                    <a:gd name="connsiteY81" fmla="*/ 78812 h 195890"/>
                                                    <a:gd name="connsiteX82" fmla="*/ 1884 w 277824"/>
                                                    <a:gd name="connsiteY82" fmla="*/ 78100 h 195890"/>
                                                    <a:gd name="connsiteX83" fmla="*/ 6614 w 277824"/>
                                                    <a:gd name="connsiteY83" fmla="*/ 93908 h 19589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77824" h="195890">
                                                      <a:moveTo>
                                                        <a:pt x="6678" y="93778"/>
                                                      </a:moveTo>
                                                      <a:cubicBezTo>
                                                        <a:pt x="10889" y="95203"/>
                                                        <a:pt x="16396" y="94167"/>
                                                        <a:pt x="18988" y="97730"/>
                                                      </a:cubicBezTo>
                                                      <a:cubicBezTo>
                                                        <a:pt x="20737" y="100127"/>
                                                        <a:pt x="20089" y="103431"/>
                                                        <a:pt x="20413" y="106411"/>
                                                      </a:cubicBezTo>
                                                      <a:cubicBezTo>
                                                        <a:pt x="20737" y="109391"/>
                                                        <a:pt x="23393" y="112760"/>
                                                        <a:pt x="26114" y="111529"/>
                                                      </a:cubicBezTo>
                                                      <a:cubicBezTo>
                                                        <a:pt x="23782" y="113732"/>
                                                        <a:pt x="25078" y="118008"/>
                                                        <a:pt x="27734" y="119692"/>
                                                      </a:cubicBezTo>
                                                      <a:cubicBezTo>
                                                        <a:pt x="30455" y="121441"/>
                                                        <a:pt x="33889" y="121377"/>
                                                        <a:pt x="37063" y="121247"/>
                                                      </a:cubicBezTo>
                                                      <a:cubicBezTo>
                                                        <a:pt x="56239" y="120405"/>
                                                        <a:pt x="75351" y="118202"/>
                                                        <a:pt x="94204" y="114704"/>
                                                      </a:cubicBezTo>
                                                      <a:cubicBezTo>
                                                        <a:pt x="98998" y="113797"/>
                                                        <a:pt x="104116" y="112890"/>
                                                        <a:pt x="108522" y="114963"/>
                                                      </a:cubicBezTo>
                                                      <a:cubicBezTo>
                                                        <a:pt x="112927" y="117036"/>
                                                        <a:pt x="115454" y="123450"/>
                                                        <a:pt x="112020" y="126883"/>
                                                      </a:cubicBezTo>
                                                      <a:cubicBezTo>
                                                        <a:pt x="108327" y="130511"/>
                                                        <a:pt x="101330" y="127920"/>
                                                        <a:pt x="97573" y="131418"/>
                                                      </a:cubicBezTo>
                                                      <a:cubicBezTo>
                                                        <a:pt x="96212" y="132649"/>
                                                        <a:pt x="95564" y="134528"/>
                                                        <a:pt x="94269" y="135889"/>
                                                      </a:cubicBezTo>
                                                      <a:cubicBezTo>
                                                        <a:pt x="89345" y="141266"/>
                                                        <a:pt x="79822" y="136472"/>
                                                        <a:pt x="73278" y="139711"/>
                                                      </a:cubicBezTo>
                                                      <a:cubicBezTo>
                                                        <a:pt x="70881" y="140877"/>
                                                        <a:pt x="69132" y="143145"/>
                                                        <a:pt x="68484" y="145736"/>
                                                      </a:cubicBezTo>
                                                      <a:cubicBezTo>
                                                        <a:pt x="67318" y="150789"/>
                                                        <a:pt x="70687" y="155972"/>
                                                        <a:pt x="75157" y="158564"/>
                                                      </a:cubicBezTo>
                                                      <a:cubicBezTo>
                                                        <a:pt x="79627" y="161155"/>
                                                        <a:pt x="84940" y="161673"/>
                                                        <a:pt x="90058" y="162192"/>
                                                      </a:cubicBezTo>
                                                      <a:cubicBezTo>
                                                        <a:pt x="88049" y="164783"/>
                                                        <a:pt x="91159" y="168346"/>
                                                        <a:pt x="94269" y="169383"/>
                                                      </a:cubicBezTo>
                                                      <a:cubicBezTo>
                                                        <a:pt x="97378" y="170419"/>
                                                        <a:pt x="101136" y="170743"/>
                                                        <a:pt x="102885" y="173529"/>
                                                      </a:cubicBezTo>
                                                      <a:cubicBezTo>
                                                        <a:pt x="103857" y="175084"/>
                                                        <a:pt x="103857" y="177092"/>
                                                        <a:pt x="104375" y="178842"/>
                                                      </a:cubicBezTo>
                                                      <a:cubicBezTo>
                                                        <a:pt x="106643" y="186098"/>
                                                        <a:pt x="116361" y="186940"/>
                                                        <a:pt x="123941" y="186422"/>
                                                      </a:cubicBezTo>
                                                      <a:cubicBezTo>
                                                        <a:pt x="122839" y="189661"/>
                                                        <a:pt x="125236" y="193224"/>
                                                        <a:pt x="128346" y="194649"/>
                                                      </a:cubicBezTo>
                                                      <a:cubicBezTo>
                                                        <a:pt x="131456" y="196075"/>
                                                        <a:pt x="135019" y="195945"/>
                                                        <a:pt x="138388" y="195815"/>
                                                      </a:cubicBezTo>
                                                      <a:cubicBezTo>
                                                        <a:pt x="142534" y="195621"/>
                                                        <a:pt x="146616" y="195427"/>
                                                        <a:pt x="150762" y="195232"/>
                                                      </a:cubicBezTo>
                                                      <a:cubicBezTo>
                                                        <a:pt x="153159" y="195103"/>
                                                        <a:pt x="155815" y="194844"/>
                                                        <a:pt x="157305" y="193030"/>
                                                      </a:cubicBezTo>
                                                      <a:cubicBezTo>
                                                        <a:pt x="158212" y="191928"/>
                                                        <a:pt x="158471" y="190438"/>
                                                        <a:pt x="159184" y="189207"/>
                                                      </a:cubicBezTo>
                                                      <a:cubicBezTo>
                                                        <a:pt x="160804" y="186486"/>
                                                        <a:pt x="164173" y="185515"/>
                                                        <a:pt x="167217" y="184802"/>
                                                      </a:cubicBezTo>
                                                      <a:cubicBezTo>
                                                        <a:pt x="171558" y="183765"/>
                                                        <a:pt x="176093" y="182664"/>
                                                        <a:pt x="180434" y="183701"/>
                                                      </a:cubicBezTo>
                                                      <a:cubicBezTo>
                                                        <a:pt x="184774" y="184737"/>
                                                        <a:pt x="188856" y="188559"/>
                                                        <a:pt x="188532" y="193030"/>
                                                      </a:cubicBezTo>
                                                      <a:cubicBezTo>
                                                        <a:pt x="191383" y="195492"/>
                                                        <a:pt x="196047" y="195168"/>
                                                        <a:pt x="199027" y="192900"/>
                                                      </a:cubicBezTo>
                                                      <a:cubicBezTo>
                                                        <a:pt x="202007" y="190568"/>
                                                        <a:pt x="203497" y="186681"/>
                                                        <a:pt x="203562" y="182858"/>
                                                      </a:cubicBezTo>
                                                      <a:cubicBezTo>
                                                        <a:pt x="203562" y="179619"/>
                                                        <a:pt x="202785" y="176509"/>
                                                        <a:pt x="202720" y="173270"/>
                                                      </a:cubicBezTo>
                                                      <a:cubicBezTo>
                                                        <a:pt x="202526" y="164848"/>
                                                        <a:pt x="208097" y="156620"/>
                                                        <a:pt x="215936" y="153640"/>
                                                      </a:cubicBezTo>
                                                      <a:cubicBezTo>
                                                        <a:pt x="217556" y="153057"/>
                                                        <a:pt x="219305" y="152539"/>
                                                        <a:pt x="220471" y="151308"/>
                                                      </a:cubicBezTo>
                                                      <a:cubicBezTo>
                                                        <a:pt x="221702" y="149947"/>
                                                        <a:pt x="221961" y="147874"/>
                                                        <a:pt x="223128" y="146449"/>
                                                      </a:cubicBezTo>
                                                      <a:cubicBezTo>
                                                        <a:pt x="225848" y="142950"/>
                                                        <a:pt x="231550" y="144505"/>
                                                        <a:pt x="235437" y="142367"/>
                                                      </a:cubicBezTo>
                                                      <a:cubicBezTo>
                                                        <a:pt x="239972" y="139905"/>
                                                        <a:pt x="240749" y="133168"/>
                                                        <a:pt x="245284" y="130641"/>
                                                      </a:cubicBezTo>
                                                      <a:cubicBezTo>
                                                        <a:pt x="247552" y="129345"/>
                                                        <a:pt x="250337" y="129410"/>
                                                        <a:pt x="252929" y="129669"/>
                                                      </a:cubicBezTo>
                                                      <a:cubicBezTo>
                                                        <a:pt x="258500" y="130188"/>
                                                        <a:pt x="264202" y="131418"/>
                                                        <a:pt x="269514" y="129864"/>
                                                      </a:cubicBezTo>
                                                      <a:cubicBezTo>
                                                        <a:pt x="274826" y="128244"/>
                                                        <a:pt x="279426" y="122413"/>
                                                        <a:pt x="277288" y="117295"/>
                                                      </a:cubicBezTo>
                                                      <a:cubicBezTo>
                                                        <a:pt x="275150" y="112371"/>
                                                        <a:pt x="268737" y="111464"/>
                                                        <a:pt x="263424" y="111205"/>
                                                      </a:cubicBezTo>
                                                      <a:cubicBezTo>
                                                        <a:pt x="253188" y="110752"/>
                                                        <a:pt x="243017" y="110298"/>
                                                        <a:pt x="232781" y="109845"/>
                                                      </a:cubicBezTo>
                                                      <a:cubicBezTo>
                                                        <a:pt x="231744" y="109845"/>
                                                        <a:pt x="230643" y="109715"/>
                                                        <a:pt x="229736" y="109132"/>
                                                      </a:cubicBezTo>
                                                      <a:cubicBezTo>
                                                        <a:pt x="228634" y="108355"/>
                                                        <a:pt x="228181" y="106994"/>
                                                        <a:pt x="227857" y="105699"/>
                                                      </a:cubicBezTo>
                                                      <a:cubicBezTo>
                                                        <a:pt x="226885" y="102006"/>
                                                        <a:pt x="225913" y="98313"/>
                                                        <a:pt x="224942" y="94685"/>
                                                      </a:cubicBezTo>
                                                      <a:cubicBezTo>
                                                        <a:pt x="228440" y="93260"/>
                                                        <a:pt x="232133" y="92288"/>
                                                        <a:pt x="235890" y="91834"/>
                                                      </a:cubicBezTo>
                                                      <a:cubicBezTo>
                                                        <a:pt x="237769" y="88077"/>
                                                        <a:pt x="234141" y="83801"/>
                                                        <a:pt x="230319" y="81857"/>
                                                      </a:cubicBezTo>
                                                      <a:cubicBezTo>
                                                        <a:pt x="226561" y="79914"/>
                                                        <a:pt x="221961" y="78618"/>
                                                        <a:pt x="220083" y="74796"/>
                                                      </a:cubicBezTo>
                                                      <a:cubicBezTo>
                                                        <a:pt x="218139" y="70973"/>
                                                        <a:pt x="219888" y="66309"/>
                                                        <a:pt x="219564" y="62033"/>
                                                      </a:cubicBezTo>
                                                      <a:cubicBezTo>
                                                        <a:pt x="219305" y="57757"/>
                                                        <a:pt x="214058" y="53222"/>
                                                        <a:pt x="211142" y="56332"/>
                                                      </a:cubicBezTo>
                                                      <a:cubicBezTo>
                                                        <a:pt x="210883" y="62098"/>
                                                        <a:pt x="210689" y="67864"/>
                                                        <a:pt x="210430" y="73565"/>
                                                      </a:cubicBezTo>
                                                      <a:cubicBezTo>
                                                        <a:pt x="205830" y="74148"/>
                                                        <a:pt x="201100" y="74731"/>
                                                        <a:pt x="196695" y="73435"/>
                                                      </a:cubicBezTo>
                                                      <a:cubicBezTo>
                                                        <a:pt x="192225" y="72140"/>
                                                        <a:pt x="188143" y="68512"/>
                                                        <a:pt x="187819" y="63912"/>
                                                      </a:cubicBezTo>
                                                      <a:cubicBezTo>
                                                        <a:pt x="187755" y="62681"/>
                                                        <a:pt x="187884" y="61450"/>
                                                        <a:pt x="187431" y="60349"/>
                                                      </a:cubicBezTo>
                                                      <a:cubicBezTo>
                                                        <a:pt x="186135" y="57304"/>
                                                        <a:pt x="181276" y="57692"/>
                                                        <a:pt x="179332" y="54971"/>
                                                      </a:cubicBezTo>
                                                      <a:cubicBezTo>
                                                        <a:pt x="177583" y="52509"/>
                                                        <a:pt x="179138" y="48622"/>
                                                        <a:pt x="177130" y="46420"/>
                                                      </a:cubicBezTo>
                                                      <a:cubicBezTo>
                                                        <a:pt x="176482" y="45642"/>
                                                        <a:pt x="175510" y="45253"/>
                                                        <a:pt x="174538" y="44865"/>
                                                      </a:cubicBezTo>
                                                      <a:cubicBezTo>
                                                        <a:pt x="165987" y="41302"/>
                                                        <a:pt x="157435" y="37738"/>
                                                        <a:pt x="148883" y="34175"/>
                                                      </a:cubicBezTo>
                                                      <a:cubicBezTo>
                                                        <a:pt x="146745" y="33268"/>
                                                        <a:pt x="144542" y="32361"/>
                                                        <a:pt x="142210" y="32167"/>
                                                      </a:cubicBezTo>
                                                      <a:cubicBezTo>
                                                        <a:pt x="138776" y="31908"/>
                                                        <a:pt x="134371" y="32750"/>
                                                        <a:pt x="132751" y="29705"/>
                                                      </a:cubicBezTo>
                                                      <a:cubicBezTo>
                                                        <a:pt x="132104" y="28474"/>
                                                        <a:pt x="132233" y="26919"/>
                                                        <a:pt x="131456" y="25688"/>
                                                      </a:cubicBezTo>
                                                      <a:cubicBezTo>
                                                        <a:pt x="129318" y="22384"/>
                                                        <a:pt x="123293" y="25235"/>
                                                        <a:pt x="120636" y="22384"/>
                                                      </a:cubicBezTo>
                                                      <a:cubicBezTo>
                                                        <a:pt x="119146" y="20700"/>
                                                        <a:pt x="119535" y="17979"/>
                                                        <a:pt x="118110" y="16229"/>
                                                      </a:cubicBezTo>
                                                      <a:cubicBezTo>
                                                        <a:pt x="115972" y="13573"/>
                                                        <a:pt x="110854" y="14804"/>
                                                        <a:pt x="109169" y="11824"/>
                                                      </a:cubicBezTo>
                                                      <a:cubicBezTo>
                                                        <a:pt x="108457" y="10593"/>
                                                        <a:pt x="108651" y="9103"/>
                                                        <a:pt x="108457" y="7678"/>
                                                      </a:cubicBezTo>
                                                      <a:cubicBezTo>
                                                        <a:pt x="107485" y="1653"/>
                                                        <a:pt x="99581" y="163"/>
                                                        <a:pt x="93491" y="33"/>
                                                      </a:cubicBezTo>
                                                      <a:cubicBezTo>
                                                        <a:pt x="87013" y="-97"/>
                                                        <a:pt x="79951" y="-32"/>
                                                        <a:pt x="74703" y="3855"/>
                                                      </a:cubicBezTo>
                                                      <a:cubicBezTo>
                                                        <a:pt x="72047" y="5799"/>
                                                        <a:pt x="70039" y="8650"/>
                                                        <a:pt x="66994" y="9816"/>
                                                      </a:cubicBezTo>
                                                      <a:cubicBezTo>
                                                        <a:pt x="64532" y="10787"/>
                                                        <a:pt x="61746" y="10464"/>
                                                        <a:pt x="59090" y="10140"/>
                                                      </a:cubicBezTo>
                                                      <a:cubicBezTo>
                                                        <a:pt x="52741" y="9362"/>
                                                        <a:pt x="46327" y="8520"/>
                                                        <a:pt x="39978" y="7743"/>
                                                      </a:cubicBezTo>
                                                      <a:cubicBezTo>
                                                        <a:pt x="38294" y="9816"/>
                                                        <a:pt x="39071" y="13055"/>
                                                        <a:pt x="40885" y="14934"/>
                                                      </a:cubicBezTo>
                                                      <a:cubicBezTo>
                                                        <a:pt x="42699" y="16813"/>
                                                        <a:pt x="45291" y="17720"/>
                                                        <a:pt x="47817" y="18627"/>
                                                      </a:cubicBezTo>
                                                      <a:cubicBezTo>
                                                        <a:pt x="53713" y="20635"/>
                                                        <a:pt x="60904" y="24911"/>
                                                        <a:pt x="59414" y="31001"/>
                                                      </a:cubicBezTo>
                                                      <a:cubicBezTo>
                                                        <a:pt x="57924" y="37090"/>
                                                        <a:pt x="49696" y="37609"/>
                                                        <a:pt x="43412" y="37479"/>
                                                      </a:cubicBezTo>
                                                      <a:cubicBezTo>
                                                        <a:pt x="35703" y="37350"/>
                                                        <a:pt x="27928" y="38451"/>
                                                        <a:pt x="20478" y="40654"/>
                                                      </a:cubicBezTo>
                                                      <a:cubicBezTo>
                                                        <a:pt x="16267" y="41885"/>
                                                        <a:pt x="11473" y="44606"/>
                                                        <a:pt x="11602" y="48946"/>
                                                      </a:cubicBezTo>
                                                      <a:cubicBezTo>
                                                        <a:pt x="11732" y="52380"/>
                                                        <a:pt x="15036" y="54712"/>
                                                        <a:pt x="18210" y="55943"/>
                                                      </a:cubicBezTo>
                                                      <a:cubicBezTo>
                                                        <a:pt x="21385" y="57174"/>
                                                        <a:pt x="24948" y="57822"/>
                                                        <a:pt x="27475" y="60089"/>
                                                      </a:cubicBezTo>
                                                      <a:cubicBezTo>
                                                        <a:pt x="24300" y="61450"/>
                                                        <a:pt x="25142" y="66633"/>
                                                        <a:pt x="28058" y="68447"/>
                                                      </a:cubicBezTo>
                                                      <a:cubicBezTo>
                                                        <a:pt x="30973" y="70261"/>
                                                        <a:pt x="34731" y="69807"/>
                                                        <a:pt x="38164" y="69678"/>
                                                      </a:cubicBezTo>
                                                      <a:cubicBezTo>
                                                        <a:pt x="41598" y="69548"/>
                                                        <a:pt x="45615" y="70066"/>
                                                        <a:pt x="47493" y="72982"/>
                                                      </a:cubicBezTo>
                                                      <a:cubicBezTo>
                                                        <a:pt x="43930" y="75444"/>
                                                        <a:pt x="40302" y="77970"/>
                                                        <a:pt x="36739" y="80432"/>
                                                      </a:cubicBezTo>
                                                      <a:cubicBezTo>
                                                        <a:pt x="31815" y="83866"/>
                                                        <a:pt x="24495" y="87040"/>
                                                        <a:pt x="20607" y="82505"/>
                                                      </a:cubicBezTo>
                                                      <a:cubicBezTo>
                                                        <a:pt x="19636" y="81404"/>
                                                        <a:pt x="19117" y="80043"/>
                                                        <a:pt x="18340" y="78812"/>
                                                      </a:cubicBezTo>
                                                      <a:cubicBezTo>
                                                        <a:pt x="14842" y="73435"/>
                                                        <a:pt x="5836" y="73047"/>
                                                        <a:pt x="1884" y="78100"/>
                                                      </a:cubicBezTo>
                                                      <a:cubicBezTo>
                                                        <a:pt x="-2068" y="83153"/>
                                                        <a:pt x="524" y="91834"/>
                                                        <a:pt x="6614" y="9390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4" name="Freeform: Shape 82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05EB7B0-6390-42D4-8609-4917A466ED3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82252" y="1902143"/>
                                                  <a:ext cx="698988" cy="54979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84447 w 698988"/>
                                                    <a:gd name="connsiteY0" fmla="*/ 358244 h 549790"/>
                                                    <a:gd name="connsiteX1" fmla="*/ 587751 w 698988"/>
                                                    <a:gd name="connsiteY1" fmla="*/ 364010 h 549790"/>
                                                    <a:gd name="connsiteX2" fmla="*/ 599218 w 698988"/>
                                                    <a:gd name="connsiteY2" fmla="*/ 367962 h 549790"/>
                                                    <a:gd name="connsiteX3" fmla="*/ 623707 w 698988"/>
                                                    <a:gd name="connsiteY3" fmla="*/ 395625 h 549790"/>
                                                    <a:gd name="connsiteX4" fmla="*/ 625651 w 698988"/>
                                                    <a:gd name="connsiteY4" fmla="*/ 400873 h 549790"/>
                                                    <a:gd name="connsiteX5" fmla="*/ 635887 w 698988"/>
                                                    <a:gd name="connsiteY5" fmla="*/ 403400 h 549790"/>
                                                    <a:gd name="connsiteX6" fmla="*/ 638478 w 698988"/>
                                                    <a:gd name="connsiteY6" fmla="*/ 411303 h 549790"/>
                                                    <a:gd name="connsiteX7" fmla="*/ 649816 w 698988"/>
                                                    <a:gd name="connsiteY7" fmla="*/ 411627 h 549790"/>
                                                    <a:gd name="connsiteX8" fmla="*/ 654157 w 698988"/>
                                                    <a:gd name="connsiteY8" fmla="*/ 399318 h 549790"/>
                                                    <a:gd name="connsiteX9" fmla="*/ 658692 w 698988"/>
                                                    <a:gd name="connsiteY9" fmla="*/ 387074 h 549790"/>
                                                    <a:gd name="connsiteX10" fmla="*/ 667373 w 698988"/>
                                                    <a:gd name="connsiteY10" fmla="*/ 382992 h 549790"/>
                                                    <a:gd name="connsiteX11" fmla="*/ 671454 w 698988"/>
                                                    <a:gd name="connsiteY11" fmla="*/ 372886 h 549790"/>
                                                    <a:gd name="connsiteX12" fmla="*/ 686809 w 698988"/>
                                                    <a:gd name="connsiteY12" fmla="*/ 367443 h 549790"/>
                                                    <a:gd name="connsiteX13" fmla="*/ 698988 w 698988"/>
                                                    <a:gd name="connsiteY13" fmla="*/ 358114 h 549790"/>
                                                    <a:gd name="connsiteX14" fmla="*/ 684023 w 698988"/>
                                                    <a:gd name="connsiteY14" fmla="*/ 332718 h 549790"/>
                                                    <a:gd name="connsiteX15" fmla="*/ 674629 w 698988"/>
                                                    <a:gd name="connsiteY15" fmla="*/ 330451 h 549790"/>
                                                    <a:gd name="connsiteX16" fmla="*/ 670418 w 698988"/>
                                                    <a:gd name="connsiteY16" fmla="*/ 323713 h 549790"/>
                                                    <a:gd name="connsiteX17" fmla="*/ 664069 w 698988"/>
                                                    <a:gd name="connsiteY17" fmla="*/ 321316 h 549790"/>
                                                    <a:gd name="connsiteX18" fmla="*/ 658562 w 698988"/>
                                                    <a:gd name="connsiteY18" fmla="*/ 309072 h 549790"/>
                                                    <a:gd name="connsiteX19" fmla="*/ 648585 w 698988"/>
                                                    <a:gd name="connsiteY19" fmla="*/ 304472 h 549790"/>
                                                    <a:gd name="connsiteX20" fmla="*/ 632129 w 698988"/>
                                                    <a:gd name="connsiteY20" fmla="*/ 290413 h 549790"/>
                                                    <a:gd name="connsiteX21" fmla="*/ 599996 w 698988"/>
                                                    <a:gd name="connsiteY21" fmla="*/ 283093 h 549790"/>
                                                    <a:gd name="connsiteX22" fmla="*/ 579912 w 698988"/>
                                                    <a:gd name="connsiteY22" fmla="*/ 272532 h 549790"/>
                                                    <a:gd name="connsiteX23" fmla="*/ 560476 w 698988"/>
                                                    <a:gd name="connsiteY23" fmla="*/ 268581 h 549790"/>
                                                    <a:gd name="connsiteX24" fmla="*/ 555294 w 698988"/>
                                                    <a:gd name="connsiteY24" fmla="*/ 258927 h 549790"/>
                                                    <a:gd name="connsiteX25" fmla="*/ 544215 w 698988"/>
                                                    <a:gd name="connsiteY25" fmla="*/ 254004 h 549790"/>
                                                    <a:gd name="connsiteX26" fmla="*/ 543308 w 698988"/>
                                                    <a:gd name="connsiteY26" fmla="*/ 237354 h 549790"/>
                                                    <a:gd name="connsiteX27" fmla="*/ 560347 w 698988"/>
                                                    <a:gd name="connsiteY27" fmla="*/ 234374 h 549790"/>
                                                    <a:gd name="connsiteX28" fmla="*/ 567085 w 698988"/>
                                                    <a:gd name="connsiteY28" fmla="*/ 238002 h 549790"/>
                                                    <a:gd name="connsiteX29" fmla="*/ 579977 w 698988"/>
                                                    <a:gd name="connsiteY29" fmla="*/ 222647 h 549790"/>
                                                    <a:gd name="connsiteX30" fmla="*/ 547131 w 698988"/>
                                                    <a:gd name="connsiteY30" fmla="*/ 223684 h 549790"/>
                                                    <a:gd name="connsiteX31" fmla="*/ 550823 w 698988"/>
                                                    <a:gd name="connsiteY31" fmla="*/ 210144 h 549790"/>
                                                    <a:gd name="connsiteX32" fmla="*/ 572656 w 698988"/>
                                                    <a:gd name="connsiteY32" fmla="*/ 201786 h 549790"/>
                                                    <a:gd name="connsiteX33" fmla="*/ 567214 w 698988"/>
                                                    <a:gd name="connsiteY33" fmla="*/ 197705 h 549790"/>
                                                    <a:gd name="connsiteX34" fmla="*/ 558274 w 698988"/>
                                                    <a:gd name="connsiteY34" fmla="*/ 181379 h 549790"/>
                                                    <a:gd name="connsiteX35" fmla="*/ 541365 w 698988"/>
                                                    <a:gd name="connsiteY35" fmla="*/ 189218 h 549790"/>
                                                    <a:gd name="connsiteX36" fmla="*/ 539486 w 698988"/>
                                                    <a:gd name="connsiteY36" fmla="*/ 193300 h 549790"/>
                                                    <a:gd name="connsiteX37" fmla="*/ 528991 w 698988"/>
                                                    <a:gd name="connsiteY37" fmla="*/ 191226 h 549790"/>
                                                    <a:gd name="connsiteX38" fmla="*/ 527824 w 698988"/>
                                                    <a:gd name="connsiteY38" fmla="*/ 178917 h 549790"/>
                                                    <a:gd name="connsiteX39" fmla="*/ 537089 w 698988"/>
                                                    <a:gd name="connsiteY39" fmla="*/ 166608 h 549790"/>
                                                    <a:gd name="connsiteX40" fmla="*/ 533914 w 698988"/>
                                                    <a:gd name="connsiteY40" fmla="*/ 158639 h 549790"/>
                                                    <a:gd name="connsiteX41" fmla="*/ 527824 w 698988"/>
                                                    <a:gd name="connsiteY41" fmla="*/ 158445 h 549790"/>
                                                    <a:gd name="connsiteX42" fmla="*/ 488111 w 698988"/>
                                                    <a:gd name="connsiteY42" fmla="*/ 165895 h 549790"/>
                                                    <a:gd name="connsiteX43" fmla="*/ 484029 w 698988"/>
                                                    <a:gd name="connsiteY43" fmla="*/ 144969 h 549790"/>
                                                    <a:gd name="connsiteX44" fmla="*/ 462780 w 698988"/>
                                                    <a:gd name="connsiteY44" fmla="*/ 143220 h 549790"/>
                                                    <a:gd name="connsiteX45" fmla="*/ 446259 w 698988"/>
                                                    <a:gd name="connsiteY45" fmla="*/ 160129 h 549790"/>
                                                    <a:gd name="connsiteX46" fmla="*/ 433885 w 698988"/>
                                                    <a:gd name="connsiteY46" fmla="*/ 148014 h 549790"/>
                                                    <a:gd name="connsiteX47" fmla="*/ 448138 w 698988"/>
                                                    <a:gd name="connsiteY47" fmla="*/ 141341 h 549790"/>
                                                    <a:gd name="connsiteX48" fmla="*/ 454487 w 698988"/>
                                                    <a:gd name="connsiteY48" fmla="*/ 129810 h 549790"/>
                                                    <a:gd name="connsiteX49" fmla="*/ 462909 w 698988"/>
                                                    <a:gd name="connsiteY49" fmla="*/ 127024 h 549790"/>
                                                    <a:gd name="connsiteX50" fmla="*/ 462909 w 698988"/>
                                                    <a:gd name="connsiteY50" fmla="*/ 116917 h 549790"/>
                                                    <a:gd name="connsiteX51" fmla="*/ 441141 w 698988"/>
                                                    <a:gd name="connsiteY51" fmla="*/ 114520 h 549790"/>
                                                    <a:gd name="connsiteX52" fmla="*/ 429609 w 698988"/>
                                                    <a:gd name="connsiteY52" fmla="*/ 126052 h 549790"/>
                                                    <a:gd name="connsiteX53" fmla="*/ 415097 w 698988"/>
                                                    <a:gd name="connsiteY53" fmla="*/ 127996 h 549790"/>
                                                    <a:gd name="connsiteX54" fmla="*/ 409590 w 698988"/>
                                                    <a:gd name="connsiteY54" fmla="*/ 114455 h 549790"/>
                                                    <a:gd name="connsiteX55" fmla="*/ 401104 w 698988"/>
                                                    <a:gd name="connsiteY55" fmla="*/ 110115 h 549790"/>
                                                    <a:gd name="connsiteX56" fmla="*/ 399354 w 698988"/>
                                                    <a:gd name="connsiteY56" fmla="*/ 102470 h 549790"/>
                                                    <a:gd name="connsiteX57" fmla="*/ 388729 w 698988"/>
                                                    <a:gd name="connsiteY57" fmla="*/ 92882 h 549790"/>
                                                    <a:gd name="connsiteX58" fmla="*/ 373699 w 698988"/>
                                                    <a:gd name="connsiteY58" fmla="*/ 91845 h 549790"/>
                                                    <a:gd name="connsiteX59" fmla="*/ 368257 w 698988"/>
                                                    <a:gd name="connsiteY59" fmla="*/ 90549 h 549790"/>
                                                    <a:gd name="connsiteX60" fmla="*/ 366508 w 698988"/>
                                                    <a:gd name="connsiteY60" fmla="*/ 74612 h 549790"/>
                                                    <a:gd name="connsiteX61" fmla="*/ 345193 w 698988"/>
                                                    <a:gd name="connsiteY61" fmla="*/ 61137 h 549790"/>
                                                    <a:gd name="connsiteX62" fmla="*/ 300686 w 698988"/>
                                                    <a:gd name="connsiteY62" fmla="*/ 61266 h 549790"/>
                                                    <a:gd name="connsiteX63" fmla="*/ 292004 w 698988"/>
                                                    <a:gd name="connsiteY63" fmla="*/ 63015 h 549790"/>
                                                    <a:gd name="connsiteX64" fmla="*/ 287145 w 698988"/>
                                                    <a:gd name="connsiteY64" fmla="*/ 73705 h 549790"/>
                                                    <a:gd name="connsiteX65" fmla="*/ 284489 w 698988"/>
                                                    <a:gd name="connsiteY65" fmla="*/ 85431 h 549790"/>
                                                    <a:gd name="connsiteX66" fmla="*/ 274188 w 698988"/>
                                                    <a:gd name="connsiteY66" fmla="*/ 87375 h 549790"/>
                                                    <a:gd name="connsiteX67" fmla="*/ 266090 w 698988"/>
                                                    <a:gd name="connsiteY67" fmla="*/ 75778 h 549790"/>
                                                    <a:gd name="connsiteX68" fmla="*/ 250606 w 698988"/>
                                                    <a:gd name="connsiteY68" fmla="*/ 77333 h 549790"/>
                                                    <a:gd name="connsiteX69" fmla="*/ 249634 w 698988"/>
                                                    <a:gd name="connsiteY69" fmla="*/ 81479 h 549790"/>
                                                    <a:gd name="connsiteX70" fmla="*/ 237779 w 698988"/>
                                                    <a:gd name="connsiteY70" fmla="*/ 81803 h 549790"/>
                                                    <a:gd name="connsiteX71" fmla="*/ 235382 w 698988"/>
                                                    <a:gd name="connsiteY71" fmla="*/ 92493 h 549790"/>
                                                    <a:gd name="connsiteX72" fmla="*/ 224433 w 698988"/>
                                                    <a:gd name="connsiteY72" fmla="*/ 92039 h 549790"/>
                                                    <a:gd name="connsiteX73" fmla="*/ 220351 w 698988"/>
                                                    <a:gd name="connsiteY73" fmla="*/ 79989 h 549790"/>
                                                    <a:gd name="connsiteX74" fmla="*/ 226182 w 698988"/>
                                                    <a:gd name="connsiteY74" fmla="*/ 59971 h 549790"/>
                                                    <a:gd name="connsiteX75" fmla="*/ 225210 w 698988"/>
                                                    <a:gd name="connsiteY75" fmla="*/ 39239 h 549790"/>
                                                    <a:gd name="connsiteX76" fmla="*/ 221388 w 698988"/>
                                                    <a:gd name="connsiteY76" fmla="*/ 32631 h 549790"/>
                                                    <a:gd name="connsiteX77" fmla="*/ 220092 w 698988"/>
                                                    <a:gd name="connsiteY77" fmla="*/ 27902 h 549790"/>
                                                    <a:gd name="connsiteX78" fmla="*/ 217825 w 698988"/>
                                                    <a:gd name="connsiteY78" fmla="*/ 23561 h 549790"/>
                                                    <a:gd name="connsiteX79" fmla="*/ 208107 w 698988"/>
                                                    <a:gd name="connsiteY79" fmla="*/ 8272 h 549790"/>
                                                    <a:gd name="connsiteX80" fmla="*/ 201887 w 698988"/>
                                                    <a:gd name="connsiteY80" fmla="*/ 1339 h 549790"/>
                                                    <a:gd name="connsiteX81" fmla="*/ 191716 w 698988"/>
                                                    <a:gd name="connsiteY81" fmla="*/ 173 h 549790"/>
                                                    <a:gd name="connsiteX82" fmla="*/ 179472 w 698988"/>
                                                    <a:gd name="connsiteY82" fmla="*/ 1080 h 549790"/>
                                                    <a:gd name="connsiteX83" fmla="*/ 170596 w 698988"/>
                                                    <a:gd name="connsiteY83" fmla="*/ 3348 h 549790"/>
                                                    <a:gd name="connsiteX84" fmla="*/ 165154 w 698988"/>
                                                    <a:gd name="connsiteY84" fmla="*/ 9697 h 549790"/>
                                                    <a:gd name="connsiteX85" fmla="*/ 140535 w 698988"/>
                                                    <a:gd name="connsiteY85" fmla="*/ 22784 h 549790"/>
                                                    <a:gd name="connsiteX86" fmla="*/ 123626 w 698988"/>
                                                    <a:gd name="connsiteY86" fmla="*/ 25634 h 549790"/>
                                                    <a:gd name="connsiteX87" fmla="*/ 110086 w 698988"/>
                                                    <a:gd name="connsiteY87" fmla="*/ 40729 h 549790"/>
                                                    <a:gd name="connsiteX88" fmla="*/ 125246 w 698988"/>
                                                    <a:gd name="connsiteY88" fmla="*/ 75325 h 549790"/>
                                                    <a:gd name="connsiteX89" fmla="*/ 116759 w 698988"/>
                                                    <a:gd name="connsiteY89" fmla="*/ 88865 h 549790"/>
                                                    <a:gd name="connsiteX90" fmla="*/ 107106 w 698988"/>
                                                    <a:gd name="connsiteY90" fmla="*/ 91845 h 549790"/>
                                                    <a:gd name="connsiteX91" fmla="*/ 109503 w 698988"/>
                                                    <a:gd name="connsiteY91" fmla="*/ 97093 h 549790"/>
                                                    <a:gd name="connsiteX92" fmla="*/ 127967 w 698988"/>
                                                    <a:gd name="connsiteY92" fmla="*/ 111410 h 549790"/>
                                                    <a:gd name="connsiteX93" fmla="*/ 138073 w 698988"/>
                                                    <a:gd name="connsiteY93" fmla="*/ 125015 h 549790"/>
                                                    <a:gd name="connsiteX94" fmla="*/ 109762 w 698988"/>
                                                    <a:gd name="connsiteY94" fmla="*/ 120480 h 549790"/>
                                                    <a:gd name="connsiteX95" fmla="*/ 100692 w 698988"/>
                                                    <a:gd name="connsiteY95" fmla="*/ 110244 h 549790"/>
                                                    <a:gd name="connsiteX96" fmla="*/ 94019 w 698988"/>
                                                    <a:gd name="connsiteY96" fmla="*/ 108754 h 549790"/>
                                                    <a:gd name="connsiteX97" fmla="*/ 90845 w 698988"/>
                                                    <a:gd name="connsiteY97" fmla="*/ 104608 h 549790"/>
                                                    <a:gd name="connsiteX98" fmla="*/ 91622 w 698988"/>
                                                    <a:gd name="connsiteY98" fmla="*/ 81350 h 549790"/>
                                                    <a:gd name="connsiteX99" fmla="*/ 86893 w 698988"/>
                                                    <a:gd name="connsiteY99" fmla="*/ 59323 h 549790"/>
                                                    <a:gd name="connsiteX100" fmla="*/ 80285 w 698988"/>
                                                    <a:gd name="connsiteY100" fmla="*/ 54464 h 549790"/>
                                                    <a:gd name="connsiteX101" fmla="*/ 84042 w 698988"/>
                                                    <a:gd name="connsiteY101" fmla="*/ 39822 h 549790"/>
                                                    <a:gd name="connsiteX102" fmla="*/ 91363 w 698988"/>
                                                    <a:gd name="connsiteY102" fmla="*/ 37749 h 549790"/>
                                                    <a:gd name="connsiteX103" fmla="*/ 93760 w 698988"/>
                                                    <a:gd name="connsiteY103" fmla="*/ 25699 h 549790"/>
                                                    <a:gd name="connsiteX104" fmla="*/ 102117 w 698988"/>
                                                    <a:gd name="connsiteY104" fmla="*/ 24014 h 549790"/>
                                                    <a:gd name="connsiteX105" fmla="*/ 106329 w 698988"/>
                                                    <a:gd name="connsiteY105" fmla="*/ 15333 h 549790"/>
                                                    <a:gd name="connsiteX106" fmla="*/ 115982 w 698988"/>
                                                    <a:gd name="connsiteY106" fmla="*/ 10733 h 549790"/>
                                                    <a:gd name="connsiteX107" fmla="*/ 115723 w 698988"/>
                                                    <a:gd name="connsiteY107" fmla="*/ 1858 h 549790"/>
                                                    <a:gd name="connsiteX108" fmla="*/ 76009 w 698988"/>
                                                    <a:gd name="connsiteY108" fmla="*/ 5162 h 549790"/>
                                                    <a:gd name="connsiteX109" fmla="*/ 63635 w 698988"/>
                                                    <a:gd name="connsiteY109" fmla="*/ 9891 h 549790"/>
                                                    <a:gd name="connsiteX110" fmla="*/ 54565 w 698988"/>
                                                    <a:gd name="connsiteY110" fmla="*/ 11576 h 549790"/>
                                                    <a:gd name="connsiteX111" fmla="*/ 42320 w 698988"/>
                                                    <a:gd name="connsiteY111" fmla="*/ 18896 h 549790"/>
                                                    <a:gd name="connsiteX112" fmla="*/ 28586 w 698988"/>
                                                    <a:gd name="connsiteY112" fmla="*/ 29651 h 549790"/>
                                                    <a:gd name="connsiteX113" fmla="*/ 22366 w 698988"/>
                                                    <a:gd name="connsiteY113" fmla="*/ 35611 h 549790"/>
                                                    <a:gd name="connsiteX114" fmla="*/ 15434 w 698988"/>
                                                    <a:gd name="connsiteY114" fmla="*/ 48503 h 549790"/>
                                                    <a:gd name="connsiteX115" fmla="*/ 10705 w 698988"/>
                                                    <a:gd name="connsiteY115" fmla="*/ 53233 h 549790"/>
                                                    <a:gd name="connsiteX116" fmla="*/ 7530 w 698988"/>
                                                    <a:gd name="connsiteY116" fmla="*/ 61525 h 549790"/>
                                                    <a:gd name="connsiteX117" fmla="*/ 2736 w 698988"/>
                                                    <a:gd name="connsiteY117" fmla="*/ 82905 h 549790"/>
                                                    <a:gd name="connsiteX118" fmla="*/ 80 w 698988"/>
                                                    <a:gd name="connsiteY118" fmla="*/ 103960 h 549790"/>
                                                    <a:gd name="connsiteX119" fmla="*/ 9020 w 698988"/>
                                                    <a:gd name="connsiteY119" fmla="*/ 122618 h 549790"/>
                                                    <a:gd name="connsiteX120" fmla="*/ 38692 w 698988"/>
                                                    <a:gd name="connsiteY120" fmla="*/ 128384 h 549790"/>
                                                    <a:gd name="connsiteX121" fmla="*/ 65902 w 698988"/>
                                                    <a:gd name="connsiteY121" fmla="*/ 139981 h 549790"/>
                                                    <a:gd name="connsiteX122" fmla="*/ 69077 w 698988"/>
                                                    <a:gd name="connsiteY122" fmla="*/ 145423 h 549790"/>
                                                    <a:gd name="connsiteX123" fmla="*/ 59683 w 698988"/>
                                                    <a:gd name="connsiteY123" fmla="*/ 149245 h 549790"/>
                                                    <a:gd name="connsiteX124" fmla="*/ 31890 w 698988"/>
                                                    <a:gd name="connsiteY124" fmla="*/ 145423 h 549790"/>
                                                    <a:gd name="connsiteX125" fmla="*/ 21524 w 698988"/>
                                                    <a:gd name="connsiteY125" fmla="*/ 145617 h 549790"/>
                                                    <a:gd name="connsiteX126" fmla="*/ 15823 w 698988"/>
                                                    <a:gd name="connsiteY126" fmla="*/ 153392 h 549790"/>
                                                    <a:gd name="connsiteX127" fmla="*/ 20747 w 698988"/>
                                                    <a:gd name="connsiteY127" fmla="*/ 160064 h 549790"/>
                                                    <a:gd name="connsiteX128" fmla="*/ 42968 w 698988"/>
                                                    <a:gd name="connsiteY128" fmla="*/ 174836 h 549790"/>
                                                    <a:gd name="connsiteX129" fmla="*/ 68882 w 698988"/>
                                                    <a:gd name="connsiteY129" fmla="*/ 174512 h 549790"/>
                                                    <a:gd name="connsiteX130" fmla="*/ 76268 w 698988"/>
                                                    <a:gd name="connsiteY130" fmla="*/ 170754 h 549790"/>
                                                    <a:gd name="connsiteX131" fmla="*/ 91363 w 698988"/>
                                                    <a:gd name="connsiteY131" fmla="*/ 186562 h 549790"/>
                                                    <a:gd name="connsiteX132" fmla="*/ 159971 w 698988"/>
                                                    <a:gd name="connsiteY132" fmla="*/ 189153 h 549790"/>
                                                    <a:gd name="connsiteX133" fmla="*/ 182193 w 698988"/>
                                                    <a:gd name="connsiteY133" fmla="*/ 194336 h 549790"/>
                                                    <a:gd name="connsiteX134" fmla="*/ 190939 w 698988"/>
                                                    <a:gd name="connsiteY134" fmla="*/ 204637 h 549790"/>
                                                    <a:gd name="connsiteX135" fmla="*/ 198130 w 698988"/>
                                                    <a:gd name="connsiteY135" fmla="*/ 202370 h 549790"/>
                                                    <a:gd name="connsiteX136" fmla="*/ 214585 w 698988"/>
                                                    <a:gd name="connsiteY136" fmla="*/ 185072 h 549790"/>
                                                    <a:gd name="connsiteX137" fmla="*/ 230199 w 698988"/>
                                                    <a:gd name="connsiteY137" fmla="*/ 183841 h 549790"/>
                                                    <a:gd name="connsiteX138" fmla="*/ 235706 w 698988"/>
                                                    <a:gd name="connsiteY138" fmla="*/ 180018 h 549790"/>
                                                    <a:gd name="connsiteX139" fmla="*/ 269653 w 698988"/>
                                                    <a:gd name="connsiteY139" fmla="*/ 187404 h 549790"/>
                                                    <a:gd name="connsiteX140" fmla="*/ 276132 w 698988"/>
                                                    <a:gd name="connsiteY140" fmla="*/ 190902 h 549790"/>
                                                    <a:gd name="connsiteX141" fmla="*/ 279501 w 698988"/>
                                                    <a:gd name="connsiteY141" fmla="*/ 184359 h 549790"/>
                                                    <a:gd name="connsiteX142" fmla="*/ 259935 w 698988"/>
                                                    <a:gd name="connsiteY142" fmla="*/ 160453 h 549790"/>
                                                    <a:gd name="connsiteX143" fmla="*/ 307294 w 698988"/>
                                                    <a:gd name="connsiteY143" fmla="*/ 179371 h 549790"/>
                                                    <a:gd name="connsiteX144" fmla="*/ 309691 w 698988"/>
                                                    <a:gd name="connsiteY144" fmla="*/ 184424 h 549790"/>
                                                    <a:gd name="connsiteX145" fmla="*/ 310144 w 698988"/>
                                                    <a:gd name="connsiteY145" fmla="*/ 189024 h 549790"/>
                                                    <a:gd name="connsiteX146" fmla="*/ 318243 w 698988"/>
                                                    <a:gd name="connsiteY146" fmla="*/ 196215 h 549790"/>
                                                    <a:gd name="connsiteX147" fmla="*/ 332107 w 698988"/>
                                                    <a:gd name="connsiteY147" fmla="*/ 214355 h 549790"/>
                                                    <a:gd name="connsiteX148" fmla="*/ 344027 w 698988"/>
                                                    <a:gd name="connsiteY148" fmla="*/ 217465 h 549790"/>
                                                    <a:gd name="connsiteX149" fmla="*/ 354717 w 698988"/>
                                                    <a:gd name="connsiteY149" fmla="*/ 221870 h 549790"/>
                                                    <a:gd name="connsiteX150" fmla="*/ 358798 w 698988"/>
                                                    <a:gd name="connsiteY150" fmla="*/ 228996 h 549790"/>
                                                    <a:gd name="connsiteX151" fmla="*/ 356920 w 698988"/>
                                                    <a:gd name="connsiteY151" fmla="*/ 231588 h 549790"/>
                                                    <a:gd name="connsiteX152" fmla="*/ 325952 w 698988"/>
                                                    <a:gd name="connsiteY152" fmla="*/ 245193 h 549790"/>
                                                    <a:gd name="connsiteX153" fmla="*/ 329515 w 698988"/>
                                                    <a:gd name="connsiteY153" fmla="*/ 253097 h 549790"/>
                                                    <a:gd name="connsiteX154" fmla="*/ 340270 w 698988"/>
                                                    <a:gd name="connsiteY154" fmla="*/ 250117 h 549790"/>
                                                    <a:gd name="connsiteX155" fmla="*/ 353421 w 698988"/>
                                                    <a:gd name="connsiteY155" fmla="*/ 245841 h 549790"/>
                                                    <a:gd name="connsiteX156" fmla="*/ 360677 w 698988"/>
                                                    <a:gd name="connsiteY156" fmla="*/ 238650 h 549790"/>
                                                    <a:gd name="connsiteX157" fmla="*/ 376485 w 698988"/>
                                                    <a:gd name="connsiteY157" fmla="*/ 236706 h 549790"/>
                                                    <a:gd name="connsiteX158" fmla="*/ 377651 w 698988"/>
                                                    <a:gd name="connsiteY158" fmla="*/ 242925 h 549790"/>
                                                    <a:gd name="connsiteX159" fmla="*/ 386073 w 698988"/>
                                                    <a:gd name="connsiteY159" fmla="*/ 257632 h 549790"/>
                                                    <a:gd name="connsiteX160" fmla="*/ 404861 w 698988"/>
                                                    <a:gd name="connsiteY160" fmla="*/ 259899 h 549790"/>
                                                    <a:gd name="connsiteX161" fmla="*/ 420280 w 698988"/>
                                                    <a:gd name="connsiteY161" fmla="*/ 269228 h 549790"/>
                                                    <a:gd name="connsiteX162" fmla="*/ 422872 w 698988"/>
                                                    <a:gd name="connsiteY162" fmla="*/ 282380 h 549790"/>
                                                    <a:gd name="connsiteX163" fmla="*/ 429026 w 698988"/>
                                                    <a:gd name="connsiteY163" fmla="*/ 288858 h 549790"/>
                                                    <a:gd name="connsiteX164" fmla="*/ 434662 w 698988"/>
                                                    <a:gd name="connsiteY164" fmla="*/ 327082 h 549790"/>
                                                    <a:gd name="connsiteX165" fmla="*/ 438226 w 698988"/>
                                                    <a:gd name="connsiteY165" fmla="*/ 332330 h 549790"/>
                                                    <a:gd name="connsiteX166" fmla="*/ 442696 w 698988"/>
                                                    <a:gd name="connsiteY166" fmla="*/ 333301 h 549790"/>
                                                    <a:gd name="connsiteX167" fmla="*/ 476061 w 698988"/>
                                                    <a:gd name="connsiteY167" fmla="*/ 330127 h 549790"/>
                                                    <a:gd name="connsiteX168" fmla="*/ 506445 w 698988"/>
                                                    <a:gd name="connsiteY168" fmla="*/ 340817 h 549790"/>
                                                    <a:gd name="connsiteX169" fmla="*/ 499059 w 698988"/>
                                                    <a:gd name="connsiteY169" fmla="*/ 367832 h 549790"/>
                                                    <a:gd name="connsiteX170" fmla="*/ 492387 w 698988"/>
                                                    <a:gd name="connsiteY170" fmla="*/ 369970 h 549790"/>
                                                    <a:gd name="connsiteX171" fmla="*/ 490508 w 698988"/>
                                                    <a:gd name="connsiteY171" fmla="*/ 375153 h 549790"/>
                                                    <a:gd name="connsiteX172" fmla="*/ 480142 w 698988"/>
                                                    <a:gd name="connsiteY172" fmla="*/ 382474 h 549790"/>
                                                    <a:gd name="connsiteX173" fmla="*/ 470619 w 698988"/>
                                                    <a:gd name="connsiteY173" fmla="*/ 374052 h 549790"/>
                                                    <a:gd name="connsiteX174" fmla="*/ 469841 w 698988"/>
                                                    <a:gd name="connsiteY174" fmla="*/ 367703 h 549790"/>
                                                    <a:gd name="connsiteX175" fmla="*/ 462456 w 698988"/>
                                                    <a:gd name="connsiteY175" fmla="*/ 361224 h 549790"/>
                                                    <a:gd name="connsiteX176" fmla="*/ 446518 w 698988"/>
                                                    <a:gd name="connsiteY176" fmla="*/ 353191 h 549790"/>
                                                    <a:gd name="connsiteX177" fmla="*/ 421705 w 698988"/>
                                                    <a:gd name="connsiteY177" fmla="*/ 344121 h 549790"/>
                                                    <a:gd name="connsiteX178" fmla="*/ 397605 w 698988"/>
                                                    <a:gd name="connsiteY178" fmla="*/ 349563 h 549790"/>
                                                    <a:gd name="connsiteX179" fmla="*/ 392617 w 698988"/>
                                                    <a:gd name="connsiteY179" fmla="*/ 366472 h 549790"/>
                                                    <a:gd name="connsiteX180" fmla="*/ 396245 w 698988"/>
                                                    <a:gd name="connsiteY180" fmla="*/ 370618 h 549790"/>
                                                    <a:gd name="connsiteX181" fmla="*/ 393329 w 698988"/>
                                                    <a:gd name="connsiteY181" fmla="*/ 373663 h 549790"/>
                                                    <a:gd name="connsiteX182" fmla="*/ 397152 w 698988"/>
                                                    <a:gd name="connsiteY182" fmla="*/ 383316 h 549790"/>
                                                    <a:gd name="connsiteX183" fmla="*/ 407776 w 698988"/>
                                                    <a:gd name="connsiteY183" fmla="*/ 388888 h 549790"/>
                                                    <a:gd name="connsiteX184" fmla="*/ 406287 w 698988"/>
                                                    <a:gd name="connsiteY184" fmla="*/ 400938 h 549790"/>
                                                    <a:gd name="connsiteX185" fmla="*/ 393977 w 698988"/>
                                                    <a:gd name="connsiteY185" fmla="*/ 404760 h 549790"/>
                                                    <a:gd name="connsiteX186" fmla="*/ 386332 w 698988"/>
                                                    <a:gd name="connsiteY186" fmla="*/ 405861 h 549790"/>
                                                    <a:gd name="connsiteX187" fmla="*/ 383287 w 698988"/>
                                                    <a:gd name="connsiteY187" fmla="*/ 410526 h 549790"/>
                                                    <a:gd name="connsiteX188" fmla="*/ 373505 w 698988"/>
                                                    <a:gd name="connsiteY188" fmla="*/ 413312 h 549790"/>
                                                    <a:gd name="connsiteX189" fmla="*/ 351866 w 698988"/>
                                                    <a:gd name="connsiteY189" fmla="*/ 412793 h 549790"/>
                                                    <a:gd name="connsiteX190" fmla="*/ 344092 w 698988"/>
                                                    <a:gd name="connsiteY190" fmla="*/ 411044 h 549790"/>
                                                    <a:gd name="connsiteX191" fmla="*/ 339492 w 698988"/>
                                                    <a:gd name="connsiteY191" fmla="*/ 405991 h 549790"/>
                                                    <a:gd name="connsiteX192" fmla="*/ 321482 w 698988"/>
                                                    <a:gd name="connsiteY192" fmla="*/ 412534 h 549790"/>
                                                    <a:gd name="connsiteX193" fmla="*/ 298742 w 698988"/>
                                                    <a:gd name="connsiteY193" fmla="*/ 419726 h 549790"/>
                                                    <a:gd name="connsiteX194" fmla="*/ 301010 w 698988"/>
                                                    <a:gd name="connsiteY194" fmla="*/ 439809 h 549790"/>
                                                    <a:gd name="connsiteX195" fmla="*/ 298224 w 698988"/>
                                                    <a:gd name="connsiteY195" fmla="*/ 446158 h 549790"/>
                                                    <a:gd name="connsiteX196" fmla="*/ 312930 w 698988"/>
                                                    <a:gd name="connsiteY196" fmla="*/ 451989 h 549790"/>
                                                    <a:gd name="connsiteX197" fmla="*/ 327313 w 698988"/>
                                                    <a:gd name="connsiteY197" fmla="*/ 447195 h 549790"/>
                                                    <a:gd name="connsiteX198" fmla="*/ 331005 w 698988"/>
                                                    <a:gd name="connsiteY198" fmla="*/ 442725 h 549790"/>
                                                    <a:gd name="connsiteX199" fmla="*/ 336188 w 698988"/>
                                                    <a:gd name="connsiteY199" fmla="*/ 441818 h 549790"/>
                                                    <a:gd name="connsiteX200" fmla="*/ 357632 w 698988"/>
                                                    <a:gd name="connsiteY200" fmla="*/ 442206 h 549790"/>
                                                    <a:gd name="connsiteX201" fmla="*/ 364953 w 698988"/>
                                                    <a:gd name="connsiteY201" fmla="*/ 449074 h 549790"/>
                                                    <a:gd name="connsiteX202" fmla="*/ 374412 w 698988"/>
                                                    <a:gd name="connsiteY202" fmla="*/ 442530 h 549790"/>
                                                    <a:gd name="connsiteX203" fmla="*/ 382381 w 698988"/>
                                                    <a:gd name="connsiteY203" fmla="*/ 433849 h 549790"/>
                                                    <a:gd name="connsiteX204" fmla="*/ 395856 w 698988"/>
                                                    <a:gd name="connsiteY204" fmla="*/ 431063 h 549790"/>
                                                    <a:gd name="connsiteX205" fmla="*/ 423973 w 698988"/>
                                                    <a:gd name="connsiteY205" fmla="*/ 443113 h 549790"/>
                                                    <a:gd name="connsiteX206" fmla="*/ 425852 w 698988"/>
                                                    <a:gd name="connsiteY206" fmla="*/ 448750 h 549790"/>
                                                    <a:gd name="connsiteX207" fmla="*/ 432395 w 698988"/>
                                                    <a:gd name="connsiteY207" fmla="*/ 453479 h 549790"/>
                                                    <a:gd name="connsiteX208" fmla="*/ 435310 w 698988"/>
                                                    <a:gd name="connsiteY208" fmla="*/ 463262 h 549790"/>
                                                    <a:gd name="connsiteX209" fmla="*/ 452803 w 698988"/>
                                                    <a:gd name="connsiteY209" fmla="*/ 470453 h 549790"/>
                                                    <a:gd name="connsiteX210" fmla="*/ 460966 w 698988"/>
                                                    <a:gd name="connsiteY210" fmla="*/ 504141 h 549790"/>
                                                    <a:gd name="connsiteX211" fmla="*/ 471461 w 698988"/>
                                                    <a:gd name="connsiteY211" fmla="*/ 509972 h 549790"/>
                                                    <a:gd name="connsiteX212" fmla="*/ 513377 w 698988"/>
                                                    <a:gd name="connsiteY212" fmla="*/ 514961 h 549790"/>
                                                    <a:gd name="connsiteX213" fmla="*/ 524585 w 698988"/>
                                                    <a:gd name="connsiteY213" fmla="*/ 525780 h 549790"/>
                                                    <a:gd name="connsiteX214" fmla="*/ 542337 w 698988"/>
                                                    <a:gd name="connsiteY214" fmla="*/ 528566 h 549790"/>
                                                    <a:gd name="connsiteX215" fmla="*/ 547001 w 698988"/>
                                                    <a:gd name="connsiteY215" fmla="*/ 532906 h 549790"/>
                                                    <a:gd name="connsiteX216" fmla="*/ 554905 w 698988"/>
                                                    <a:gd name="connsiteY216" fmla="*/ 533554 h 549790"/>
                                                    <a:gd name="connsiteX217" fmla="*/ 592027 w 698988"/>
                                                    <a:gd name="connsiteY217" fmla="*/ 549751 h 549790"/>
                                                    <a:gd name="connsiteX218" fmla="*/ 582568 w 698988"/>
                                                    <a:gd name="connsiteY218" fmla="*/ 530185 h 549790"/>
                                                    <a:gd name="connsiteX219" fmla="*/ 533331 w 698988"/>
                                                    <a:gd name="connsiteY219" fmla="*/ 488463 h 549790"/>
                                                    <a:gd name="connsiteX220" fmla="*/ 527436 w 698988"/>
                                                    <a:gd name="connsiteY220" fmla="*/ 485030 h 549790"/>
                                                    <a:gd name="connsiteX221" fmla="*/ 527306 w 698988"/>
                                                    <a:gd name="connsiteY221" fmla="*/ 478875 h 549790"/>
                                                    <a:gd name="connsiteX222" fmla="*/ 531258 w 698988"/>
                                                    <a:gd name="connsiteY222" fmla="*/ 477838 h 549790"/>
                                                    <a:gd name="connsiteX223" fmla="*/ 558727 w 698988"/>
                                                    <a:gd name="connsiteY223" fmla="*/ 479005 h 549790"/>
                                                    <a:gd name="connsiteX224" fmla="*/ 566955 w 698988"/>
                                                    <a:gd name="connsiteY224" fmla="*/ 482956 h 549790"/>
                                                    <a:gd name="connsiteX225" fmla="*/ 568380 w 698988"/>
                                                    <a:gd name="connsiteY225" fmla="*/ 489241 h 549790"/>
                                                    <a:gd name="connsiteX226" fmla="*/ 572656 w 698988"/>
                                                    <a:gd name="connsiteY226" fmla="*/ 493905 h 549790"/>
                                                    <a:gd name="connsiteX227" fmla="*/ 606798 w 698988"/>
                                                    <a:gd name="connsiteY227" fmla="*/ 506474 h 549790"/>
                                                    <a:gd name="connsiteX228" fmla="*/ 620403 w 698988"/>
                                                    <a:gd name="connsiteY228" fmla="*/ 499736 h 549790"/>
                                                    <a:gd name="connsiteX229" fmla="*/ 627594 w 698988"/>
                                                    <a:gd name="connsiteY229" fmla="*/ 495071 h 549790"/>
                                                    <a:gd name="connsiteX230" fmla="*/ 632777 w 698988"/>
                                                    <a:gd name="connsiteY230" fmla="*/ 490796 h 549790"/>
                                                    <a:gd name="connsiteX231" fmla="*/ 622671 w 698988"/>
                                                    <a:gd name="connsiteY231" fmla="*/ 475053 h 549790"/>
                                                    <a:gd name="connsiteX232" fmla="*/ 622541 w 698988"/>
                                                    <a:gd name="connsiteY232" fmla="*/ 465140 h 549790"/>
                                                    <a:gd name="connsiteX233" fmla="*/ 605438 w 698988"/>
                                                    <a:gd name="connsiteY233" fmla="*/ 453155 h 549790"/>
                                                    <a:gd name="connsiteX234" fmla="*/ 600968 w 698988"/>
                                                    <a:gd name="connsiteY234" fmla="*/ 432748 h 549790"/>
                                                    <a:gd name="connsiteX235" fmla="*/ 586909 w 698988"/>
                                                    <a:gd name="connsiteY235" fmla="*/ 430610 h 549790"/>
                                                    <a:gd name="connsiteX236" fmla="*/ 586261 w 698988"/>
                                                    <a:gd name="connsiteY236" fmla="*/ 424779 h 549790"/>
                                                    <a:gd name="connsiteX237" fmla="*/ 574081 w 698988"/>
                                                    <a:gd name="connsiteY237" fmla="*/ 420762 h 549790"/>
                                                    <a:gd name="connsiteX238" fmla="*/ 557626 w 698988"/>
                                                    <a:gd name="connsiteY238" fmla="*/ 400355 h 549790"/>
                                                    <a:gd name="connsiteX239" fmla="*/ 542660 w 698988"/>
                                                    <a:gd name="connsiteY239" fmla="*/ 388045 h 549790"/>
                                                    <a:gd name="connsiteX240" fmla="*/ 548556 w 698988"/>
                                                    <a:gd name="connsiteY240" fmla="*/ 384612 h 549790"/>
                                                    <a:gd name="connsiteX241" fmla="*/ 558209 w 698988"/>
                                                    <a:gd name="connsiteY241" fmla="*/ 369452 h 549790"/>
                                                    <a:gd name="connsiteX242" fmla="*/ 550823 w 698988"/>
                                                    <a:gd name="connsiteY242" fmla="*/ 359669 h 549790"/>
                                                    <a:gd name="connsiteX243" fmla="*/ 561254 w 698988"/>
                                                    <a:gd name="connsiteY243" fmla="*/ 351895 h 549790"/>
                                                    <a:gd name="connsiteX244" fmla="*/ 584123 w 698988"/>
                                                    <a:gd name="connsiteY244" fmla="*/ 358438 h 54979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98988" h="549790">
                                                      <a:moveTo>
                                                        <a:pt x="584447" y="358244"/>
                                                      </a:moveTo>
                                                      <a:cubicBezTo>
                                                        <a:pt x="585548" y="360188"/>
                                                        <a:pt x="586261" y="362390"/>
                                                        <a:pt x="587751" y="364010"/>
                                                      </a:cubicBezTo>
                                                      <a:cubicBezTo>
                                                        <a:pt x="590602" y="366990"/>
                                                        <a:pt x="595201" y="367120"/>
                                                        <a:pt x="599218" y="367962"/>
                                                      </a:cubicBezTo>
                                                      <a:cubicBezTo>
                                                        <a:pt x="612046" y="370618"/>
                                                        <a:pt x="621699" y="382668"/>
                                                        <a:pt x="623707" y="395625"/>
                                                      </a:cubicBezTo>
                                                      <a:cubicBezTo>
                                                        <a:pt x="623966" y="397504"/>
                                                        <a:pt x="624226" y="399577"/>
                                                        <a:pt x="625651" y="400873"/>
                                                      </a:cubicBezTo>
                                                      <a:cubicBezTo>
                                                        <a:pt x="628372" y="403270"/>
                                                        <a:pt x="633231" y="400938"/>
                                                        <a:pt x="635887" y="403400"/>
                                                      </a:cubicBezTo>
                                                      <a:cubicBezTo>
                                                        <a:pt x="637960" y="405343"/>
                                                        <a:pt x="637183" y="408777"/>
                                                        <a:pt x="638478" y="411303"/>
                                                      </a:cubicBezTo>
                                                      <a:cubicBezTo>
                                                        <a:pt x="640487" y="415255"/>
                                                        <a:pt x="646771" y="414867"/>
                                                        <a:pt x="649816" y="411627"/>
                                                      </a:cubicBezTo>
                                                      <a:cubicBezTo>
                                                        <a:pt x="652861" y="408388"/>
                                                        <a:pt x="653573" y="403724"/>
                                                        <a:pt x="654157" y="399318"/>
                                                      </a:cubicBezTo>
                                                      <a:cubicBezTo>
                                                        <a:pt x="654740" y="394913"/>
                                                        <a:pt x="655517" y="390183"/>
                                                        <a:pt x="658692" y="387074"/>
                                                      </a:cubicBezTo>
                                                      <a:cubicBezTo>
                                                        <a:pt x="661672" y="389147"/>
                                                        <a:pt x="665818" y="386296"/>
                                                        <a:pt x="667373" y="382992"/>
                                                      </a:cubicBezTo>
                                                      <a:cubicBezTo>
                                                        <a:pt x="668928" y="379688"/>
                                                        <a:pt x="669187" y="375801"/>
                                                        <a:pt x="671454" y="372886"/>
                                                      </a:cubicBezTo>
                                                      <a:cubicBezTo>
                                                        <a:pt x="674888" y="368480"/>
                                                        <a:pt x="681302" y="368221"/>
                                                        <a:pt x="686809" y="367443"/>
                                                      </a:cubicBezTo>
                                                      <a:cubicBezTo>
                                                        <a:pt x="692315" y="366666"/>
                                                        <a:pt x="698859" y="363686"/>
                                                        <a:pt x="698988" y="358114"/>
                                                      </a:cubicBezTo>
                                                      <a:cubicBezTo>
                                                        <a:pt x="689530" y="354033"/>
                                                        <a:pt x="693805" y="335958"/>
                                                        <a:pt x="684023" y="332718"/>
                                                      </a:cubicBezTo>
                                                      <a:cubicBezTo>
                                                        <a:pt x="680913" y="331682"/>
                                                        <a:pt x="677091" y="332589"/>
                                                        <a:pt x="674629" y="330451"/>
                                                      </a:cubicBezTo>
                                                      <a:cubicBezTo>
                                                        <a:pt x="672685" y="328637"/>
                                                        <a:pt x="672491" y="325398"/>
                                                        <a:pt x="670418" y="323713"/>
                                                      </a:cubicBezTo>
                                                      <a:cubicBezTo>
                                                        <a:pt x="668669" y="322288"/>
                                                        <a:pt x="666077" y="322353"/>
                                                        <a:pt x="664069" y="321316"/>
                                                      </a:cubicBezTo>
                                                      <a:cubicBezTo>
                                                        <a:pt x="659987" y="319113"/>
                                                        <a:pt x="659858" y="313542"/>
                                                        <a:pt x="658562" y="309072"/>
                                                      </a:cubicBezTo>
                                                      <a:cubicBezTo>
                                                        <a:pt x="657266" y="304601"/>
                                                        <a:pt x="651112" y="300585"/>
                                                        <a:pt x="648585" y="304472"/>
                                                      </a:cubicBezTo>
                                                      <a:cubicBezTo>
                                                        <a:pt x="649622" y="296568"/>
                                                        <a:pt x="639839" y="292227"/>
                                                        <a:pt x="632129" y="290413"/>
                                                      </a:cubicBezTo>
                                                      <a:cubicBezTo>
                                                        <a:pt x="621440" y="287951"/>
                                                        <a:pt x="610685" y="285490"/>
                                                        <a:pt x="599996" y="283093"/>
                                                      </a:cubicBezTo>
                                                      <a:cubicBezTo>
                                                        <a:pt x="593323" y="279594"/>
                                                        <a:pt x="586650" y="276096"/>
                                                        <a:pt x="579912" y="272532"/>
                                                      </a:cubicBezTo>
                                                      <a:cubicBezTo>
                                                        <a:pt x="573887" y="269358"/>
                                                        <a:pt x="566826" y="266119"/>
                                                        <a:pt x="560476" y="268581"/>
                                                      </a:cubicBezTo>
                                                      <a:cubicBezTo>
                                                        <a:pt x="562226" y="264953"/>
                                                        <a:pt x="558922" y="260742"/>
                                                        <a:pt x="555294" y="258927"/>
                                                      </a:cubicBezTo>
                                                      <a:cubicBezTo>
                                                        <a:pt x="551666" y="257178"/>
                                                        <a:pt x="547390" y="256530"/>
                                                        <a:pt x="544215" y="254004"/>
                                                      </a:cubicBezTo>
                                                      <a:cubicBezTo>
                                                        <a:pt x="539421" y="250052"/>
                                                        <a:pt x="539227" y="242018"/>
                                                        <a:pt x="543308" y="237354"/>
                                                      </a:cubicBezTo>
                                                      <a:cubicBezTo>
                                                        <a:pt x="547390" y="232689"/>
                                                        <a:pt x="554775" y="231653"/>
                                                        <a:pt x="560347" y="234374"/>
                                                      </a:cubicBezTo>
                                                      <a:cubicBezTo>
                                                        <a:pt x="562614" y="235475"/>
                                                        <a:pt x="564687" y="237159"/>
                                                        <a:pt x="567085" y="238002"/>
                                                      </a:cubicBezTo>
                                                      <a:cubicBezTo>
                                                        <a:pt x="575248" y="240787"/>
                                                        <a:pt x="584123" y="230227"/>
                                                        <a:pt x="579977" y="222647"/>
                                                      </a:cubicBezTo>
                                                      <a:lnTo>
                                                        <a:pt x="547131" y="223684"/>
                                                      </a:lnTo>
                                                      <a:cubicBezTo>
                                                        <a:pt x="549851" y="219797"/>
                                                        <a:pt x="551212" y="214938"/>
                                                        <a:pt x="550823" y="210144"/>
                                                      </a:cubicBezTo>
                                                      <a:cubicBezTo>
                                                        <a:pt x="558079" y="207358"/>
                                                        <a:pt x="565335" y="204572"/>
                                                        <a:pt x="572656" y="201786"/>
                                                      </a:cubicBezTo>
                                                      <a:cubicBezTo>
                                                        <a:pt x="572203" y="199325"/>
                                                        <a:pt x="569676" y="197446"/>
                                                        <a:pt x="567214" y="197705"/>
                                                      </a:cubicBezTo>
                                                      <a:cubicBezTo>
                                                        <a:pt x="568899" y="191097"/>
                                                        <a:pt x="564752" y="183517"/>
                                                        <a:pt x="558274" y="181379"/>
                                                      </a:cubicBezTo>
                                                      <a:cubicBezTo>
                                                        <a:pt x="551795" y="179241"/>
                                                        <a:pt x="543956" y="182869"/>
                                                        <a:pt x="541365" y="189218"/>
                                                      </a:cubicBezTo>
                                                      <a:cubicBezTo>
                                                        <a:pt x="540782" y="190579"/>
                                                        <a:pt x="540458" y="192133"/>
                                                        <a:pt x="539486" y="193300"/>
                                                      </a:cubicBezTo>
                                                      <a:cubicBezTo>
                                                        <a:pt x="536830" y="196539"/>
                                                        <a:pt x="531064" y="194854"/>
                                                        <a:pt x="528991" y="191226"/>
                                                      </a:cubicBezTo>
                                                      <a:cubicBezTo>
                                                        <a:pt x="526917" y="187598"/>
                                                        <a:pt x="527306" y="183128"/>
                                                        <a:pt x="527824" y="178917"/>
                                                      </a:cubicBezTo>
                                                      <a:cubicBezTo>
                                                        <a:pt x="532748" y="176779"/>
                                                        <a:pt x="536376" y="171920"/>
                                                        <a:pt x="537089" y="166608"/>
                                                      </a:cubicBezTo>
                                                      <a:cubicBezTo>
                                                        <a:pt x="537478" y="163563"/>
                                                        <a:pt x="536635" y="160000"/>
                                                        <a:pt x="533914" y="158639"/>
                                                      </a:cubicBezTo>
                                                      <a:cubicBezTo>
                                                        <a:pt x="532035" y="157732"/>
                                                        <a:pt x="529833" y="158056"/>
                                                        <a:pt x="527824" y="158445"/>
                                                      </a:cubicBezTo>
                                                      <a:cubicBezTo>
                                                        <a:pt x="514608" y="160907"/>
                                                        <a:pt x="501392" y="163433"/>
                                                        <a:pt x="488111" y="165895"/>
                                                      </a:cubicBezTo>
                                                      <a:cubicBezTo>
                                                        <a:pt x="491480" y="159028"/>
                                                        <a:pt x="489730" y="150023"/>
                                                        <a:pt x="484029" y="144969"/>
                                                      </a:cubicBezTo>
                                                      <a:cubicBezTo>
                                                        <a:pt x="478328" y="139916"/>
                                                        <a:pt x="469193" y="139139"/>
                                                        <a:pt x="462780" y="143220"/>
                                                      </a:cubicBezTo>
                                                      <a:cubicBezTo>
                                                        <a:pt x="457273" y="148857"/>
                                                        <a:pt x="451766" y="154493"/>
                                                        <a:pt x="446259" y="160129"/>
                                                      </a:cubicBezTo>
                                                      <a:cubicBezTo>
                                                        <a:pt x="439327" y="160453"/>
                                                        <a:pt x="431099" y="154363"/>
                                                        <a:pt x="433885" y="148014"/>
                                                      </a:cubicBezTo>
                                                      <a:cubicBezTo>
                                                        <a:pt x="436088" y="143026"/>
                                                        <a:pt x="442826" y="142637"/>
                                                        <a:pt x="448138" y="141341"/>
                                                      </a:cubicBezTo>
                                                      <a:cubicBezTo>
                                                        <a:pt x="453450" y="139981"/>
                                                        <a:pt x="458698" y="133243"/>
                                                        <a:pt x="454487" y="129810"/>
                                                      </a:cubicBezTo>
                                                      <a:cubicBezTo>
                                                        <a:pt x="457273" y="128903"/>
                                                        <a:pt x="460123" y="127931"/>
                                                        <a:pt x="462909" y="127024"/>
                                                      </a:cubicBezTo>
                                                      <a:cubicBezTo>
                                                        <a:pt x="462909" y="123655"/>
                                                        <a:pt x="462909" y="120286"/>
                                                        <a:pt x="462909" y="116917"/>
                                                      </a:cubicBezTo>
                                                      <a:cubicBezTo>
                                                        <a:pt x="455977" y="113937"/>
                                                        <a:pt x="447814" y="111022"/>
                                                        <a:pt x="441141" y="114520"/>
                                                      </a:cubicBezTo>
                                                      <a:cubicBezTo>
                                                        <a:pt x="436282" y="117047"/>
                                                        <a:pt x="433496" y="122230"/>
                                                        <a:pt x="429609" y="126052"/>
                                                      </a:cubicBezTo>
                                                      <a:cubicBezTo>
                                                        <a:pt x="425722" y="129874"/>
                                                        <a:pt x="418725" y="132077"/>
                                                        <a:pt x="415097" y="127996"/>
                                                      </a:cubicBezTo>
                                                      <a:cubicBezTo>
                                                        <a:pt x="411793" y="124303"/>
                                                        <a:pt x="413413" y="117630"/>
                                                        <a:pt x="409590" y="114455"/>
                                                      </a:cubicBezTo>
                                                      <a:cubicBezTo>
                                                        <a:pt x="407129" y="112382"/>
                                                        <a:pt x="403112" y="112641"/>
                                                        <a:pt x="401104" y="110115"/>
                                                      </a:cubicBezTo>
                                                      <a:cubicBezTo>
                                                        <a:pt x="399419" y="108042"/>
                                                        <a:pt x="399937" y="105061"/>
                                                        <a:pt x="399354" y="102470"/>
                                                      </a:cubicBezTo>
                                                      <a:cubicBezTo>
                                                        <a:pt x="398318" y="97546"/>
                                                        <a:pt x="393588" y="94113"/>
                                                        <a:pt x="388729" y="92882"/>
                                                      </a:cubicBezTo>
                                                      <a:cubicBezTo>
                                                        <a:pt x="383871" y="91586"/>
                                                        <a:pt x="378753" y="92039"/>
                                                        <a:pt x="373699" y="91845"/>
                                                      </a:cubicBezTo>
                                                      <a:cubicBezTo>
                                                        <a:pt x="371820" y="91845"/>
                                                        <a:pt x="369812" y="91586"/>
                                                        <a:pt x="368257" y="90549"/>
                                                      </a:cubicBezTo>
                                                      <a:cubicBezTo>
                                                        <a:pt x="363593" y="87375"/>
                                                        <a:pt x="366443" y="80248"/>
                                                        <a:pt x="366508" y="74612"/>
                                                      </a:cubicBezTo>
                                                      <a:cubicBezTo>
                                                        <a:pt x="366702" y="64829"/>
                                                        <a:pt x="354976" y="61072"/>
                                                        <a:pt x="345193" y="61137"/>
                                                      </a:cubicBezTo>
                                                      <a:lnTo>
                                                        <a:pt x="300686" y="61266"/>
                                                      </a:lnTo>
                                                      <a:cubicBezTo>
                                                        <a:pt x="297706" y="61266"/>
                                                        <a:pt x="294466" y="61331"/>
                                                        <a:pt x="292004" y="63015"/>
                                                      </a:cubicBezTo>
                                                      <a:cubicBezTo>
                                                        <a:pt x="288636" y="65283"/>
                                                        <a:pt x="287534" y="69688"/>
                                                        <a:pt x="287145" y="73705"/>
                                                      </a:cubicBezTo>
                                                      <a:cubicBezTo>
                                                        <a:pt x="286757" y="77722"/>
                                                        <a:pt x="286692" y="81998"/>
                                                        <a:pt x="284489" y="85431"/>
                                                      </a:cubicBezTo>
                                                      <a:cubicBezTo>
                                                        <a:pt x="282287" y="88800"/>
                                                        <a:pt x="276845" y="90420"/>
                                                        <a:pt x="274188" y="87375"/>
                                                      </a:cubicBezTo>
                                                      <a:cubicBezTo>
                                                        <a:pt x="275614" y="82322"/>
                                                        <a:pt x="271143" y="77139"/>
                                                        <a:pt x="266090" y="75778"/>
                                                      </a:cubicBezTo>
                                                      <a:cubicBezTo>
                                                        <a:pt x="261037" y="74418"/>
                                                        <a:pt x="255660" y="75908"/>
                                                        <a:pt x="250606" y="77333"/>
                                                      </a:cubicBezTo>
                                                      <a:cubicBezTo>
                                                        <a:pt x="250282" y="78694"/>
                                                        <a:pt x="249959" y="80119"/>
                                                        <a:pt x="249634" y="81479"/>
                                                      </a:cubicBezTo>
                                                      <a:cubicBezTo>
                                                        <a:pt x="245683" y="81609"/>
                                                        <a:pt x="241731" y="81739"/>
                                                        <a:pt x="237779" y="81803"/>
                                                      </a:cubicBezTo>
                                                      <a:cubicBezTo>
                                                        <a:pt x="239593" y="85302"/>
                                                        <a:pt x="238491" y="90096"/>
                                                        <a:pt x="235382" y="92493"/>
                                                      </a:cubicBezTo>
                                                      <a:cubicBezTo>
                                                        <a:pt x="232272" y="94890"/>
                                                        <a:pt x="227413" y="94696"/>
                                                        <a:pt x="224433" y="92039"/>
                                                      </a:cubicBezTo>
                                                      <a:cubicBezTo>
                                                        <a:pt x="221194" y="89124"/>
                                                        <a:pt x="220675" y="84330"/>
                                                        <a:pt x="220351" y="79989"/>
                                                      </a:cubicBezTo>
                                                      <a:cubicBezTo>
                                                        <a:pt x="219898" y="72733"/>
                                                        <a:pt x="220157" y="64052"/>
                                                        <a:pt x="226182" y="59971"/>
                                                      </a:cubicBezTo>
                                                      <a:cubicBezTo>
                                                        <a:pt x="229227" y="53427"/>
                                                        <a:pt x="228903" y="45459"/>
                                                        <a:pt x="225210" y="39239"/>
                                                      </a:cubicBezTo>
                                                      <a:cubicBezTo>
                                                        <a:pt x="223915" y="37036"/>
                                                        <a:pt x="222230" y="35028"/>
                                                        <a:pt x="221388" y="32631"/>
                                                      </a:cubicBezTo>
                                                      <a:cubicBezTo>
                                                        <a:pt x="220870" y="31076"/>
                                                        <a:pt x="220675" y="29456"/>
                                                        <a:pt x="220092" y="27902"/>
                                                      </a:cubicBezTo>
                                                      <a:cubicBezTo>
                                                        <a:pt x="219574" y="26347"/>
                                                        <a:pt x="218667" y="24986"/>
                                                        <a:pt x="217825" y="23561"/>
                                                      </a:cubicBezTo>
                                                      <a:cubicBezTo>
                                                        <a:pt x="214585" y="18443"/>
                                                        <a:pt x="211346" y="13325"/>
                                                        <a:pt x="208107" y="8272"/>
                                                      </a:cubicBezTo>
                                                      <a:cubicBezTo>
                                                        <a:pt x="206423" y="5615"/>
                                                        <a:pt x="204609" y="2830"/>
                                                        <a:pt x="201887" y="1339"/>
                                                      </a:cubicBezTo>
                                                      <a:cubicBezTo>
                                                        <a:pt x="198843" y="-280"/>
                                                        <a:pt x="195150" y="-86"/>
                                                        <a:pt x="191716" y="173"/>
                                                      </a:cubicBezTo>
                                                      <a:cubicBezTo>
                                                        <a:pt x="187635" y="497"/>
                                                        <a:pt x="183553" y="821"/>
                                                        <a:pt x="179472" y="1080"/>
                                                      </a:cubicBezTo>
                                                      <a:cubicBezTo>
                                                        <a:pt x="176362" y="1339"/>
                                                        <a:pt x="173123" y="1599"/>
                                                        <a:pt x="170596" y="3348"/>
                                                      </a:cubicBezTo>
                                                      <a:cubicBezTo>
                                                        <a:pt x="168264" y="4903"/>
                                                        <a:pt x="166838" y="7429"/>
                                                        <a:pt x="165154" y="9697"/>
                                                      </a:cubicBezTo>
                                                      <a:cubicBezTo>
                                                        <a:pt x="159453" y="17406"/>
                                                        <a:pt x="150124" y="22330"/>
                                                        <a:pt x="140535" y="22784"/>
                                                      </a:cubicBezTo>
                                                      <a:cubicBezTo>
                                                        <a:pt x="134705" y="23043"/>
                                                        <a:pt x="128097" y="21877"/>
                                                        <a:pt x="123626" y="25634"/>
                                                      </a:cubicBezTo>
                                                      <a:cubicBezTo>
                                                        <a:pt x="118184" y="30169"/>
                                                        <a:pt x="117148" y="40794"/>
                                                        <a:pt x="110086" y="40729"/>
                                                      </a:cubicBezTo>
                                                      <a:cubicBezTo>
                                                        <a:pt x="106069" y="53816"/>
                                                        <a:pt x="112872" y="69364"/>
                                                        <a:pt x="125246" y="75325"/>
                                                      </a:cubicBezTo>
                                                      <a:cubicBezTo>
                                                        <a:pt x="127514" y="81091"/>
                                                        <a:pt x="122914" y="88347"/>
                                                        <a:pt x="116759" y="88865"/>
                                                      </a:cubicBezTo>
                                                      <a:cubicBezTo>
                                                        <a:pt x="113131" y="89124"/>
                                                        <a:pt x="108013" y="88282"/>
                                                        <a:pt x="107106" y="91845"/>
                                                      </a:cubicBezTo>
                                                      <a:cubicBezTo>
                                                        <a:pt x="106588" y="93789"/>
                                                        <a:pt x="108078" y="95667"/>
                                                        <a:pt x="109503" y="97093"/>
                                                      </a:cubicBezTo>
                                                      <a:cubicBezTo>
                                                        <a:pt x="114945" y="102664"/>
                                                        <a:pt x="121229" y="107458"/>
                                                        <a:pt x="127967" y="111410"/>
                                                      </a:cubicBezTo>
                                                      <a:cubicBezTo>
                                                        <a:pt x="133279" y="114455"/>
                                                        <a:pt x="139952" y="119185"/>
                                                        <a:pt x="138073" y="125015"/>
                                                      </a:cubicBezTo>
                                                      <a:cubicBezTo>
                                                        <a:pt x="128226" y="126894"/>
                                                        <a:pt x="116306" y="128060"/>
                                                        <a:pt x="109762" y="120480"/>
                                                      </a:cubicBezTo>
                                                      <a:cubicBezTo>
                                                        <a:pt x="106717" y="116982"/>
                                                        <a:pt x="105098" y="111734"/>
                                                        <a:pt x="100692" y="110244"/>
                                                      </a:cubicBezTo>
                                                      <a:cubicBezTo>
                                                        <a:pt x="98554" y="109532"/>
                                                        <a:pt x="96028" y="109856"/>
                                                        <a:pt x="94019" y="108754"/>
                                                      </a:cubicBezTo>
                                                      <a:cubicBezTo>
                                                        <a:pt x="92464" y="107912"/>
                                                        <a:pt x="91493" y="106292"/>
                                                        <a:pt x="90845" y="104608"/>
                                                      </a:cubicBezTo>
                                                      <a:cubicBezTo>
                                                        <a:pt x="87929" y="97287"/>
                                                        <a:pt x="90262" y="89059"/>
                                                        <a:pt x="91622" y="81350"/>
                                                      </a:cubicBezTo>
                                                      <a:cubicBezTo>
                                                        <a:pt x="92983" y="73576"/>
                                                        <a:pt x="92918" y="64376"/>
                                                        <a:pt x="86893" y="59323"/>
                                                      </a:cubicBezTo>
                                                      <a:cubicBezTo>
                                                        <a:pt x="84820" y="57573"/>
                                                        <a:pt x="82164" y="56472"/>
                                                        <a:pt x="80285" y="54464"/>
                                                      </a:cubicBezTo>
                                                      <a:cubicBezTo>
                                                        <a:pt x="76268" y="50058"/>
                                                        <a:pt x="78406" y="41766"/>
                                                        <a:pt x="84042" y="39822"/>
                                                      </a:cubicBezTo>
                                                      <a:cubicBezTo>
                                                        <a:pt x="86439" y="38980"/>
                                                        <a:pt x="89225" y="39174"/>
                                                        <a:pt x="91363" y="37749"/>
                                                      </a:cubicBezTo>
                                                      <a:cubicBezTo>
                                                        <a:pt x="94991" y="35352"/>
                                                        <a:pt x="94602" y="29975"/>
                                                        <a:pt x="93760" y="25699"/>
                                                      </a:cubicBezTo>
                                                      <a:cubicBezTo>
                                                        <a:pt x="96222" y="24144"/>
                                                        <a:pt x="99267" y="23561"/>
                                                        <a:pt x="102117" y="24014"/>
                                                      </a:cubicBezTo>
                                                      <a:cubicBezTo>
                                                        <a:pt x="100368" y="20905"/>
                                                        <a:pt x="103089" y="17018"/>
                                                        <a:pt x="106329" y="15333"/>
                                                      </a:cubicBezTo>
                                                      <a:cubicBezTo>
                                                        <a:pt x="109503" y="13649"/>
                                                        <a:pt x="113325" y="13066"/>
                                                        <a:pt x="115982" y="10733"/>
                                                      </a:cubicBezTo>
                                                      <a:cubicBezTo>
                                                        <a:pt x="118703" y="8336"/>
                                                        <a:pt x="119091" y="3024"/>
                                                        <a:pt x="115723" y="1858"/>
                                                      </a:cubicBezTo>
                                                      <a:cubicBezTo>
                                                        <a:pt x="102377" y="1080"/>
                                                        <a:pt x="88512" y="432"/>
                                                        <a:pt x="76009" y="5162"/>
                                                      </a:cubicBezTo>
                                                      <a:cubicBezTo>
                                                        <a:pt x="71862" y="6717"/>
                                                        <a:pt x="67975" y="8919"/>
                                                        <a:pt x="63635" y="9891"/>
                                                      </a:cubicBezTo>
                                                      <a:cubicBezTo>
                                                        <a:pt x="60655" y="10604"/>
                                                        <a:pt x="57545" y="10733"/>
                                                        <a:pt x="54565" y="11576"/>
                                                      </a:cubicBezTo>
                                                      <a:cubicBezTo>
                                                        <a:pt x="49965" y="12936"/>
                                                        <a:pt x="46078" y="15916"/>
                                                        <a:pt x="42320" y="18896"/>
                                                      </a:cubicBezTo>
                                                      <a:cubicBezTo>
                                                        <a:pt x="37720" y="22460"/>
                                                        <a:pt x="33121" y="26088"/>
                                                        <a:pt x="28586" y="29651"/>
                                                      </a:cubicBezTo>
                                                      <a:cubicBezTo>
                                                        <a:pt x="26318" y="31400"/>
                                                        <a:pt x="23986" y="33214"/>
                                                        <a:pt x="22366" y="35611"/>
                                                      </a:cubicBezTo>
                                                      <a:cubicBezTo>
                                                        <a:pt x="19516" y="39628"/>
                                                        <a:pt x="18673" y="44875"/>
                                                        <a:pt x="15434" y="48503"/>
                                                      </a:cubicBezTo>
                                                      <a:cubicBezTo>
                                                        <a:pt x="13944" y="50188"/>
                                                        <a:pt x="12065" y="51484"/>
                                                        <a:pt x="10705" y="53233"/>
                                                      </a:cubicBezTo>
                                                      <a:cubicBezTo>
                                                        <a:pt x="8891" y="55565"/>
                                                        <a:pt x="8178" y="58610"/>
                                                        <a:pt x="7530" y="61525"/>
                                                      </a:cubicBezTo>
                                                      <a:cubicBezTo>
                                                        <a:pt x="5911" y="68652"/>
                                                        <a:pt x="4291" y="75778"/>
                                                        <a:pt x="2736" y="82905"/>
                                                      </a:cubicBezTo>
                                                      <a:cubicBezTo>
                                                        <a:pt x="1181" y="89837"/>
                                                        <a:pt x="-374" y="96898"/>
                                                        <a:pt x="80" y="103960"/>
                                                      </a:cubicBezTo>
                                                      <a:cubicBezTo>
                                                        <a:pt x="534" y="111086"/>
                                                        <a:pt x="3319" y="118342"/>
                                                        <a:pt x="9020" y="122618"/>
                                                      </a:cubicBezTo>
                                                      <a:cubicBezTo>
                                                        <a:pt x="17184" y="128773"/>
                                                        <a:pt x="28521" y="127218"/>
                                                        <a:pt x="38692" y="128384"/>
                                                      </a:cubicBezTo>
                                                      <a:cubicBezTo>
                                                        <a:pt x="48604" y="129550"/>
                                                        <a:pt x="58193" y="133632"/>
                                                        <a:pt x="65902" y="139981"/>
                                                      </a:cubicBezTo>
                                                      <a:cubicBezTo>
                                                        <a:pt x="67587" y="141406"/>
                                                        <a:pt x="69336" y="143220"/>
                                                        <a:pt x="69077" y="145423"/>
                                                      </a:cubicBezTo>
                                                      <a:cubicBezTo>
                                                        <a:pt x="68688" y="149180"/>
                                                        <a:pt x="63440" y="149764"/>
                                                        <a:pt x="59683" y="149245"/>
                                                      </a:cubicBezTo>
                                                      <a:cubicBezTo>
                                                        <a:pt x="50418" y="147950"/>
                                                        <a:pt x="41154" y="146719"/>
                                                        <a:pt x="31890" y="145423"/>
                                                      </a:cubicBezTo>
                                                      <a:cubicBezTo>
                                                        <a:pt x="28456" y="144969"/>
                                                        <a:pt x="24828" y="144516"/>
                                                        <a:pt x="21524" y="145617"/>
                                                      </a:cubicBezTo>
                                                      <a:cubicBezTo>
                                                        <a:pt x="18220" y="146719"/>
                                                        <a:pt x="15305" y="149958"/>
                                                        <a:pt x="15823" y="153392"/>
                                                      </a:cubicBezTo>
                                                      <a:cubicBezTo>
                                                        <a:pt x="16212" y="156177"/>
                                                        <a:pt x="18544" y="158250"/>
                                                        <a:pt x="20747" y="160064"/>
                                                      </a:cubicBezTo>
                                                      <a:cubicBezTo>
                                                        <a:pt x="27679" y="165701"/>
                                                        <a:pt x="34676" y="171467"/>
                                                        <a:pt x="42968" y="174836"/>
                                                      </a:cubicBezTo>
                                                      <a:cubicBezTo>
                                                        <a:pt x="51261" y="178204"/>
                                                        <a:pt x="61108" y="178917"/>
                                                        <a:pt x="68882" y="174512"/>
                                                      </a:cubicBezTo>
                                                      <a:cubicBezTo>
                                                        <a:pt x="71279" y="173151"/>
                                                        <a:pt x="73547" y="171272"/>
                                                        <a:pt x="76268" y="170754"/>
                                                      </a:cubicBezTo>
                                                      <a:cubicBezTo>
                                                        <a:pt x="84172" y="169264"/>
                                                        <a:pt x="89160" y="178852"/>
                                                        <a:pt x="91363" y="186562"/>
                                                      </a:cubicBezTo>
                                                      <a:cubicBezTo>
                                                        <a:pt x="113584" y="190125"/>
                                                        <a:pt x="137490" y="190838"/>
                                                        <a:pt x="159971" y="189153"/>
                                                      </a:cubicBezTo>
                                                      <a:cubicBezTo>
                                                        <a:pt x="167875" y="188570"/>
                                                        <a:pt x="177204" y="188181"/>
                                                        <a:pt x="182193" y="194336"/>
                                                      </a:cubicBezTo>
                                                      <a:cubicBezTo>
                                                        <a:pt x="185108" y="197899"/>
                                                        <a:pt x="186468" y="203536"/>
                                                        <a:pt x="190939" y="204637"/>
                                                      </a:cubicBezTo>
                                                      <a:cubicBezTo>
                                                        <a:pt x="193465" y="205220"/>
                                                        <a:pt x="196122" y="204054"/>
                                                        <a:pt x="198130" y="202370"/>
                                                      </a:cubicBezTo>
                                                      <a:cubicBezTo>
                                                        <a:pt x="204349" y="197187"/>
                                                        <a:pt x="206811" y="187339"/>
                                                        <a:pt x="214585" y="185072"/>
                                                      </a:cubicBezTo>
                                                      <a:cubicBezTo>
                                                        <a:pt x="219639" y="183582"/>
                                                        <a:pt x="225405" y="185979"/>
                                                        <a:pt x="230199" y="183841"/>
                                                      </a:cubicBezTo>
                                                      <a:cubicBezTo>
                                                        <a:pt x="232272" y="182934"/>
                                                        <a:pt x="233892" y="181314"/>
                                                        <a:pt x="235706" y="180018"/>
                                                      </a:cubicBezTo>
                                                      <a:cubicBezTo>
                                                        <a:pt x="246071" y="172827"/>
                                                        <a:pt x="260842" y="178334"/>
                                                        <a:pt x="269653" y="187404"/>
                                                      </a:cubicBezTo>
                                                      <a:cubicBezTo>
                                                        <a:pt x="271467" y="189218"/>
                                                        <a:pt x="273605" y="191421"/>
                                                        <a:pt x="276132" y="190902"/>
                                                      </a:cubicBezTo>
                                                      <a:cubicBezTo>
                                                        <a:pt x="278788" y="190384"/>
                                                        <a:pt x="279954" y="187015"/>
                                                        <a:pt x="279501" y="184359"/>
                                                      </a:cubicBezTo>
                                                      <a:cubicBezTo>
                                                        <a:pt x="277751" y="173929"/>
                                                        <a:pt x="261620" y="170948"/>
                                                        <a:pt x="259935" y="160453"/>
                                                      </a:cubicBezTo>
                                                      <a:cubicBezTo>
                                                        <a:pt x="277363" y="155529"/>
                                                        <a:pt x="296928" y="164470"/>
                                                        <a:pt x="307294" y="179371"/>
                                                      </a:cubicBezTo>
                                                      <a:cubicBezTo>
                                                        <a:pt x="308395" y="180925"/>
                                                        <a:pt x="309367" y="182610"/>
                                                        <a:pt x="309691" y="184424"/>
                                                      </a:cubicBezTo>
                                                      <a:cubicBezTo>
                                                        <a:pt x="309950" y="185979"/>
                                                        <a:pt x="309691" y="187534"/>
                                                        <a:pt x="310144" y="189024"/>
                                                      </a:cubicBezTo>
                                                      <a:cubicBezTo>
                                                        <a:pt x="311181" y="192522"/>
                                                        <a:pt x="315327" y="193947"/>
                                                        <a:pt x="318243" y="196215"/>
                                                      </a:cubicBezTo>
                                                      <a:cubicBezTo>
                                                        <a:pt x="324332" y="200944"/>
                                                        <a:pt x="325499" y="210338"/>
                                                        <a:pt x="332107" y="214355"/>
                                                      </a:cubicBezTo>
                                                      <a:cubicBezTo>
                                                        <a:pt x="335605" y="216493"/>
                                                        <a:pt x="339946" y="216622"/>
                                                        <a:pt x="344027" y="217465"/>
                                                      </a:cubicBezTo>
                                                      <a:cubicBezTo>
                                                        <a:pt x="347785" y="218242"/>
                                                        <a:pt x="351413" y="219732"/>
                                                        <a:pt x="354717" y="221870"/>
                                                      </a:cubicBezTo>
                                                      <a:cubicBezTo>
                                                        <a:pt x="357179" y="223490"/>
                                                        <a:pt x="359706" y="226211"/>
                                                        <a:pt x="358798" y="228996"/>
                                                      </a:cubicBezTo>
                                                      <a:cubicBezTo>
                                                        <a:pt x="358475" y="230033"/>
                                                        <a:pt x="357697" y="230810"/>
                                                        <a:pt x="356920" y="231588"/>
                                                      </a:cubicBezTo>
                                                      <a:cubicBezTo>
                                                        <a:pt x="348692" y="239686"/>
                                                        <a:pt x="337419" y="244610"/>
                                                        <a:pt x="325952" y="245193"/>
                                                      </a:cubicBezTo>
                                                      <a:cubicBezTo>
                                                        <a:pt x="322842" y="247331"/>
                                                        <a:pt x="325823" y="252643"/>
                                                        <a:pt x="329515" y="253097"/>
                                                      </a:cubicBezTo>
                                                      <a:cubicBezTo>
                                                        <a:pt x="333273" y="253550"/>
                                                        <a:pt x="336707" y="251347"/>
                                                        <a:pt x="340270" y="250117"/>
                                                      </a:cubicBezTo>
                                                      <a:cubicBezTo>
                                                        <a:pt x="344675" y="248627"/>
                                                        <a:pt x="349664" y="248562"/>
                                                        <a:pt x="353421" y="245841"/>
                                                      </a:cubicBezTo>
                                                      <a:cubicBezTo>
                                                        <a:pt x="356207" y="243832"/>
                                                        <a:pt x="357892" y="240593"/>
                                                        <a:pt x="360677" y="238650"/>
                                                      </a:cubicBezTo>
                                                      <a:cubicBezTo>
                                                        <a:pt x="365083" y="235475"/>
                                                        <a:pt x="371108" y="236058"/>
                                                        <a:pt x="376485" y="236706"/>
                                                      </a:cubicBezTo>
                                                      <a:cubicBezTo>
                                                        <a:pt x="376744" y="238585"/>
                                                        <a:pt x="377457" y="241047"/>
                                                        <a:pt x="377651" y="242925"/>
                                                      </a:cubicBezTo>
                                                      <a:cubicBezTo>
                                                        <a:pt x="375189" y="248756"/>
                                                        <a:pt x="380178" y="255429"/>
                                                        <a:pt x="386073" y="257632"/>
                                                      </a:cubicBezTo>
                                                      <a:cubicBezTo>
                                                        <a:pt x="391969" y="259835"/>
                                                        <a:pt x="398577" y="259251"/>
                                                        <a:pt x="404861" y="259899"/>
                                                      </a:cubicBezTo>
                                                      <a:cubicBezTo>
                                                        <a:pt x="411145" y="260547"/>
                                                        <a:pt x="418013" y="263268"/>
                                                        <a:pt x="420280" y="269228"/>
                                                      </a:cubicBezTo>
                                                      <a:cubicBezTo>
                                                        <a:pt x="421835" y="273439"/>
                                                        <a:pt x="420734" y="278428"/>
                                                        <a:pt x="422872" y="282380"/>
                                                      </a:cubicBezTo>
                                                      <a:cubicBezTo>
                                                        <a:pt x="424362" y="284971"/>
                                                        <a:pt x="427018" y="286656"/>
                                                        <a:pt x="429026" y="288858"/>
                                                      </a:cubicBezTo>
                                                      <a:cubicBezTo>
                                                        <a:pt x="437837" y="298641"/>
                                                        <a:pt x="430775" y="314514"/>
                                                        <a:pt x="434662" y="327082"/>
                                                      </a:cubicBezTo>
                                                      <a:cubicBezTo>
                                                        <a:pt x="435310" y="329155"/>
                                                        <a:pt x="436347" y="331228"/>
                                                        <a:pt x="438226" y="332330"/>
                                                      </a:cubicBezTo>
                                                      <a:cubicBezTo>
                                                        <a:pt x="439521" y="333107"/>
                                                        <a:pt x="441141" y="333237"/>
                                                        <a:pt x="442696" y="333301"/>
                                                      </a:cubicBezTo>
                                                      <a:cubicBezTo>
                                                        <a:pt x="453904" y="333820"/>
                                                        <a:pt x="464917" y="330775"/>
                                                        <a:pt x="476061" y="330127"/>
                                                      </a:cubicBezTo>
                                                      <a:cubicBezTo>
                                                        <a:pt x="487204" y="329479"/>
                                                        <a:pt x="499643" y="332006"/>
                                                        <a:pt x="506445" y="340817"/>
                                                      </a:cubicBezTo>
                                                      <a:cubicBezTo>
                                                        <a:pt x="513248" y="349692"/>
                                                        <a:pt x="510073" y="365759"/>
                                                        <a:pt x="499059" y="367832"/>
                                                      </a:cubicBezTo>
                                                      <a:cubicBezTo>
                                                        <a:pt x="496727" y="368286"/>
                                                        <a:pt x="494006" y="368221"/>
                                                        <a:pt x="492387" y="369970"/>
                                                      </a:cubicBezTo>
                                                      <a:cubicBezTo>
                                                        <a:pt x="491156" y="371331"/>
                                                        <a:pt x="491026" y="373404"/>
                                                        <a:pt x="490508" y="375153"/>
                                                      </a:cubicBezTo>
                                                      <a:cubicBezTo>
                                                        <a:pt x="489212" y="379558"/>
                                                        <a:pt x="484677" y="382733"/>
                                                        <a:pt x="480142" y="382474"/>
                                                      </a:cubicBezTo>
                                                      <a:cubicBezTo>
                                                        <a:pt x="475607" y="382215"/>
                                                        <a:pt x="471396" y="378522"/>
                                                        <a:pt x="470619" y="374052"/>
                                                      </a:cubicBezTo>
                                                      <a:cubicBezTo>
                                                        <a:pt x="470230" y="371979"/>
                                                        <a:pt x="470554" y="369711"/>
                                                        <a:pt x="469841" y="367703"/>
                                                      </a:cubicBezTo>
                                                      <a:cubicBezTo>
                                                        <a:pt x="468675" y="364528"/>
                                                        <a:pt x="465436" y="362779"/>
                                                        <a:pt x="462456" y="361224"/>
                                                      </a:cubicBezTo>
                                                      <a:cubicBezTo>
                                                        <a:pt x="457143" y="358568"/>
                                                        <a:pt x="451831" y="355847"/>
                                                        <a:pt x="446518" y="353191"/>
                                                      </a:cubicBezTo>
                                                      <a:cubicBezTo>
                                                        <a:pt x="438615" y="349174"/>
                                                        <a:pt x="430516" y="345157"/>
                                                        <a:pt x="421705" y="344121"/>
                                                      </a:cubicBezTo>
                                                      <a:cubicBezTo>
                                                        <a:pt x="413348" y="343149"/>
                                                        <a:pt x="404732" y="345092"/>
                                                        <a:pt x="397605" y="349563"/>
                                                      </a:cubicBezTo>
                                                      <a:cubicBezTo>
                                                        <a:pt x="391710" y="353256"/>
                                                        <a:pt x="387045" y="362325"/>
                                                        <a:pt x="392617" y="366472"/>
                                                      </a:cubicBezTo>
                                                      <a:cubicBezTo>
                                                        <a:pt x="394171" y="367638"/>
                                                        <a:pt x="396633" y="368674"/>
                                                        <a:pt x="396245" y="370618"/>
                                                      </a:cubicBezTo>
                                                      <a:cubicBezTo>
                                                        <a:pt x="395985" y="372043"/>
                                                        <a:pt x="394366" y="372626"/>
                                                        <a:pt x="393329" y="373663"/>
                                                      </a:cubicBezTo>
                                                      <a:cubicBezTo>
                                                        <a:pt x="390479" y="376514"/>
                                                        <a:pt x="393524" y="381502"/>
                                                        <a:pt x="397152" y="383316"/>
                                                      </a:cubicBezTo>
                                                      <a:cubicBezTo>
                                                        <a:pt x="400780" y="385130"/>
                                                        <a:pt x="405250" y="385713"/>
                                                        <a:pt x="407776" y="388888"/>
                                                      </a:cubicBezTo>
                                                      <a:cubicBezTo>
                                                        <a:pt x="410498" y="392386"/>
                                                        <a:pt x="409461" y="397828"/>
                                                        <a:pt x="406287" y="400938"/>
                                                      </a:cubicBezTo>
                                                      <a:cubicBezTo>
                                                        <a:pt x="403112" y="404047"/>
                                                        <a:pt x="398383" y="405019"/>
                                                        <a:pt x="393977" y="404760"/>
                                                      </a:cubicBezTo>
                                                      <a:cubicBezTo>
                                                        <a:pt x="391321" y="404631"/>
                                                        <a:pt x="388341" y="404112"/>
                                                        <a:pt x="386332" y="405861"/>
                                                      </a:cubicBezTo>
                                                      <a:cubicBezTo>
                                                        <a:pt x="384907" y="407092"/>
                                                        <a:pt x="384454" y="409036"/>
                                                        <a:pt x="383287" y="410526"/>
                                                      </a:cubicBezTo>
                                                      <a:cubicBezTo>
                                                        <a:pt x="381085" y="413247"/>
                                                        <a:pt x="377003" y="413377"/>
                                                        <a:pt x="373505" y="413312"/>
                                                      </a:cubicBezTo>
                                                      <a:cubicBezTo>
                                                        <a:pt x="366314" y="413117"/>
                                                        <a:pt x="359123" y="412923"/>
                                                        <a:pt x="351866" y="412793"/>
                                                      </a:cubicBezTo>
                                                      <a:cubicBezTo>
                                                        <a:pt x="349210" y="412729"/>
                                                        <a:pt x="346295" y="412599"/>
                                                        <a:pt x="344092" y="411044"/>
                                                      </a:cubicBezTo>
                                                      <a:cubicBezTo>
                                                        <a:pt x="342213" y="409749"/>
                                                        <a:pt x="341112" y="407611"/>
                                                        <a:pt x="339492" y="405991"/>
                                                      </a:cubicBezTo>
                                                      <a:cubicBezTo>
                                                        <a:pt x="333856" y="400355"/>
                                                        <a:pt x="322195" y="404566"/>
                                                        <a:pt x="321482" y="412534"/>
                                                      </a:cubicBezTo>
                                                      <a:cubicBezTo>
                                                        <a:pt x="313384" y="413117"/>
                                                        <a:pt x="304573" y="414024"/>
                                                        <a:pt x="298742" y="419726"/>
                                                      </a:cubicBezTo>
                                                      <a:cubicBezTo>
                                                        <a:pt x="292912" y="425362"/>
                                                        <a:pt x="293235" y="437412"/>
                                                        <a:pt x="301010" y="439809"/>
                                                      </a:cubicBezTo>
                                                      <a:cubicBezTo>
                                                        <a:pt x="299260" y="441429"/>
                                                        <a:pt x="298224" y="443761"/>
                                                        <a:pt x="298224" y="446158"/>
                                                      </a:cubicBezTo>
                                                      <a:cubicBezTo>
                                                        <a:pt x="302888" y="448685"/>
                                                        <a:pt x="307683" y="451276"/>
                                                        <a:pt x="312930" y="451989"/>
                                                      </a:cubicBezTo>
                                                      <a:cubicBezTo>
                                                        <a:pt x="318178" y="452766"/>
                                                        <a:pt x="324073" y="451341"/>
                                                        <a:pt x="327313" y="447195"/>
                                                      </a:cubicBezTo>
                                                      <a:cubicBezTo>
                                                        <a:pt x="328544" y="445640"/>
                                                        <a:pt x="329386" y="443761"/>
                                                        <a:pt x="331005" y="442725"/>
                                                      </a:cubicBezTo>
                                                      <a:cubicBezTo>
                                                        <a:pt x="332560" y="441818"/>
                                                        <a:pt x="334439" y="441818"/>
                                                        <a:pt x="336188" y="441818"/>
                                                      </a:cubicBezTo>
                                                      <a:cubicBezTo>
                                                        <a:pt x="343315" y="441947"/>
                                                        <a:pt x="350506" y="442077"/>
                                                        <a:pt x="357632" y="442206"/>
                                                      </a:cubicBezTo>
                                                      <a:cubicBezTo>
                                                        <a:pt x="356661" y="446029"/>
                                                        <a:pt x="361066" y="449527"/>
                                                        <a:pt x="364953" y="449074"/>
                                                      </a:cubicBezTo>
                                                      <a:cubicBezTo>
                                                        <a:pt x="368905" y="448620"/>
                                                        <a:pt x="372015" y="445640"/>
                                                        <a:pt x="374412" y="442530"/>
                                                      </a:cubicBezTo>
                                                      <a:cubicBezTo>
                                                        <a:pt x="376874" y="439420"/>
                                                        <a:pt x="379012" y="435987"/>
                                                        <a:pt x="382381" y="433849"/>
                                                      </a:cubicBezTo>
                                                      <a:cubicBezTo>
                                                        <a:pt x="386332" y="431387"/>
                                                        <a:pt x="391191" y="431193"/>
                                                        <a:pt x="395856" y="431063"/>
                                                      </a:cubicBezTo>
                                                      <a:cubicBezTo>
                                                        <a:pt x="406870" y="430804"/>
                                                        <a:pt x="420863" y="432553"/>
                                                        <a:pt x="423973" y="443113"/>
                                                      </a:cubicBezTo>
                                                      <a:cubicBezTo>
                                                        <a:pt x="424556" y="445057"/>
                                                        <a:pt x="424686" y="447130"/>
                                                        <a:pt x="425852" y="448750"/>
                                                      </a:cubicBezTo>
                                                      <a:cubicBezTo>
                                                        <a:pt x="427471" y="450888"/>
                                                        <a:pt x="430581" y="451406"/>
                                                        <a:pt x="432395" y="453479"/>
                                                      </a:cubicBezTo>
                                                      <a:cubicBezTo>
                                                        <a:pt x="434662" y="456070"/>
                                                        <a:pt x="434015" y="460087"/>
                                                        <a:pt x="435310" y="463262"/>
                                                      </a:cubicBezTo>
                                                      <a:cubicBezTo>
                                                        <a:pt x="437837" y="469481"/>
                                                        <a:pt x="446065" y="470453"/>
                                                        <a:pt x="452803" y="470453"/>
                                                      </a:cubicBezTo>
                                                      <a:cubicBezTo>
                                                        <a:pt x="458763" y="480559"/>
                                                        <a:pt x="452997" y="495460"/>
                                                        <a:pt x="460966" y="504141"/>
                                                      </a:cubicBezTo>
                                                      <a:cubicBezTo>
                                                        <a:pt x="463687" y="507122"/>
                                                        <a:pt x="467639" y="508676"/>
                                                        <a:pt x="471461" y="509972"/>
                                                      </a:cubicBezTo>
                                                      <a:cubicBezTo>
                                                        <a:pt x="484936" y="514442"/>
                                                        <a:pt x="499254" y="516127"/>
                                                        <a:pt x="513377" y="514961"/>
                                                      </a:cubicBezTo>
                                                      <a:cubicBezTo>
                                                        <a:pt x="511045" y="520597"/>
                                                        <a:pt x="518495" y="525585"/>
                                                        <a:pt x="524585" y="525780"/>
                                                      </a:cubicBezTo>
                                                      <a:cubicBezTo>
                                                        <a:pt x="530675" y="526039"/>
                                                        <a:pt x="537672" y="524549"/>
                                                        <a:pt x="542337" y="528566"/>
                                                      </a:cubicBezTo>
                                                      <a:cubicBezTo>
                                                        <a:pt x="543956" y="529926"/>
                                                        <a:pt x="545122" y="531935"/>
                                                        <a:pt x="547001" y="532906"/>
                                                      </a:cubicBezTo>
                                                      <a:cubicBezTo>
                                                        <a:pt x="549398" y="534137"/>
                                                        <a:pt x="552249" y="533554"/>
                                                        <a:pt x="554905" y="533554"/>
                                                      </a:cubicBezTo>
                                                      <a:cubicBezTo>
                                                        <a:pt x="568640" y="533684"/>
                                                        <a:pt x="578293" y="550722"/>
                                                        <a:pt x="592027" y="549751"/>
                                                      </a:cubicBezTo>
                                                      <a:cubicBezTo>
                                                        <a:pt x="592545" y="542300"/>
                                                        <a:pt x="587427" y="535822"/>
                                                        <a:pt x="582568" y="530185"/>
                                                      </a:cubicBezTo>
                                                      <a:cubicBezTo>
                                                        <a:pt x="568445" y="513665"/>
                                                        <a:pt x="553480" y="496626"/>
                                                        <a:pt x="533331" y="488463"/>
                                                      </a:cubicBezTo>
                                                      <a:cubicBezTo>
                                                        <a:pt x="531193" y="487621"/>
                                                        <a:pt x="528926" y="486779"/>
                                                        <a:pt x="527436" y="485030"/>
                                                      </a:cubicBezTo>
                                                      <a:cubicBezTo>
                                                        <a:pt x="525946" y="483280"/>
                                                        <a:pt x="525557" y="480300"/>
                                                        <a:pt x="527306" y="478875"/>
                                                      </a:cubicBezTo>
                                                      <a:cubicBezTo>
                                                        <a:pt x="528407" y="477968"/>
                                                        <a:pt x="529898" y="477903"/>
                                                        <a:pt x="531258" y="477838"/>
                                                      </a:cubicBezTo>
                                                      <a:cubicBezTo>
                                                        <a:pt x="540458" y="477579"/>
                                                        <a:pt x="549657" y="477968"/>
                                                        <a:pt x="558727" y="479005"/>
                                                      </a:cubicBezTo>
                                                      <a:cubicBezTo>
                                                        <a:pt x="561902" y="479328"/>
                                                        <a:pt x="565530" y="480106"/>
                                                        <a:pt x="566955" y="482956"/>
                                                      </a:cubicBezTo>
                                                      <a:cubicBezTo>
                                                        <a:pt x="567927" y="484900"/>
                                                        <a:pt x="567538" y="487232"/>
                                                        <a:pt x="568380" y="489241"/>
                                                      </a:cubicBezTo>
                                                      <a:cubicBezTo>
                                                        <a:pt x="569158" y="491249"/>
                                                        <a:pt x="570972" y="492610"/>
                                                        <a:pt x="572656" y="493905"/>
                                                      </a:cubicBezTo>
                                                      <a:cubicBezTo>
                                                        <a:pt x="582698" y="501420"/>
                                                        <a:pt x="594618" y="509324"/>
                                                        <a:pt x="606798" y="506474"/>
                                                      </a:cubicBezTo>
                                                      <a:cubicBezTo>
                                                        <a:pt x="611722" y="505308"/>
                                                        <a:pt x="616127" y="502522"/>
                                                        <a:pt x="620403" y="499736"/>
                                                      </a:cubicBezTo>
                                                      <a:cubicBezTo>
                                                        <a:pt x="622800" y="498181"/>
                                                        <a:pt x="625197" y="496626"/>
                                                        <a:pt x="627594" y="495071"/>
                                                      </a:cubicBezTo>
                                                      <a:cubicBezTo>
                                                        <a:pt x="629473" y="493840"/>
                                                        <a:pt x="631352" y="492610"/>
                                                        <a:pt x="632777" y="490796"/>
                                                      </a:cubicBezTo>
                                                      <a:cubicBezTo>
                                                        <a:pt x="637701" y="484382"/>
                                                        <a:pt x="630639" y="473239"/>
                                                        <a:pt x="622671" y="475053"/>
                                                      </a:cubicBezTo>
                                                      <a:cubicBezTo>
                                                        <a:pt x="622671" y="471749"/>
                                                        <a:pt x="622606" y="468444"/>
                                                        <a:pt x="622541" y="465140"/>
                                                      </a:cubicBezTo>
                                                      <a:cubicBezTo>
                                                        <a:pt x="614961" y="464752"/>
                                                        <a:pt x="608418" y="460087"/>
                                                        <a:pt x="605438" y="453155"/>
                                                      </a:cubicBezTo>
                                                      <a:cubicBezTo>
                                                        <a:pt x="608094" y="445640"/>
                                                        <a:pt x="608742" y="434367"/>
                                                        <a:pt x="600968" y="432748"/>
                                                      </a:cubicBezTo>
                                                      <a:cubicBezTo>
                                                        <a:pt x="595979" y="431711"/>
                                                        <a:pt x="588917" y="435274"/>
                                                        <a:pt x="586909" y="430610"/>
                                                      </a:cubicBezTo>
                                                      <a:cubicBezTo>
                                                        <a:pt x="586132" y="428796"/>
                                                        <a:pt x="586909" y="426658"/>
                                                        <a:pt x="586261" y="424779"/>
                                                      </a:cubicBezTo>
                                                      <a:cubicBezTo>
                                                        <a:pt x="584836" y="420438"/>
                                                        <a:pt x="578552" y="421410"/>
                                                        <a:pt x="574081" y="420762"/>
                                                      </a:cubicBezTo>
                                                      <a:cubicBezTo>
                                                        <a:pt x="564947" y="419402"/>
                                                        <a:pt x="560412" y="409166"/>
                                                        <a:pt x="557626" y="400355"/>
                                                      </a:cubicBezTo>
                                                      <a:cubicBezTo>
                                                        <a:pt x="550370" y="402104"/>
                                                        <a:pt x="542337" y="395561"/>
                                                        <a:pt x="542660" y="388045"/>
                                                      </a:cubicBezTo>
                                                      <a:cubicBezTo>
                                                        <a:pt x="544604" y="386879"/>
                                                        <a:pt x="546612" y="385713"/>
                                                        <a:pt x="548556" y="384612"/>
                                                      </a:cubicBezTo>
                                                      <a:cubicBezTo>
                                                        <a:pt x="544993" y="378198"/>
                                                        <a:pt x="550888" y="368934"/>
                                                        <a:pt x="558209" y="369452"/>
                                                      </a:cubicBezTo>
                                                      <a:cubicBezTo>
                                                        <a:pt x="556136" y="365889"/>
                                                        <a:pt x="553674" y="362649"/>
                                                        <a:pt x="550823" y="359669"/>
                                                      </a:cubicBezTo>
                                                      <a:cubicBezTo>
                                                        <a:pt x="554322" y="357078"/>
                                                        <a:pt x="557820" y="354486"/>
                                                        <a:pt x="561254" y="351895"/>
                                                      </a:cubicBezTo>
                                                      <a:cubicBezTo>
                                                        <a:pt x="568963" y="347619"/>
                                                        <a:pt x="579847" y="350729"/>
                                                        <a:pt x="584123" y="35843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5" name="Freeform: Shape 82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6C8F7D5-298B-46CE-A6A9-47E3ABA879F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06206" y="1906377"/>
                                                  <a:ext cx="112176" cy="5485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965 w 112176"/>
                                                    <a:gd name="connsiteY0" fmla="*/ 344 h 54854"/>
                                                    <a:gd name="connsiteX1" fmla="*/ 25 w 112176"/>
                                                    <a:gd name="connsiteY1" fmla="*/ 5527 h 54854"/>
                                                    <a:gd name="connsiteX2" fmla="*/ 1904 w 112176"/>
                                                    <a:gd name="connsiteY2" fmla="*/ 10321 h 54854"/>
                                                    <a:gd name="connsiteX3" fmla="*/ 27624 w 112176"/>
                                                    <a:gd name="connsiteY3" fmla="*/ 39216 h 54854"/>
                                                    <a:gd name="connsiteX4" fmla="*/ 29891 w 112176"/>
                                                    <a:gd name="connsiteY4" fmla="*/ 49970 h 54854"/>
                                                    <a:gd name="connsiteX5" fmla="*/ 44598 w 112176"/>
                                                    <a:gd name="connsiteY5" fmla="*/ 53987 h 54854"/>
                                                    <a:gd name="connsiteX6" fmla="*/ 57684 w 112176"/>
                                                    <a:gd name="connsiteY6" fmla="*/ 44075 h 54854"/>
                                                    <a:gd name="connsiteX7" fmla="*/ 71224 w 112176"/>
                                                    <a:gd name="connsiteY7" fmla="*/ 34940 h 54854"/>
                                                    <a:gd name="connsiteX8" fmla="*/ 101609 w 112176"/>
                                                    <a:gd name="connsiteY8" fmla="*/ 39864 h 54854"/>
                                                    <a:gd name="connsiteX9" fmla="*/ 111068 w 112176"/>
                                                    <a:gd name="connsiteY9" fmla="*/ 35847 h 54854"/>
                                                    <a:gd name="connsiteX10" fmla="*/ 109383 w 112176"/>
                                                    <a:gd name="connsiteY10" fmla="*/ 24833 h 54854"/>
                                                    <a:gd name="connsiteX11" fmla="*/ 99342 w 112176"/>
                                                    <a:gd name="connsiteY11" fmla="*/ 18484 h 54854"/>
                                                    <a:gd name="connsiteX12" fmla="*/ 77314 w 112176"/>
                                                    <a:gd name="connsiteY12" fmla="*/ 8637 h 54854"/>
                                                    <a:gd name="connsiteX13" fmla="*/ 71354 w 112176"/>
                                                    <a:gd name="connsiteY13" fmla="*/ 6175 h 54854"/>
                                                    <a:gd name="connsiteX14" fmla="*/ 63580 w 112176"/>
                                                    <a:gd name="connsiteY14" fmla="*/ 4231 h 54854"/>
                                                    <a:gd name="connsiteX15" fmla="*/ 9030 w 112176"/>
                                                    <a:gd name="connsiteY15" fmla="*/ 280 h 5485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12176" h="54854">
                                                      <a:moveTo>
                                                        <a:pt x="8965" y="344"/>
                                                      </a:moveTo>
                                                      <a:cubicBezTo>
                                                        <a:pt x="5208" y="539"/>
                                                        <a:pt x="414" y="1770"/>
                                                        <a:pt x="25" y="5527"/>
                                                      </a:cubicBezTo>
                                                      <a:cubicBezTo>
                                                        <a:pt x="-169" y="7276"/>
                                                        <a:pt x="802" y="8961"/>
                                                        <a:pt x="1904" y="10321"/>
                                                      </a:cubicBezTo>
                                                      <a:cubicBezTo>
                                                        <a:pt x="9808" y="20817"/>
                                                        <a:pt x="24967" y="26388"/>
                                                        <a:pt x="27624" y="39216"/>
                                                      </a:cubicBezTo>
                                                      <a:cubicBezTo>
                                                        <a:pt x="28401" y="42844"/>
                                                        <a:pt x="28012" y="46796"/>
                                                        <a:pt x="29891" y="49970"/>
                                                      </a:cubicBezTo>
                                                      <a:cubicBezTo>
                                                        <a:pt x="32612" y="54764"/>
                                                        <a:pt x="39415" y="55866"/>
                                                        <a:pt x="44598" y="53987"/>
                                                      </a:cubicBezTo>
                                                      <a:cubicBezTo>
                                                        <a:pt x="49780" y="52108"/>
                                                        <a:pt x="53797" y="47962"/>
                                                        <a:pt x="57684" y="44075"/>
                                                      </a:cubicBezTo>
                                                      <a:cubicBezTo>
                                                        <a:pt x="61571" y="40188"/>
                                                        <a:pt x="65847" y="36236"/>
                                                        <a:pt x="71224" y="34940"/>
                                                      </a:cubicBezTo>
                                                      <a:cubicBezTo>
                                                        <a:pt x="81266" y="32413"/>
                                                        <a:pt x="91243" y="39734"/>
                                                        <a:pt x="101609" y="39864"/>
                                                      </a:cubicBezTo>
                                                      <a:cubicBezTo>
                                                        <a:pt x="105172" y="39864"/>
                                                        <a:pt x="109124" y="38827"/>
                                                        <a:pt x="111068" y="35847"/>
                                                      </a:cubicBezTo>
                                                      <a:cubicBezTo>
                                                        <a:pt x="113206" y="32478"/>
                                                        <a:pt x="112039" y="27813"/>
                                                        <a:pt x="109383" y="24833"/>
                                                      </a:cubicBezTo>
                                                      <a:cubicBezTo>
                                                        <a:pt x="106727" y="21853"/>
                                                        <a:pt x="102970" y="20104"/>
                                                        <a:pt x="99342" y="18484"/>
                                                      </a:cubicBezTo>
                                                      <a:cubicBezTo>
                                                        <a:pt x="92021" y="15180"/>
                                                        <a:pt x="84700" y="11941"/>
                                                        <a:pt x="77314" y="8637"/>
                                                      </a:cubicBezTo>
                                                      <a:cubicBezTo>
                                                        <a:pt x="75371" y="7730"/>
                                                        <a:pt x="73362" y="6888"/>
                                                        <a:pt x="71354" y="6175"/>
                                                      </a:cubicBezTo>
                                                      <a:cubicBezTo>
                                                        <a:pt x="68827" y="5333"/>
                                                        <a:pt x="66236" y="4750"/>
                                                        <a:pt x="63580" y="4231"/>
                                                      </a:cubicBezTo>
                                                      <a:cubicBezTo>
                                                        <a:pt x="45634" y="668"/>
                                                        <a:pt x="27300" y="-627"/>
                                                        <a:pt x="9030" y="28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6" name="Freeform: Shape 82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810E736-2CD4-472E-BFE4-DA049DFF8A99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314012" y="2142132"/>
                                                  <a:ext cx="81081" cy="4290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0707 w 81081"/>
                                                    <a:gd name="connsiteY0" fmla="*/ 8508 h 42909"/>
                                                    <a:gd name="connsiteX1" fmla="*/ 74617 w 81081"/>
                                                    <a:gd name="connsiteY1" fmla="*/ 539 h 42909"/>
                                                    <a:gd name="connsiteX2" fmla="*/ 69045 w 81081"/>
                                                    <a:gd name="connsiteY2" fmla="*/ 86 h 42909"/>
                                                    <a:gd name="connsiteX3" fmla="*/ 51229 w 81081"/>
                                                    <a:gd name="connsiteY3" fmla="*/ 5852 h 42909"/>
                                                    <a:gd name="connsiteX4" fmla="*/ 46565 w 81081"/>
                                                    <a:gd name="connsiteY4" fmla="*/ 9091 h 42909"/>
                                                    <a:gd name="connsiteX5" fmla="*/ 34450 w 81081"/>
                                                    <a:gd name="connsiteY5" fmla="*/ 15246 h 42909"/>
                                                    <a:gd name="connsiteX6" fmla="*/ 26805 w 81081"/>
                                                    <a:gd name="connsiteY6" fmla="*/ 15181 h 42909"/>
                                                    <a:gd name="connsiteX7" fmla="*/ 22141 w 81081"/>
                                                    <a:gd name="connsiteY7" fmla="*/ 14922 h 42909"/>
                                                    <a:gd name="connsiteX8" fmla="*/ 13848 w 81081"/>
                                                    <a:gd name="connsiteY8" fmla="*/ 17254 h 42909"/>
                                                    <a:gd name="connsiteX9" fmla="*/ 9248 w 81081"/>
                                                    <a:gd name="connsiteY9" fmla="*/ 23085 h 42909"/>
                                                    <a:gd name="connsiteX10" fmla="*/ 8082 w 81081"/>
                                                    <a:gd name="connsiteY10" fmla="*/ 24963 h 42909"/>
                                                    <a:gd name="connsiteX11" fmla="*/ 1539 w 81081"/>
                                                    <a:gd name="connsiteY11" fmla="*/ 29563 h 42909"/>
                                                    <a:gd name="connsiteX12" fmla="*/ 891 w 81081"/>
                                                    <a:gd name="connsiteY12" fmla="*/ 29563 h 42909"/>
                                                    <a:gd name="connsiteX13" fmla="*/ 632 w 81081"/>
                                                    <a:gd name="connsiteY13" fmla="*/ 30146 h 42909"/>
                                                    <a:gd name="connsiteX14" fmla="*/ 632 w 81081"/>
                                                    <a:gd name="connsiteY14" fmla="*/ 36301 h 42909"/>
                                                    <a:gd name="connsiteX15" fmla="*/ 6009 w 81081"/>
                                                    <a:gd name="connsiteY15" fmla="*/ 41937 h 42909"/>
                                                    <a:gd name="connsiteX16" fmla="*/ 10997 w 81081"/>
                                                    <a:gd name="connsiteY16" fmla="*/ 42909 h 42909"/>
                                                    <a:gd name="connsiteX17" fmla="*/ 19290 w 81081"/>
                                                    <a:gd name="connsiteY17" fmla="*/ 40836 h 42909"/>
                                                    <a:gd name="connsiteX18" fmla="*/ 24408 w 81081"/>
                                                    <a:gd name="connsiteY18" fmla="*/ 37791 h 42909"/>
                                                    <a:gd name="connsiteX19" fmla="*/ 34255 w 81081"/>
                                                    <a:gd name="connsiteY19" fmla="*/ 33256 h 42909"/>
                                                    <a:gd name="connsiteX20" fmla="*/ 38207 w 81081"/>
                                                    <a:gd name="connsiteY20" fmla="*/ 33191 h 42909"/>
                                                    <a:gd name="connsiteX21" fmla="*/ 42095 w 81081"/>
                                                    <a:gd name="connsiteY21" fmla="*/ 33191 h 42909"/>
                                                    <a:gd name="connsiteX22" fmla="*/ 54080 w 81081"/>
                                                    <a:gd name="connsiteY22" fmla="*/ 24704 h 42909"/>
                                                    <a:gd name="connsiteX23" fmla="*/ 70082 w 81081"/>
                                                    <a:gd name="connsiteY23" fmla="*/ 20234 h 42909"/>
                                                    <a:gd name="connsiteX24" fmla="*/ 75265 w 81081"/>
                                                    <a:gd name="connsiteY24" fmla="*/ 21012 h 42909"/>
                                                    <a:gd name="connsiteX25" fmla="*/ 79411 w 81081"/>
                                                    <a:gd name="connsiteY25" fmla="*/ 20882 h 42909"/>
                                                    <a:gd name="connsiteX26" fmla="*/ 80577 w 81081"/>
                                                    <a:gd name="connsiteY26" fmla="*/ 18291 h 42909"/>
                                                    <a:gd name="connsiteX27" fmla="*/ 80707 w 81081"/>
                                                    <a:gd name="connsiteY27" fmla="*/ 8508 h 42909"/>
                                                    <a:gd name="connsiteX28" fmla="*/ 78180 w 81081"/>
                                                    <a:gd name="connsiteY28" fmla="*/ 19392 h 42909"/>
                                                    <a:gd name="connsiteX29" fmla="*/ 75913 w 81081"/>
                                                    <a:gd name="connsiteY29" fmla="*/ 19198 h 42909"/>
                                                    <a:gd name="connsiteX30" fmla="*/ 70082 w 81081"/>
                                                    <a:gd name="connsiteY30" fmla="*/ 18291 h 42909"/>
                                                    <a:gd name="connsiteX31" fmla="*/ 52979 w 81081"/>
                                                    <a:gd name="connsiteY31" fmla="*/ 23085 h 42909"/>
                                                    <a:gd name="connsiteX32" fmla="*/ 52590 w 81081"/>
                                                    <a:gd name="connsiteY32" fmla="*/ 23214 h 42909"/>
                                                    <a:gd name="connsiteX33" fmla="*/ 52460 w 81081"/>
                                                    <a:gd name="connsiteY33" fmla="*/ 23603 h 42909"/>
                                                    <a:gd name="connsiteX34" fmla="*/ 41900 w 81081"/>
                                                    <a:gd name="connsiteY34" fmla="*/ 31248 h 42909"/>
                                                    <a:gd name="connsiteX35" fmla="*/ 38272 w 81081"/>
                                                    <a:gd name="connsiteY35" fmla="*/ 31248 h 42909"/>
                                                    <a:gd name="connsiteX36" fmla="*/ 33996 w 81081"/>
                                                    <a:gd name="connsiteY36" fmla="*/ 31312 h 42909"/>
                                                    <a:gd name="connsiteX37" fmla="*/ 23307 w 81081"/>
                                                    <a:gd name="connsiteY37" fmla="*/ 36171 h 42909"/>
                                                    <a:gd name="connsiteX38" fmla="*/ 18383 w 81081"/>
                                                    <a:gd name="connsiteY38" fmla="*/ 39087 h 42909"/>
                                                    <a:gd name="connsiteX39" fmla="*/ 6786 w 81081"/>
                                                    <a:gd name="connsiteY39" fmla="*/ 40188 h 42909"/>
                                                    <a:gd name="connsiteX40" fmla="*/ 2446 w 81081"/>
                                                    <a:gd name="connsiteY40" fmla="*/ 35588 h 42909"/>
                                                    <a:gd name="connsiteX41" fmla="*/ 2187 w 81081"/>
                                                    <a:gd name="connsiteY41" fmla="*/ 31442 h 42909"/>
                                                    <a:gd name="connsiteX42" fmla="*/ 9702 w 81081"/>
                                                    <a:gd name="connsiteY42" fmla="*/ 26000 h 42909"/>
                                                    <a:gd name="connsiteX43" fmla="*/ 10933 w 81081"/>
                                                    <a:gd name="connsiteY43" fmla="*/ 24056 h 42909"/>
                                                    <a:gd name="connsiteX44" fmla="*/ 15014 w 81081"/>
                                                    <a:gd name="connsiteY44" fmla="*/ 18809 h 42909"/>
                                                    <a:gd name="connsiteX45" fmla="*/ 22141 w 81081"/>
                                                    <a:gd name="connsiteY45" fmla="*/ 16865 h 42909"/>
                                                    <a:gd name="connsiteX46" fmla="*/ 26611 w 81081"/>
                                                    <a:gd name="connsiteY46" fmla="*/ 17124 h 42909"/>
                                                    <a:gd name="connsiteX47" fmla="*/ 34774 w 81081"/>
                                                    <a:gd name="connsiteY47" fmla="*/ 17124 h 42909"/>
                                                    <a:gd name="connsiteX48" fmla="*/ 47666 w 81081"/>
                                                    <a:gd name="connsiteY48" fmla="*/ 10646 h 42909"/>
                                                    <a:gd name="connsiteX49" fmla="*/ 52266 w 81081"/>
                                                    <a:gd name="connsiteY49" fmla="*/ 7536 h 42909"/>
                                                    <a:gd name="connsiteX50" fmla="*/ 69240 w 81081"/>
                                                    <a:gd name="connsiteY50" fmla="*/ 1965 h 42909"/>
                                                    <a:gd name="connsiteX51" fmla="*/ 73904 w 81081"/>
                                                    <a:gd name="connsiteY51" fmla="*/ 2418 h 42909"/>
                                                    <a:gd name="connsiteX52" fmla="*/ 78828 w 81081"/>
                                                    <a:gd name="connsiteY52" fmla="*/ 8897 h 42909"/>
                                                    <a:gd name="connsiteX53" fmla="*/ 78634 w 81081"/>
                                                    <a:gd name="connsiteY53" fmla="*/ 18031 h 42909"/>
                                                    <a:gd name="connsiteX54" fmla="*/ 78180 w 81081"/>
                                                    <a:gd name="connsiteY54" fmla="*/ 19392 h 4290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1081" h="42909">
                                                      <a:moveTo>
                                                        <a:pt x="80707" y="8508"/>
                                                      </a:moveTo>
                                                      <a:cubicBezTo>
                                                        <a:pt x="79929" y="4750"/>
                                                        <a:pt x="77597" y="1705"/>
                                                        <a:pt x="74617" y="539"/>
                                                      </a:cubicBezTo>
                                                      <a:cubicBezTo>
                                                        <a:pt x="73062" y="21"/>
                                                        <a:pt x="71119" y="-109"/>
                                                        <a:pt x="69045" y="86"/>
                                                      </a:cubicBezTo>
                                                      <a:cubicBezTo>
                                                        <a:pt x="62761" y="539"/>
                                                        <a:pt x="56607" y="2548"/>
                                                        <a:pt x="51229" y="5852"/>
                                                      </a:cubicBezTo>
                                                      <a:cubicBezTo>
                                                        <a:pt x="49610" y="6888"/>
                                                        <a:pt x="48055" y="7990"/>
                                                        <a:pt x="46565" y="9091"/>
                                                      </a:cubicBezTo>
                                                      <a:cubicBezTo>
                                                        <a:pt x="42613" y="11877"/>
                                                        <a:pt x="38920" y="14533"/>
                                                        <a:pt x="34450" y="15246"/>
                                                      </a:cubicBezTo>
                                                      <a:cubicBezTo>
                                                        <a:pt x="32312" y="15570"/>
                                                        <a:pt x="29461" y="15440"/>
                                                        <a:pt x="26805" y="15181"/>
                                                      </a:cubicBezTo>
                                                      <a:cubicBezTo>
                                                        <a:pt x="25250" y="15051"/>
                                                        <a:pt x="23631" y="14922"/>
                                                        <a:pt x="22141" y="14922"/>
                                                      </a:cubicBezTo>
                                                      <a:cubicBezTo>
                                                        <a:pt x="18513" y="14922"/>
                                                        <a:pt x="15986" y="15634"/>
                                                        <a:pt x="13848" y="17254"/>
                                                      </a:cubicBezTo>
                                                      <a:cubicBezTo>
                                                        <a:pt x="11775" y="18809"/>
                                                        <a:pt x="10479" y="20947"/>
                                                        <a:pt x="9248" y="23085"/>
                                                      </a:cubicBezTo>
                                                      <a:cubicBezTo>
                                                        <a:pt x="8859" y="23733"/>
                                                        <a:pt x="8471" y="24316"/>
                                                        <a:pt x="8082" y="24963"/>
                                                      </a:cubicBezTo>
                                                      <a:cubicBezTo>
                                                        <a:pt x="6981" y="26648"/>
                                                        <a:pt x="4648" y="29563"/>
                                                        <a:pt x="1539" y="29563"/>
                                                      </a:cubicBezTo>
                                                      <a:lnTo>
                                                        <a:pt x="891" y="29563"/>
                                                      </a:lnTo>
                                                      <a:cubicBezTo>
                                                        <a:pt x="891" y="29563"/>
                                                        <a:pt x="632" y="30146"/>
                                                        <a:pt x="632" y="30146"/>
                                                      </a:cubicBezTo>
                                                      <a:cubicBezTo>
                                                        <a:pt x="-211" y="32025"/>
                                                        <a:pt x="-211" y="34163"/>
                                                        <a:pt x="632" y="36301"/>
                                                      </a:cubicBezTo>
                                                      <a:cubicBezTo>
                                                        <a:pt x="1604" y="38763"/>
                                                        <a:pt x="3612" y="40901"/>
                                                        <a:pt x="6009" y="41937"/>
                                                      </a:cubicBezTo>
                                                      <a:cubicBezTo>
                                                        <a:pt x="7499" y="42585"/>
                                                        <a:pt x="9183" y="42909"/>
                                                        <a:pt x="10997" y="42909"/>
                                                      </a:cubicBezTo>
                                                      <a:cubicBezTo>
                                                        <a:pt x="13654" y="42909"/>
                                                        <a:pt x="16504" y="42197"/>
                                                        <a:pt x="19290" y="40836"/>
                                                      </a:cubicBezTo>
                                                      <a:cubicBezTo>
                                                        <a:pt x="21039" y="39929"/>
                                                        <a:pt x="22724" y="38828"/>
                                                        <a:pt x="24408" y="37791"/>
                                                      </a:cubicBezTo>
                                                      <a:cubicBezTo>
                                                        <a:pt x="27647" y="35653"/>
                                                        <a:pt x="30692" y="33645"/>
                                                        <a:pt x="34255" y="33256"/>
                                                      </a:cubicBezTo>
                                                      <a:cubicBezTo>
                                                        <a:pt x="35551" y="33062"/>
                                                        <a:pt x="36847" y="33126"/>
                                                        <a:pt x="38207" y="33191"/>
                                                      </a:cubicBezTo>
                                                      <a:cubicBezTo>
                                                        <a:pt x="39503" y="33256"/>
                                                        <a:pt x="40799" y="33321"/>
                                                        <a:pt x="42095" y="33191"/>
                                                      </a:cubicBezTo>
                                                      <a:cubicBezTo>
                                                        <a:pt x="47213" y="32738"/>
                                                        <a:pt x="51942" y="29369"/>
                                                        <a:pt x="54080" y="24704"/>
                                                      </a:cubicBezTo>
                                                      <a:cubicBezTo>
                                                        <a:pt x="59328" y="22437"/>
                                                        <a:pt x="64834" y="20234"/>
                                                        <a:pt x="70082" y="20234"/>
                                                      </a:cubicBezTo>
                                                      <a:cubicBezTo>
                                                        <a:pt x="71961" y="20234"/>
                                                        <a:pt x="73645" y="20493"/>
                                                        <a:pt x="75265" y="21012"/>
                                                      </a:cubicBezTo>
                                                      <a:cubicBezTo>
                                                        <a:pt x="76625" y="21465"/>
                                                        <a:pt x="78375" y="21789"/>
                                                        <a:pt x="79411" y="20882"/>
                                                      </a:cubicBezTo>
                                                      <a:cubicBezTo>
                                                        <a:pt x="80318" y="20169"/>
                                                        <a:pt x="80448" y="19003"/>
                                                        <a:pt x="80577" y="18291"/>
                                                      </a:cubicBezTo>
                                                      <a:cubicBezTo>
                                                        <a:pt x="80966" y="15116"/>
                                                        <a:pt x="81419" y="11812"/>
                                                        <a:pt x="80707" y="8508"/>
                                                      </a:cubicBezTo>
                                                      <a:close/>
                                                      <a:moveTo>
                                                        <a:pt x="78180" y="19392"/>
                                                      </a:moveTo>
                                                      <a:cubicBezTo>
                                                        <a:pt x="78180" y="19392"/>
                                                        <a:pt x="76820" y="19522"/>
                                                        <a:pt x="75913" y="19198"/>
                                                      </a:cubicBezTo>
                                                      <a:cubicBezTo>
                                                        <a:pt x="74099" y="18615"/>
                                                        <a:pt x="72155" y="18291"/>
                                                        <a:pt x="70082" y="18291"/>
                                                      </a:cubicBezTo>
                                                      <a:cubicBezTo>
                                                        <a:pt x="64316" y="18291"/>
                                                        <a:pt x="58485" y="20623"/>
                                                        <a:pt x="52979" y="23085"/>
                                                      </a:cubicBezTo>
                                                      <a:lnTo>
                                                        <a:pt x="52590" y="23214"/>
                                                      </a:lnTo>
                                                      <a:lnTo>
                                                        <a:pt x="52460" y="23603"/>
                                                      </a:lnTo>
                                                      <a:cubicBezTo>
                                                        <a:pt x="50711" y="27749"/>
                                                        <a:pt x="46435" y="30859"/>
                                                        <a:pt x="41900" y="31248"/>
                                                      </a:cubicBezTo>
                                                      <a:cubicBezTo>
                                                        <a:pt x="40734" y="31377"/>
                                                        <a:pt x="39503" y="31312"/>
                                                        <a:pt x="38272" y="31248"/>
                                                      </a:cubicBezTo>
                                                      <a:cubicBezTo>
                                                        <a:pt x="36847" y="31183"/>
                                                        <a:pt x="35422" y="31118"/>
                                                        <a:pt x="33996" y="31312"/>
                                                      </a:cubicBezTo>
                                                      <a:cubicBezTo>
                                                        <a:pt x="29980" y="31766"/>
                                                        <a:pt x="26611" y="34033"/>
                                                        <a:pt x="23307" y="36171"/>
                                                      </a:cubicBezTo>
                                                      <a:cubicBezTo>
                                                        <a:pt x="21752" y="37208"/>
                                                        <a:pt x="20067" y="38245"/>
                                                        <a:pt x="18383" y="39087"/>
                                                      </a:cubicBezTo>
                                                      <a:cubicBezTo>
                                                        <a:pt x="14301" y="41160"/>
                                                        <a:pt x="10026" y="41549"/>
                                                        <a:pt x="6786" y="40188"/>
                                                      </a:cubicBezTo>
                                                      <a:cubicBezTo>
                                                        <a:pt x="4843" y="39346"/>
                                                        <a:pt x="3223" y="37597"/>
                                                        <a:pt x="2446" y="35588"/>
                                                      </a:cubicBezTo>
                                                      <a:cubicBezTo>
                                                        <a:pt x="1863" y="34163"/>
                                                        <a:pt x="1798" y="32738"/>
                                                        <a:pt x="2187" y="31442"/>
                                                      </a:cubicBezTo>
                                                      <a:cubicBezTo>
                                                        <a:pt x="5815" y="31183"/>
                                                        <a:pt x="8406" y="28008"/>
                                                        <a:pt x="9702" y="26000"/>
                                                      </a:cubicBezTo>
                                                      <a:cubicBezTo>
                                                        <a:pt x="10090" y="25352"/>
                                                        <a:pt x="10479" y="24704"/>
                                                        <a:pt x="10933" y="24056"/>
                                                      </a:cubicBezTo>
                                                      <a:cubicBezTo>
                                                        <a:pt x="12099" y="22048"/>
                                                        <a:pt x="13265" y="20105"/>
                                                        <a:pt x="15014" y="18809"/>
                                                      </a:cubicBezTo>
                                                      <a:cubicBezTo>
                                                        <a:pt x="16763" y="17513"/>
                                                        <a:pt x="18966" y="16865"/>
                                                        <a:pt x="22141" y="16865"/>
                                                      </a:cubicBezTo>
                                                      <a:cubicBezTo>
                                                        <a:pt x="23566" y="16865"/>
                                                        <a:pt x="25056" y="16995"/>
                                                        <a:pt x="26611" y="17124"/>
                                                      </a:cubicBezTo>
                                                      <a:cubicBezTo>
                                                        <a:pt x="29397" y="17384"/>
                                                        <a:pt x="32441" y="17513"/>
                                                        <a:pt x="34774" y="17124"/>
                                                      </a:cubicBezTo>
                                                      <a:cubicBezTo>
                                                        <a:pt x="39633" y="16347"/>
                                                        <a:pt x="43714" y="13432"/>
                                                        <a:pt x="47666" y="10646"/>
                                                      </a:cubicBezTo>
                                                      <a:cubicBezTo>
                                                        <a:pt x="49156" y="9609"/>
                                                        <a:pt x="50711" y="8508"/>
                                                        <a:pt x="52266" y="7536"/>
                                                      </a:cubicBezTo>
                                                      <a:cubicBezTo>
                                                        <a:pt x="57319" y="4362"/>
                                                        <a:pt x="63215" y="2483"/>
                                                        <a:pt x="69240" y="1965"/>
                                                      </a:cubicBezTo>
                                                      <a:cubicBezTo>
                                                        <a:pt x="70924" y="1835"/>
                                                        <a:pt x="72673" y="1965"/>
                                                        <a:pt x="73904" y="2418"/>
                                                      </a:cubicBezTo>
                                                      <a:cubicBezTo>
                                                        <a:pt x="76755" y="3455"/>
                                                        <a:pt x="78310" y="6435"/>
                                                        <a:pt x="78828" y="8897"/>
                                                      </a:cubicBezTo>
                                                      <a:cubicBezTo>
                                                        <a:pt x="79411" y="11877"/>
                                                        <a:pt x="79022" y="14987"/>
                                                        <a:pt x="78634" y="18031"/>
                                                      </a:cubicBezTo>
                                                      <a:cubicBezTo>
                                                        <a:pt x="78634" y="18615"/>
                                                        <a:pt x="78439" y="19198"/>
                                                        <a:pt x="78180" y="1939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7" name="Freeform: Shape 82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D13F5B1-B301-4EB8-B1F6-BC8639D88F7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546447" y="2097894"/>
                                                  <a:ext cx="109699" cy="6311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2990 w 109699"/>
                                                    <a:gd name="connsiteY0" fmla="*/ 27350 h 63112"/>
                                                    <a:gd name="connsiteX1" fmla="*/ 97956 w 109699"/>
                                                    <a:gd name="connsiteY1" fmla="*/ 24759 h 63112"/>
                                                    <a:gd name="connsiteX2" fmla="*/ 97826 w 109699"/>
                                                    <a:gd name="connsiteY2" fmla="*/ 20418 h 63112"/>
                                                    <a:gd name="connsiteX3" fmla="*/ 71588 w 109699"/>
                                                    <a:gd name="connsiteY3" fmla="*/ 21390 h 63112"/>
                                                    <a:gd name="connsiteX4" fmla="*/ 61287 w 109699"/>
                                                    <a:gd name="connsiteY4" fmla="*/ 20159 h 63112"/>
                                                    <a:gd name="connsiteX5" fmla="*/ 51829 w 109699"/>
                                                    <a:gd name="connsiteY5" fmla="*/ 2926 h 63112"/>
                                                    <a:gd name="connsiteX6" fmla="*/ 50533 w 109699"/>
                                                    <a:gd name="connsiteY6" fmla="*/ 335 h 63112"/>
                                                    <a:gd name="connsiteX7" fmla="*/ 49302 w 109699"/>
                                                    <a:gd name="connsiteY7" fmla="*/ 76 h 63112"/>
                                                    <a:gd name="connsiteX8" fmla="*/ 33753 w 109699"/>
                                                    <a:gd name="connsiteY8" fmla="*/ 5647 h 63112"/>
                                                    <a:gd name="connsiteX9" fmla="*/ 32652 w 109699"/>
                                                    <a:gd name="connsiteY9" fmla="*/ 12579 h 63112"/>
                                                    <a:gd name="connsiteX10" fmla="*/ 23906 w 109699"/>
                                                    <a:gd name="connsiteY10" fmla="*/ 32922 h 63112"/>
                                                    <a:gd name="connsiteX11" fmla="*/ 20019 w 109699"/>
                                                    <a:gd name="connsiteY11" fmla="*/ 38040 h 63112"/>
                                                    <a:gd name="connsiteX12" fmla="*/ 0 w 109699"/>
                                                    <a:gd name="connsiteY12" fmla="*/ 40307 h 63112"/>
                                                    <a:gd name="connsiteX13" fmla="*/ 25655 w 109699"/>
                                                    <a:gd name="connsiteY13" fmla="*/ 46203 h 63112"/>
                                                    <a:gd name="connsiteX14" fmla="*/ 44443 w 109699"/>
                                                    <a:gd name="connsiteY14" fmla="*/ 53070 h 63112"/>
                                                    <a:gd name="connsiteX15" fmla="*/ 46646 w 109699"/>
                                                    <a:gd name="connsiteY15" fmla="*/ 54301 h 63112"/>
                                                    <a:gd name="connsiteX16" fmla="*/ 48913 w 109699"/>
                                                    <a:gd name="connsiteY16" fmla="*/ 63112 h 63112"/>
                                                    <a:gd name="connsiteX17" fmla="*/ 65628 w 109699"/>
                                                    <a:gd name="connsiteY17" fmla="*/ 62659 h 63112"/>
                                                    <a:gd name="connsiteX18" fmla="*/ 71394 w 109699"/>
                                                    <a:gd name="connsiteY18" fmla="*/ 61687 h 63112"/>
                                                    <a:gd name="connsiteX19" fmla="*/ 77808 w 109699"/>
                                                    <a:gd name="connsiteY19" fmla="*/ 54819 h 63112"/>
                                                    <a:gd name="connsiteX20" fmla="*/ 86035 w 109699"/>
                                                    <a:gd name="connsiteY20" fmla="*/ 53459 h 63112"/>
                                                    <a:gd name="connsiteX21" fmla="*/ 89599 w 109699"/>
                                                    <a:gd name="connsiteY21" fmla="*/ 56957 h 63112"/>
                                                    <a:gd name="connsiteX22" fmla="*/ 107933 w 109699"/>
                                                    <a:gd name="connsiteY22" fmla="*/ 53459 h 63112"/>
                                                    <a:gd name="connsiteX23" fmla="*/ 98539 w 109699"/>
                                                    <a:gd name="connsiteY23" fmla="*/ 35125 h 63112"/>
                                                    <a:gd name="connsiteX24" fmla="*/ 89534 w 109699"/>
                                                    <a:gd name="connsiteY24" fmla="*/ 37068 h 63112"/>
                                                    <a:gd name="connsiteX25" fmla="*/ 80593 w 109699"/>
                                                    <a:gd name="connsiteY25" fmla="*/ 36485 h 63112"/>
                                                    <a:gd name="connsiteX26" fmla="*/ 79298 w 109699"/>
                                                    <a:gd name="connsiteY26" fmla="*/ 28646 h 63112"/>
                                                    <a:gd name="connsiteX27" fmla="*/ 83055 w 109699"/>
                                                    <a:gd name="connsiteY27" fmla="*/ 27286 h 6311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09699" h="63112">
                                                      <a:moveTo>
                                                        <a:pt x="82990" y="27350"/>
                                                      </a:moveTo>
                                                      <a:cubicBezTo>
                                                        <a:pt x="87979" y="26508"/>
                                                        <a:pt x="92968" y="25666"/>
                                                        <a:pt x="97956" y="24759"/>
                                                      </a:cubicBezTo>
                                                      <a:cubicBezTo>
                                                        <a:pt x="97956" y="23334"/>
                                                        <a:pt x="97891" y="21844"/>
                                                        <a:pt x="97826" y="20418"/>
                                                      </a:cubicBezTo>
                                                      <a:cubicBezTo>
                                                        <a:pt x="89080" y="20742"/>
                                                        <a:pt x="80334" y="21066"/>
                                                        <a:pt x="71588" y="21390"/>
                                                      </a:cubicBezTo>
                                                      <a:cubicBezTo>
                                                        <a:pt x="68090" y="21520"/>
                                                        <a:pt x="64462" y="21649"/>
                                                        <a:pt x="61287" y="20159"/>
                                                      </a:cubicBezTo>
                                                      <a:cubicBezTo>
                                                        <a:pt x="55068" y="17309"/>
                                                        <a:pt x="52865" y="9729"/>
                                                        <a:pt x="51829" y="2926"/>
                                                      </a:cubicBezTo>
                                                      <a:cubicBezTo>
                                                        <a:pt x="51699" y="1954"/>
                                                        <a:pt x="51440" y="788"/>
                                                        <a:pt x="50533" y="335"/>
                                                      </a:cubicBezTo>
                                                      <a:cubicBezTo>
                                                        <a:pt x="50144" y="140"/>
                                                        <a:pt x="49691" y="140"/>
                                                        <a:pt x="49302" y="76"/>
                                                      </a:cubicBezTo>
                                                      <a:cubicBezTo>
                                                        <a:pt x="43407" y="-248"/>
                                                        <a:pt x="36151" y="270"/>
                                                        <a:pt x="33753" y="5647"/>
                                                      </a:cubicBezTo>
                                                      <a:cubicBezTo>
                                                        <a:pt x="32782" y="7785"/>
                                                        <a:pt x="32911" y="10247"/>
                                                        <a:pt x="32652" y="12579"/>
                                                      </a:cubicBezTo>
                                                      <a:cubicBezTo>
                                                        <a:pt x="31939" y="20030"/>
                                                        <a:pt x="27858" y="26638"/>
                                                        <a:pt x="23906" y="32922"/>
                                                      </a:cubicBezTo>
                                                      <a:cubicBezTo>
                                                        <a:pt x="22740" y="34736"/>
                                                        <a:pt x="21574" y="36615"/>
                                                        <a:pt x="20019" y="38040"/>
                                                      </a:cubicBezTo>
                                                      <a:cubicBezTo>
                                                        <a:pt x="14836" y="42705"/>
                                                        <a:pt x="6867" y="41668"/>
                                                        <a:pt x="0" y="40307"/>
                                                      </a:cubicBezTo>
                                                      <a:cubicBezTo>
                                                        <a:pt x="7515" y="44972"/>
                                                        <a:pt x="16974" y="44389"/>
                                                        <a:pt x="25655" y="46203"/>
                                                      </a:cubicBezTo>
                                                      <a:cubicBezTo>
                                                        <a:pt x="32199" y="47564"/>
                                                        <a:pt x="38353" y="50349"/>
                                                        <a:pt x="44443" y="53070"/>
                                                      </a:cubicBezTo>
                                                      <a:cubicBezTo>
                                                        <a:pt x="45221" y="53394"/>
                                                        <a:pt x="45998" y="53783"/>
                                                        <a:pt x="46646" y="54301"/>
                                                      </a:cubicBezTo>
                                                      <a:cubicBezTo>
                                                        <a:pt x="49108" y="56310"/>
                                                        <a:pt x="49108" y="59937"/>
                                                        <a:pt x="48913" y="63112"/>
                                                      </a:cubicBezTo>
                                                      <a:cubicBezTo>
                                                        <a:pt x="54485" y="62982"/>
                                                        <a:pt x="60056" y="62853"/>
                                                        <a:pt x="65628" y="62659"/>
                                                      </a:cubicBezTo>
                                                      <a:cubicBezTo>
                                                        <a:pt x="67571" y="62659"/>
                                                        <a:pt x="69645" y="62529"/>
                                                        <a:pt x="71394" y="61687"/>
                                                      </a:cubicBezTo>
                                                      <a:cubicBezTo>
                                                        <a:pt x="74180" y="60261"/>
                                                        <a:pt x="75670" y="57152"/>
                                                        <a:pt x="77808" y="54819"/>
                                                      </a:cubicBezTo>
                                                      <a:cubicBezTo>
                                                        <a:pt x="79946" y="52487"/>
                                                        <a:pt x="83962" y="51062"/>
                                                        <a:pt x="86035" y="53459"/>
                                                      </a:cubicBezTo>
                                                      <a:cubicBezTo>
                                                        <a:pt x="86554" y="55079"/>
                                                        <a:pt x="88044" y="56180"/>
                                                        <a:pt x="89599" y="56957"/>
                                                      </a:cubicBezTo>
                                                      <a:cubicBezTo>
                                                        <a:pt x="95688" y="60002"/>
                                                        <a:pt x="104046" y="58966"/>
                                                        <a:pt x="107933" y="53459"/>
                                                      </a:cubicBezTo>
                                                      <a:cubicBezTo>
                                                        <a:pt x="112792" y="46592"/>
                                                        <a:pt x="106961" y="35254"/>
                                                        <a:pt x="98539" y="35125"/>
                                                      </a:cubicBezTo>
                                                      <a:cubicBezTo>
                                                        <a:pt x="95494" y="35125"/>
                                                        <a:pt x="92514" y="36291"/>
                                                        <a:pt x="89534" y="37068"/>
                                                      </a:cubicBezTo>
                                                      <a:cubicBezTo>
                                                        <a:pt x="86554" y="37846"/>
                                                        <a:pt x="83185" y="38105"/>
                                                        <a:pt x="80593" y="36485"/>
                                                      </a:cubicBezTo>
                                                      <a:cubicBezTo>
                                                        <a:pt x="78002" y="34865"/>
                                                        <a:pt x="76965" y="30654"/>
                                                        <a:pt x="79298" y="28646"/>
                                                      </a:cubicBezTo>
                                                      <a:cubicBezTo>
                                                        <a:pt x="80334" y="27739"/>
                                                        <a:pt x="81760" y="27480"/>
                                                        <a:pt x="83055" y="2728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8" name="Freeform: Shape 82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F7FF8B1-6B81-4137-A585-9BFE28CB36E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92001" y="2171297"/>
                                                  <a:ext cx="62482" cy="5699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8142 w 62482"/>
                                                    <a:gd name="connsiteY0" fmla="*/ 5970 h 56995"/>
                                                    <a:gd name="connsiteX1" fmla="*/ 36027 w 62482"/>
                                                    <a:gd name="connsiteY1" fmla="*/ 528 h 56995"/>
                                                    <a:gd name="connsiteX2" fmla="*/ 32594 w 62482"/>
                                                    <a:gd name="connsiteY2" fmla="*/ 10 h 56995"/>
                                                    <a:gd name="connsiteX3" fmla="*/ 28771 w 62482"/>
                                                    <a:gd name="connsiteY3" fmla="*/ 1371 h 56995"/>
                                                    <a:gd name="connsiteX4" fmla="*/ 5707 w 62482"/>
                                                    <a:gd name="connsiteY4" fmla="*/ 13097 h 56995"/>
                                                    <a:gd name="connsiteX5" fmla="*/ 1496 w 62482"/>
                                                    <a:gd name="connsiteY5" fmla="*/ 16077 h 56995"/>
                                                    <a:gd name="connsiteX6" fmla="*/ 136 w 62482"/>
                                                    <a:gd name="connsiteY6" fmla="*/ 31431 h 56995"/>
                                                    <a:gd name="connsiteX7" fmla="*/ 9789 w 62482"/>
                                                    <a:gd name="connsiteY7" fmla="*/ 37197 h 56995"/>
                                                    <a:gd name="connsiteX8" fmla="*/ 11344 w 62482"/>
                                                    <a:gd name="connsiteY8" fmla="*/ 46591 h 56995"/>
                                                    <a:gd name="connsiteX9" fmla="*/ 17887 w 62482"/>
                                                    <a:gd name="connsiteY9" fmla="*/ 47692 h 56995"/>
                                                    <a:gd name="connsiteX10" fmla="*/ 17887 w 62482"/>
                                                    <a:gd name="connsiteY10" fmla="*/ 55726 h 56995"/>
                                                    <a:gd name="connsiteX11" fmla="*/ 27346 w 62482"/>
                                                    <a:gd name="connsiteY11" fmla="*/ 56892 h 56995"/>
                                                    <a:gd name="connsiteX12" fmla="*/ 34991 w 62482"/>
                                                    <a:gd name="connsiteY12" fmla="*/ 51903 h 56995"/>
                                                    <a:gd name="connsiteX13" fmla="*/ 35833 w 62482"/>
                                                    <a:gd name="connsiteY13" fmla="*/ 50154 h 56995"/>
                                                    <a:gd name="connsiteX14" fmla="*/ 39720 w 62482"/>
                                                    <a:gd name="connsiteY14" fmla="*/ 49182 h 56995"/>
                                                    <a:gd name="connsiteX15" fmla="*/ 60192 w 62482"/>
                                                    <a:gd name="connsiteY15" fmla="*/ 38946 h 56995"/>
                                                    <a:gd name="connsiteX16" fmla="*/ 62460 w 62482"/>
                                                    <a:gd name="connsiteY16" fmla="*/ 32532 h 56995"/>
                                                    <a:gd name="connsiteX17" fmla="*/ 58961 w 62482"/>
                                                    <a:gd name="connsiteY17" fmla="*/ 22426 h 56995"/>
                                                    <a:gd name="connsiteX18" fmla="*/ 50410 w 62482"/>
                                                    <a:gd name="connsiteY18" fmla="*/ 18020 h 56995"/>
                                                    <a:gd name="connsiteX19" fmla="*/ 48142 w 62482"/>
                                                    <a:gd name="connsiteY19" fmla="*/ 5970 h 5699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2482" h="56995">
                                                      <a:moveTo>
                                                        <a:pt x="48142" y="5970"/>
                                                      </a:moveTo>
                                                      <a:cubicBezTo>
                                                        <a:pt x="44838" y="2925"/>
                                                        <a:pt x="40368" y="1694"/>
                                                        <a:pt x="36027" y="528"/>
                                                      </a:cubicBezTo>
                                                      <a:cubicBezTo>
                                                        <a:pt x="34926" y="204"/>
                                                        <a:pt x="33760" y="-55"/>
                                                        <a:pt x="32594" y="10"/>
                                                      </a:cubicBezTo>
                                                      <a:cubicBezTo>
                                                        <a:pt x="31233" y="140"/>
                                                        <a:pt x="30002" y="723"/>
                                                        <a:pt x="28771" y="1371"/>
                                                      </a:cubicBezTo>
                                                      <a:cubicBezTo>
                                                        <a:pt x="21062" y="5258"/>
                                                        <a:pt x="13352" y="9210"/>
                                                        <a:pt x="5707" y="13097"/>
                                                      </a:cubicBezTo>
                                                      <a:cubicBezTo>
                                                        <a:pt x="4153" y="13874"/>
                                                        <a:pt x="2598" y="14716"/>
                                                        <a:pt x="1496" y="16077"/>
                                                      </a:cubicBezTo>
                                                      <a:cubicBezTo>
                                                        <a:pt x="-1743" y="20223"/>
                                                        <a:pt x="1496" y="26313"/>
                                                        <a:pt x="136" y="31431"/>
                                                      </a:cubicBezTo>
                                                      <a:cubicBezTo>
                                                        <a:pt x="3375" y="33375"/>
                                                        <a:pt x="6550" y="35318"/>
                                                        <a:pt x="9789" y="37197"/>
                                                      </a:cubicBezTo>
                                                      <a:cubicBezTo>
                                                        <a:pt x="10761" y="40372"/>
                                                        <a:pt x="8364" y="44971"/>
                                                        <a:pt x="11344" y="46591"/>
                                                      </a:cubicBezTo>
                                                      <a:cubicBezTo>
                                                        <a:pt x="13352" y="47692"/>
                                                        <a:pt x="16332" y="46008"/>
                                                        <a:pt x="17887" y="47692"/>
                                                      </a:cubicBezTo>
                                                      <a:cubicBezTo>
                                                        <a:pt x="17887" y="50349"/>
                                                        <a:pt x="17887" y="53070"/>
                                                        <a:pt x="17887" y="55726"/>
                                                      </a:cubicBezTo>
                                                      <a:cubicBezTo>
                                                        <a:pt x="20997" y="56503"/>
                                                        <a:pt x="24171" y="57281"/>
                                                        <a:pt x="27346" y="56892"/>
                                                      </a:cubicBezTo>
                                                      <a:cubicBezTo>
                                                        <a:pt x="30521" y="56568"/>
                                                        <a:pt x="33760" y="54819"/>
                                                        <a:pt x="34991" y="51903"/>
                                                      </a:cubicBezTo>
                                                      <a:cubicBezTo>
                                                        <a:pt x="35250" y="51320"/>
                                                        <a:pt x="35444" y="50672"/>
                                                        <a:pt x="35833" y="50154"/>
                                                      </a:cubicBezTo>
                                                      <a:cubicBezTo>
                                                        <a:pt x="36740" y="49118"/>
                                                        <a:pt x="38360" y="49182"/>
                                                        <a:pt x="39720" y="49182"/>
                                                      </a:cubicBezTo>
                                                      <a:cubicBezTo>
                                                        <a:pt x="47624" y="49377"/>
                                                        <a:pt x="55593" y="45360"/>
                                                        <a:pt x="60192" y="38946"/>
                                                      </a:cubicBezTo>
                                                      <a:cubicBezTo>
                                                        <a:pt x="61553" y="37067"/>
                                                        <a:pt x="62654" y="34865"/>
                                                        <a:pt x="62460" y="32532"/>
                                                      </a:cubicBezTo>
                                                      <a:cubicBezTo>
                                                        <a:pt x="62201" y="28969"/>
                                                        <a:pt x="58897" y="26054"/>
                                                        <a:pt x="58961" y="22426"/>
                                                      </a:cubicBezTo>
                                                      <a:cubicBezTo>
                                                        <a:pt x="55787" y="21713"/>
                                                        <a:pt x="52807" y="20158"/>
                                                        <a:pt x="50410" y="18020"/>
                                                      </a:cubicBezTo>
                                                      <a:cubicBezTo>
                                                        <a:pt x="53001" y="14392"/>
                                                        <a:pt x="51446" y="8950"/>
                                                        <a:pt x="48142" y="597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29" name="Freeform: Shape 82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E63C56B-28D1-4D23-B03F-2BAE620A496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853713" y="2288021"/>
                                                  <a:ext cx="163920" cy="11742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3920 w 163920"/>
                                                    <a:gd name="connsiteY0" fmla="*/ 92285 h 117421"/>
                                                    <a:gd name="connsiteX1" fmla="*/ 146104 w 163920"/>
                                                    <a:gd name="connsiteY1" fmla="*/ 73756 h 117421"/>
                                                    <a:gd name="connsiteX2" fmla="*/ 130426 w 163920"/>
                                                    <a:gd name="connsiteY2" fmla="*/ 67796 h 117421"/>
                                                    <a:gd name="connsiteX3" fmla="*/ 127446 w 163920"/>
                                                    <a:gd name="connsiteY3" fmla="*/ 54903 h 117421"/>
                                                    <a:gd name="connsiteX4" fmla="*/ 117857 w 163920"/>
                                                    <a:gd name="connsiteY4" fmla="*/ 49202 h 117421"/>
                                                    <a:gd name="connsiteX5" fmla="*/ 111055 w 163920"/>
                                                    <a:gd name="connsiteY5" fmla="*/ 36634 h 117421"/>
                                                    <a:gd name="connsiteX6" fmla="*/ 96802 w 163920"/>
                                                    <a:gd name="connsiteY6" fmla="*/ 31904 h 117421"/>
                                                    <a:gd name="connsiteX7" fmla="*/ 75941 w 163920"/>
                                                    <a:gd name="connsiteY7" fmla="*/ 27758 h 117421"/>
                                                    <a:gd name="connsiteX8" fmla="*/ 70434 w 163920"/>
                                                    <a:gd name="connsiteY8" fmla="*/ 25361 h 117421"/>
                                                    <a:gd name="connsiteX9" fmla="*/ 68037 w 163920"/>
                                                    <a:gd name="connsiteY9" fmla="*/ 20891 h 117421"/>
                                                    <a:gd name="connsiteX10" fmla="*/ 54368 w 163920"/>
                                                    <a:gd name="connsiteY10" fmla="*/ 17004 h 117421"/>
                                                    <a:gd name="connsiteX11" fmla="*/ 49379 w 163920"/>
                                                    <a:gd name="connsiteY11" fmla="*/ 1066 h 117421"/>
                                                    <a:gd name="connsiteX12" fmla="*/ 33507 w 163920"/>
                                                    <a:gd name="connsiteY12" fmla="*/ 7804 h 117421"/>
                                                    <a:gd name="connsiteX13" fmla="*/ 26186 w 163920"/>
                                                    <a:gd name="connsiteY13" fmla="*/ 25555 h 117421"/>
                                                    <a:gd name="connsiteX14" fmla="*/ 21521 w 163920"/>
                                                    <a:gd name="connsiteY14" fmla="*/ 33524 h 117421"/>
                                                    <a:gd name="connsiteX15" fmla="*/ 20549 w 163920"/>
                                                    <a:gd name="connsiteY15" fmla="*/ 50563 h 117421"/>
                                                    <a:gd name="connsiteX16" fmla="*/ 17569 w 163920"/>
                                                    <a:gd name="connsiteY16" fmla="*/ 73821 h 117421"/>
                                                    <a:gd name="connsiteX17" fmla="*/ 19059 w 163920"/>
                                                    <a:gd name="connsiteY17" fmla="*/ 81077 h 117421"/>
                                                    <a:gd name="connsiteX18" fmla="*/ 9406 w 163920"/>
                                                    <a:gd name="connsiteY18" fmla="*/ 82502 h 117421"/>
                                                    <a:gd name="connsiteX19" fmla="*/ 401 w 163920"/>
                                                    <a:gd name="connsiteY19" fmla="*/ 91313 h 117421"/>
                                                    <a:gd name="connsiteX20" fmla="*/ 1437 w 163920"/>
                                                    <a:gd name="connsiteY20" fmla="*/ 104724 h 117421"/>
                                                    <a:gd name="connsiteX21" fmla="*/ 20355 w 163920"/>
                                                    <a:gd name="connsiteY21" fmla="*/ 93386 h 117421"/>
                                                    <a:gd name="connsiteX22" fmla="*/ 37264 w 163920"/>
                                                    <a:gd name="connsiteY22" fmla="*/ 103946 h 117421"/>
                                                    <a:gd name="connsiteX23" fmla="*/ 36875 w 163920"/>
                                                    <a:gd name="connsiteY23" fmla="*/ 111850 h 117421"/>
                                                    <a:gd name="connsiteX24" fmla="*/ 41475 w 163920"/>
                                                    <a:gd name="connsiteY24" fmla="*/ 117422 h 117421"/>
                                                    <a:gd name="connsiteX25" fmla="*/ 44715 w 163920"/>
                                                    <a:gd name="connsiteY25" fmla="*/ 116255 h 117421"/>
                                                    <a:gd name="connsiteX26" fmla="*/ 73544 w 163920"/>
                                                    <a:gd name="connsiteY26" fmla="*/ 96884 h 117421"/>
                                                    <a:gd name="connsiteX27" fmla="*/ 85270 w 163920"/>
                                                    <a:gd name="connsiteY27" fmla="*/ 83085 h 117421"/>
                                                    <a:gd name="connsiteX28" fmla="*/ 88186 w 163920"/>
                                                    <a:gd name="connsiteY28" fmla="*/ 77190 h 117421"/>
                                                    <a:gd name="connsiteX29" fmla="*/ 96478 w 163920"/>
                                                    <a:gd name="connsiteY29" fmla="*/ 74922 h 117421"/>
                                                    <a:gd name="connsiteX30" fmla="*/ 111509 w 163920"/>
                                                    <a:gd name="connsiteY30" fmla="*/ 80040 h 117421"/>
                                                    <a:gd name="connsiteX31" fmla="*/ 116626 w 163920"/>
                                                    <a:gd name="connsiteY31" fmla="*/ 93127 h 117421"/>
                                                    <a:gd name="connsiteX32" fmla="*/ 127057 w 163920"/>
                                                    <a:gd name="connsiteY32" fmla="*/ 95913 h 117421"/>
                                                    <a:gd name="connsiteX33" fmla="*/ 133212 w 163920"/>
                                                    <a:gd name="connsiteY33" fmla="*/ 99282 h 117421"/>
                                                    <a:gd name="connsiteX34" fmla="*/ 163920 w 163920"/>
                                                    <a:gd name="connsiteY34" fmla="*/ 92285 h 11742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3920" h="117421">
                                                      <a:moveTo>
                                                        <a:pt x="163920" y="92285"/>
                                                      </a:moveTo>
                                                      <a:cubicBezTo>
                                                        <a:pt x="162041" y="83474"/>
                                                        <a:pt x="154850" y="76023"/>
                                                        <a:pt x="146104" y="73756"/>
                                                      </a:cubicBezTo>
                                                      <a:cubicBezTo>
                                                        <a:pt x="140532" y="72331"/>
                                                        <a:pt x="133795" y="72395"/>
                                                        <a:pt x="130426" y="67796"/>
                                                      </a:cubicBezTo>
                                                      <a:cubicBezTo>
                                                        <a:pt x="127834" y="64168"/>
                                                        <a:pt x="128482" y="59244"/>
                                                        <a:pt x="127446" y="54903"/>
                                                      </a:cubicBezTo>
                                                      <a:cubicBezTo>
                                                        <a:pt x="126409" y="50563"/>
                                                        <a:pt x="121291" y="46352"/>
                                                        <a:pt x="117857" y="49202"/>
                                                      </a:cubicBezTo>
                                                      <a:cubicBezTo>
                                                        <a:pt x="118505" y="44214"/>
                                                        <a:pt x="115266" y="39355"/>
                                                        <a:pt x="111055" y="36634"/>
                                                      </a:cubicBezTo>
                                                      <a:cubicBezTo>
                                                        <a:pt x="106844" y="33913"/>
                                                        <a:pt x="101726" y="32876"/>
                                                        <a:pt x="96802" y="31904"/>
                                                      </a:cubicBezTo>
                                                      <a:cubicBezTo>
                                                        <a:pt x="89870" y="30544"/>
                                                        <a:pt x="82938" y="29183"/>
                                                        <a:pt x="75941" y="27758"/>
                                                      </a:cubicBezTo>
                                                      <a:cubicBezTo>
                                                        <a:pt x="73933" y="27369"/>
                                                        <a:pt x="71795" y="26916"/>
                                                        <a:pt x="70434" y="25361"/>
                                                      </a:cubicBezTo>
                                                      <a:cubicBezTo>
                                                        <a:pt x="69333" y="24065"/>
                                                        <a:pt x="68944" y="22316"/>
                                                        <a:pt x="68037" y="20891"/>
                                                      </a:cubicBezTo>
                                                      <a:cubicBezTo>
                                                        <a:pt x="65381" y="16680"/>
                                                        <a:pt x="59356" y="16615"/>
                                                        <a:pt x="54368" y="17004"/>
                                                      </a:cubicBezTo>
                                                      <a:cubicBezTo>
                                                        <a:pt x="52683" y="11691"/>
                                                        <a:pt x="51063" y="6379"/>
                                                        <a:pt x="49379" y="1066"/>
                                                      </a:cubicBezTo>
                                                      <a:cubicBezTo>
                                                        <a:pt x="43807" y="-2108"/>
                                                        <a:pt x="36681" y="2297"/>
                                                        <a:pt x="33507" y="7804"/>
                                                      </a:cubicBezTo>
                                                      <a:cubicBezTo>
                                                        <a:pt x="30332" y="13311"/>
                                                        <a:pt x="29425" y="19984"/>
                                                        <a:pt x="26186" y="25555"/>
                                                      </a:cubicBezTo>
                                                      <a:cubicBezTo>
                                                        <a:pt x="24631" y="28212"/>
                                                        <a:pt x="22623" y="30609"/>
                                                        <a:pt x="21521" y="33524"/>
                                                      </a:cubicBezTo>
                                                      <a:cubicBezTo>
                                                        <a:pt x="19513" y="38901"/>
                                                        <a:pt x="21132" y="44862"/>
                                                        <a:pt x="20549" y="50563"/>
                                                      </a:cubicBezTo>
                                                      <a:cubicBezTo>
                                                        <a:pt x="19707" y="58467"/>
                                                        <a:pt x="14524" y="66500"/>
                                                        <a:pt x="17569" y="73821"/>
                                                      </a:cubicBezTo>
                                                      <a:cubicBezTo>
                                                        <a:pt x="18541" y="76218"/>
                                                        <a:pt x="20355" y="78874"/>
                                                        <a:pt x="19059" y="81077"/>
                                                      </a:cubicBezTo>
                                                      <a:cubicBezTo>
                                                        <a:pt x="17310" y="84057"/>
                                                        <a:pt x="12840" y="82373"/>
                                                        <a:pt x="9406" y="82502"/>
                                                      </a:cubicBezTo>
                                                      <a:cubicBezTo>
                                                        <a:pt x="4871" y="82696"/>
                                                        <a:pt x="1373" y="86907"/>
                                                        <a:pt x="401" y="91313"/>
                                                      </a:cubicBezTo>
                                                      <a:cubicBezTo>
                                                        <a:pt x="-571" y="95718"/>
                                                        <a:pt x="401" y="100318"/>
                                                        <a:pt x="1437" y="104724"/>
                                                      </a:cubicBezTo>
                                                      <a:cubicBezTo>
                                                        <a:pt x="7009" y="99800"/>
                                                        <a:pt x="13034" y="94682"/>
                                                        <a:pt x="20355" y="93386"/>
                                                      </a:cubicBezTo>
                                                      <a:cubicBezTo>
                                                        <a:pt x="27676" y="92090"/>
                                                        <a:pt x="36551" y="96496"/>
                                                        <a:pt x="37264" y="103946"/>
                                                      </a:cubicBezTo>
                                                      <a:cubicBezTo>
                                                        <a:pt x="37523" y="106602"/>
                                                        <a:pt x="36746" y="109194"/>
                                                        <a:pt x="36875" y="111850"/>
                                                      </a:cubicBezTo>
                                                      <a:cubicBezTo>
                                                        <a:pt x="37070" y="114506"/>
                                                        <a:pt x="38819" y="117422"/>
                                                        <a:pt x="41475" y="117422"/>
                                                      </a:cubicBezTo>
                                                      <a:cubicBezTo>
                                                        <a:pt x="42641" y="117422"/>
                                                        <a:pt x="43678" y="116838"/>
                                                        <a:pt x="44715" y="116255"/>
                                                      </a:cubicBezTo>
                                                      <a:cubicBezTo>
                                                        <a:pt x="54821" y="110619"/>
                                                        <a:pt x="64474" y="104141"/>
                                                        <a:pt x="73544" y="96884"/>
                                                      </a:cubicBezTo>
                                                      <a:cubicBezTo>
                                                        <a:pt x="78338" y="93062"/>
                                                        <a:pt x="83068" y="88786"/>
                                                        <a:pt x="85270" y="83085"/>
                                                      </a:cubicBezTo>
                                                      <a:cubicBezTo>
                                                        <a:pt x="86048" y="81012"/>
                                                        <a:pt x="86566" y="78744"/>
                                                        <a:pt x="88186" y="77190"/>
                                                      </a:cubicBezTo>
                                                      <a:cubicBezTo>
                                                        <a:pt x="90259" y="75116"/>
                                                        <a:pt x="93563" y="74922"/>
                                                        <a:pt x="96478" y="74922"/>
                                                      </a:cubicBezTo>
                                                      <a:cubicBezTo>
                                                        <a:pt x="102050" y="74922"/>
                                                        <a:pt x="108593" y="75376"/>
                                                        <a:pt x="111509" y="80040"/>
                                                      </a:cubicBezTo>
                                                      <a:cubicBezTo>
                                                        <a:pt x="114035" y="84057"/>
                                                        <a:pt x="112934" y="90147"/>
                                                        <a:pt x="116626" y="93127"/>
                                                      </a:cubicBezTo>
                                                      <a:cubicBezTo>
                                                        <a:pt x="119412" y="95459"/>
                                                        <a:pt x="123623" y="94747"/>
                                                        <a:pt x="127057" y="95913"/>
                                                      </a:cubicBezTo>
                                                      <a:cubicBezTo>
                                                        <a:pt x="129260" y="96690"/>
                                                        <a:pt x="131139" y="98180"/>
                                                        <a:pt x="133212" y="99282"/>
                                                      </a:cubicBezTo>
                                                      <a:cubicBezTo>
                                                        <a:pt x="142994" y="104270"/>
                                                        <a:pt x="154591" y="98180"/>
                                                        <a:pt x="163920" y="9228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30" name="Freeform: Shape 82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43D281A-3368-452F-A92C-01441BAD307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932814" y="2408252"/>
                                                  <a:ext cx="51003" cy="3776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7724 w 51003"/>
                                                    <a:gd name="connsiteY0" fmla="*/ 13776 h 37763"/>
                                                    <a:gd name="connsiteX1" fmla="*/ 403 w 51003"/>
                                                    <a:gd name="connsiteY1" fmla="*/ 21420 h 37763"/>
                                                    <a:gd name="connsiteX2" fmla="*/ 792 w 51003"/>
                                                    <a:gd name="connsiteY2" fmla="*/ 32563 h 37763"/>
                                                    <a:gd name="connsiteX3" fmla="*/ 1829 w 51003"/>
                                                    <a:gd name="connsiteY3" fmla="*/ 34766 h 37763"/>
                                                    <a:gd name="connsiteX4" fmla="*/ 3643 w 51003"/>
                                                    <a:gd name="connsiteY4" fmla="*/ 35155 h 37763"/>
                                                    <a:gd name="connsiteX5" fmla="*/ 15823 w 51003"/>
                                                    <a:gd name="connsiteY5" fmla="*/ 35155 h 37763"/>
                                                    <a:gd name="connsiteX6" fmla="*/ 24568 w 51003"/>
                                                    <a:gd name="connsiteY6" fmla="*/ 37487 h 37763"/>
                                                    <a:gd name="connsiteX7" fmla="*/ 26123 w 51003"/>
                                                    <a:gd name="connsiteY7" fmla="*/ 36839 h 37763"/>
                                                    <a:gd name="connsiteX8" fmla="*/ 26447 w 51003"/>
                                                    <a:gd name="connsiteY8" fmla="*/ 35025 h 37763"/>
                                                    <a:gd name="connsiteX9" fmla="*/ 38498 w 51003"/>
                                                    <a:gd name="connsiteY9" fmla="*/ 27057 h 37763"/>
                                                    <a:gd name="connsiteX10" fmla="*/ 41607 w 51003"/>
                                                    <a:gd name="connsiteY10" fmla="*/ 26992 h 37763"/>
                                                    <a:gd name="connsiteX11" fmla="*/ 43356 w 51003"/>
                                                    <a:gd name="connsiteY11" fmla="*/ 25178 h 37763"/>
                                                    <a:gd name="connsiteX12" fmla="*/ 47373 w 51003"/>
                                                    <a:gd name="connsiteY12" fmla="*/ 19282 h 37763"/>
                                                    <a:gd name="connsiteX13" fmla="*/ 50159 w 51003"/>
                                                    <a:gd name="connsiteY13" fmla="*/ 7232 h 37763"/>
                                                    <a:gd name="connsiteX14" fmla="*/ 41089 w 51003"/>
                                                    <a:gd name="connsiteY14" fmla="*/ 365 h 37763"/>
                                                    <a:gd name="connsiteX15" fmla="*/ 36165 w 51003"/>
                                                    <a:gd name="connsiteY15" fmla="*/ 171 h 37763"/>
                                                    <a:gd name="connsiteX16" fmla="*/ 19062 w 51003"/>
                                                    <a:gd name="connsiteY16" fmla="*/ 3086 h 37763"/>
                                                    <a:gd name="connsiteX17" fmla="*/ 12583 w 51003"/>
                                                    <a:gd name="connsiteY17" fmla="*/ 8852 h 37763"/>
                                                    <a:gd name="connsiteX18" fmla="*/ 13037 w 51003"/>
                                                    <a:gd name="connsiteY18" fmla="*/ 11832 h 37763"/>
                                                    <a:gd name="connsiteX19" fmla="*/ 7789 w 51003"/>
                                                    <a:gd name="connsiteY19" fmla="*/ 13970 h 3776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1003" h="37763">
                                                      <a:moveTo>
                                                        <a:pt x="7724" y="13776"/>
                                                      </a:moveTo>
                                                      <a:cubicBezTo>
                                                        <a:pt x="4031" y="14294"/>
                                                        <a:pt x="1310" y="17792"/>
                                                        <a:pt x="403" y="21420"/>
                                                      </a:cubicBezTo>
                                                      <a:cubicBezTo>
                                                        <a:pt x="-439" y="25048"/>
                                                        <a:pt x="209" y="28871"/>
                                                        <a:pt x="792" y="32563"/>
                                                      </a:cubicBezTo>
                                                      <a:cubicBezTo>
                                                        <a:pt x="922" y="33406"/>
                                                        <a:pt x="1116" y="34248"/>
                                                        <a:pt x="1829" y="34766"/>
                                                      </a:cubicBezTo>
                                                      <a:cubicBezTo>
                                                        <a:pt x="2347" y="35090"/>
                                                        <a:pt x="2995" y="35155"/>
                                                        <a:pt x="3643" y="35155"/>
                                                      </a:cubicBezTo>
                                                      <a:lnTo>
                                                        <a:pt x="15823" y="35155"/>
                                                      </a:lnTo>
                                                      <a:cubicBezTo>
                                                        <a:pt x="17248" y="38070"/>
                                                        <a:pt x="21329" y="38005"/>
                                                        <a:pt x="24568" y="37487"/>
                                                      </a:cubicBezTo>
                                                      <a:cubicBezTo>
                                                        <a:pt x="25151" y="37422"/>
                                                        <a:pt x="25735" y="37293"/>
                                                        <a:pt x="26123" y="36839"/>
                                                      </a:cubicBezTo>
                                                      <a:cubicBezTo>
                                                        <a:pt x="26512" y="36386"/>
                                                        <a:pt x="26447" y="35673"/>
                                                        <a:pt x="26447" y="35025"/>
                                                      </a:cubicBezTo>
                                                      <a:cubicBezTo>
                                                        <a:pt x="26512" y="29583"/>
                                                        <a:pt x="33120" y="26344"/>
                                                        <a:pt x="38498" y="27057"/>
                                                      </a:cubicBezTo>
                                                      <a:cubicBezTo>
                                                        <a:pt x="39534" y="27186"/>
                                                        <a:pt x="40635" y="27445"/>
                                                        <a:pt x="41607" y="26992"/>
                                                      </a:cubicBezTo>
                                                      <a:cubicBezTo>
                                                        <a:pt x="42385" y="26603"/>
                                                        <a:pt x="42903" y="25891"/>
                                                        <a:pt x="43356" y="25178"/>
                                                      </a:cubicBezTo>
                                                      <a:cubicBezTo>
                                                        <a:pt x="44717" y="23234"/>
                                                        <a:pt x="46077" y="21291"/>
                                                        <a:pt x="47373" y="19282"/>
                                                      </a:cubicBezTo>
                                                      <a:cubicBezTo>
                                                        <a:pt x="49835" y="15654"/>
                                                        <a:pt x="52362" y="10990"/>
                                                        <a:pt x="50159" y="7232"/>
                                                      </a:cubicBezTo>
                                                      <a:cubicBezTo>
                                                        <a:pt x="46596" y="5872"/>
                                                        <a:pt x="44717" y="1531"/>
                                                        <a:pt x="41089" y="365"/>
                                                      </a:cubicBezTo>
                                                      <a:cubicBezTo>
                                                        <a:pt x="39534" y="-153"/>
                                                        <a:pt x="37850" y="-24"/>
                                                        <a:pt x="36165" y="171"/>
                                                      </a:cubicBezTo>
                                                      <a:cubicBezTo>
                                                        <a:pt x="30399" y="754"/>
                                                        <a:pt x="24698" y="1726"/>
                                                        <a:pt x="19062" y="3086"/>
                                                      </a:cubicBezTo>
                                                      <a:cubicBezTo>
                                                        <a:pt x="15952" y="3799"/>
                                                        <a:pt x="12194" y="5677"/>
                                                        <a:pt x="12583" y="8852"/>
                                                      </a:cubicBezTo>
                                                      <a:cubicBezTo>
                                                        <a:pt x="12713" y="9824"/>
                                                        <a:pt x="13296" y="10795"/>
                                                        <a:pt x="13037" y="11832"/>
                                                      </a:cubicBezTo>
                                                      <a:cubicBezTo>
                                                        <a:pt x="12583" y="13840"/>
                                                        <a:pt x="9797" y="13711"/>
                                                        <a:pt x="7789" y="1397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831" name="Freeform: Shape 83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F01A99D-4B8B-4060-A048-AC1AF81F7C8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22623" y="2435104"/>
                                                  <a:ext cx="28412" cy="3377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922 w 28412"/>
                                                    <a:gd name="connsiteY0" fmla="*/ 11672 h 33774"/>
                                                    <a:gd name="connsiteX1" fmla="*/ 63 w 28412"/>
                                                    <a:gd name="connsiteY1" fmla="*/ 17243 h 33774"/>
                                                    <a:gd name="connsiteX2" fmla="*/ 1748 w 28412"/>
                                                    <a:gd name="connsiteY2" fmla="*/ 24953 h 33774"/>
                                                    <a:gd name="connsiteX3" fmla="*/ 3627 w 28412"/>
                                                    <a:gd name="connsiteY3" fmla="*/ 28516 h 33774"/>
                                                    <a:gd name="connsiteX4" fmla="*/ 16389 w 28412"/>
                                                    <a:gd name="connsiteY4" fmla="*/ 33504 h 33774"/>
                                                    <a:gd name="connsiteX5" fmla="*/ 25719 w 28412"/>
                                                    <a:gd name="connsiteY5" fmla="*/ 23463 h 33774"/>
                                                    <a:gd name="connsiteX6" fmla="*/ 26302 w 28412"/>
                                                    <a:gd name="connsiteY6" fmla="*/ 19122 h 33774"/>
                                                    <a:gd name="connsiteX7" fmla="*/ 28180 w 28412"/>
                                                    <a:gd name="connsiteY7" fmla="*/ 14133 h 33774"/>
                                                    <a:gd name="connsiteX8" fmla="*/ 22609 w 28412"/>
                                                    <a:gd name="connsiteY8" fmla="*/ 2602 h 33774"/>
                                                    <a:gd name="connsiteX9" fmla="*/ 14252 w 28412"/>
                                                    <a:gd name="connsiteY9" fmla="*/ 75 h 33774"/>
                                                    <a:gd name="connsiteX10" fmla="*/ 8421 w 28412"/>
                                                    <a:gd name="connsiteY10" fmla="*/ 5906 h 33774"/>
                                                    <a:gd name="connsiteX11" fmla="*/ 7449 w 28412"/>
                                                    <a:gd name="connsiteY11" fmla="*/ 11348 h 33774"/>
                                                    <a:gd name="connsiteX12" fmla="*/ 4922 w 28412"/>
                                                    <a:gd name="connsiteY12" fmla="*/ 11736 h 3377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8412" h="33774">
                                                      <a:moveTo>
                                                        <a:pt x="4922" y="11672"/>
                                                      </a:moveTo>
                                                      <a:cubicBezTo>
                                                        <a:pt x="2266" y="11931"/>
                                                        <a:pt x="387" y="14587"/>
                                                        <a:pt x="63" y="17243"/>
                                                      </a:cubicBezTo>
                                                      <a:cubicBezTo>
                                                        <a:pt x="-261" y="19899"/>
                                                        <a:pt x="711" y="22491"/>
                                                        <a:pt x="1748" y="24953"/>
                                                      </a:cubicBezTo>
                                                      <a:cubicBezTo>
                                                        <a:pt x="2266" y="26184"/>
                                                        <a:pt x="2849" y="27415"/>
                                                        <a:pt x="3627" y="28516"/>
                                                      </a:cubicBezTo>
                                                      <a:cubicBezTo>
                                                        <a:pt x="6412" y="32533"/>
                                                        <a:pt x="11660" y="34541"/>
                                                        <a:pt x="16389" y="33504"/>
                                                      </a:cubicBezTo>
                                                      <a:cubicBezTo>
                                                        <a:pt x="21119" y="32403"/>
                                                        <a:pt x="25006" y="28257"/>
                                                        <a:pt x="25719" y="23463"/>
                                                      </a:cubicBezTo>
                                                      <a:cubicBezTo>
                                                        <a:pt x="25913" y="22037"/>
                                                        <a:pt x="25913" y="20547"/>
                                                        <a:pt x="26302" y="19122"/>
                                                      </a:cubicBezTo>
                                                      <a:cubicBezTo>
                                                        <a:pt x="26755" y="17437"/>
                                                        <a:pt x="27727" y="15883"/>
                                                        <a:pt x="28180" y="14133"/>
                                                      </a:cubicBezTo>
                                                      <a:cubicBezTo>
                                                        <a:pt x="29282" y="9728"/>
                                                        <a:pt x="26302" y="5193"/>
                                                        <a:pt x="22609" y="2602"/>
                                                      </a:cubicBezTo>
                                                      <a:cubicBezTo>
                                                        <a:pt x="20147" y="852"/>
                                                        <a:pt x="17232" y="-314"/>
                                                        <a:pt x="14252" y="75"/>
                                                      </a:cubicBezTo>
                                                      <a:cubicBezTo>
                                                        <a:pt x="11271" y="464"/>
                                                        <a:pt x="8485" y="2925"/>
                                                        <a:pt x="8421" y="5906"/>
                                                      </a:cubicBezTo>
                                                      <a:cubicBezTo>
                                                        <a:pt x="8421" y="7849"/>
                                                        <a:pt x="9198" y="10376"/>
                                                        <a:pt x="7449" y="11348"/>
                                                      </a:cubicBezTo>
                                                      <a:cubicBezTo>
                                                        <a:pt x="6671" y="11801"/>
                                                        <a:pt x="5765" y="11607"/>
                                                        <a:pt x="4922" y="1173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4" name="Freeform: Shape 38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8C7885C-6678-4BD9-B581-20F86A84143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3508904" y="1885687"/>
                                                  <a:ext cx="2125996" cy="127730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11302 w 2125996"/>
                                                    <a:gd name="connsiteY0" fmla="*/ 926220 h 1277302"/>
                                                    <a:gd name="connsiteX1" fmla="*/ 2125878 w 2125996"/>
                                                    <a:gd name="connsiteY1" fmla="*/ 925573 h 1277302"/>
                                                    <a:gd name="connsiteX2" fmla="*/ 2107091 w 2125996"/>
                                                    <a:gd name="connsiteY2" fmla="*/ 904971 h 1277302"/>
                                                    <a:gd name="connsiteX3" fmla="*/ 2106313 w 2125996"/>
                                                    <a:gd name="connsiteY3" fmla="*/ 893633 h 1277302"/>
                                                    <a:gd name="connsiteX4" fmla="*/ 2085776 w 2125996"/>
                                                    <a:gd name="connsiteY4" fmla="*/ 899334 h 1277302"/>
                                                    <a:gd name="connsiteX5" fmla="*/ 2087525 w 2125996"/>
                                                    <a:gd name="connsiteY5" fmla="*/ 875688 h 1277302"/>
                                                    <a:gd name="connsiteX6" fmla="*/ 2050014 w 2125996"/>
                                                    <a:gd name="connsiteY6" fmla="*/ 890653 h 1277302"/>
                                                    <a:gd name="connsiteX7" fmla="*/ 2020148 w 2125996"/>
                                                    <a:gd name="connsiteY7" fmla="*/ 903610 h 1277302"/>
                                                    <a:gd name="connsiteX8" fmla="*/ 2036280 w 2125996"/>
                                                    <a:gd name="connsiteY8" fmla="*/ 875947 h 1277302"/>
                                                    <a:gd name="connsiteX9" fmla="*/ 2070098 w 2125996"/>
                                                    <a:gd name="connsiteY9" fmla="*/ 864091 h 1277302"/>
                                                    <a:gd name="connsiteX10" fmla="*/ 2076253 w 2125996"/>
                                                    <a:gd name="connsiteY10" fmla="*/ 856770 h 1277302"/>
                                                    <a:gd name="connsiteX11" fmla="*/ 2074050 w 2125996"/>
                                                    <a:gd name="connsiteY11" fmla="*/ 847635 h 1277302"/>
                                                    <a:gd name="connsiteX12" fmla="*/ 1996372 w 2125996"/>
                                                    <a:gd name="connsiteY12" fmla="*/ 830726 h 1277302"/>
                                                    <a:gd name="connsiteX13" fmla="*/ 1980758 w 2125996"/>
                                                    <a:gd name="connsiteY13" fmla="*/ 815955 h 1277302"/>
                                                    <a:gd name="connsiteX14" fmla="*/ 1976094 w 2125996"/>
                                                    <a:gd name="connsiteY14" fmla="*/ 794900 h 1277302"/>
                                                    <a:gd name="connsiteX15" fmla="*/ 1967089 w 2125996"/>
                                                    <a:gd name="connsiteY15" fmla="*/ 794900 h 1277302"/>
                                                    <a:gd name="connsiteX16" fmla="*/ 1966246 w 2125996"/>
                                                    <a:gd name="connsiteY16" fmla="*/ 785571 h 1277302"/>
                                                    <a:gd name="connsiteX17" fmla="*/ 1949726 w 2125996"/>
                                                    <a:gd name="connsiteY17" fmla="*/ 775723 h 1277302"/>
                                                    <a:gd name="connsiteX18" fmla="*/ 1980758 w 2125996"/>
                                                    <a:gd name="connsiteY18" fmla="*/ 770735 h 1277302"/>
                                                    <a:gd name="connsiteX19" fmla="*/ 1980046 w 2125996"/>
                                                    <a:gd name="connsiteY19" fmla="*/ 758944 h 1277302"/>
                                                    <a:gd name="connsiteX20" fmla="*/ 1922905 w 2125996"/>
                                                    <a:gd name="connsiteY20" fmla="*/ 691567 h 1277302"/>
                                                    <a:gd name="connsiteX21" fmla="*/ 1917333 w 2125996"/>
                                                    <a:gd name="connsiteY21" fmla="*/ 672779 h 1277302"/>
                                                    <a:gd name="connsiteX22" fmla="*/ 1910855 w 2125996"/>
                                                    <a:gd name="connsiteY22" fmla="*/ 669734 h 1277302"/>
                                                    <a:gd name="connsiteX23" fmla="*/ 1907551 w 2125996"/>
                                                    <a:gd name="connsiteY23" fmla="*/ 655416 h 1277302"/>
                                                    <a:gd name="connsiteX24" fmla="*/ 1910401 w 2125996"/>
                                                    <a:gd name="connsiteY24" fmla="*/ 640127 h 1277302"/>
                                                    <a:gd name="connsiteX25" fmla="*/ 1899323 w 2125996"/>
                                                    <a:gd name="connsiteY25" fmla="*/ 632871 h 1277302"/>
                                                    <a:gd name="connsiteX26" fmla="*/ 1895306 w 2125996"/>
                                                    <a:gd name="connsiteY26" fmla="*/ 639673 h 1277302"/>
                                                    <a:gd name="connsiteX27" fmla="*/ 1877879 w 2125996"/>
                                                    <a:gd name="connsiteY27" fmla="*/ 696037 h 1277302"/>
                                                    <a:gd name="connsiteX28" fmla="*/ 1867966 w 2125996"/>
                                                    <a:gd name="connsiteY28" fmla="*/ 697397 h 1277302"/>
                                                    <a:gd name="connsiteX29" fmla="*/ 1856759 w 2125996"/>
                                                    <a:gd name="connsiteY29" fmla="*/ 700961 h 1277302"/>
                                                    <a:gd name="connsiteX30" fmla="*/ 1837517 w 2125996"/>
                                                    <a:gd name="connsiteY30" fmla="*/ 720720 h 1277302"/>
                                                    <a:gd name="connsiteX31" fmla="*/ 1822616 w 2125996"/>
                                                    <a:gd name="connsiteY31" fmla="*/ 716898 h 1277302"/>
                                                    <a:gd name="connsiteX32" fmla="*/ 1814713 w 2125996"/>
                                                    <a:gd name="connsiteY32" fmla="*/ 700054 h 1277302"/>
                                                    <a:gd name="connsiteX33" fmla="*/ 1801172 w 2125996"/>
                                                    <a:gd name="connsiteY33" fmla="*/ 693834 h 1277302"/>
                                                    <a:gd name="connsiteX34" fmla="*/ 1774546 w 2125996"/>
                                                    <a:gd name="connsiteY34" fmla="*/ 665199 h 1277302"/>
                                                    <a:gd name="connsiteX35" fmla="*/ 1768326 w 2125996"/>
                                                    <a:gd name="connsiteY35" fmla="*/ 633583 h 1277302"/>
                                                    <a:gd name="connsiteX36" fmla="*/ 1778303 w 2125996"/>
                                                    <a:gd name="connsiteY36" fmla="*/ 609677 h 1277302"/>
                                                    <a:gd name="connsiteX37" fmla="*/ 1704188 w 2125996"/>
                                                    <a:gd name="connsiteY37" fmla="*/ 595295 h 1277302"/>
                                                    <a:gd name="connsiteX38" fmla="*/ 1671342 w 2125996"/>
                                                    <a:gd name="connsiteY38" fmla="*/ 563097 h 1277302"/>
                                                    <a:gd name="connsiteX39" fmla="*/ 1653526 w 2125996"/>
                                                    <a:gd name="connsiteY39" fmla="*/ 556877 h 1277302"/>
                                                    <a:gd name="connsiteX40" fmla="*/ 1576236 w 2125996"/>
                                                    <a:gd name="connsiteY40" fmla="*/ 545345 h 1277302"/>
                                                    <a:gd name="connsiteX41" fmla="*/ 1572997 w 2125996"/>
                                                    <a:gd name="connsiteY41" fmla="*/ 576183 h 1277302"/>
                                                    <a:gd name="connsiteX42" fmla="*/ 1590554 w 2125996"/>
                                                    <a:gd name="connsiteY42" fmla="*/ 587132 h 1277302"/>
                                                    <a:gd name="connsiteX43" fmla="*/ 1584529 w 2125996"/>
                                                    <a:gd name="connsiteY43" fmla="*/ 600284 h 1277302"/>
                                                    <a:gd name="connsiteX44" fmla="*/ 1568980 w 2125996"/>
                                                    <a:gd name="connsiteY44" fmla="*/ 602357 h 1277302"/>
                                                    <a:gd name="connsiteX45" fmla="*/ 1583492 w 2125996"/>
                                                    <a:gd name="connsiteY45" fmla="*/ 631640 h 1277302"/>
                                                    <a:gd name="connsiteX46" fmla="*/ 1585501 w 2125996"/>
                                                    <a:gd name="connsiteY46" fmla="*/ 661182 h 1277302"/>
                                                    <a:gd name="connsiteX47" fmla="*/ 1573580 w 2125996"/>
                                                    <a:gd name="connsiteY47" fmla="*/ 665912 h 1277302"/>
                                                    <a:gd name="connsiteX48" fmla="*/ 1577403 w 2125996"/>
                                                    <a:gd name="connsiteY48" fmla="*/ 682173 h 1277302"/>
                                                    <a:gd name="connsiteX49" fmla="*/ 1591979 w 2125996"/>
                                                    <a:gd name="connsiteY49" fmla="*/ 693899 h 1277302"/>
                                                    <a:gd name="connsiteX50" fmla="*/ 1595089 w 2125996"/>
                                                    <a:gd name="connsiteY50" fmla="*/ 722729 h 1277302"/>
                                                    <a:gd name="connsiteX51" fmla="*/ 1602928 w 2125996"/>
                                                    <a:gd name="connsiteY51" fmla="*/ 738472 h 1277302"/>
                                                    <a:gd name="connsiteX52" fmla="*/ 1614395 w 2125996"/>
                                                    <a:gd name="connsiteY52" fmla="*/ 782137 h 1277302"/>
                                                    <a:gd name="connsiteX53" fmla="*/ 1611674 w 2125996"/>
                                                    <a:gd name="connsiteY53" fmla="*/ 796131 h 1277302"/>
                                                    <a:gd name="connsiteX54" fmla="*/ 1599235 w 2125996"/>
                                                    <a:gd name="connsiteY54" fmla="*/ 808375 h 1277302"/>
                                                    <a:gd name="connsiteX55" fmla="*/ 1529980 w 2125996"/>
                                                    <a:gd name="connsiteY55" fmla="*/ 857872 h 1277302"/>
                                                    <a:gd name="connsiteX56" fmla="*/ 1550322 w 2125996"/>
                                                    <a:gd name="connsiteY56" fmla="*/ 909441 h 1277302"/>
                                                    <a:gd name="connsiteX57" fmla="*/ 1550452 w 2125996"/>
                                                    <a:gd name="connsiteY57" fmla="*/ 923111 h 1277302"/>
                                                    <a:gd name="connsiteX58" fmla="*/ 1560753 w 2125996"/>
                                                    <a:gd name="connsiteY58" fmla="*/ 939437 h 1277302"/>
                                                    <a:gd name="connsiteX59" fmla="*/ 1552201 w 2125996"/>
                                                    <a:gd name="connsiteY59" fmla="*/ 951228 h 1277302"/>
                                                    <a:gd name="connsiteX60" fmla="*/ 1554663 w 2125996"/>
                                                    <a:gd name="connsiteY60" fmla="*/ 973968 h 1277302"/>
                                                    <a:gd name="connsiteX61" fmla="*/ 1532895 w 2125996"/>
                                                    <a:gd name="connsiteY61" fmla="*/ 986860 h 1277302"/>
                                                    <a:gd name="connsiteX62" fmla="*/ 1505102 w 2125996"/>
                                                    <a:gd name="connsiteY62" fmla="*/ 970016 h 1277302"/>
                                                    <a:gd name="connsiteX63" fmla="*/ 1482556 w 2125996"/>
                                                    <a:gd name="connsiteY63" fmla="*/ 945073 h 1277302"/>
                                                    <a:gd name="connsiteX64" fmla="*/ 1469729 w 2125996"/>
                                                    <a:gd name="connsiteY64" fmla="*/ 938206 h 1277302"/>
                                                    <a:gd name="connsiteX65" fmla="*/ 1461566 w 2125996"/>
                                                    <a:gd name="connsiteY65" fmla="*/ 912421 h 1277302"/>
                                                    <a:gd name="connsiteX66" fmla="*/ 1459363 w 2125996"/>
                                                    <a:gd name="connsiteY66" fmla="*/ 837270 h 1277302"/>
                                                    <a:gd name="connsiteX67" fmla="*/ 1327006 w 2125996"/>
                                                    <a:gd name="connsiteY67" fmla="*/ 803840 h 1277302"/>
                                                    <a:gd name="connsiteX68" fmla="*/ 1309578 w 2125996"/>
                                                    <a:gd name="connsiteY68" fmla="*/ 793539 h 1277302"/>
                                                    <a:gd name="connsiteX69" fmla="*/ 1288782 w 2125996"/>
                                                    <a:gd name="connsiteY69" fmla="*/ 775594 h 1277302"/>
                                                    <a:gd name="connsiteX70" fmla="*/ 1203913 w 2125996"/>
                                                    <a:gd name="connsiteY70" fmla="*/ 776436 h 1277302"/>
                                                    <a:gd name="connsiteX71" fmla="*/ 1187846 w 2125996"/>
                                                    <a:gd name="connsiteY71" fmla="*/ 699276 h 1277302"/>
                                                    <a:gd name="connsiteX72" fmla="*/ 1152732 w 2125996"/>
                                                    <a:gd name="connsiteY72" fmla="*/ 683404 h 1277302"/>
                                                    <a:gd name="connsiteX73" fmla="*/ 1150076 w 2125996"/>
                                                    <a:gd name="connsiteY73" fmla="*/ 641358 h 1277302"/>
                                                    <a:gd name="connsiteX74" fmla="*/ 1173982 w 2125996"/>
                                                    <a:gd name="connsiteY74" fmla="*/ 576183 h 1277302"/>
                                                    <a:gd name="connsiteX75" fmla="*/ 1209679 w 2125996"/>
                                                    <a:gd name="connsiteY75" fmla="*/ 541976 h 1277302"/>
                                                    <a:gd name="connsiteX76" fmla="*/ 1232678 w 2125996"/>
                                                    <a:gd name="connsiteY76" fmla="*/ 525715 h 1277302"/>
                                                    <a:gd name="connsiteX77" fmla="*/ 1253992 w 2125996"/>
                                                    <a:gd name="connsiteY77" fmla="*/ 508094 h 1277302"/>
                                                    <a:gd name="connsiteX78" fmla="*/ 1219267 w 2125996"/>
                                                    <a:gd name="connsiteY78" fmla="*/ 497339 h 1277302"/>
                                                    <a:gd name="connsiteX79" fmla="*/ 1179424 w 2125996"/>
                                                    <a:gd name="connsiteY79" fmla="*/ 485678 h 1277302"/>
                                                    <a:gd name="connsiteX80" fmla="*/ 1199637 w 2125996"/>
                                                    <a:gd name="connsiteY80" fmla="*/ 475960 h 1277302"/>
                                                    <a:gd name="connsiteX81" fmla="*/ 1222247 w 2125996"/>
                                                    <a:gd name="connsiteY81" fmla="*/ 482050 h 1277302"/>
                                                    <a:gd name="connsiteX82" fmla="*/ 1235723 w 2125996"/>
                                                    <a:gd name="connsiteY82" fmla="*/ 487427 h 1277302"/>
                                                    <a:gd name="connsiteX83" fmla="*/ 1264941 w 2125996"/>
                                                    <a:gd name="connsiteY83" fmla="*/ 491638 h 1277302"/>
                                                    <a:gd name="connsiteX84" fmla="*/ 1272068 w 2125996"/>
                                                    <a:gd name="connsiteY84" fmla="*/ 467991 h 1277302"/>
                                                    <a:gd name="connsiteX85" fmla="*/ 1291374 w 2125996"/>
                                                    <a:gd name="connsiteY85" fmla="*/ 472202 h 1277302"/>
                                                    <a:gd name="connsiteX86" fmla="*/ 1299666 w 2125996"/>
                                                    <a:gd name="connsiteY86" fmla="*/ 473433 h 1277302"/>
                                                    <a:gd name="connsiteX87" fmla="*/ 1330569 w 2125996"/>
                                                    <a:gd name="connsiteY87" fmla="*/ 449786 h 1277302"/>
                                                    <a:gd name="connsiteX88" fmla="*/ 1342036 w 2125996"/>
                                                    <a:gd name="connsiteY88" fmla="*/ 432683 h 1277302"/>
                                                    <a:gd name="connsiteX89" fmla="*/ 1292669 w 2125996"/>
                                                    <a:gd name="connsiteY89" fmla="*/ 417717 h 1277302"/>
                                                    <a:gd name="connsiteX90" fmla="*/ 1277963 w 2125996"/>
                                                    <a:gd name="connsiteY90" fmla="*/ 410591 h 1277302"/>
                                                    <a:gd name="connsiteX91" fmla="*/ 1275307 w 2125996"/>
                                                    <a:gd name="connsiteY91" fmla="*/ 395690 h 1277302"/>
                                                    <a:gd name="connsiteX92" fmla="*/ 1328042 w 2125996"/>
                                                    <a:gd name="connsiteY92" fmla="*/ 420568 h 1277302"/>
                                                    <a:gd name="connsiteX93" fmla="*/ 1361342 w 2125996"/>
                                                    <a:gd name="connsiteY93" fmla="*/ 400225 h 1277302"/>
                                                    <a:gd name="connsiteX94" fmla="*/ 1373781 w 2125996"/>
                                                    <a:gd name="connsiteY94" fmla="*/ 385519 h 1277302"/>
                                                    <a:gd name="connsiteX95" fmla="*/ 1352078 w 2125996"/>
                                                    <a:gd name="connsiteY95" fmla="*/ 377421 h 1277302"/>
                                                    <a:gd name="connsiteX96" fmla="*/ 1365359 w 2125996"/>
                                                    <a:gd name="connsiteY96" fmla="*/ 362002 h 1277302"/>
                                                    <a:gd name="connsiteX97" fmla="*/ 1386933 w 2125996"/>
                                                    <a:gd name="connsiteY97" fmla="*/ 370553 h 1277302"/>
                                                    <a:gd name="connsiteX98" fmla="*/ 1413041 w 2125996"/>
                                                    <a:gd name="connsiteY98" fmla="*/ 380660 h 1277302"/>
                                                    <a:gd name="connsiteX99" fmla="*/ 1398400 w 2125996"/>
                                                    <a:gd name="connsiteY99" fmla="*/ 356819 h 1277302"/>
                                                    <a:gd name="connsiteX100" fmla="*/ 1410515 w 2125996"/>
                                                    <a:gd name="connsiteY100" fmla="*/ 346777 h 1277302"/>
                                                    <a:gd name="connsiteX101" fmla="*/ 1422241 w 2125996"/>
                                                    <a:gd name="connsiteY101" fmla="*/ 362131 h 1277302"/>
                                                    <a:gd name="connsiteX102" fmla="*/ 1431440 w 2125996"/>
                                                    <a:gd name="connsiteY102" fmla="*/ 376514 h 1277302"/>
                                                    <a:gd name="connsiteX103" fmla="*/ 1440899 w 2125996"/>
                                                    <a:gd name="connsiteY103" fmla="*/ 368027 h 1277302"/>
                                                    <a:gd name="connsiteX104" fmla="*/ 1477438 w 2125996"/>
                                                    <a:gd name="connsiteY104" fmla="*/ 337448 h 1277302"/>
                                                    <a:gd name="connsiteX105" fmla="*/ 1481779 w 2125996"/>
                                                    <a:gd name="connsiteY105" fmla="*/ 330516 h 1277302"/>
                                                    <a:gd name="connsiteX106" fmla="*/ 1478734 w 2125996"/>
                                                    <a:gd name="connsiteY106" fmla="*/ 320992 h 1277302"/>
                                                    <a:gd name="connsiteX107" fmla="*/ 1452431 w 2125996"/>
                                                    <a:gd name="connsiteY107" fmla="*/ 277715 h 1277302"/>
                                                    <a:gd name="connsiteX108" fmla="*/ 1492922 w 2125996"/>
                                                    <a:gd name="connsiteY108" fmla="*/ 277780 h 1277302"/>
                                                    <a:gd name="connsiteX109" fmla="*/ 1476143 w 2125996"/>
                                                    <a:gd name="connsiteY109" fmla="*/ 257826 h 1277302"/>
                                                    <a:gd name="connsiteX110" fmla="*/ 1474005 w 2125996"/>
                                                    <a:gd name="connsiteY110" fmla="*/ 241759 h 1277302"/>
                                                    <a:gd name="connsiteX111" fmla="*/ 1454634 w 2125996"/>
                                                    <a:gd name="connsiteY111" fmla="*/ 232754 h 1277302"/>
                                                    <a:gd name="connsiteX112" fmla="*/ 1448673 w 2125996"/>
                                                    <a:gd name="connsiteY112" fmla="*/ 223943 h 1277302"/>
                                                    <a:gd name="connsiteX113" fmla="*/ 1440251 w 2125996"/>
                                                    <a:gd name="connsiteY113" fmla="*/ 222388 h 1277302"/>
                                                    <a:gd name="connsiteX114" fmla="*/ 1380843 w 2125996"/>
                                                    <a:gd name="connsiteY114" fmla="*/ 225304 h 1277302"/>
                                                    <a:gd name="connsiteX115" fmla="*/ 1392310 w 2125996"/>
                                                    <a:gd name="connsiteY115" fmla="*/ 242213 h 1277302"/>
                                                    <a:gd name="connsiteX116" fmla="*/ 1407146 w 2125996"/>
                                                    <a:gd name="connsiteY116" fmla="*/ 257308 h 1277302"/>
                                                    <a:gd name="connsiteX117" fmla="*/ 1393930 w 2125996"/>
                                                    <a:gd name="connsiteY117" fmla="*/ 269747 h 1277302"/>
                                                    <a:gd name="connsiteX118" fmla="*/ 1383693 w 2125996"/>
                                                    <a:gd name="connsiteY118" fmla="*/ 274930 h 1277302"/>
                                                    <a:gd name="connsiteX119" fmla="*/ 1380908 w 2125996"/>
                                                    <a:gd name="connsiteY119" fmla="*/ 288794 h 1277302"/>
                                                    <a:gd name="connsiteX120" fmla="*/ 1374882 w 2125996"/>
                                                    <a:gd name="connsiteY120" fmla="*/ 294625 h 1277302"/>
                                                    <a:gd name="connsiteX121" fmla="*/ 1371773 w 2125996"/>
                                                    <a:gd name="connsiteY121" fmla="*/ 310497 h 1277302"/>
                                                    <a:gd name="connsiteX122" fmla="*/ 1345535 w 2125996"/>
                                                    <a:gd name="connsiteY122" fmla="*/ 299419 h 1277302"/>
                                                    <a:gd name="connsiteX123" fmla="*/ 1364841 w 2125996"/>
                                                    <a:gd name="connsiteY123" fmla="*/ 318142 h 1277302"/>
                                                    <a:gd name="connsiteX124" fmla="*/ 1345858 w 2125996"/>
                                                    <a:gd name="connsiteY124" fmla="*/ 332848 h 1277302"/>
                                                    <a:gd name="connsiteX125" fmla="*/ 1343850 w 2125996"/>
                                                    <a:gd name="connsiteY125" fmla="*/ 345157 h 1277302"/>
                                                    <a:gd name="connsiteX126" fmla="*/ 1329079 w 2125996"/>
                                                    <a:gd name="connsiteY126" fmla="*/ 337642 h 1277302"/>
                                                    <a:gd name="connsiteX127" fmla="*/ 1321046 w 2125996"/>
                                                    <a:gd name="connsiteY127" fmla="*/ 321251 h 1277302"/>
                                                    <a:gd name="connsiteX128" fmla="*/ 1313207 w 2125996"/>
                                                    <a:gd name="connsiteY128" fmla="*/ 313542 h 1277302"/>
                                                    <a:gd name="connsiteX129" fmla="*/ 1326358 w 2125996"/>
                                                    <a:gd name="connsiteY129" fmla="*/ 286073 h 1277302"/>
                                                    <a:gd name="connsiteX130" fmla="*/ 1295714 w 2125996"/>
                                                    <a:gd name="connsiteY130" fmla="*/ 246877 h 1277302"/>
                                                    <a:gd name="connsiteX131" fmla="*/ 1290013 w 2125996"/>
                                                    <a:gd name="connsiteY131" fmla="*/ 245776 h 1277302"/>
                                                    <a:gd name="connsiteX132" fmla="*/ 1287098 w 2125996"/>
                                                    <a:gd name="connsiteY132" fmla="*/ 248173 h 1277302"/>
                                                    <a:gd name="connsiteX133" fmla="*/ 1272327 w 2125996"/>
                                                    <a:gd name="connsiteY133" fmla="*/ 287174 h 1277302"/>
                                                    <a:gd name="connsiteX134" fmla="*/ 1257426 w 2125996"/>
                                                    <a:gd name="connsiteY134" fmla="*/ 286332 h 1277302"/>
                                                    <a:gd name="connsiteX135" fmla="*/ 1253798 w 2125996"/>
                                                    <a:gd name="connsiteY135" fmla="*/ 258928 h 1277302"/>
                                                    <a:gd name="connsiteX136" fmla="*/ 1240841 w 2125996"/>
                                                    <a:gd name="connsiteY136" fmla="*/ 258021 h 1277302"/>
                                                    <a:gd name="connsiteX137" fmla="*/ 1267014 w 2125996"/>
                                                    <a:gd name="connsiteY137" fmla="*/ 239427 h 1277302"/>
                                                    <a:gd name="connsiteX138" fmla="*/ 1220757 w 2125996"/>
                                                    <a:gd name="connsiteY138" fmla="*/ 228932 h 1277302"/>
                                                    <a:gd name="connsiteX139" fmla="*/ 1219785 w 2125996"/>
                                                    <a:gd name="connsiteY139" fmla="*/ 209043 h 1277302"/>
                                                    <a:gd name="connsiteX140" fmla="*/ 1234621 w 2125996"/>
                                                    <a:gd name="connsiteY140" fmla="*/ 198418 h 1277302"/>
                                                    <a:gd name="connsiteX141" fmla="*/ 1228402 w 2125996"/>
                                                    <a:gd name="connsiteY141" fmla="*/ 185266 h 1277302"/>
                                                    <a:gd name="connsiteX142" fmla="*/ 1191474 w 2125996"/>
                                                    <a:gd name="connsiteY142" fmla="*/ 160777 h 1277302"/>
                                                    <a:gd name="connsiteX143" fmla="*/ 1196787 w 2125996"/>
                                                    <a:gd name="connsiteY143" fmla="*/ 141277 h 1277302"/>
                                                    <a:gd name="connsiteX144" fmla="*/ 1183376 w 2125996"/>
                                                    <a:gd name="connsiteY144" fmla="*/ 124951 h 1277302"/>
                                                    <a:gd name="connsiteX145" fmla="*/ 1161673 w 2125996"/>
                                                    <a:gd name="connsiteY145" fmla="*/ 120610 h 1277302"/>
                                                    <a:gd name="connsiteX146" fmla="*/ 1181627 w 2125996"/>
                                                    <a:gd name="connsiteY146" fmla="*/ 91003 h 1277302"/>
                                                    <a:gd name="connsiteX147" fmla="*/ 1182274 w 2125996"/>
                                                    <a:gd name="connsiteY147" fmla="*/ 75843 h 1277302"/>
                                                    <a:gd name="connsiteX148" fmla="*/ 1166596 w 2125996"/>
                                                    <a:gd name="connsiteY148" fmla="*/ 68911 h 1277302"/>
                                                    <a:gd name="connsiteX149" fmla="*/ 1203848 w 2125996"/>
                                                    <a:gd name="connsiteY149" fmla="*/ 70142 h 1277302"/>
                                                    <a:gd name="connsiteX150" fmla="*/ 1211752 w 2125996"/>
                                                    <a:gd name="connsiteY150" fmla="*/ 75714 h 1277302"/>
                                                    <a:gd name="connsiteX151" fmla="*/ 1238120 w 2125996"/>
                                                    <a:gd name="connsiteY151" fmla="*/ 51937 h 1277302"/>
                                                    <a:gd name="connsiteX152" fmla="*/ 1255677 w 2125996"/>
                                                    <a:gd name="connsiteY152" fmla="*/ 15787 h 1277302"/>
                                                    <a:gd name="connsiteX153" fmla="*/ 1260536 w 2125996"/>
                                                    <a:gd name="connsiteY153" fmla="*/ 8790 h 1277302"/>
                                                    <a:gd name="connsiteX154" fmla="*/ 1197758 w 2125996"/>
                                                    <a:gd name="connsiteY154" fmla="*/ 1080 h 1277302"/>
                                                    <a:gd name="connsiteX155" fmla="*/ 1144569 w 2125996"/>
                                                    <a:gd name="connsiteY155" fmla="*/ 6911 h 1277302"/>
                                                    <a:gd name="connsiteX156" fmla="*/ 1131612 w 2125996"/>
                                                    <a:gd name="connsiteY156" fmla="*/ 58805 h 1277302"/>
                                                    <a:gd name="connsiteX157" fmla="*/ 1144440 w 2125996"/>
                                                    <a:gd name="connsiteY157" fmla="*/ 89383 h 1277302"/>
                                                    <a:gd name="connsiteX158" fmla="*/ 1139969 w 2125996"/>
                                                    <a:gd name="connsiteY158" fmla="*/ 120286 h 1277302"/>
                                                    <a:gd name="connsiteX159" fmla="*/ 1135046 w 2125996"/>
                                                    <a:gd name="connsiteY159" fmla="*/ 125080 h 1277302"/>
                                                    <a:gd name="connsiteX160" fmla="*/ 1139322 w 2125996"/>
                                                    <a:gd name="connsiteY160" fmla="*/ 148986 h 1277302"/>
                                                    <a:gd name="connsiteX161" fmla="*/ 1115610 w 2125996"/>
                                                    <a:gd name="connsiteY161" fmla="*/ 143674 h 1277302"/>
                                                    <a:gd name="connsiteX162" fmla="*/ 1105957 w 2125996"/>
                                                    <a:gd name="connsiteY162" fmla="*/ 163369 h 1277302"/>
                                                    <a:gd name="connsiteX163" fmla="*/ 1117877 w 2125996"/>
                                                    <a:gd name="connsiteY163" fmla="*/ 173281 h 1277302"/>
                                                    <a:gd name="connsiteX164" fmla="*/ 1121311 w 2125996"/>
                                                    <a:gd name="connsiteY164" fmla="*/ 186756 h 1277302"/>
                                                    <a:gd name="connsiteX165" fmla="*/ 1107512 w 2125996"/>
                                                    <a:gd name="connsiteY165" fmla="*/ 193818 h 1277302"/>
                                                    <a:gd name="connsiteX166" fmla="*/ 1118849 w 2125996"/>
                                                    <a:gd name="connsiteY166" fmla="*/ 210274 h 1277302"/>
                                                    <a:gd name="connsiteX167" fmla="*/ 1139775 w 2125996"/>
                                                    <a:gd name="connsiteY167" fmla="*/ 220898 h 1277302"/>
                                                    <a:gd name="connsiteX168" fmla="*/ 1155453 w 2125996"/>
                                                    <a:gd name="connsiteY168" fmla="*/ 220186 h 1277302"/>
                                                    <a:gd name="connsiteX169" fmla="*/ 1164977 w 2125996"/>
                                                    <a:gd name="connsiteY169" fmla="*/ 230292 h 1277302"/>
                                                    <a:gd name="connsiteX170" fmla="*/ 1178452 w 2125996"/>
                                                    <a:gd name="connsiteY170" fmla="*/ 238909 h 1277302"/>
                                                    <a:gd name="connsiteX171" fmla="*/ 1175472 w 2125996"/>
                                                    <a:gd name="connsiteY171" fmla="*/ 253032 h 1277302"/>
                                                    <a:gd name="connsiteX172" fmla="*/ 1188300 w 2125996"/>
                                                    <a:gd name="connsiteY172" fmla="*/ 267026 h 1277302"/>
                                                    <a:gd name="connsiteX173" fmla="*/ 1182793 w 2125996"/>
                                                    <a:gd name="connsiteY173" fmla="*/ 280501 h 1277302"/>
                                                    <a:gd name="connsiteX174" fmla="*/ 1146642 w 2125996"/>
                                                    <a:gd name="connsiteY174" fmla="*/ 303047 h 1277302"/>
                                                    <a:gd name="connsiteX175" fmla="*/ 1137119 w 2125996"/>
                                                    <a:gd name="connsiteY175" fmla="*/ 307906 h 1277302"/>
                                                    <a:gd name="connsiteX176" fmla="*/ 1147938 w 2125996"/>
                                                    <a:gd name="connsiteY176" fmla="*/ 341853 h 1277302"/>
                                                    <a:gd name="connsiteX177" fmla="*/ 1130381 w 2125996"/>
                                                    <a:gd name="connsiteY177" fmla="*/ 345157 h 1277302"/>
                                                    <a:gd name="connsiteX178" fmla="*/ 1120016 w 2125996"/>
                                                    <a:gd name="connsiteY178" fmla="*/ 327601 h 1277302"/>
                                                    <a:gd name="connsiteX179" fmla="*/ 1111269 w 2125996"/>
                                                    <a:gd name="connsiteY179" fmla="*/ 327536 h 1277302"/>
                                                    <a:gd name="connsiteX180" fmla="*/ 1106605 w 2125996"/>
                                                    <a:gd name="connsiteY180" fmla="*/ 309201 h 1277302"/>
                                                    <a:gd name="connsiteX181" fmla="*/ 1121246 w 2125996"/>
                                                    <a:gd name="connsiteY181" fmla="*/ 304342 h 1277302"/>
                                                    <a:gd name="connsiteX182" fmla="*/ 1109844 w 2125996"/>
                                                    <a:gd name="connsiteY182" fmla="*/ 291644 h 1277302"/>
                                                    <a:gd name="connsiteX183" fmla="*/ 1089890 w 2125996"/>
                                                    <a:gd name="connsiteY183" fmla="*/ 291904 h 1277302"/>
                                                    <a:gd name="connsiteX184" fmla="*/ 1089113 w 2125996"/>
                                                    <a:gd name="connsiteY184" fmla="*/ 281473 h 1277302"/>
                                                    <a:gd name="connsiteX185" fmla="*/ 1063846 w 2125996"/>
                                                    <a:gd name="connsiteY185" fmla="*/ 290478 h 1277302"/>
                                                    <a:gd name="connsiteX186" fmla="*/ 1057108 w 2125996"/>
                                                    <a:gd name="connsiteY186" fmla="*/ 311793 h 1277302"/>
                                                    <a:gd name="connsiteX187" fmla="*/ 1031842 w 2125996"/>
                                                    <a:gd name="connsiteY187" fmla="*/ 309849 h 1277302"/>
                                                    <a:gd name="connsiteX188" fmla="*/ 990574 w 2125996"/>
                                                    <a:gd name="connsiteY188" fmla="*/ 322094 h 1277302"/>
                                                    <a:gd name="connsiteX189" fmla="*/ 959865 w 2125996"/>
                                                    <a:gd name="connsiteY189" fmla="*/ 303759 h 1277302"/>
                                                    <a:gd name="connsiteX190" fmla="*/ 927537 w 2125996"/>
                                                    <a:gd name="connsiteY190" fmla="*/ 300585 h 1277302"/>
                                                    <a:gd name="connsiteX191" fmla="*/ 897477 w 2125996"/>
                                                    <a:gd name="connsiteY191" fmla="*/ 283935 h 1277302"/>
                                                    <a:gd name="connsiteX192" fmla="*/ 826018 w 2125996"/>
                                                    <a:gd name="connsiteY192" fmla="*/ 307193 h 1277302"/>
                                                    <a:gd name="connsiteX193" fmla="*/ 829452 w 2125996"/>
                                                    <a:gd name="connsiteY193" fmla="*/ 323778 h 1277302"/>
                                                    <a:gd name="connsiteX194" fmla="*/ 851284 w 2125996"/>
                                                    <a:gd name="connsiteY194" fmla="*/ 352543 h 1277302"/>
                                                    <a:gd name="connsiteX195" fmla="*/ 833727 w 2125996"/>
                                                    <a:gd name="connsiteY195" fmla="*/ 364463 h 1277302"/>
                                                    <a:gd name="connsiteX196" fmla="*/ 807619 w 2125996"/>
                                                    <a:gd name="connsiteY196" fmla="*/ 349498 h 1277302"/>
                                                    <a:gd name="connsiteX197" fmla="*/ 820187 w 2125996"/>
                                                    <a:gd name="connsiteY197" fmla="*/ 343538 h 1277302"/>
                                                    <a:gd name="connsiteX198" fmla="*/ 808331 w 2125996"/>
                                                    <a:gd name="connsiteY198" fmla="*/ 321575 h 1277302"/>
                                                    <a:gd name="connsiteX199" fmla="*/ 791617 w 2125996"/>
                                                    <a:gd name="connsiteY199" fmla="*/ 318142 h 1277302"/>
                                                    <a:gd name="connsiteX200" fmla="*/ 776651 w 2125996"/>
                                                    <a:gd name="connsiteY200" fmla="*/ 306351 h 1277302"/>
                                                    <a:gd name="connsiteX201" fmla="*/ 766350 w 2125996"/>
                                                    <a:gd name="connsiteY201" fmla="*/ 310173 h 1277302"/>
                                                    <a:gd name="connsiteX202" fmla="*/ 676881 w 2125996"/>
                                                    <a:gd name="connsiteY202" fmla="*/ 322223 h 1277302"/>
                                                    <a:gd name="connsiteX203" fmla="*/ 640666 w 2125996"/>
                                                    <a:gd name="connsiteY203" fmla="*/ 303954 h 1277302"/>
                                                    <a:gd name="connsiteX204" fmla="*/ 675650 w 2125996"/>
                                                    <a:gd name="connsiteY204" fmla="*/ 283417 h 1277302"/>
                                                    <a:gd name="connsiteX205" fmla="*/ 661203 w 2125996"/>
                                                    <a:gd name="connsiteY205" fmla="*/ 268645 h 1277302"/>
                                                    <a:gd name="connsiteX206" fmla="*/ 522821 w 2125996"/>
                                                    <a:gd name="connsiteY206" fmla="*/ 234633 h 1277302"/>
                                                    <a:gd name="connsiteX207" fmla="*/ 465291 w 2125996"/>
                                                    <a:gd name="connsiteY207" fmla="*/ 219603 h 1277302"/>
                                                    <a:gd name="connsiteX208" fmla="*/ 441450 w 2125996"/>
                                                    <a:gd name="connsiteY208" fmla="*/ 235281 h 1277302"/>
                                                    <a:gd name="connsiteX209" fmla="*/ 414823 w 2125996"/>
                                                    <a:gd name="connsiteY209" fmla="*/ 236253 h 1277302"/>
                                                    <a:gd name="connsiteX210" fmla="*/ 420654 w 2125996"/>
                                                    <a:gd name="connsiteY210" fmla="*/ 217659 h 1277302"/>
                                                    <a:gd name="connsiteX211" fmla="*/ 414240 w 2125996"/>
                                                    <a:gd name="connsiteY211" fmla="*/ 202823 h 1277302"/>
                                                    <a:gd name="connsiteX212" fmla="*/ 394869 w 2125996"/>
                                                    <a:gd name="connsiteY212" fmla="*/ 231912 h 1277302"/>
                                                    <a:gd name="connsiteX213" fmla="*/ 375304 w 2125996"/>
                                                    <a:gd name="connsiteY213" fmla="*/ 243120 h 1277302"/>
                                                    <a:gd name="connsiteX214" fmla="*/ 368177 w 2125996"/>
                                                    <a:gd name="connsiteY214" fmla="*/ 234503 h 1277302"/>
                                                    <a:gd name="connsiteX215" fmla="*/ 344854 w 2125996"/>
                                                    <a:gd name="connsiteY215" fmla="*/ 187145 h 1277302"/>
                                                    <a:gd name="connsiteX216" fmla="*/ 323540 w 2125996"/>
                                                    <a:gd name="connsiteY216" fmla="*/ 176650 h 1277302"/>
                                                    <a:gd name="connsiteX217" fmla="*/ 325807 w 2125996"/>
                                                    <a:gd name="connsiteY217" fmla="*/ 202111 h 1277302"/>
                                                    <a:gd name="connsiteX218" fmla="*/ 310194 w 2125996"/>
                                                    <a:gd name="connsiteY218" fmla="*/ 226664 h 1277302"/>
                                                    <a:gd name="connsiteX219" fmla="*/ 275663 w 2125996"/>
                                                    <a:gd name="connsiteY219" fmla="*/ 226859 h 1277302"/>
                                                    <a:gd name="connsiteX220" fmla="*/ 251174 w 2125996"/>
                                                    <a:gd name="connsiteY220" fmla="*/ 236317 h 1277302"/>
                                                    <a:gd name="connsiteX221" fmla="*/ 217680 w 2125996"/>
                                                    <a:gd name="connsiteY221" fmla="*/ 256401 h 1277302"/>
                                                    <a:gd name="connsiteX222" fmla="*/ 205695 w 2125996"/>
                                                    <a:gd name="connsiteY222" fmla="*/ 271237 h 1277302"/>
                                                    <a:gd name="connsiteX223" fmla="*/ 189110 w 2125996"/>
                                                    <a:gd name="connsiteY223" fmla="*/ 269293 h 1277302"/>
                                                    <a:gd name="connsiteX224" fmla="*/ 271841 w 2125996"/>
                                                    <a:gd name="connsiteY224" fmla="*/ 217724 h 1277302"/>
                                                    <a:gd name="connsiteX225" fmla="*/ 273720 w 2125996"/>
                                                    <a:gd name="connsiteY225" fmla="*/ 205998 h 1277302"/>
                                                    <a:gd name="connsiteX226" fmla="*/ 199993 w 2125996"/>
                                                    <a:gd name="connsiteY226" fmla="*/ 232819 h 1277302"/>
                                                    <a:gd name="connsiteX227" fmla="*/ 186389 w 2125996"/>
                                                    <a:gd name="connsiteY227" fmla="*/ 240399 h 1277302"/>
                                                    <a:gd name="connsiteX228" fmla="*/ 172978 w 2125996"/>
                                                    <a:gd name="connsiteY228" fmla="*/ 239427 h 1277302"/>
                                                    <a:gd name="connsiteX229" fmla="*/ 126397 w 2125996"/>
                                                    <a:gd name="connsiteY229" fmla="*/ 242990 h 1277302"/>
                                                    <a:gd name="connsiteX230" fmla="*/ 149461 w 2125996"/>
                                                    <a:gd name="connsiteY230" fmla="*/ 264110 h 1277302"/>
                                                    <a:gd name="connsiteX231" fmla="*/ 143112 w 2125996"/>
                                                    <a:gd name="connsiteY231" fmla="*/ 274347 h 1277302"/>
                                                    <a:gd name="connsiteX232" fmla="*/ 129442 w 2125996"/>
                                                    <a:gd name="connsiteY232" fmla="*/ 268127 h 1277302"/>
                                                    <a:gd name="connsiteX233" fmla="*/ 92514 w 2125996"/>
                                                    <a:gd name="connsiteY233" fmla="*/ 259446 h 1277302"/>
                                                    <a:gd name="connsiteX234" fmla="*/ 59668 w 2125996"/>
                                                    <a:gd name="connsiteY234" fmla="*/ 243120 h 1277302"/>
                                                    <a:gd name="connsiteX235" fmla="*/ 50922 w 2125996"/>
                                                    <a:gd name="connsiteY235" fmla="*/ 233985 h 1277302"/>
                                                    <a:gd name="connsiteX236" fmla="*/ 15484 w 2125996"/>
                                                    <a:gd name="connsiteY236" fmla="*/ 232365 h 1277302"/>
                                                    <a:gd name="connsiteX237" fmla="*/ 0 w 2125996"/>
                                                    <a:gd name="connsiteY237" fmla="*/ 228673 h 1277302"/>
                                                    <a:gd name="connsiteX238" fmla="*/ 324 w 2125996"/>
                                                    <a:gd name="connsiteY238" fmla="*/ 633713 h 1277302"/>
                                                    <a:gd name="connsiteX239" fmla="*/ 36733 w 2125996"/>
                                                    <a:gd name="connsiteY239" fmla="*/ 632093 h 1277302"/>
                                                    <a:gd name="connsiteX240" fmla="*/ 42435 w 2125996"/>
                                                    <a:gd name="connsiteY240" fmla="*/ 630020 h 1277302"/>
                                                    <a:gd name="connsiteX241" fmla="*/ 52412 w 2125996"/>
                                                    <a:gd name="connsiteY241" fmla="*/ 638183 h 1277302"/>
                                                    <a:gd name="connsiteX242" fmla="*/ 50662 w 2125996"/>
                                                    <a:gd name="connsiteY242" fmla="*/ 651983 h 1277302"/>
                                                    <a:gd name="connsiteX243" fmla="*/ 49885 w 2125996"/>
                                                    <a:gd name="connsiteY243" fmla="*/ 660016 h 1277302"/>
                                                    <a:gd name="connsiteX244" fmla="*/ 61028 w 2125996"/>
                                                    <a:gd name="connsiteY244" fmla="*/ 662283 h 1277302"/>
                                                    <a:gd name="connsiteX245" fmla="*/ 72884 w 2125996"/>
                                                    <a:gd name="connsiteY245" fmla="*/ 662672 h 1277302"/>
                                                    <a:gd name="connsiteX246" fmla="*/ 76382 w 2125996"/>
                                                    <a:gd name="connsiteY246" fmla="*/ 674269 h 1277302"/>
                                                    <a:gd name="connsiteX247" fmla="*/ 94069 w 2125996"/>
                                                    <a:gd name="connsiteY247" fmla="*/ 683209 h 1277302"/>
                                                    <a:gd name="connsiteX248" fmla="*/ 103074 w 2125996"/>
                                                    <a:gd name="connsiteY248" fmla="*/ 682885 h 1277302"/>
                                                    <a:gd name="connsiteX249" fmla="*/ 120696 w 2125996"/>
                                                    <a:gd name="connsiteY249" fmla="*/ 671289 h 1277302"/>
                                                    <a:gd name="connsiteX250" fmla="*/ 125036 w 2125996"/>
                                                    <a:gd name="connsiteY250" fmla="*/ 670576 h 1277302"/>
                                                    <a:gd name="connsiteX251" fmla="*/ 126462 w 2125996"/>
                                                    <a:gd name="connsiteY251" fmla="*/ 667790 h 1277302"/>
                                                    <a:gd name="connsiteX252" fmla="*/ 144796 w 2125996"/>
                                                    <a:gd name="connsiteY252" fmla="*/ 661895 h 1277302"/>
                                                    <a:gd name="connsiteX253" fmla="*/ 160150 w 2125996"/>
                                                    <a:gd name="connsiteY253" fmla="*/ 676472 h 1277302"/>
                                                    <a:gd name="connsiteX254" fmla="*/ 180623 w 2125996"/>
                                                    <a:gd name="connsiteY254" fmla="*/ 704459 h 1277302"/>
                                                    <a:gd name="connsiteX255" fmla="*/ 189757 w 2125996"/>
                                                    <a:gd name="connsiteY255" fmla="*/ 713076 h 1277302"/>
                                                    <a:gd name="connsiteX256" fmla="*/ 198244 w 2125996"/>
                                                    <a:gd name="connsiteY256" fmla="*/ 716833 h 1277302"/>
                                                    <a:gd name="connsiteX257" fmla="*/ 200577 w 2125996"/>
                                                    <a:gd name="connsiteY257" fmla="*/ 724348 h 1277302"/>
                                                    <a:gd name="connsiteX258" fmla="*/ 211331 w 2125996"/>
                                                    <a:gd name="connsiteY258" fmla="*/ 741063 h 1277302"/>
                                                    <a:gd name="connsiteX259" fmla="*/ 215931 w 2125996"/>
                                                    <a:gd name="connsiteY259" fmla="*/ 752400 h 1277302"/>
                                                    <a:gd name="connsiteX260" fmla="*/ 220660 w 2125996"/>
                                                    <a:gd name="connsiteY260" fmla="*/ 760434 h 1277302"/>
                                                    <a:gd name="connsiteX261" fmla="*/ 235561 w 2125996"/>
                                                    <a:gd name="connsiteY261" fmla="*/ 782720 h 1277302"/>
                                                    <a:gd name="connsiteX262" fmla="*/ 242039 w 2125996"/>
                                                    <a:gd name="connsiteY262" fmla="*/ 789587 h 1277302"/>
                                                    <a:gd name="connsiteX263" fmla="*/ 249425 w 2125996"/>
                                                    <a:gd name="connsiteY263" fmla="*/ 791466 h 1277302"/>
                                                    <a:gd name="connsiteX264" fmla="*/ 279162 w 2125996"/>
                                                    <a:gd name="connsiteY264" fmla="*/ 807857 h 1277302"/>
                                                    <a:gd name="connsiteX265" fmla="*/ 266593 w 2125996"/>
                                                    <a:gd name="connsiteY265" fmla="*/ 819000 h 1277302"/>
                                                    <a:gd name="connsiteX266" fmla="*/ 285640 w 2125996"/>
                                                    <a:gd name="connsiteY266" fmla="*/ 839148 h 1277302"/>
                                                    <a:gd name="connsiteX267" fmla="*/ 282725 w 2125996"/>
                                                    <a:gd name="connsiteY267" fmla="*/ 843813 h 1277302"/>
                                                    <a:gd name="connsiteX268" fmla="*/ 276894 w 2125996"/>
                                                    <a:gd name="connsiteY268" fmla="*/ 847895 h 1277302"/>
                                                    <a:gd name="connsiteX269" fmla="*/ 274432 w 2125996"/>
                                                    <a:gd name="connsiteY269" fmla="*/ 858714 h 1277302"/>
                                                    <a:gd name="connsiteX270" fmla="*/ 268990 w 2125996"/>
                                                    <a:gd name="connsiteY270" fmla="*/ 861500 h 1277302"/>
                                                    <a:gd name="connsiteX271" fmla="*/ 267630 w 2125996"/>
                                                    <a:gd name="connsiteY271" fmla="*/ 862730 h 1277302"/>
                                                    <a:gd name="connsiteX272" fmla="*/ 273720 w 2125996"/>
                                                    <a:gd name="connsiteY272" fmla="*/ 872902 h 1277302"/>
                                                    <a:gd name="connsiteX273" fmla="*/ 284021 w 2125996"/>
                                                    <a:gd name="connsiteY273" fmla="*/ 881583 h 1277302"/>
                                                    <a:gd name="connsiteX274" fmla="*/ 285057 w 2125996"/>
                                                    <a:gd name="connsiteY274" fmla="*/ 887025 h 1277302"/>
                                                    <a:gd name="connsiteX275" fmla="*/ 302290 w 2125996"/>
                                                    <a:gd name="connsiteY275" fmla="*/ 901343 h 1277302"/>
                                                    <a:gd name="connsiteX276" fmla="*/ 306631 w 2125996"/>
                                                    <a:gd name="connsiteY276" fmla="*/ 909765 h 1277302"/>
                                                    <a:gd name="connsiteX277" fmla="*/ 314470 w 2125996"/>
                                                    <a:gd name="connsiteY277" fmla="*/ 930820 h 1277302"/>
                                                    <a:gd name="connsiteX278" fmla="*/ 317774 w 2125996"/>
                                                    <a:gd name="connsiteY278" fmla="*/ 936845 h 1277302"/>
                                                    <a:gd name="connsiteX279" fmla="*/ 330083 w 2125996"/>
                                                    <a:gd name="connsiteY279" fmla="*/ 940668 h 1277302"/>
                                                    <a:gd name="connsiteX280" fmla="*/ 339607 w 2125996"/>
                                                    <a:gd name="connsiteY280" fmla="*/ 948183 h 1277302"/>
                                                    <a:gd name="connsiteX281" fmla="*/ 330990 w 2125996"/>
                                                    <a:gd name="connsiteY281" fmla="*/ 957188 h 1277302"/>
                                                    <a:gd name="connsiteX282" fmla="*/ 320495 w 2125996"/>
                                                    <a:gd name="connsiteY282" fmla="*/ 961723 h 1277302"/>
                                                    <a:gd name="connsiteX283" fmla="*/ 341291 w 2125996"/>
                                                    <a:gd name="connsiteY283" fmla="*/ 987897 h 1277302"/>
                                                    <a:gd name="connsiteX284" fmla="*/ 355026 w 2125996"/>
                                                    <a:gd name="connsiteY284" fmla="*/ 992885 h 1277302"/>
                                                    <a:gd name="connsiteX285" fmla="*/ 377118 w 2125996"/>
                                                    <a:gd name="connsiteY285" fmla="*/ 996707 h 1277302"/>
                                                    <a:gd name="connsiteX286" fmla="*/ 383078 w 2125996"/>
                                                    <a:gd name="connsiteY286" fmla="*/ 998975 h 1277302"/>
                                                    <a:gd name="connsiteX287" fmla="*/ 388261 w 2125996"/>
                                                    <a:gd name="connsiteY287" fmla="*/ 1009017 h 1277302"/>
                                                    <a:gd name="connsiteX288" fmla="*/ 410612 w 2125996"/>
                                                    <a:gd name="connsiteY288" fmla="*/ 1012580 h 1277302"/>
                                                    <a:gd name="connsiteX289" fmla="*/ 416248 w 2125996"/>
                                                    <a:gd name="connsiteY289" fmla="*/ 1025926 h 1277302"/>
                                                    <a:gd name="connsiteX290" fmla="*/ 451556 w 2125996"/>
                                                    <a:gd name="connsiteY290" fmla="*/ 1041798 h 1277302"/>
                                                    <a:gd name="connsiteX291" fmla="*/ 464449 w 2125996"/>
                                                    <a:gd name="connsiteY291" fmla="*/ 1063761 h 1277302"/>
                                                    <a:gd name="connsiteX292" fmla="*/ 1140229 w 2125996"/>
                                                    <a:gd name="connsiteY292" fmla="*/ 1063761 h 1277302"/>
                                                    <a:gd name="connsiteX293" fmla="*/ 1141913 w 2125996"/>
                                                    <a:gd name="connsiteY293" fmla="*/ 1051646 h 1277302"/>
                                                    <a:gd name="connsiteX294" fmla="*/ 1146707 w 2125996"/>
                                                    <a:gd name="connsiteY294" fmla="*/ 1049184 h 1277302"/>
                                                    <a:gd name="connsiteX295" fmla="*/ 1150853 w 2125996"/>
                                                    <a:gd name="connsiteY295" fmla="*/ 1042446 h 1277302"/>
                                                    <a:gd name="connsiteX296" fmla="*/ 1159664 w 2125996"/>
                                                    <a:gd name="connsiteY296" fmla="*/ 1044390 h 1277302"/>
                                                    <a:gd name="connsiteX297" fmla="*/ 1157721 w 2125996"/>
                                                    <a:gd name="connsiteY297" fmla="*/ 1066158 h 1277302"/>
                                                    <a:gd name="connsiteX298" fmla="*/ 1172686 w 2125996"/>
                                                    <a:gd name="connsiteY298" fmla="*/ 1067194 h 1277302"/>
                                                    <a:gd name="connsiteX299" fmla="*/ 1179813 w 2125996"/>
                                                    <a:gd name="connsiteY299" fmla="*/ 1077171 h 1277302"/>
                                                    <a:gd name="connsiteX300" fmla="*/ 1192640 w 2125996"/>
                                                    <a:gd name="connsiteY300" fmla="*/ 1079180 h 1277302"/>
                                                    <a:gd name="connsiteX301" fmla="*/ 1206116 w 2125996"/>
                                                    <a:gd name="connsiteY301" fmla="*/ 1072442 h 1277302"/>
                                                    <a:gd name="connsiteX302" fmla="*/ 1232095 w 2125996"/>
                                                    <a:gd name="connsiteY302" fmla="*/ 1083520 h 1277302"/>
                                                    <a:gd name="connsiteX303" fmla="*/ 1260600 w 2125996"/>
                                                    <a:gd name="connsiteY303" fmla="*/ 1090258 h 1277302"/>
                                                    <a:gd name="connsiteX304" fmla="*/ 1267662 w 2125996"/>
                                                    <a:gd name="connsiteY304" fmla="*/ 1088509 h 1277302"/>
                                                    <a:gd name="connsiteX305" fmla="*/ 1274788 w 2125996"/>
                                                    <a:gd name="connsiteY305" fmla="*/ 1091294 h 1277302"/>
                                                    <a:gd name="connsiteX306" fmla="*/ 1287875 w 2125996"/>
                                                    <a:gd name="connsiteY306" fmla="*/ 1089416 h 1277302"/>
                                                    <a:gd name="connsiteX307" fmla="*/ 1299666 w 2125996"/>
                                                    <a:gd name="connsiteY307" fmla="*/ 1072701 h 1277302"/>
                                                    <a:gd name="connsiteX308" fmla="*/ 1307376 w 2125996"/>
                                                    <a:gd name="connsiteY308" fmla="*/ 1068231 h 1277302"/>
                                                    <a:gd name="connsiteX309" fmla="*/ 1322212 w 2125996"/>
                                                    <a:gd name="connsiteY309" fmla="*/ 1054172 h 1277302"/>
                                                    <a:gd name="connsiteX310" fmla="*/ 1333031 w 2125996"/>
                                                    <a:gd name="connsiteY310" fmla="*/ 1058319 h 1277302"/>
                                                    <a:gd name="connsiteX311" fmla="*/ 1346701 w 2125996"/>
                                                    <a:gd name="connsiteY311" fmla="*/ 1059809 h 1277302"/>
                                                    <a:gd name="connsiteX312" fmla="*/ 1349163 w 2125996"/>
                                                    <a:gd name="connsiteY312" fmla="*/ 1065380 h 1277302"/>
                                                    <a:gd name="connsiteX313" fmla="*/ 1365424 w 2125996"/>
                                                    <a:gd name="connsiteY313" fmla="*/ 1072507 h 1277302"/>
                                                    <a:gd name="connsiteX314" fmla="*/ 1389071 w 2125996"/>
                                                    <a:gd name="connsiteY314" fmla="*/ 1094987 h 1277302"/>
                                                    <a:gd name="connsiteX315" fmla="*/ 1395419 w 2125996"/>
                                                    <a:gd name="connsiteY315" fmla="*/ 1095441 h 1277302"/>
                                                    <a:gd name="connsiteX316" fmla="*/ 1398464 w 2125996"/>
                                                    <a:gd name="connsiteY316" fmla="*/ 1100300 h 1277302"/>
                                                    <a:gd name="connsiteX317" fmla="*/ 1405332 w 2125996"/>
                                                    <a:gd name="connsiteY317" fmla="*/ 1121161 h 1277302"/>
                                                    <a:gd name="connsiteX318" fmla="*/ 1423342 w 2125996"/>
                                                    <a:gd name="connsiteY318" fmla="*/ 1147788 h 1277302"/>
                                                    <a:gd name="connsiteX319" fmla="*/ 1432607 w 2125996"/>
                                                    <a:gd name="connsiteY319" fmla="*/ 1150120 h 1277302"/>
                                                    <a:gd name="connsiteX320" fmla="*/ 1498299 w 2125996"/>
                                                    <a:gd name="connsiteY320" fmla="*/ 1161393 h 1277302"/>
                                                    <a:gd name="connsiteX321" fmla="*/ 1503612 w 2125996"/>
                                                    <a:gd name="connsiteY321" fmla="*/ 1163077 h 1277302"/>
                                                    <a:gd name="connsiteX322" fmla="*/ 1508730 w 2125996"/>
                                                    <a:gd name="connsiteY322" fmla="*/ 1176423 h 1277302"/>
                                                    <a:gd name="connsiteX323" fmla="*/ 1518966 w 2125996"/>
                                                    <a:gd name="connsiteY323" fmla="*/ 1183355 h 1277302"/>
                                                    <a:gd name="connsiteX324" fmla="*/ 1526935 w 2125996"/>
                                                    <a:gd name="connsiteY324" fmla="*/ 1203503 h 1277302"/>
                                                    <a:gd name="connsiteX325" fmla="*/ 1511127 w 2125996"/>
                                                    <a:gd name="connsiteY325" fmla="*/ 1210500 h 1277302"/>
                                                    <a:gd name="connsiteX326" fmla="*/ 1504519 w 2125996"/>
                                                    <a:gd name="connsiteY326" fmla="*/ 1207261 h 1277302"/>
                                                    <a:gd name="connsiteX327" fmla="*/ 1503741 w 2125996"/>
                                                    <a:gd name="connsiteY327" fmla="*/ 1203244 h 1277302"/>
                                                    <a:gd name="connsiteX328" fmla="*/ 1495449 w 2125996"/>
                                                    <a:gd name="connsiteY328" fmla="*/ 1198450 h 1277302"/>
                                                    <a:gd name="connsiteX329" fmla="*/ 1478734 w 2125996"/>
                                                    <a:gd name="connsiteY329" fmla="*/ 1215230 h 1277302"/>
                                                    <a:gd name="connsiteX330" fmla="*/ 1475106 w 2125996"/>
                                                    <a:gd name="connsiteY330" fmla="*/ 1240302 h 1277302"/>
                                                    <a:gd name="connsiteX331" fmla="*/ 1454763 w 2125996"/>
                                                    <a:gd name="connsiteY331" fmla="*/ 1271334 h 1277302"/>
                                                    <a:gd name="connsiteX332" fmla="*/ 1454958 w 2125996"/>
                                                    <a:gd name="connsiteY332" fmla="*/ 1269131 h 1277302"/>
                                                    <a:gd name="connsiteX333" fmla="*/ 1453791 w 2125996"/>
                                                    <a:gd name="connsiteY333" fmla="*/ 1276322 h 1277302"/>
                                                    <a:gd name="connsiteX334" fmla="*/ 1459622 w 2125996"/>
                                                    <a:gd name="connsiteY334" fmla="*/ 1276387 h 1277302"/>
                                                    <a:gd name="connsiteX335" fmla="*/ 1464352 w 2125996"/>
                                                    <a:gd name="connsiteY335" fmla="*/ 1270686 h 1277302"/>
                                                    <a:gd name="connsiteX336" fmla="*/ 1469599 w 2125996"/>
                                                    <a:gd name="connsiteY336" fmla="*/ 1269714 h 1277302"/>
                                                    <a:gd name="connsiteX337" fmla="*/ 1471608 w 2125996"/>
                                                    <a:gd name="connsiteY337" fmla="*/ 1270427 h 1277302"/>
                                                    <a:gd name="connsiteX338" fmla="*/ 1472774 w 2125996"/>
                                                    <a:gd name="connsiteY338" fmla="*/ 1271723 h 1277302"/>
                                                    <a:gd name="connsiteX339" fmla="*/ 1473098 w 2125996"/>
                                                    <a:gd name="connsiteY339" fmla="*/ 1271269 h 1277302"/>
                                                    <a:gd name="connsiteX340" fmla="*/ 1508406 w 2125996"/>
                                                    <a:gd name="connsiteY340" fmla="*/ 1271205 h 1277302"/>
                                                    <a:gd name="connsiteX341" fmla="*/ 1522724 w 2125996"/>
                                                    <a:gd name="connsiteY341" fmla="*/ 1271140 h 1277302"/>
                                                    <a:gd name="connsiteX342" fmla="*/ 1526027 w 2125996"/>
                                                    <a:gd name="connsiteY342" fmla="*/ 1268743 h 1277302"/>
                                                    <a:gd name="connsiteX343" fmla="*/ 1533802 w 2125996"/>
                                                    <a:gd name="connsiteY343" fmla="*/ 1266929 h 1277302"/>
                                                    <a:gd name="connsiteX344" fmla="*/ 1539633 w 2125996"/>
                                                    <a:gd name="connsiteY344" fmla="*/ 1262782 h 1277302"/>
                                                    <a:gd name="connsiteX345" fmla="*/ 1540669 w 2125996"/>
                                                    <a:gd name="connsiteY345" fmla="*/ 1260061 h 1277302"/>
                                                    <a:gd name="connsiteX346" fmla="*/ 1532830 w 2125996"/>
                                                    <a:gd name="connsiteY346" fmla="*/ 1252870 h 1277302"/>
                                                    <a:gd name="connsiteX347" fmla="*/ 1531016 w 2125996"/>
                                                    <a:gd name="connsiteY347" fmla="*/ 1241014 h 1277302"/>
                                                    <a:gd name="connsiteX348" fmla="*/ 1539762 w 2125996"/>
                                                    <a:gd name="connsiteY348" fmla="*/ 1231750 h 1277302"/>
                                                    <a:gd name="connsiteX349" fmla="*/ 1553497 w 2125996"/>
                                                    <a:gd name="connsiteY349" fmla="*/ 1224364 h 1277302"/>
                                                    <a:gd name="connsiteX350" fmla="*/ 1565029 w 2125996"/>
                                                    <a:gd name="connsiteY350" fmla="*/ 1222421 h 1277302"/>
                                                    <a:gd name="connsiteX351" fmla="*/ 1574876 w 2125996"/>
                                                    <a:gd name="connsiteY351" fmla="*/ 1221384 h 1277302"/>
                                                    <a:gd name="connsiteX352" fmla="*/ 1615043 w 2125996"/>
                                                    <a:gd name="connsiteY352" fmla="*/ 1218663 h 1277302"/>
                                                    <a:gd name="connsiteX353" fmla="*/ 1616144 w 2125996"/>
                                                    <a:gd name="connsiteY353" fmla="*/ 1217367 h 1277302"/>
                                                    <a:gd name="connsiteX354" fmla="*/ 1623336 w 2125996"/>
                                                    <a:gd name="connsiteY354" fmla="*/ 1214582 h 1277302"/>
                                                    <a:gd name="connsiteX355" fmla="*/ 1629102 w 2125996"/>
                                                    <a:gd name="connsiteY355" fmla="*/ 1209917 h 1277302"/>
                                                    <a:gd name="connsiteX356" fmla="*/ 1629361 w 2125996"/>
                                                    <a:gd name="connsiteY356" fmla="*/ 1207261 h 1277302"/>
                                                    <a:gd name="connsiteX357" fmla="*/ 1631693 w 2125996"/>
                                                    <a:gd name="connsiteY357" fmla="*/ 1204475 h 1277302"/>
                                                    <a:gd name="connsiteX358" fmla="*/ 1646788 w 2125996"/>
                                                    <a:gd name="connsiteY358" fmla="*/ 1197997 h 1277302"/>
                                                    <a:gd name="connsiteX359" fmla="*/ 1732176 w 2125996"/>
                                                    <a:gd name="connsiteY359" fmla="*/ 1198839 h 1277302"/>
                                                    <a:gd name="connsiteX360" fmla="*/ 1734832 w 2125996"/>
                                                    <a:gd name="connsiteY360" fmla="*/ 1198515 h 1277302"/>
                                                    <a:gd name="connsiteX361" fmla="*/ 1738266 w 2125996"/>
                                                    <a:gd name="connsiteY361" fmla="*/ 1189315 h 1277302"/>
                                                    <a:gd name="connsiteX362" fmla="*/ 1748243 w 2125996"/>
                                                    <a:gd name="connsiteY362" fmla="*/ 1185817 h 1277302"/>
                                                    <a:gd name="connsiteX363" fmla="*/ 1750769 w 2125996"/>
                                                    <a:gd name="connsiteY363" fmla="*/ 1174285 h 1277302"/>
                                                    <a:gd name="connsiteX364" fmla="*/ 1759321 w 2125996"/>
                                                    <a:gd name="connsiteY364" fmla="*/ 1164632 h 1277302"/>
                                                    <a:gd name="connsiteX365" fmla="*/ 1760811 w 2125996"/>
                                                    <a:gd name="connsiteY365" fmla="*/ 1156987 h 1277302"/>
                                                    <a:gd name="connsiteX366" fmla="*/ 1764633 w 2125996"/>
                                                    <a:gd name="connsiteY366" fmla="*/ 1149731 h 1277302"/>
                                                    <a:gd name="connsiteX367" fmla="*/ 1777331 w 2125996"/>
                                                    <a:gd name="connsiteY367" fmla="*/ 1115265 h 1277302"/>
                                                    <a:gd name="connsiteX368" fmla="*/ 1772991 w 2125996"/>
                                                    <a:gd name="connsiteY368" fmla="*/ 1120902 h 1277302"/>
                                                    <a:gd name="connsiteX369" fmla="*/ 1755628 w 2125996"/>
                                                    <a:gd name="connsiteY369" fmla="*/ 1125307 h 1277302"/>
                                                    <a:gd name="connsiteX370" fmla="*/ 1759191 w 2125996"/>
                                                    <a:gd name="connsiteY370" fmla="*/ 1108592 h 1277302"/>
                                                    <a:gd name="connsiteX371" fmla="*/ 1809012 w 2125996"/>
                                                    <a:gd name="connsiteY371" fmla="*/ 1048277 h 1277302"/>
                                                    <a:gd name="connsiteX372" fmla="*/ 1826569 w 2125996"/>
                                                    <a:gd name="connsiteY372" fmla="*/ 1034413 h 1277302"/>
                                                    <a:gd name="connsiteX373" fmla="*/ 1838424 w 2125996"/>
                                                    <a:gd name="connsiteY373" fmla="*/ 1030785 h 1277302"/>
                                                    <a:gd name="connsiteX374" fmla="*/ 1847689 w 2125996"/>
                                                    <a:gd name="connsiteY374" fmla="*/ 1014394 h 1277302"/>
                                                    <a:gd name="connsiteX375" fmla="*/ 1873603 w 2125996"/>
                                                    <a:gd name="connsiteY375" fmla="*/ 1006425 h 1277302"/>
                                                    <a:gd name="connsiteX376" fmla="*/ 1996307 w 2125996"/>
                                                    <a:gd name="connsiteY376" fmla="*/ 1009211 h 1277302"/>
                                                    <a:gd name="connsiteX377" fmla="*/ 2030644 w 2125996"/>
                                                    <a:gd name="connsiteY377" fmla="*/ 1003445 h 1277302"/>
                                                    <a:gd name="connsiteX378" fmla="*/ 2063425 w 2125996"/>
                                                    <a:gd name="connsiteY378" fmla="*/ 973255 h 1277302"/>
                                                    <a:gd name="connsiteX379" fmla="*/ 2085387 w 2125996"/>
                                                    <a:gd name="connsiteY379" fmla="*/ 968849 h 1277302"/>
                                                    <a:gd name="connsiteX380" fmla="*/ 2124518 w 2125996"/>
                                                    <a:gd name="connsiteY380" fmla="*/ 940862 h 1277302"/>
                                                    <a:gd name="connsiteX381" fmla="*/ 2111302 w 2125996"/>
                                                    <a:gd name="connsiteY381" fmla="*/ 926220 h 1277302"/>
                                                    <a:gd name="connsiteX382" fmla="*/ 588189 w 2125996"/>
                                                    <a:gd name="connsiteY382" fmla="*/ 381956 h 1277302"/>
                                                    <a:gd name="connsiteX383" fmla="*/ 583201 w 2125996"/>
                                                    <a:gd name="connsiteY383" fmla="*/ 385584 h 1277302"/>
                                                    <a:gd name="connsiteX384" fmla="*/ 583201 w 2125996"/>
                                                    <a:gd name="connsiteY384" fmla="*/ 391155 h 1277302"/>
                                                    <a:gd name="connsiteX385" fmla="*/ 573807 w 2125996"/>
                                                    <a:gd name="connsiteY385" fmla="*/ 403335 h 1277302"/>
                                                    <a:gd name="connsiteX386" fmla="*/ 557481 w 2125996"/>
                                                    <a:gd name="connsiteY386" fmla="*/ 404890 h 1277302"/>
                                                    <a:gd name="connsiteX387" fmla="*/ 543228 w 2125996"/>
                                                    <a:gd name="connsiteY387" fmla="*/ 410915 h 1277302"/>
                                                    <a:gd name="connsiteX388" fmla="*/ 542386 w 2125996"/>
                                                    <a:gd name="connsiteY388" fmla="*/ 417717 h 1277302"/>
                                                    <a:gd name="connsiteX389" fmla="*/ 531437 w 2125996"/>
                                                    <a:gd name="connsiteY389" fmla="*/ 430545 h 1277302"/>
                                                    <a:gd name="connsiteX390" fmla="*/ 521266 w 2125996"/>
                                                    <a:gd name="connsiteY390" fmla="*/ 432229 h 1277302"/>
                                                    <a:gd name="connsiteX391" fmla="*/ 494574 w 2125996"/>
                                                    <a:gd name="connsiteY391" fmla="*/ 450758 h 1277302"/>
                                                    <a:gd name="connsiteX392" fmla="*/ 496906 w 2125996"/>
                                                    <a:gd name="connsiteY392" fmla="*/ 440069 h 1277302"/>
                                                    <a:gd name="connsiteX393" fmla="*/ 506624 w 2125996"/>
                                                    <a:gd name="connsiteY393" fmla="*/ 433136 h 1277302"/>
                                                    <a:gd name="connsiteX394" fmla="*/ 512520 w 2125996"/>
                                                    <a:gd name="connsiteY394" fmla="*/ 421540 h 1277302"/>
                                                    <a:gd name="connsiteX395" fmla="*/ 512066 w 2125996"/>
                                                    <a:gd name="connsiteY395" fmla="*/ 417717 h 1277302"/>
                                                    <a:gd name="connsiteX396" fmla="*/ 504746 w 2125996"/>
                                                    <a:gd name="connsiteY396" fmla="*/ 415061 h 1277302"/>
                                                    <a:gd name="connsiteX397" fmla="*/ 497684 w 2125996"/>
                                                    <a:gd name="connsiteY397" fmla="*/ 419596 h 1277302"/>
                                                    <a:gd name="connsiteX398" fmla="*/ 475981 w 2125996"/>
                                                    <a:gd name="connsiteY398" fmla="*/ 434950 h 1277302"/>
                                                    <a:gd name="connsiteX399" fmla="*/ 450196 w 2125996"/>
                                                    <a:gd name="connsiteY399" fmla="*/ 439356 h 1277302"/>
                                                    <a:gd name="connsiteX400" fmla="*/ 447410 w 2125996"/>
                                                    <a:gd name="connsiteY400" fmla="*/ 438125 h 1277302"/>
                                                    <a:gd name="connsiteX401" fmla="*/ 446309 w 2125996"/>
                                                    <a:gd name="connsiteY401" fmla="*/ 435274 h 1277302"/>
                                                    <a:gd name="connsiteX402" fmla="*/ 445985 w 2125996"/>
                                                    <a:gd name="connsiteY402" fmla="*/ 421605 h 1277302"/>
                                                    <a:gd name="connsiteX403" fmla="*/ 461922 w 2125996"/>
                                                    <a:gd name="connsiteY403" fmla="*/ 414349 h 1277302"/>
                                                    <a:gd name="connsiteX404" fmla="*/ 463801 w 2125996"/>
                                                    <a:gd name="connsiteY404" fmla="*/ 403918 h 1277302"/>
                                                    <a:gd name="connsiteX405" fmla="*/ 470215 w 2125996"/>
                                                    <a:gd name="connsiteY405" fmla="*/ 396144 h 1277302"/>
                                                    <a:gd name="connsiteX406" fmla="*/ 476110 w 2125996"/>
                                                    <a:gd name="connsiteY406" fmla="*/ 397116 h 1277302"/>
                                                    <a:gd name="connsiteX407" fmla="*/ 490881 w 2125996"/>
                                                    <a:gd name="connsiteY407" fmla="*/ 396338 h 1277302"/>
                                                    <a:gd name="connsiteX408" fmla="*/ 494185 w 2125996"/>
                                                    <a:gd name="connsiteY408" fmla="*/ 390831 h 1277302"/>
                                                    <a:gd name="connsiteX409" fmla="*/ 489197 w 2125996"/>
                                                    <a:gd name="connsiteY409" fmla="*/ 385843 h 1277302"/>
                                                    <a:gd name="connsiteX410" fmla="*/ 456674 w 2125996"/>
                                                    <a:gd name="connsiteY410" fmla="*/ 384223 h 1277302"/>
                                                    <a:gd name="connsiteX411" fmla="*/ 451362 w 2125996"/>
                                                    <a:gd name="connsiteY411" fmla="*/ 388888 h 1277302"/>
                                                    <a:gd name="connsiteX412" fmla="*/ 450585 w 2125996"/>
                                                    <a:gd name="connsiteY412" fmla="*/ 393617 h 1277302"/>
                                                    <a:gd name="connsiteX413" fmla="*/ 448252 w 2125996"/>
                                                    <a:gd name="connsiteY413" fmla="*/ 394265 h 1277302"/>
                                                    <a:gd name="connsiteX414" fmla="*/ 419941 w 2125996"/>
                                                    <a:gd name="connsiteY414" fmla="*/ 395431 h 1277302"/>
                                                    <a:gd name="connsiteX415" fmla="*/ 412555 w 2125996"/>
                                                    <a:gd name="connsiteY415" fmla="*/ 394330 h 1277302"/>
                                                    <a:gd name="connsiteX416" fmla="*/ 410612 w 2125996"/>
                                                    <a:gd name="connsiteY416" fmla="*/ 387916 h 1277302"/>
                                                    <a:gd name="connsiteX417" fmla="*/ 454537 w 2125996"/>
                                                    <a:gd name="connsiteY417" fmla="*/ 378263 h 1277302"/>
                                                    <a:gd name="connsiteX418" fmla="*/ 468660 w 2125996"/>
                                                    <a:gd name="connsiteY418" fmla="*/ 374894 h 1277302"/>
                                                    <a:gd name="connsiteX419" fmla="*/ 477017 w 2125996"/>
                                                    <a:gd name="connsiteY419" fmla="*/ 365435 h 1277302"/>
                                                    <a:gd name="connsiteX420" fmla="*/ 491788 w 2125996"/>
                                                    <a:gd name="connsiteY420" fmla="*/ 363427 h 1277302"/>
                                                    <a:gd name="connsiteX421" fmla="*/ 495805 w 2125996"/>
                                                    <a:gd name="connsiteY421" fmla="*/ 358309 h 1277302"/>
                                                    <a:gd name="connsiteX422" fmla="*/ 514982 w 2125996"/>
                                                    <a:gd name="connsiteY422" fmla="*/ 350535 h 1277302"/>
                                                    <a:gd name="connsiteX423" fmla="*/ 545949 w 2125996"/>
                                                    <a:gd name="connsiteY423" fmla="*/ 348332 h 1277302"/>
                                                    <a:gd name="connsiteX424" fmla="*/ 542904 w 2125996"/>
                                                    <a:gd name="connsiteY424" fmla="*/ 362196 h 1277302"/>
                                                    <a:gd name="connsiteX425" fmla="*/ 541738 w 2125996"/>
                                                    <a:gd name="connsiteY425" fmla="*/ 364852 h 1277302"/>
                                                    <a:gd name="connsiteX426" fmla="*/ 535713 w 2125996"/>
                                                    <a:gd name="connsiteY426" fmla="*/ 365176 h 1277302"/>
                                                    <a:gd name="connsiteX427" fmla="*/ 529753 w 2125996"/>
                                                    <a:gd name="connsiteY427" fmla="*/ 370618 h 1277302"/>
                                                    <a:gd name="connsiteX428" fmla="*/ 529947 w 2125996"/>
                                                    <a:gd name="connsiteY428" fmla="*/ 379235 h 1277302"/>
                                                    <a:gd name="connsiteX429" fmla="*/ 531372 w 2125996"/>
                                                    <a:gd name="connsiteY429" fmla="*/ 383057 h 1277302"/>
                                                    <a:gd name="connsiteX430" fmla="*/ 535324 w 2125996"/>
                                                    <a:gd name="connsiteY430" fmla="*/ 384612 h 1277302"/>
                                                    <a:gd name="connsiteX431" fmla="*/ 557416 w 2125996"/>
                                                    <a:gd name="connsiteY431" fmla="*/ 383834 h 1277302"/>
                                                    <a:gd name="connsiteX432" fmla="*/ 571021 w 2125996"/>
                                                    <a:gd name="connsiteY432" fmla="*/ 367638 h 1277302"/>
                                                    <a:gd name="connsiteX433" fmla="*/ 586375 w 2125996"/>
                                                    <a:gd name="connsiteY433" fmla="*/ 367508 h 1277302"/>
                                                    <a:gd name="connsiteX434" fmla="*/ 590716 w 2125996"/>
                                                    <a:gd name="connsiteY434" fmla="*/ 368351 h 1277302"/>
                                                    <a:gd name="connsiteX435" fmla="*/ 592919 w 2125996"/>
                                                    <a:gd name="connsiteY435" fmla="*/ 372432 h 1277302"/>
                                                    <a:gd name="connsiteX436" fmla="*/ 588254 w 2125996"/>
                                                    <a:gd name="connsiteY436" fmla="*/ 381956 h 1277302"/>
                                                    <a:gd name="connsiteX437" fmla="*/ 780927 w 2125996"/>
                                                    <a:gd name="connsiteY437" fmla="*/ 543143 h 1277302"/>
                                                    <a:gd name="connsiteX438" fmla="*/ 770043 w 2125996"/>
                                                    <a:gd name="connsiteY438" fmla="*/ 548131 h 1277302"/>
                                                    <a:gd name="connsiteX439" fmla="*/ 764212 w 2125996"/>
                                                    <a:gd name="connsiteY439" fmla="*/ 550204 h 1277302"/>
                                                    <a:gd name="connsiteX440" fmla="*/ 762334 w 2125996"/>
                                                    <a:gd name="connsiteY440" fmla="*/ 557395 h 1277302"/>
                                                    <a:gd name="connsiteX441" fmla="*/ 749895 w 2125996"/>
                                                    <a:gd name="connsiteY441" fmla="*/ 561801 h 1277302"/>
                                                    <a:gd name="connsiteX442" fmla="*/ 747886 w 2125996"/>
                                                    <a:gd name="connsiteY442" fmla="*/ 566077 h 1277302"/>
                                                    <a:gd name="connsiteX443" fmla="*/ 737845 w 2125996"/>
                                                    <a:gd name="connsiteY443" fmla="*/ 567826 h 1277302"/>
                                                    <a:gd name="connsiteX444" fmla="*/ 729034 w 2125996"/>
                                                    <a:gd name="connsiteY444" fmla="*/ 574693 h 1277302"/>
                                                    <a:gd name="connsiteX445" fmla="*/ 726313 w 2125996"/>
                                                    <a:gd name="connsiteY445" fmla="*/ 580848 h 1277302"/>
                                                    <a:gd name="connsiteX446" fmla="*/ 721972 w 2125996"/>
                                                    <a:gd name="connsiteY446" fmla="*/ 581820 h 1277302"/>
                                                    <a:gd name="connsiteX447" fmla="*/ 709857 w 2125996"/>
                                                    <a:gd name="connsiteY447" fmla="*/ 594518 h 1277302"/>
                                                    <a:gd name="connsiteX448" fmla="*/ 687700 w 2125996"/>
                                                    <a:gd name="connsiteY448" fmla="*/ 600478 h 1277302"/>
                                                    <a:gd name="connsiteX449" fmla="*/ 683619 w 2125996"/>
                                                    <a:gd name="connsiteY449" fmla="*/ 609937 h 1277302"/>
                                                    <a:gd name="connsiteX450" fmla="*/ 667487 w 2125996"/>
                                                    <a:gd name="connsiteY450" fmla="*/ 614860 h 1277302"/>
                                                    <a:gd name="connsiteX451" fmla="*/ 624729 w 2125996"/>
                                                    <a:gd name="connsiteY451" fmla="*/ 613500 h 1277302"/>
                                                    <a:gd name="connsiteX452" fmla="*/ 610476 w 2125996"/>
                                                    <a:gd name="connsiteY452" fmla="*/ 611362 h 1277302"/>
                                                    <a:gd name="connsiteX453" fmla="*/ 601406 w 2125996"/>
                                                    <a:gd name="connsiteY453" fmla="*/ 600931 h 1277302"/>
                                                    <a:gd name="connsiteX454" fmla="*/ 618704 w 2125996"/>
                                                    <a:gd name="connsiteY454" fmla="*/ 600931 h 1277302"/>
                                                    <a:gd name="connsiteX455" fmla="*/ 627514 w 2125996"/>
                                                    <a:gd name="connsiteY455" fmla="*/ 599312 h 1277302"/>
                                                    <a:gd name="connsiteX456" fmla="*/ 632244 w 2125996"/>
                                                    <a:gd name="connsiteY456" fmla="*/ 582208 h 1277302"/>
                                                    <a:gd name="connsiteX457" fmla="*/ 647404 w 2125996"/>
                                                    <a:gd name="connsiteY457" fmla="*/ 578969 h 1277302"/>
                                                    <a:gd name="connsiteX458" fmla="*/ 655567 w 2125996"/>
                                                    <a:gd name="connsiteY458" fmla="*/ 572620 h 1277302"/>
                                                    <a:gd name="connsiteX459" fmla="*/ 651874 w 2125996"/>
                                                    <a:gd name="connsiteY459" fmla="*/ 561088 h 1277302"/>
                                                    <a:gd name="connsiteX460" fmla="*/ 650837 w 2125996"/>
                                                    <a:gd name="connsiteY460" fmla="*/ 550010 h 1277302"/>
                                                    <a:gd name="connsiteX461" fmla="*/ 639565 w 2125996"/>
                                                    <a:gd name="connsiteY461" fmla="*/ 547289 h 1277302"/>
                                                    <a:gd name="connsiteX462" fmla="*/ 638852 w 2125996"/>
                                                    <a:gd name="connsiteY462" fmla="*/ 537247 h 1277302"/>
                                                    <a:gd name="connsiteX463" fmla="*/ 642156 w 2125996"/>
                                                    <a:gd name="connsiteY463" fmla="*/ 536211 h 1277302"/>
                                                    <a:gd name="connsiteX464" fmla="*/ 656214 w 2125996"/>
                                                    <a:gd name="connsiteY464" fmla="*/ 533554 h 1277302"/>
                                                    <a:gd name="connsiteX465" fmla="*/ 662758 w 2125996"/>
                                                    <a:gd name="connsiteY465" fmla="*/ 533749 h 1277302"/>
                                                    <a:gd name="connsiteX466" fmla="*/ 666904 w 2125996"/>
                                                    <a:gd name="connsiteY466" fmla="*/ 539320 h 1277302"/>
                                                    <a:gd name="connsiteX467" fmla="*/ 681999 w 2125996"/>
                                                    <a:gd name="connsiteY467" fmla="*/ 550204 h 1277302"/>
                                                    <a:gd name="connsiteX468" fmla="*/ 690810 w 2125996"/>
                                                    <a:gd name="connsiteY468" fmla="*/ 565688 h 1277302"/>
                                                    <a:gd name="connsiteX469" fmla="*/ 708237 w 2125996"/>
                                                    <a:gd name="connsiteY469" fmla="*/ 565558 h 1277302"/>
                                                    <a:gd name="connsiteX470" fmla="*/ 714133 w 2125996"/>
                                                    <a:gd name="connsiteY470" fmla="*/ 561477 h 1277302"/>
                                                    <a:gd name="connsiteX471" fmla="*/ 720288 w 2125996"/>
                                                    <a:gd name="connsiteY471" fmla="*/ 560505 h 1277302"/>
                                                    <a:gd name="connsiteX472" fmla="*/ 734281 w 2125996"/>
                                                    <a:gd name="connsiteY472" fmla="*/ 546123 h 1277302"/>
                                                    <a:gd name="connsiteX473" fmla="*/ 752162 w 2125996"/>
                                                    <a:gd name="connsiteY473" fmla="*/ 540681 h 1277302"/>
                                                    <a:gd name="connsiteX474" fmla="*/ 753458 w 2125996"/>
                                                    <a:gd name="connsiteY474" fmla="*/ 538219 h 1277302"/>
                                                    <a:gd name="connsiteX475" fmla="*/ 756114 w 2125996"/>
                                                    <a:gd name="connsiteY475" fmla="*/ 535887 h 1277302"/>
                                                    <a:gd name="connsiteX476" fmla="*/ 776457 w 2125996"/>
                                                    <a:gd name="connsiteY476" fmla="*/ 529019 h 1277302"/>
                                                    <a:gd name="connsiteX477" fmla="*/ 781640 w 2125996"/>
                                                    <a:gd name="connsiteY477" fmla="*/ 531935 h 1277302"/>
                                                    <a:gd name="connsiteX478" fmla="*/ 780927 w 2125996"/>
                                                    <a:gd name="connsiteY478" fmla="*/ 543143 h 1277302"/>
                                                    <a:gd name="connsiteX479" fmla="*/ 1118266 w 2125996"/>
                                                    <a:gd name="connsiteY479" fmla="*/ 1002344 h 1277302"/>
                                                    <a:gd name="connsiteX480" fmla="*/ 1110751 w 2125996"/>
                                                    <a:gd name="connsiteY480" fmla="*/ 1003510 h 1277302"/>
                                                    <a:gd name="connsiteX481" fmla="*/ 1108937 w 2125996"/>
                                                    <a:gd name="connsiteY481" fmla="*/ 1014523 h 1277302"/>
                                                    <a:gd name="connsiteX482" fmla="*/ 1102977 w 2125996"/>
                                                    <a:gd name="connsiteY482" fmla="*/ 1013098 h 1277302"/>
                                                    <a:gd name="connsiteX483" fmla="*/ 1100450 w 2125996"/>
                                                    <a:gd name="connsiteY483" fmla="*/ 1006684 h 1277302"/>
                                                    <a:gd name="connsiteX484" fmla="*/ 1094425 w 2125996"/>
                                                    <a:gd name="connsiteY484" fmla="*/ 997226 h 1277302"/>
                                                    <a:gd name="connsiteX485" fmla="*/ 1084966 w 2125996"/>
                                                    <a:gd name="connsiteY485" fmla="*/ 961334 h 1277302"/>
                                                    <a:gd name="connsiteX486" fmla="*/ 1079330 w 2125996"/>
                                                    <a:gd name="connsiteY486" fmla="*/ 956605 h 1277302"/>
                                                    <a:gd name="connsiteX487" fmla="*/ 1056914 w 2125996"/>
                                                    <a:gd name="connsiteY487" fmla="*/ 938206 h 1277302"/>
                                                    <a:gd name="connsiteX488" fmla="*/ 1053675 w 2125996"/>
                                                    <a:gd name="connsiteY488" fmla="*/ 934319 h 1277302"/>
                                                    <a:gd name="connsiteX489" fmla="*/ 1053221 w 2125996"/>
                                                    <a:gd name="connsiteY489" fmla="*/ 923111 h 1277302"/>
                                                    <a:gd name="connsiteX490" fmla="*/ 1047067 w 2125996"/>
                                                    <a:gd name="connsiteY490" fmla="*/ 896743 h 1277302"/>
                                                    <a:gd name="connsiteX491" fmla="*/ 1050306 w 2125996"/>
                                                    <a:gd name="connsiteY491" fmla="*/ 889876 h 1277302"/>
                                                    <a:gd name="connsiteX492" fmla="*/ 1066049 w 2125996"/>
                                                    <a:gd name="connsiteY492" fmla="*/ 880028 h 1277302"/>
                                                    <a:gd name="connsiteX493" fmla="*/ 1079848 w 2125996"/>
                                                    <a:gd name="connsiteY493" fmla="*/ 890588 h 1277302"/>
                                                    <a:gd name="connsiteX494" fmla="*/ 1080302 w 2125996"/>
                                                    <a:gd name="connsiteY494" fmla="*/ 897520 h 1277302"/>
                                                    <a:gd name="connsiteX495" fmla="*/ 1091963 w 2125996"/>
                                                    <a:gd name="connsiteY495" fmla="*/ 907497 h 1277302"/>
                                                    <a:gd name="connsiteX496" fmla="*/ 1093907 w 2125996"/>
                                                    <a:gd name="connsiteY496" fmla="*/ 914041 h 1277302"/>
                                                    <a:gd name="connsiteX497" fmla="*/ 1096563 w 2125996"/>
                                                    <a:gd name="connsiteY497" fmla="*/ 935161 h 1277302"/>
                                                    <a:gd name="connsiteX498" fmla="*/ 1099478 w 2125996"/>
                                                    <a:gd name="connsiteY498" fmla="*/ 945268 h 1277302"/>
                                                    <a:gd name="connsiteX499" fmla="*/ 1108548 w 2125996"/>
                                                    <a:gd name="connsiteY499" fmla="*/ 948960 h 1277302"/>
                                                    <a:gd name="connsiteX500" fmla="*/ 1107641 w 2125996"/>
                                                    <a:gd name="connsiteY500" fmla="*/ 969368 h 1277302"/>
                                                    <a:gd name="connsiteX501" fmla="*/ 1111658 w 2125996"/>
                                                    <a:gd name="connsiteY501" fmla="*/ 973061 h 1277302"/>
                                                    <a:gd name="connsiteX502" fmla="*/ 1120793 w 2125996"/>
                                                    <a:gd name="connsiteY502" fmla="*/ 992950 h 1277302"/>
                                                    <a:gd name="connsiteX503" fmla="*/ 1118266 w 2125996"/>
                                                    <a:gd name="connsiteY503" fmla="*/ 1002344 h 127730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  <a:cxn ang="0">
                                                      <a:pos x="connsiteX245" y="connsiteY245"/>
                                                    </a:cxn>
                                                    <a:cxn ang="0">
                                                      <a:pos x="connsiteX246" y="connsiteY246"/>
                                                    </a:cxn>
                                                    <a:cxn ang="0">
                                                      <a:pos x="connsiteX247" y="connsiteY247"/>
                                                    </a:cxn>
                                                    <a:cxn ang="0">
                                                      <a:pos x="connsiteX248" y="connsiteY248"/>
                                                    </a:cxn>
                                                    <a:cxn ang="0">
                                                      <a:pos x="connsiteX249" y="connsiteY249"/>
                                                    </a:cxn>
                                                    <a:cxn ang="0">
                                                      <a:pos x="connsiteX250" y="connsiteY250"/>
                                                    </a:cxn>
                                                    <a:cxn ang="0">
                                                      <a:pos x="connsiteX251" y="connsiteY251"/>
                                                    </a:cxn>
                                                    <a:cxn ang="0">
                                                      <a:pos x="connsiteX252" y="connsiteY252"/>
                                                    </a:cxn>
                                                    <a:cxn ang="0">
                                                      <a:pos x="connsiteX253" y="connsiteY253"/>
                                                    </a:cxn>
                                                    <a:cxn ang="0">
                                                      <a:pos x="connsiteX254" y="connsiteY254"/>
                                                    </a:cxn>
                                                    <a:cxn ang="0">
                                                      <a:pos x="connsiteX255" y="connsiteY255"/>
                                                    </a:cxn>
                                                    <a:cxn ang="0">
                                                      <a:pos x="connsiteX256" y="connsiteY256"/>
                                                    </a:cxn>
                                                    <a:cxn ang="0">
                                                      <a:pos x="connsiteX257" y="connsiteY257"/>
                                                    </a:cxn>
                                                    <a:cxn ang="0">
                                                      <a:pos x="connsiteX258" y="connsiteY258"/>
                                                    </a:cxn>
                                                    <a:cxn ang="0">
                                                      <a:pos x="connsiteX259" y="connsiteY259"/>
                                                    </a:cxn>
                                                    <a:cxn ang="0">
                                                      <a:pos x="connsiteX260" y="connsiteY260"/>
                                                    </a:cxn>
                                                    <a:cxn ang="0">
                                                      <a:pos x="connsiteX261" y="connsiteY261"/>
                                                    </a:cxn>
                                                    <a:cxn ang="0">
                                                      <a:pos x="connsiteX262" y="connsiteY262"/>
                                                    </a:cxn>
                                                    <a:cxn ang="0">
                                                      <a:pos x="connsiteX263" y="connsiteY263"/>
                                                    </a:cxn>
                                                    <a:cxn ang="0">
                                                      <a:pos x="connsiteX264" y="connsiteY264"/>
                                                    </a:cxn>
                                                    <a:cxn ang="0">
                                                      <a:pos x="connsiteX265" y="connsiteY265"/>
                                                    </a:cxn>
                                                    <a:cxn ang="0">
                                                      <a:pos x="connsiteX266" y="connsiteY266"/>
                                                    </a:cxn>
                                                    <a:cxn ang="0">
                                                      <a:pos x="connsiteX267" y="connsiteY267"/>
                                                    </a:cxn>
                                                    <a:cxn ang="0">
                                                      <a:pos x="connsiteX268" y="connsiteY268"/>
                                                    </a:cxn>
                                                    <a:cxn ang="0">
                                                      <a:pos x="connsiteX269" y="connsiteY269"/>
                                                    </a:cxn>
                                                    <a:cxn ang="0">
                                                      <a:pos x="connsiteX270" y="connsiteY270"/>
                                                    </a:cxn>
                                                    <a:cxn ang="0">
                                                      <a:pos x="connsiteX271" y="connsiteY271"/>
                                                    </a:cxn>
                                                    <a:cxn ang="0">
                                                      <a:pos x="connsiteX272" y="connsiteY272"/>
                                                    </a:cxn>
                                                    <a:cxn ang="0">
                                                      <a:pos x="connsiteX273" y="connsiteY273"/>
                                                    </a:cxn>
                                                    <a:cxn ang="0">
                                                      <a:pos x="connsiteX274" y="connsiteY274"/>
                                                    </a:cxn>
                                                    <a:cxn ang="0">
                                                      <a:pos x="connsiteX275" y="connsiteY275"/>
                                                    </a:cxn>
                                                    <a:cxn ang="0">
                                                      <a:pos x="connsiteX276" y="connsiteY276"/>
                                                    </a:cxn>
                                                    <a:cxn ang="0">
                                                      <a:pos x="connsiteX277" y="connsiteY277"/>
                                                    </a:cxn>
                                                    <a:cxn ang="0">
                                                      <a:pos x="connsiteX278" y="connsiteY278"/>
                                                    </a:cxn>
                                                    <a:cxn ang="0">
                                                      <a:pos x="connsiteX279" y="connsiteY279"/>
                                                    </a:cxn>
                                                    <a:cxn ang="0">
                                                      <a:pos x="connsiteX280" y="connsiteY280"/>
                                                    </a:cxn>
                                                    <a:cxn ang="0">
                                                      <a:pos x="connsiteX281" y="connsiteY281"/>
                                                    </a:cxn>
                                                    <a:cxn ang="0">
                                                      <a:pos x="connsiteX282" y="connsiteY282"/>
                                                    </a:cxn>
                                                    <a:cxn ang="0">
                                                      <a:pos x="connsiteX283" y="connsiteY283"/>
                                                    </a:cxn>
                                                    <a:cxn ang="0">
                                                      <a:pos x="connsiteX284" y="connsiteY284"/>
                                                    </a:cxn>
                                                    <a:cxn ang="0">
                                                      <a:pos x="connsiteX285" y="connsiteY285"/>
                                                    </a:cxn>
                                                    <a:cxn ang="0">
                                                      <a:pos x="connsiteX286" y="connsiteY286"/>
                                                    </a:cxn>
                                                    <a:cxn ang="0">
                                                      <a:pos x="connsiteX287" y="connsiteY287"/>
                                                    </a:cxn>
                                                    <a:cxn ang="0">
                                                      <a:pos x="connsiteX288" y="connsiteY288"/>
                                                    </a:cxn>
                                                    <a:cxn ang="0">
                                                      <a:pos x="connsiteX289" y="connsiteY289"/>
                                                    </a:cxn>
                                                    <a:cxn ang="0">
                                                      <a:pos x="connsiteX290" y="connsiteY290"/>
                                                    </a:cxn>
                                                    <a:cxn ang="0">
                                                      <a:pos x="connsiteX291" y="connsiteY291"/>
                                                    </a:cxn>
                                                    <a:cxn ang="0">
                                                      <a:pos x="connsiteX292" y="connsiteY292"/>
                                                    </a:cxn>
                                                    <a:cxn ang="0">
                                                      <a:pos x="connsiteX293" y="connsiteY293"/>
                                                    </a:cxn>
                                                    <a:cxn ang="0">
                                                      <a:pos x="connsiteX294" y="connsiteY294"/>
                                                    </a:cxn>
                                                    <a:cxn ang="0">
                                                      <a:pos x="connsiteX295" y="connsiteY295"/>
                                                    </a:cxn>
                                                    <a:cxn ang="0">
                                                      <a:pos x="connsiteX296" y="connsiteY296"/>
                                                    </a:cxn>
                                                    <a:cxn ang="0">
                                                      <a:pos x="connsiteX297" y="connsiteY297"/>
                                                    </a:cxn>
                                                    <a:cxn ang="0">
                                                      <a:pos x="connsiteX298" y="connsiteY298"/>
                                                    </a:cxn>
                                                    <a:cxn ang="0">
                                                      <a:pos x="connsiteX299" y="connsiteY299"/>
                                                    </a:cxn>
                                                    <a:cxn ang="0">
                                                      <a:pos x="connsiteX300" y="connsiteY300"/>
                                                    </a:cxn>
                                                    <a:cxn ang="0">
                                                      <a:pos x="connsiteX301" y="connsiteY301"/>
                                                    </a:cxn>
                                                    <a:cxn ang="0">
                                                      <a:pos x="connsiteX302" y="connsiteY302"/>
                                                    </a:cxn>
                                                    <a:cxn ang="0">
                                                      <a:pos x="connsiteX303" y="connsiteY303"/>
                                                    </a:cxn>
                                                    <a:cxn ang="0">
                                                      <a:pos x="connsiteX304" y="connsiteY304"/>
                                                    </a:cxn>
                                                    <a:cxn ang="0">
                                                      <a:pos x="connsiteX305" y="connsiteY305"/>
                                                    </a:cxn>
                                                    <a:cxn ang="0">
                                                      <a:pos x="connsiteX306" y="connsiteY306"/>
                                                    </a:cxn>
                                                    <a:cxn ang="0">
                                                      <a:pos x="connsiteX307" y="connsiteY307"/>
                                                    </a:cxn>
                                                    <a:cxn ang="0">
                                                      <a:pos x="connsiteX308" y="connsiteY308"/>
                                                    </a:cxn>
                                                    <a:cxn ang="0">
                                                      <a:pos x="connsiteX309" y="connsiteY309"/>
                                                    </a:cxn>
                                                    <a:cxn ang="0">
                                                      <a:pos x="connsiteX310" y="connsiteY310"/>
                                                    </a:cxn>
                                                    <a:cxn ang="0">
                                                      <a:pos x="connsiteX311" y="connsiteY311"/>
                                                    </a:cxn>
                                                    <a:cxn ang="0">
                                                      <a:pos x="connsiteX312" y="connsiteY312"/>
                                                    </a:cxn>
                                                    <a:cxn ang="0">
                                                      <a:pos x="connsiteX313" y="connsiteY313"/>
                                                    </a:cxn>
                                                    <a:cxn ang="0">
                                                      <a:pos x="connsiteX314" y="connsiteY314"/>
                                                    </a:cxn>
                                                    <a:cxn ang="0">
                                                      <a:pos x="connsiteX315" y="connsiteY315"/>
                                                    </a:cxn>
                                                    <a:cxn ang="0">
                                                      <a:pos x="connsiteX316" y="connsiteY316"/>
                                                    </a:cxn>
                                                    <a:cxn ang="0">
                                                      <a:pos x="connsiteX317" y="connsiteY317"/>
                                                    </a:cxn>
                                                    <a:cxn ang="0">
                                                      <a:pos x="connsiteX318" y="connsiteY318"/>
                                                    </a:cxn>
                                                    <a:cxn ang="0">
                                                      <a:pos x="connsiteX319" y="connsiteY319"/>
                                                    </a:cxn>
                                                    <a:cxn ang="0">
                                                      <a:pos x="connsiteX320" y="connsiteY320"/>
                                                    </a:cxn>
                                                    <a:cxn ang="0">
                                                      <a:pos x="connsiteX321" y="connsiteY321"/>
                                                    </a:cxn>
                                                    <a:cxn ang="0">
                                                      <a:pos x="connsiteX322" y="connsiteY322"/>
                                                    </a:cxn>
                                                    <a:cxn ang="0">
                                                      <a:pos x="connsiteX323" y="connsiteY323"/>
                                                    </a:cxn>
                                                    <a:cxn ang="0">
                                                      <a:pos x="connsiteX324" y="connsiteY324"/>
                                                    </a:cxn>
                                                    <a:cxn ang="0">
                                                      <a:pos x="connsiteX325" y="connsiteY325"/>
                                                    </a:cxn>
                                                    <a:cxn ang="0">
                                                      <a:pos x="connsiteX326" y="connsiteY326"/>
                                                    </a:cxn>
                                                    <a:cxn ang="0">
                                                      <a:pos x="connsiteX327" y="connsiteY327"/>
                                                    </a:cxn>
                                                    <a:cxn ang="0">
                                                      <a:pos x="connsiteX328" y="connsiteY328"/>
                                                    </a:cxn>
                                                    <a:cxn ang="0">
                                                      <a:pos x="connsiteX329" y="connsiteY329"/>
                                                    </a:cxn>
                                                    <a:cxn ang="0">
                                                      <a:pos x="connsiteX330" y="connsiteY330"/>
                                                    </a:cxn>
                                                    <a:cxn ang="0">
                                                      <a:pos x="connsiteX331" y="connsiteY331"/>
                                                    </a:cxn>
                                                    <a:cxn ang="0">
                                                      <a:pos x="connsiteX332" y="connsiteY332"/>
                                                    </a:cxn>
                                                    <a:cxn ang="0">
                                                      <a:pos x="connsiteX333" y="connsiteY333"/>
                                                    </a:cxn>
                                                    <a:cxn ang="0">
                                                      <a:pos x="connsiteX334" y="connsiteY334"/>
                                                    </a:cxn>
                                                    <a:cxn ang="0">
                                                      <a:pos x="connsiteX335" y="connsiteY335"/>
                                                    </a:cxn>
                                                    <a:cxn ang="0">
                                                      <a:pos x="connsiteX336" y="connsiteY336"/>
                                                    </a:cxn>
                                                    <a:cxn ang="0">
                                                      <a:pos x="connsiteX337" y="connsiteY337"/>
                                                    </a:cxn>
                                                    <a:cxn ang="0">
                                                      <a:pos x="connsiteX338" y="connsiteY338"/>
                                                    </a:cxn>
                                                    <a:cxn ang="0">
                                                      <a:pos x="connsiteX339" y="connsiteY339"/>
                                                    </a:cxn>
                                                    <a:cxn ang="0">
                                                      <a:pos x="connsiteX340" y="connsiteY340"/>
                                                    </a:cxn>
                                                    <a:cxn ang="0">
                                                      <a:pos x="connsiteX341" y="connsiteY341"/>
                                                    </a:cxn>
                                                    <a:cxn ang="0">
                                                      <a:pos x="connsiteX342" y="connsiteY342"/>
                                                    </a:cxn>
                                                    <a:cxn ang="0">
                                                      <a:pos x="connsiteX343" y="connsiteY343"/>
                                                    </a:cxn>
                                                    <a:cxn ang="0">
                                                      <a:pos x="connsiteX344" y="connsiteY344"/>
                                                    </a:cxn>
                                                    <a:cxn ang="0">
                                                      <a:pos x="connsiteX345" y="connsiteY345"/>
                                                    </a:cxn>
                                                    <a:cxn ang="0">
                                                      <a:pos x="connsiteX346" y="connsiteY346"/>
                                                    </a:cxn>
                                                    <a:cxn ang="0">
                                                      <a:pos x="connsiteX347" y="connsiteY347"/>
                                                    </a:cxn>
                                                    <a:cxn ang="0">
                                                      <a:pos x="connsiteX348" y="connsiteY348"/>
                                                    </a:cxn>
                                                    <a:cxn ang="0">
                                                      <a:pos x="connsiteX349" y="connsiteY349"/>
                                                    </a:cxn>
                                                    <a:cxn ang="0">
                                                      <a:pos x="connsiteX350" y="connsiteY350"/>
                                                    </a:cxn>
                                                    <a:cxn ang="0">
                                                      <a:pos x="connsiteX351" y="connsiteY351"/>
                                                    </a:cxn>
                                                    <a:cxn ang="0">
                                                      <a:pos x="connsiteX352" y="connsiteY352"/>
                                                    </a:cxn>
                                                    <a:cxn ang="0">
                                                      <a:pos x="connsiteX353" y="connsiteY353"/>
                                                    </a:cxn>
                                                    <a:cxn ang="0">
                                                      <a:pos x="connsiteX354" y="connsiteY354"/>
                                                    </a:cxn>
                                                    <a:cxn ang="0">
                                                      <a:pos x="connsiteX355" y="connsiteY355"/>
                                                    </a:cxn>
                                                    <a:cxn ang="0">
                                                      <a:pos x="connsiteX356" y="connsiteY356"/>
                                                    </a:cxn>
                                                    <a:cxn ang="0">
                                                      <a:pos x="connsiteX357" y="connsiteY357"/>
                                                    </a:cxn>
                                                    <a:cxn ang="0">
                                                      <a:pos x="connsiteX358" y="connsiteY358"/>
                                                    </a:cxn>
                                                    <a:cxn ang="0">
                                                      <a:pos x="connsiteX359" y="connsiteY359"/>
                                                    </a:cxn>
                                                    <a:cxn ang="0">
                                                      <a:pos x="connsiteX360" y="connsiteY360"/>
                                                    </a:cxn>
                                                    <a:cxn ang="0">
                                                      <a:pos x="connsiteX361" y="connsiteY361"/>
                                                    </a:cxn>
                                                    <a:cxn ang="0">
                                                      <a:pos x="connsiteX362" y="connsiteY362"/>
                                                    </a:cxn>
                                                    <a:cxn ang="0">
                                                      <a:pos x="connsiteX363" y="connsiteY363"/>
                                                    </a:cxn>
                                                    <a:cxn ang="0">
                                                      <a:pos x="connsiteX364" y="connsiteY364"/>
                                                    </a:cxn>
                                                    <a:cxn ang="0">
                                                      <a:pos x="connsiteX365" y="connsiteY365"/>
                                                    </a:cxn>
                                                    <a:cxn ang="0">
                                                      <a:pos x="connsiteX366" y="connsiteY366"/>
                                                    </a:cxn>
                                                    <a:cxn ang="0">
                                                      <a:pos x="connsiteX367" y="connsiteY367"/>
                                                    </a:cxn>
                                                    <a:cxn ang="0">
                                                      <a:pos x="connsiteX368" y="connsiteY368"/>
                                                    </a:cxn>
                                                    <a:cxn ang="0">
                                                      <a:pos x="connsiteX369" y="connsiteY369"/>
                                                    </a:cxn>
                                                    <a:cxn ang="0">
                                                      <a:pos x="connsiteX370" y="connsiteY370"/>
                                                    </a:cxn>
                                                    <a:cxn ang="0">
                                                      <a:pos x="connsiteX371" y="connsiteY371"/>
                                                    </a:cxn>
                                                    <a:cxn ang="0">
                                                      <a:pos x="connsiteX372" y="connsiteY372"/>
                                                    </a:cxn>
                                                    <a:cxn ang="0">
                                                      <a:pos x="connsiteX373" y="connsiteY373"/>
                                                    </a:cxn>
                                                    <a:cxn ang="0">
                                                      <a:pos x="connsiteX374" y="connsiteY374"/>
                                                    </a:cxn>
                                                    <a:cxn ang="0">
                                                      <a:pos x="connsiteX375" y="connsiteY375"/>
                                                    </a:cxn>
                                                    <a:cxn ang="0">
                                                      <a:pos x="connsiteX376" y="connsiteY376"/>
                                                    </a:cxn>
                                                    <a:cxn ang="0">
                                                      <a:pos x="connsiteX377" y="connsiteY377"/>
                                                    </a:cxn>
                                                    <a:cxn ang="0">
                                                      <a:pos x="connsiteX378" y="connsiteY378"/>
                                                    </a:cxn>
                                                    <a:cxn ang="0">
                                                      <a:pos x="connsiteX379" y="connsiteY379"/>
                                                    </a:cxn>
                                                    <a:cxn ang="0">
                                                      <a:pos x="connsiteX380" y="connsiteY380"/>
                                                    </a:cxn>
                                                    <a:cxn ang="0">
                                                      <a:pos x="connsiteX381" y="connsiteY381"/>
                                                    </a:cxn>
                                                    <a:cxn ang="0">
                                                      <a:pos x="connsiteX382" y="connsiteY382"/>
                                                    </a:cxn>
                                                    <a:cxn ang="0">
                                                      <a:pos x="connsiteX383" y="connsiteY383"/>
                                                    </a:cxn>
                                                    <a:cxn ang="0">
                                                      <a:pos x="connsiteX384" y="connsiteY384"/>
                                                    </a:cxn>
                                                    <a:cxn ang="0">
                                                      <a:pos x="connsiteX385" y="connsiteY385"/>
                                                    </a:cxn>
                                                    <a:cxn ang="0">
                                                      <a:pos x="connsiteX386" y="connsiteY386"/>
                                                    </a:cxn>
                                                    <a:cxn ang="0">
                                                      <a:pos x="connsiteX387" y="connsiteY387"/>
                                                    </a:cxn>
                                                    <a:cxn ang="0">
                                                      <a:pos x="connsiteX388" y="connsiteY388"/>
                                                    </a:cxn>
                                                    <a:cxn ang="0">
                                                      <a:pos x="connsiteX389" y="connsiteY389"/>
                                                    </a:cxn>
                                                    <a:cxn ang="0">
                                                      <a:pos x="connsiteX390" y="connsiteY390"/>
                                                    </a:cxn>
                                                    <a:cxn ang="0">
                                                      <a:pos x="connsiteX391" y="connsiteY391"/>
                                                    </a:cxn>
                                                    <a:cxn ang="0">
                                                      <a:pos x="connsiteX392" y="connsiteY392"/>
                                                    </a:cxn>
                                                    <a:cxn ang="0">
                                                      <a:pos x="connsiteX393" y="connsiteY393"/>
                                                    </a:cxn>
                                                    <a:cxn ang="0">
                                                      <a:pos x="connsiteX394" y="connsiteY394"/>
                                                    </a:cxn>
                                                    <a:cxn ang="0">
                                                      <a:pos x="connsiteX395" y="connsiteY395"/>
                                                    </a:cxn>
                                                    <a:cxn ang="0">
                                                      <a:pos x="connsiteX396" y="connsiteY396"/>
                                                    </a:cxn>
                                                    <a:cxn ang="0">
                                                      <a:pos x="connsiteX397" y="connsiteY397"/>
                                                    </a:cxn>
                                                    <a:cxn ang="0">
                                                      <a:pos x="connsiteX398" y="connsiteY398"/>
                                                    </a:cxn>
                                                    <a:cxn ang="0">
                                                      <a:pos x="connsiteX399" y="connsiteY399"/>
                                                    </a:cxn>
                                                    <a:cxn ang="0">
                                                      <a:pos x="connsiteX400" y="connsiteY400"/>
                                                    </a:cxn>
                                                    <a:cxn ang="0">
                                                      <a:pos x="connsiteX401" y="connsiteY401"/>
                                                    </a:cxn>
                                                    <a:cxn ang="0">
                                                      <a:pos x="connsiteX402" y="connsiteY402"/>
                                                    </a:cxn>
                                                    <a:cxn ang="0">
                                                      <a:pos x="connsiteX403" y="connsiteY403"/>
                                                    </a:cxn>
                                                    <a:cxn ang="0">
                                                      <a:pos x="connsiteX404" y="connsiteY404"/>
                                                    </a:cxn>
                                                    <a:cxn ang="0">
                                                      <a:pos x="connsiteX405" y="connsiteY405"/>
                                                    </a:cxn>
                                                    <a:cxn ang="0">
                                                      <a:pos x="connsiteX406" y="connsiteY406"/>
                                                    </a:cxn>
                                                    <a:cxn ang="0">
                                                      <a:pos x="connsiteX407" y="connsiteY407"/>
                                                    </a:cxn>
                                                    <a:cxn ang="0">
                                                      <a:pos x="connsiteX408" y="connsiteY408"/>
                                                    </a:cxn>
                                                    <a:cxn ang="0">
                                                      <a:pos x="connsiteX409" y="connsiteY409"/>
                                                    </a:cxn>
                                                    <a:cxn ang="0">
                                                      <a:pos x="connsiteX410" y="connsiteY410"/>
                                                    </a:cxn>
                                                    <a:cxn ang="0">
                                                      <a:pos x="connsiteX411" y="connsiteY411"/>
                                                    </a:cxn>
                                                    <a:cxn ang="0">
                                                      <a:pos x="connsiteX412" y="connsiteY412"/>
                                                    </a:cxn>
                                                    <a:cxn ang="0">
                                                      <a:pos x="connsiteX413" y="connsiteY413"/>
                                                    </a:cxn>
                                                    <a:cxn ang="0">
                                                      <a:pos x="connsiteX414" y="connsiteY414"/>
                                                    </a:cxn>
                                                    <a:cxn ang="0">
                                                      <a:pos x="connsiteX415" y="connsiteY415"/>
                                                    </a:cxn>
                                                    <a:cxn ang="0">
                                                      <a:pos x="connsiteX416" y="connsiteY416"/>
                                                    </a:cxn>
                                                    <a:cxn ang="0">
                                                      <a:pos x="connsiteX417" y="connsiteY417"/>
                                                    </a:cxn>
                                                    <a:cxn ang="0">
                                                      <a:pos x="connsiteX418" y="connsiteY418"/>
                                                    </a:cxn>
                                                    <a:cxn ang="0">
                                                      <a:pos x="connsiteX419" y="connsiteY419"/>
                                                    </a:cxn>
                                                    <a:cxn ang="0">
                                                      <a:pos x="connsiteX420" y="connsiteY420"/>
                                                    </a:cxn>
                                                    <a:cxn ang="0">
                                                      <a:pos x="connsiteX421" y="connsiteY421"/>
                                                    </a:cxn>
                                                    <a:cxn ang="0">
                                                      <a:pos x="connsiteX422" y="connsiteY422"/>
                                                    </a:cxn>
                                                    <a:cxn ang="0">
                                                      <a:pos x="connsiteX423" y="connsiteY423"/>
                                                    </a:cxn>
                                                    <a:cxn ang="0">
                                                      <a:pos x="connsiteX424" y="connsiteY424"/>
                                                    </a:cxn>
                                                    <a:cxn ang="0">
                                                      <a:pos x="connsiteX425" y="connsiteY425"/>
                                                    </a:cxn>
                                                    <a:cxn ang="0">
                                                      <a:pos x="connsiteX426" y="connsiteY426"/>
                                                    </a:cxn>
                                                    <a:cxn ang="0">
                                                      <a:pos x="connsiteX427" y="connsiteY427"/>
                                                    </a:cxn>
                                                    <a:cxn ang="0">
                                                      <a:pos x="connsiteX428" y="connsiteY428"/>
                                                    </a:cxn>
                                                    <a:cxn ang="0">
                                                      <a:pos x="connsiteX429" y="connsiteY429"/>
                                                    </a:cxn>
                                                    <a:cxn ang="0">
                                                      <a:pos x="connsiteX430" y="connsiteY430"/>
                                                    </a:cxn>
                                                    <a:cxn ang="0">
                                                      <a:pos x="connsiteX431" y="connsiteY431"/>
                                                    </a:cxn>
                                                    <a:cxn ang="0">
                                                      <a:pos x="connsiteX432" y="connsiteY432"/>
                                                    </a:cxn>
                                                    <a:cxn ang="0">
                                                      <a:pos x="connsiteX433" y="connsiteY433"/>
                                                    </a:cxn>
                                                    <a:cxn ang="0">
                                                      <a:pos x="connsiteX434" y="connsiteY434"/>
                                                    </a:cxn>
                                                    <a:cxn ang="0">
                                                      <a:pos x="connsiteX435" y="connsiteY435"/>
                                                    </a:cxn>
                                                    <a:cxn ang="0">
                                                      <a:pos x="connsiteX436" y="connsiteY436"/>
                                                    </a:cxn>
                                                    <a:cxn ang="0">
                                                      <a:pos x="connsiteX437" y="connsiteY437"/>
                                                    </a:cxn>
                                                    <a:cxn ang="0">
                                                      <a:pos x="connsiteX438" y="connsiteY438"/>
                                                    </a:cxn>
                                                    <a:cxn ang="0">
                                                      <a:pos x="connsiteX439" y="connsiteY439"/>
                                                    </a:cxn>
                                                    <a:cxn ang="0">
                                                      <a:pos x="connsiteX440" y="connsiteY440"/>
                                                    </a:cxn>
                                                    <a:cxn ang="0">
                                                      <a:pos x="connsiteX441" y="connsiteY441"/>
                                                    </a:cxn>
                                                    <a:cxn ang="0">
                                                      <a:pos x="connsiteX442" y="connsiteY442"/>
                                                    </a:cxn>
                                                    <a:cxn ang="0">
                                                      <a:pos x="connsiteX443" y="connsiteY443"/>
                                                    </a:cxn>
                                                    <a:cxn ang="0">
                                                      <a:pos x="connsiteX444" y="connsiteY444"/>
                                                    </a:cxn>
                                                    <a:cxn ang="0">
                                                      <a:pos x="connsiteX445" y="connsiteY445"/>
                                                    </a:cxn>
                                                    <a:cxn ang="0">
                                                      <a:pos x="connsiteX446" y="connsiteY446"/>
                                                    </a:cxn>
                                                    <a:cxn ang="0">
                                                      <a:pos x="connsiteX447" y="connsiteY447"/>
                                                    </a:cxn>
                                                    <a:cxn ang="0">
                                                      <a:pos x="connsiteX448" y="connsiteY448"/>
                                                    </a:cxn>
                                                    <a:cxn ang="0">
                                                      <a:pos x="connsiteX449" y="connsiteY449"/>
                                                    </a:cxn>
                                                    <a:cxn ang="0">
                                                      <a:pos x="connsiteX450" y="connsiteY450"/>
                                                    </a:cxn>
                                                    <a:cxn ang="0">
                                                      <a:pos x="connsiteX451" y="connsiteY451"/>
                                                    </a:cxn>
                                                    <a:cxn ang="0">
                                                      <a:pos x="connsiteX452" y="connsiteY452"/>
                                                    </a:cxn>
                                                    <a:cxn ang="0">
                                                      <a:pos x="connsiteX453" y="connsiteY453"/>
                                                    </a:cxn>
                                                    <a:cxn ang="0">
                                                      <a:pos x="connsiteX454" y="connsiteY454"/>
                                                    </a:cxn>
                                                    <a:cxn ang="0">
                                                      <a:pos x="connsiteX455" y="connsiteY455"/>
                                                    </a:cxn>
                                                    <a:cxn ang="0">
                                                      <a:pos x="connsiteX456" y="connsiteY456"/>
                                                    </a:cxn>
                                                    <a:cxn ang="0">
                                                      <a:pos x="connsiteX457" y="connsiteY457"/>
                                                    </a:cxn>
                                                    <a:cxn ang="0">
                                                      <a:pos x="connsiteX458" y="connsiteY458"/>
                                                    </a:cxn>
                                                    <a:cxn ang="0">
                                                      <a:pos x="connsiteX459" y="connsiteY459"/>
                                                    </a:cxn>
                                                    <a:cxn ang="0">
                                                      <a:pos x="connsiteX460" y="connsiteY460"/>
                                                    </a:cxn>
                                                    <a:cxn ang="0">
                                                      <a:pos x="connsiteX461" y="connsiteY461"/>
                                                    </a:cxn>
                                                    <a:cxn ang="0">
                                                      <a:pos x="connsiteX462" y="connsiteY462"/>
                                                    </a:cxn>
                                                    <a:cxn ang="0">
                                                      <a:pos x="connsiteX463" y="connsiteY463"/>
                                                    </a:cxn>
                                                    <a:cxn ang="0">
                                                      <a:pos x="connsiteX464" y="connsiteY464"/>
                                                    </a:cxn>
                                                    <a:cxn ang="0">
                                                      <a:pos x="connsiteX465" y="connsiteY465"/>
                                                    </a:cxn>
                                                    <a:cxn ang="0">
                                                      <a:pos x="connsiteX466" y="connsiteY466"/>
                                                    </a:cxn>
                                                    <a:cxn ang="0">
                                                      <a:pos x="connsiteX467" y="connsiteY467"/>
                                                    </a:cxn>
                                                    <a:cxn ang="0">
                                                      <a:pos x="connsiteX468" y="connsiteY468"/>
                                                    </a:cxn>
                                                    <a:cxn ang="0">
                                                      <a:pos x="connsiteX469" y="connsiteY469"/>
                                                    </a:cxn>
                                                    <a:cxn ang="0">
                                                      <a:pos x="connsiteX470" y="connsiteY470"/>
                                                    </a:cxn>
                                                    <a:cxn ang="0">
                                                      <a:pos x="connsiteX471" y="connsiteY471"/>
                                                    </a:cxn>
                                                    <a:cxn ang="0">
                                                      <a:pos x="connsiteX472" y="connsiteY472"/>
                                                    </a:cxn>
                                                    <a:cxn ang="0">
                                                      <a:pos x="connsiteX473" y="connsiteY473"/>
                                                    </a:cxn>
                                                    <a:cxn ang="0">
                                                      <a:pos x="connsiteX474" y="connsiteY474"/>
                                                    </a:cxn>
                                                    <a:cxn ang="0">
                                                      <a:pos x="connsiteX475" y="connsiteY475"/>
                                                    </a:cxn>
                                                    <a:cxn ang="0">
                                                      <a:pos x="connsiteX476" y="connsiteY476"/>
                                                    </a:cxn>
                                                    <a:cxn ang="0">
                                                      <a:pos x="connsiteX477" y="connsiteY477"/>
                                                    </a:cxn>
                                                    <a:cxn ang="0">
                                                      <a:pos x="connsiteX478" y="connsiteY478"/>
                                                    </a:cxn>
                                                    <a:cxn ang="0">
                                                      <a:pos x="connsiteX479" y="connsiteY479"/>
                                                    </a:cxn>
                                                    <a:cxn ang="0">
                                                      <a:pos x="connsiteX480" y="connsiteY480"/>
                                                    </a:cxn>
                                                    <a:cxn ang="0">
                                                      <a:pos x="connsiteX481" y="connsiteY481"/>
                                                    </a:cxn>
                                                    <a:cxn ang="0">
                                                      <a:pos x="connsiteX482" y="connsiteY482"/>
                                                    </a:cxn>
                                                    <a:cxn ang="0">
                                                      <a:pos x="connsiteX483" y="connsiteY483"/>
                                                    </a:cxn>
                                                    <a:cxn ang="0">
                                                      <a:pos x="connsiteX484" y="connsiteY484"/>
                                                    </a:cxn>
                                                    <a:cxn ang="0">
                                                      <a:pos x="connsiteX485" y="connsiteY485"/>
                                                    </a:cxn>
                                                    <a:cxn ang="0">
                                                      <a:pos x="connsiteX486" y="connsiteY486"/>
                                                    </a:cxn>
                                                    <a:cxn ang="0">
                                                      <a:pos x="connsiteX487" y="connsiteY487"/>
                                                    </a:cxn>
                                                    <a:cxn ang="0">
                                                      <a:pos x="connsiteX488" y="connsiteY488"/>
                                                    </a:cxn>
                                                    <a:cxn ang="0">
                                                      <a:pos x="connsiteX489" y="connsiteY489"/>
                                                    </a:cxn>
                                                    <a:cxn ang="0">
                                                      <a:pos x="connsiteX490" y="connsiteY490"/>
                                                    </a:cxn>
                                                    <a:cxn ang="0">
                                                      <a:pos x="connsiteX491" y="connsiteY491"/>
                                                    </a:cxn>
                                                    <a:cxn ang="0">
                                                      <a:pos x="connsiteX492" y="connsiteY492"/>
                                                    </a:cxn>
                                                    <a:cxn ang="0">
                                                      <a:pos x="connsiteX493" y="connsiteY493"/>
                                                    </a:cxn>
                                                    <a:cxn ang="0">
                                                      <a:pos x="connsiteX494" y="connsiteY494"/>
                                                    </a:cxn>
                                                    <a:cxn ang="0">
                                                      <a:pos x="connsiteX495" y="connsiteY495"/>
                                                    </a:cxn>
                                                    <a:cxn ang="0">
                                                      <a:pos x="connsiteX496" y="connsiteY496"/>
                                                    </a:cxn>
                                                    <a:cxn ang="0">
                                                      <a:pos x="connsiteX497" y="connsiteY497"/>
                                                    </a:cxn>
                                                    <a:cxn ang="0">
                                                      <a:pos x="connsiteX498" y="connsiteY498"/>
                                                    </a:cxn>
                                                    <a:cxn ang="0">
                                                      <a:pos x="connsiteX499" y="connsiteY499"/>
                                                    </a:cxn>
                                                    <a:cxn ang="0">
                                                      <a:pos x="connsiteX500" y="connsiteY500"/>
                                                    </a:cxn>
                                                    <a:cxn ang="0">
                                                      <a:pos x="connsiteX501" y="connsiteY501"/>
                                                    </a:cxn>
                                                    <a:cxn ang="0">
                                                      <a:pos x="connsiteX502" y="connsiteY502"/>
                                                    </a:cxn>
                                                    <a:cxn ang="0">
                                                      <a:pos x="connsiteX503" y="connsiteY50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125996" h="1277302">
                                                      <a:moveTo>
                                                        <a:pt x="2111302" y="926220"/>
                                                      </a:moveTo>
                                                      <a:cubicBezTo>
                                                        <a:pt x="2116161" y="926026"/>
                                                        <a:pt x="2121020" y="925767"/>
                                                        <a:pt x="2125878" y="925573"/>
                                                      </a:cubicBezTo>
                                                      <a:cubicBezTo>
                                                        <a:pt x="2127174" y="915077"/>
                                                        <a:pt x="2117651" y="904647"/>
                                                        <a:pt x="2107091" y="904971"/>
                                                      </a:cubicBezTo>
                                                      <a:cubicBezTo>
                                                        <a:pt x="2109293" y="901602"/>
                                                        <a:pt x="2108969" y="896743"/>
                                                        <a:pt x="2106313" y="893633"/>
                                                      </a:cubicBezTo>
                                                      <a:cubicBezTo>
                                                        <a:pt x="2101001" y="898751"/>
                                                        <a:pt x="2093032" y="900954"/>
                                                        <a:pt x="2085776" y="899334"/>
                                                      </a:cubicBezTo>
                                                      <a:cubicBezTo>
                                                        <a:pt x="2086359" y="891431"/>
                                                        <a:pt x="2086942" y="883527"/>
                                                        <a:pt x="2087525" y="875688"/>
                                                      </a:cubicBezTo>
                                                      <a:cubicBezTo>
                                                        <a:pt x="2074050" y="872254"/>
                                                        <a:pt x="2061676" y="883008"/>
                                                        <a:pt x="2050014" y="890653"/>
                                                      </a:cubicBezTo>
                                                      <a:cubicBezTo>
                                                        <a:pt x="2040880" y="896613"/>
                                                        <a:pt x="2030773" y="901019"/>
                                                        <a:pt x="2020148" y="903610"/>
                                                      </a:cubicBezTo>
                                                      <a:cubicBezTo>
                                                        <a:pt x="2014901" y="892791"/>
                                                        <a:pt x="2025202" y="880417"/>
                                                        <a:pt x="2036280" y="875947"/>
                                                      </a:cubicBezTo>
                                                      <a:cubicBezTo>
                                                        <a:pt x="2047358" y="871412"/>
                                                        <a:pt x="2060121" y="870829"/>
                                                        <a:pt x="2070098" y="864091"/>
                                                      </a:cubicBezTo>
                                                      <a:cubicBezTo>
                                                        <a:pt x="2072754" y="862277"/>
                                                        <a:pt x="2075281" y="859880"/>
                                                        <a:pt x="2076253" y="856770"/>
                                                      </a:cubicBezTo>
                                                      <a:cubicBezTo>
                                                        <a:pt x="2077160" y="853596"/>
                                                        <a:pt x="2076317" y="850033"/>
                                                        <a:pt x="2074050" y="847635"/>
                                                      </a:cubicBezTo>
                                                      <a:cubicBezTo>
                                                        <a:pt x="2048136" y="856835"/>
                                                        <a:pt x="2019047" y="846405"/>
                                                        <a:pt x="1996372" y="830726"/>
                                                      </a:cubicBezTo>
                                                      <a:cubicBezTo>
                                                        <a:pt x="1990412" y="826645"/>
                                                        <a:pt x="1984646" y="822045"/>
                                                        <a:pt x="1980758" y="815955"/>
                                                      </a:cubicBezTo>
                                                      <a:cubicBezTo>
                                                        <a:pt x="1976871" y="809801"/>
                                                        <a:pt x="1975187" y="802221"/>
                                                        <a:pt x="1976094" y="794900"/>
                                                      </a:cubicBezTo>
                                                      <a:lnTo>
                                                        <a:pt x="1967089" y="794900"/>
                                                      </a:lnTo>
                                                      <a:cubicBezTo>
                                                        <a:pt x="1966830" y="791790"/>
                                                        <a:pt x="1966506" y="788680"/>
                                                        <a:pt x="1966246" y="785571"/>
                                                      </a:cubicBezTo>
                                                      <a:cubicBezTo>
                                                        <a:pt x="1959379" y="788486"/>
                                                        <a:pt x="1950439" y="783109"/>
                                                        <a:pt x="1949726" y="775723"/>
                                                      </a:cubicBezTo>
                                                      <a:cubicBezTo>
                                                        <a:pt x="1959185" y="770087"/>
                                                        <a:pt x="1975187" y="780258"/>
                                                        <a:pt x="1980758" y="770735"/>
                                                      </a:cubicBezTo>
                                                      <a:cubicBezTo>
                                                        <a:pt x="1982767" y="767236"/>
                                                        <a:pt x="1981730" y="762701"/>
                                                        <a:pt x="1980046" y="758944"/>
                                                      </a:cubicBezTo>
                                                      <a:cubicBezTo>
                                                        <a:pt x="1967672" y="731475"/>
                                                        <a:pt x="1926079" y="721562"/>
                                                        <a:pt x="1922905" y="691567"/>
                                                      </a:cubicBezTo>
                                                      <a:cubicBezTo>
                                                        <a:pt x="1922192" y="684829"/>
                                                        <a:pt x="1923099" y="676472"/>
                                                        <a:pt x="1917333" y="672779"/>
                                                      </a:cubicBezTo>
                                                      <a:cubicBezTo>
                                                        <a:pt x="1915325" y="671483"/>
                                                        <a:pt x="1912863" y="671094"/>
                                                        <a:pt x="1910855" y="669734"/>
                                                      </a:cubicBezTo>
                                                      <a:cubicBezTo>
                                                        <a:pt x="1906579" y="666819"/>
                                                        <a:pt x="1906320" y="660469"/>
                                                        <a:pt x="1907551" y="655416"/>
                                                      </a:cubicBezTo>
                                                      <a:cubicBezTo>
                                                        <a:pt x="1908782" y="650363"/>
                                                        <a:pt x="1911114" y="645310"/>
                                                        <a:pt x="1910401" y="640127"/>
                                                      </a:cubicBezTo>
                                                      <a:cubicBezTo>
                                                        <a:pt x="1909624" y="634944"/>
                                                        <a:pt x="1903793" y="630150"/>
                                                        <a:pt x="1899323" y="632871"/>
                                                      </a:cubicBezTo>
                                                      <a:cubicBezTo>
                                                        <a:pt x="1897055" y="634296"/>
                                                        <a:pt x="1896083" y="637082"/>
                                                        <a:pt x="1895306" y="639673"/>
                                                      </a:cubicBezTo>
                                                      <a:cubicBezTo>
                                                        <a:pt x="1889475" y="658461"/>
                                                        <a:pt x="1883645" y="677249"/>
                                                        <a:pt x="1877879" y="696037"/>
                                                      </a:cubicBezTo>
                                                      <a:cubicBezTo>
                                                        <a:pt x="1875223" y="696426"/>
                                                        <a:pt x="1870623" y="696944"/>
                                                        <a:pt x="1867966" y="697397"/>
                                                      </a:cubicBezTo>
                                                      <a:cubicBezTo>
                                                        <a:pt x="1864079" y="695389"/>
                                                        <a:pt x="1858767" y="697073"/>
                                                        <a:pt x="1856759" y="700961"/>
                                                      </a:cubicBezTo>
                                                      <a:cubicBezTo>
                                                        <a:pt x="1850345" y="707569"/>
                                                        <a:pt x="1843931" y="714112"/>
                                                        <a:pt x="1837517" y="720720"/>
                                                      </a:cubicBezTo>
                                                      <a:cubicBezTo>
                                                        <a:pt x="1834343" y="726097"/>
                                                        <a:pt x="1825467" y="722469"/>
                                                        <a:pt x="1822616" y="716898"/>
                                                      </a:cubicBezTo>
                                                      <a:cubicBezTo>
                                                        <a:pt x="1819701" y="711326"/>
                                                        <a:pt x="1819248" y="704394"/>
                                                        <a:pt x="1814713" y="700054"/>
                                                      </a:cubicBezTo>
                                                      <a:cubicBezTo>
                                                        <a:pt x="1811085" y="696620"/>
                                                        <a:pt x="1805772" y="695713"/>
                                                        <a:pt x="1801172" y="693834"/>
                                                      </a:cubicBezTo>
                                                      <a:cubicBezTo>
                                                        <a:pt x="1788863" y="688846"/>
                                                        <a:pt x="1781283" y="676666"/>
                                                        <a:pt x="1774546" y="665199"/>
                                                      </a:cubicBezTo>
                                                      <a:cubicBezTo>
                                                        <a:pt x="1768844" y="655481"/>
                                                        <a:pt x="1763078" y="643496"/>
                                                        <a:pt x="1768326" y="633583"/>
                                                      </a:cubicBezTo>
                                                      <a:cubicBezTo>
                                                        <a:pt x="1772732" y="625356"/>
                                                        <a:pt x="1784199" y="616933"/>
                                                        <a:pt x="1778303" y="609677"/>
                                                      </a:cubicBezTo>
                                                      <a:cubicBezTo>
                                                        <a:pt x="1752583" y="611038"/>
                                                        <a:pt x="1724142" y="611621"/>
                                                        <a:pt x="1704188" y="595295"/>
                                                      </a:cubicBezTo>
                                                      <a:cubicBezTo>
                                                        <a:pt x="1692268" y="585577"/>
                                                        <a:pt x="1684752" y="570676"/>
                                                        <a:pt x="1671342" y="563097"/>
                                                      </a:cubicBezTo>
                                                      <a:cubicBezTo>
                                                        <a:pt x="1665835" y="559987"/>
                                                        <a:pt x="1659680" y="558367"/>
                                                        <a:pt x="1653526" y="556877"/>
                                                      </a:cubicBezTo>
                                                      <a:cubicBezTo>
                                                        <a:pt x="1628195" y="550658"/>
                                                        <a:pt x="1602280" y="546771"/>
                                                        <a:pt x="1576236" y="545345"/>
                                                      </a:cubicBezTo>
                                                      <a:cubicBezTo>
                                                        <a:pt x="1570082" y="554869"/>
                                                        <a:pt x="1564381" y="568798"/>
                                                        <a:pt x="1572997" y="576183"/>
                                                      </a:cubicBezTo>
                                                      <a:cubicBezTo>
                                                        <a:pt x="1578374" y="580783"/>
                                                        <a:pt x="1587704" y="580654"/>
                                                        <a:pt x="1590554" y="587132"/>
                                                      </a:cubicBezTo>
                                                      <a:cubicBezTo>
                                                        <a:pt x="1592692" y="591991"/>
                                                        <a:pt x="1589258" y="597822"/>
                                                        <a:pt x="1584529" y="600284"/>
                                                      </a:cubicBezTo>
                                                      <a:cubicBezTo>
                                                        <a:pt x="1579800" y="602681"/>
                                                        <a:pt x="1574293" y="602551"/>
                                                        <a:pt x="1568980" y="602357"/>
                                                      </a:cubicBezTo>
                                                      <a:cubicBezTo>
                                                        <a:pt x="1565741" y="613305"/>
                                                        <a:pt x="1575848" y="623088"/>
                                                        <a:pt x="1583492" y="631640"/>
                                                      </a:cubicBezTo>
                                                      <a:cubicBezTo>
                                                        <a:pt x="1591072" y="640192"/>
                                                        <a:pt x="1595607" y="655870"/>
                                                        <a:pt x="1585501" y="661182"/>
                                                      </a:cubicBezTo>
                                                      <a:cubicBezTo>
                                                        <a:pt x="1581678" y="663190"/>
                                                        <a:pt x="1576625" y="662867"/>
                                                        <a:pt x="1573580" y="665912"/>
                                                      </a:cubicBezTo>
                                                      <a:cubicBezTo>
                                                        <a:pt x="1569175" y="670382"/>
                                                        <a:pt x="1572479" y="678221"/>
                                                        <a:pt x="1577403" y="682173"/>
                                                      </a:cubicBezTo>
                                                      <a:cubicBezTo>
                                                        <a:pt x="1582262" y="686125"/>
                                                        <a:pt x="1588611" y="688587"/>
                                                        <a:pt x="1591979" y="693899"/>
                                                      </a:cubicBezTo>
                                                      <a:cubicBezTo>
                                                        <a:pt x="1597227" y="702127"/>
                                                        <a:pt x="1592951" y="713140"/>
                                                        <a:pt x="1595089" y="722729"/>
                                                      </a:cubicBezTo>
                                                      <a:cubicBezTo>
                                                        <a:pt x="1596385" y="728430"/>
                                                        <a:pt x="1599948" y="733353"/>
                                                        <a:pt x="1602928" y="738472"/>
                                                      </a:cubicBezTo>
                                                      <a:cubicBezTo>
                                                        <a:pt x="1610573" y="751623"/>
                                                        <a:pt x="1614590" y="766912"/>
                                                        <a:pt x="1614395" y="782137"/>
                                                      </a:cubicBezTo>
                                                      <a:cubicBezTo>
                                                        <a:pt x="1614395" y="786931"/>
                                                        <a:pt x="1613877" y="791855"/>
                                                        <a:pt x="1611674" y="796131"/>
                                                      </a:cubicBezTo>
                                                      <a:cubicBezTo>
                                                        <a:pt x="1608953" y="801314"/>
                                                        <a:pt x="1604030" y="804942"/>
                                                        <a:pt x="1599235" y="808375"/>
                                                      </a:cubicBezTo>
                                                      <a:cubicBezTo>
                                                        <a:pt x="1576172" y="824896"/>
                                                        <a:pt x="1553043" y="841416"/>
                                                        <a:pt x="1529980" y="857872"/>
                                                      </a:cubicBezTo>
                                                      <a:cubicBezTo>
                                                        <a:pt x="1544168" y="870764"/>
                                                        <a:pt x="1551877" y="890394"/>
                                                        <a:pt x="1550322" y="909441"/>
                                                      </a:cubicBezTo>
                                                      <a:cubicBezTo>
                                                        <a:pt x="1549998" y="914041"/>
                                                        <a:pt x="1549091" y="918770"/>
                                                        <a:pt x="1550452" y="923111"/>
                                                      </a:cubicBezTo>
                                                      <a:cubicBezTo>
                                                        <a:pt x="1552395" y="929265"/>
                                                        <a:pt x="1558291" y="933476"/>
                                                        <a:pt x="1560753" y="939437"/>
                                                      </a:cubicBezTo>
                                                      <a:cubicBezTo>
                                                        <a:pt x="1563215" y="945397"/>
                                                        <a:pt x="1557643" y="954661"/>
                                                        <a:pt x="1552201" y="951228"/>
                                                      </a:cubicBezTo>
                                                      <a:cubicBezTo>
                                                        <a:pt x="1553043" y="958808"/>
                                                        <a:pt x="1553821" y="966388"/>
                                                        <a:pt x="1554663" y="973968"/>
                                                      </a:cubicBezTo>
                                                      <a:cubicBezTo>
                                                        <a:pt x="1545658" y="970080"/>
                                                        <a:pt x="1533867" y="977077"/>
                                                        <a:pt x="1532895" y="986860"/>
                                                      </a:cubicBezTo>
                                                      <a:cubicBezTo>
                                                        <a:pt x="1521622" y="987702"/>
                                                        <a:pt x="1511904" y="979086"/>
                                                        <a:pt x="1505102" y="970016"/>
                                                      </a:cubicBezTo>
                                                      <a:cubicBezTo>
                                                        <a:pt x="1498299" y="961010"/>
                                                        <a:pt x="1492404" y="950580"/>
                                                        <a:pt x="1482556" y="945073"/>
                                                      </a:cubicBezTo>
                                                      <a:cubicBezTo>
                                                        <a:pt x="1478280" y="942741"/>
                                                        <a:pt x="1473422" y="941380"/>
                                                        <a:pt x="1469729" y="938206"/>
                                                      </a:cubicBezTo>
                                                      <a:cubicBezTo>
                                                        <a:pt x="1462667" y="932181"/>
                                                        <a:pt x="1461825" y="921750"/>
                                                        <a:pt x="1461566" y="912421"/>
                                                      </a:cubicBezTo>
                                                      <a:cubicBezTo>
                                                        <a:pt x="1460853" y="887349"/>
                                                        <a:pt x="1460141" y="862277"/>
                                                        <a:pt x="1459363" y="837270"/>
                                                      </a:cubicBezTo>
                                                      <a:cubicBezTo>
                                                        <a:pt x="1413560" y="835909"/>
                                                        <a:pt x="1368015" y="824377"/>
                                                        <a:pt x="1327006" y="803840"/>
                                                      </a:cubicBezTo>
                                                      <a:cubicBezTo>
                                                        <a:pt x="1320916" y="800795"/>
                                                        <a:pt x="1314956" y="797556"/>
                                                        <a:pt x="1309578" y="793539"/>
                                                      </a:cubicBezTo>
                                                      <a:cubicBezTo>
                                                        <a:pt x="1302258" y="788033"/>
                                                        <a:pt x="1296103" y="781101"/>
                                                        <a:pt x="1288782" y="775594"/>
                                                      </a:cubicBezTo>
                                                      <a:cubicBezTo>
                                                        <a:pt x="1264488" y="757324"/>
                                                        <a:pt x="1227884" y="757648"/>
                                                        <a:pt x="1203913" y="776436"/>
                                                      </a:cubicBezTo>
                                                      <a:cubicBezTo>
                                                        <a:pt x="1214019" y="751169"/>
                                                        <a:pt x="1200738" y="723182"/>
                                                        <a:pt x="1187846" y="699276"/>
                                                      </a:cubicBezTo>
                                                      <a:cubicBezTo>
                                                        <a:pt x="1174954" y="705431"/>
                                                        <a:pt x="1158887" y="696296"/>
                                                        <a:pt x="1152732" y="683404"/>
                                                      </a:cubicBezTo>
                                                      <a:cubicBezTo>
                                                        <a:pt x="1146513" y="670576"/>
                                                        <a:pt x="1147808" y="655416"/>
                                                        <a:pt x="1150076" y="641358"/>
                                                      </a:cubicBezTo>
                                                      <a:cubicBezTo>
                                                        <a:pt x="1153704" y="618229"/>
                                                        <a:pt x="1159859" y="594777"/>
                                                        <a:pt x="1173982" y="576183"/>
                                                      </a:cubicBezTo>
                                                      <a:cubicBezTo>
                                                        <a:pt x="1184413" y="562384"/>
                                                        <a:pt x="1194584" y="550399"/>
                                                        <a:pt x="1209679" y="541976"/>
                                                      </a:cubicBezTo>
                                                      <a:cubicBezTo>
                                                        <a:pt x="1209225" y="531611"/>
                                                        <a:pt x="1222442" y="527270"/>
                                                        <a:pt x="1232678" y="525715"/>
                                                      </a:cubicBezTo>
                                                      <a:cubicBezTo>
                                                        <a:pt x="1242979" y="524160"/>
                                                        <a:pt x="1256066" y="518265"/>
                                                        <a:pt x="1253992" y="508094"/>
                                                      </a:cubicBezTo>
                                                      <a:cubicBezTo>
                                                        <a:pt x="1242396" y="504530"/>
                                                        <a:pt x="1230864" y="500902"/>
                                                        <a:pt x="1219267" y="497339"/>
                                                      </a:cubicBezTo>
                                                      <a:cubicBezTo>
                                                        <a:pt x="1208707" y="487621"/>
                                                        <a:pt x="1193547" y="483151"/>
                                                        <a:pt x="1179424" y="485678"/>
                                                      </a:cubicBezTo>
                                                      <a:cubicBezTo>
                                                        <a:pt x="1183376" y="478875"/>
                                                        <a:pt x="1191798" y="475765"/>
                                                        <a:pt x="1199637" y="475960"/>
                                                      </a:cubicBezTo>
                                                      <a:cubicBezTo>
                                                        <a:pt x="1207476" y="476154"/>
                                                        <a:pt x="1214991" y="479134"/>
                                                        <a:pt x="1222247" y="482050"/>
                                                      </a:cubicBezTo>
                                                      <a:cubicBezTo>
                                                        <a:pt x="1226782" y="483799"/>
                                                        <a:pt x="1231252" y="485613"/>
                                                        <a:pt x="1235723" y="487427"/>
                                                      </a:cubicBezTo>
                                                      <a:cubicBezTo>
                                                        <a:pt x="1245052" y="491184"/>
                                                        <a:pt x="1255418" y="494942"/>
                                                        <a:pt x="1264941" y="491638"/>
                                                      </a:cubicBezTo>
                                                      <a:cubicBezTo>
                                                        <a:pt x="1274400" y="488334"/>
                                                        <a:pt x="1279971" y="474211"/>
                                                        <a:pt x="1272068" y="467991"/>
                                                      </a:cubicBezTo>
                                                      <a:cubicBezTo>
                                                        <a:pt x="1278481" y="469416"/>
                                                        <a:pt x="1284960" y="470842"/>
                                                        <a:pt x="1291374" y="472202"/>
                                                      </a:cubicBezTo>
                                                      <a:cubicBezTo>
                                                        <a:pt x="1294095" y="472785"/>
                                                        <a:pt x="1296880" y="473433"/>
                                                        <a:pt x="1299666" y="473433"/>
                                                      </a:cubicBezTo>
                                                      <a:cubicBezTo>
                                                        <a:pt x="1313207" y="473563"/>
                                                        <a:pt x="1323054" y="461059"/>
                                                        <a:pt x="1330569" y="449786"/>
                                                      </a:cubicBezTo>
                                                      <a:cubicBezTo>
                                                        <a:pt x="1334391" y="444085"/>
                                                        <a:pt x="1338214" y="438384"/>
                                                        <a:pt x="1342036" y="432683"/>
                                                      </a:cubicBezTo>
                                                      <a:cubicBezTo>
                                                        <a:pt x="1325580" y="427694"/>
                                                        <a:pt x="1309125" y="422706"/>
                                                        <a:pt x="1292669" y="417717"/>
                                                      </a:cubicBezTo>
                                                      <a:cubicBezTo>
                                                        <a:pt x="1287357" y="416163"/>
                                                        <a:pt x="1281915" y="414413"/>
                                                        <a:pt x="1277963" y="410591"/>
                                                      </a:cubicBezTo>
                                                      <a:cubicBezTo>
                                                        <a:pt x="1273946" y="406769"/>
                                                        <a:pt x="1272132" y="400160"/>
                                                        <a:pt x="1275307" y="395690"/>
                                                      </a:cubicBezTo>
                                                      <a:cubicBezTo>
                                                        <a:pt x="1294354" y="388823"/>
                                                        <a:pt x="1307959" y="418495"/>
                                                        <a:pt x="1328042" y="420568"/>
                                                      </a:cubicBezTo>
                                                      <a:cubicBezTo>
                                                        <a:pt x="1341583" y="421993"/>
                                                        <a:pt x="1352596" y="410591"/>
                                                        <a:pt x="1361342" y="400225"/>
                                                      </a:cubicBezTo>
                                                      <a:cubicBezTo>
                                                        <a:pt x="1365488" y="395302"/>
                                                        <a:pt x="1369635" y="390378"/>
                                                        <a:pt x="1373781" y="385519"/>
                                                      </a:cubicBezTo>
                                                      <a:cubicBezTo>
                                                        <a:pt x="1365488" y="386102"/>
                                                        <a:pt x="1354799" y="385325"/>
                                                        <a:pt x="1352078" y="377421"/>
                                                      </a:cubicBezTo>
                                                      <a:cubicBezTo>
                                                        <a:pt x="1349551" y="369970"/>
                                                        <a:pt x="1357455" y="362326"/>
                                                        <a:pt x="1365359" y="362002"/>
                                                      </a:cubicBezTo>
                                                      <a:cubicBezTo>
                                                        <a:pt x="1373198" y="361743"/>
                                                        <a:pt x="1380389" y="366213"/>
                                                        <a:pt x="1386933" y="370553"/>
                                                      </a:cubicBezTo>
                                                      <a:cubicBezTo>
                                                        <a:pt x="1386414" y="382798"/>
                                                        <a:pt x="1405202" y="390119"/>
                                                        <a:pt x="1413041" y="380660"/>
                                                      </a:cubicBezTo>
                                                      <a:cubicBezTo>
                                                        <a:pt x="1420945" y="371266"/>
                                                        <a:pt x="1410385" y="354098"/>
                                                        <a:pt x="1398400" y="356819"/>
                                                      </a:cubicBezTo>
                                                      <a:cubicBezTo>
                                                        <a:pt x="1395679" y="350729"/>
                                                        <a:pt x="1404230" y="344574"/>
                                                        <a:pt x="1410515" y="346777"/>
                                                      </a:cubicBezTo>
                                                      <a:cubicBezTo>
                                                        <a:pt x="1416799" y="349045"/>
                                                        <a:pt x="1420103" y="355782"/>
                                                        <a:pt x="1422241" y="362131"/>
                                                      </a:cubicBezTo>
                                                      <a:cubicBezTo>
                                                        <a:pt x="1424120" y="367638"/>
                                                        <a:pt x="1426128" y="373987"/>
                                                        <a:pt x="1431440" y="376514"/>
                                                      </a:cubicBezTo>
                                                      <a:cubicBezTo>
                                                        <a:pt x="1436753" y="379040"/>
                                                        <a:pt x="1444657" y="372562"/>
                                                        <a:pt x="1440899" y="368027"/>
                                                      </a:cubicBezTo>
                                                      <a:cubicBezTo>
                                                        <a:pt x="1454180" y="359216"/>
                                                        <a:pt x="1466425" y="348980"/>
                                                        <a:pt x="1477438" y="337448"/>
                                                      </a:cubicBezTo>
                                                      <a:cubicBezTo>
                                                        <a:pt x="1479382" y="335440"/>
                                                        <a:pt x="1481325" y="333237"/>
                                                        <a:pt x="1481779" y="330516"/>
                                                      </a:cubicBezTo>
                                                      <a:cubicBezTo>
                                                        <a:pt x="1482362" y="327147"/>
                                                        <a:pt x="1480548" y="323908"/>
                                                        <a:pt x="1478734" y="320992"/>
                                                      </a:cubicBezTo>
                                                      <a:cubicBezTo>
                                                        <a:pt x="1469988" y="306545"/>
                                                        <a:pt x="1461242" y="292098"/>
                                                        <a:pt x="1452431" y="277715"/>
                                                      </a:cubicBezTo>
                                                      <a:cubicBezTo>
                                                        <a:pt x="1465906" y="277715"/>
                                                        <a:pt x="1479382" y="277780"/>
                                                        <a:pt x="1492922" y="277780"/>
                                                      </a:cubicBezTo>
                                                      <a:cubicBezTo>
                                                        <a:pt x="1490007" y="269358"/>
                                                        <a:pt x="1483917" y="262102"/>
                                                        <a:pt x="1476143" y="257826"/>
                                                      </a:cubicBezTo>
                                                      <a:cubicBezTo>
                                                        <a:pt x="1483269" y="256725"/>
                                                        <a:pt x="1480483" y="244934"/>
                                                        <a:pt x="1474005" y="241759"/>
                                                      </a:cubicBezTo>
                                                      <a:cubicBezTo>
                                                        <a:pt x="1467526" y="238585"/>
                                                        <a:pt x="1459039" y="238520"/>
                                                        <a:pt x="1454634" y="232754"/>
                                                      </a:cubicBezTo>
                                                      <a:cubicBezTo>
                                                        <a:pt x="1452431" y="229968"/>
                                                        <a:pt x="1451589" y="226016"/>
                                                        <a:pt x="1448673" y="223943"/>
                                                      </a:cubicBezTo>
                                                      <a:cubicBezTo>
                                                        <a:pt x="1446276" y="222259"/>
                                                        <a:pt x="1443167" y="222324"/>
                                                        <a:pt x="1440251" y="222388"/>
                                                      </a:cubicBezTo>
                                                      <a:cubicBezTo>
                                                        <a:pt x="1420427" y="223036"/>
                                                        <a:pt x="1400667" y="224008"/>
                                                        <a:pt x="1380843" y="225304"/>
                                                      </a:cubicBezTo>
                                                      <a:cubicBezTo>
                                                        <a:pt x="1378575" y="232365"/>
                                                        <a:pt x="1385766" y="238779"/>
                                                        <a:pt x="1392310" y="242213"/>
                                                      </a:cubicBezTo>
                                                      <a:cubicBezTo>
                                                        <a:pt x="1398918" y="245647"/>
                                                        <a:pt x="1406822" y="249922"/>
                                                        <a:pt x="1407146" y="257308"/>
                                                      </a:cubicBezTo>
                                                      <a:cubicBezTo>
                                                        <a:pt x="1400991" y="258733"/>
                                                        <a:pt x="1395744" y="263657"/>
                                                        <a:pt x="1393930" y="269747"/>
                                                      </a:cubicBezTo>
                                                      <a:cubicBezTo>
                                                        <a:pt x="1390820" y="266119"/>
                                                        <a:pt x="1384795" y="270330"/>
                                                        <a:pt x="1383693" y="274930"/>
                                                      </a:cubicBezTo>
                                                      <a:cubicBezTo>
                                                        <a:pt x="1382592" y="279594"/>
                                                        <a:pt x="1383564" y="284842"/>
                                                        <a:pt x="1380908" y="288794"/>
                                                      </a:cubicBezTo>
                                                      <a:cubicBezTo>
                                                        <a:pt x="1379417" y="291126"/>
                                                        <a:pt x="1376826" y="292616"/>
                                                        <a:pt x="1374882" y="294625"/>
                                                      </a:cubicBezTo>
                                                      <a:cubicBezTo>
                                                        <a:pt x="1370930" y="298706"/>
                                                        <a:pt x="1369635" y="305185"/>
                                                        <a:pt x="1371773" y="310497"/>
                                                      </a:cubicBezTo>
                                                      <a:cubicBezTo>
                                                        <a:pt x="1363610" y="305573"/>
                                                        <a:pt x="1354734" y="301816"/>
                                                        <a:pt x="1345535" y="299419"/>
                                                      </a:cubicBezTo>
                                                      <a:cubicBezTo>
                                                        <a:pt x="1345016" y="309525"/>
                                                        <a:pt x="1354734" y="318919"/>
                                                        <a:pt x="1364841" y="318142"/>
                                                      </a:cubicBezTo>
                                                      <a:cubicBezTo>
                                                        <a:pt x="1366201" y="327730"/>
                                                        <a:pt x="1354799" y="336541"/>
                                                        <a:pt x="1345858" y="332848"/>
                                                      </a:cubicBezTo>
                                                      <a:cubicBezTo>
                                                        <a:pt x="1345146" y="336930"/>
                                                        <a:pt x="1344498" y="341011"/>
                                                        <a:pt x="1343850" y="345157"/>
                                                      </a:cubicBezTo>
                                                      <a:cubicBezTo>
                                                        <a:pt x="1338343" y="347684"/>
                                                        <a:pt x="1331994" y="342955"/>
                                                        <a:pt x="1329079" y="337642"/>
                                                      </a:cubicBezTo>
                                                      <a:cubicBezTo>
                                                        <a:pt x="1326164" y="332265"/>
                                                        <a:pt x="1324997" y="325981"/>
                                                        <a:pt x="1321046" y="321251"/>
                                                      </a:cubicBezTo>
                                                      <a:cubicBezTo>
                                                        <a:pt x="1318713" y="318401"/>
                                                        <a:pt x="1315539" y="316393"/>
                                                        <a:pt x="1313207" y="313542"/>
                                                      </a:cubicBezTo>
                                                      <a:cubicBezTo>
                                                        <a:pt x="1305303" y="303695"/>
                                                        <a:pt x="1313725" y="286073"/>
                                                        <a:pt x="1326358" y="286073"/>
                                                      </a:cubicBezTo>
                                                      <a:cubicBezTo>
                                                        <a:pt x="1329921" y="268516"/>
                                                        <a:pt x="1311846" y="254717"/>
                                                        <a:pt x="1295714" y="246877"/>
                                                      </a:cubicBezTo>
                                                      <a:cubicBezTo>
                                                        <a:pt x="1293965" y="245970"/>
                                                        <a:pt x="1291892" y="245063"/>
                                                        <a:pt x="1290013" y="245776"/>
                                                      </a:cubicBezTo>
                                                      <a:cubicBezTo>
                                                        <a:pt x="1288847" y="246230"/>
                                                        <a:pt x="1287940" y="247201"/>
                                                        <a:pt x="1287098" y="248173"/>
                                                      </a:cubicBezTo>
                                                      <a:cubicBezTo>
                                                        <a:pt x="1277574" y="259252"/>
                                                        <a:pt x="1267403" y="273440"/>
                                                        <a:pt x="1272327" y="287174"/>
                                                      </a:cubicBezTo>
                                                      <a:cubicBezTo>
                                                        <a:pt x="1267338" y="286915"/>
                                                        <a:pt x="1262414" y="286591"/>
                                                        <a:pt x="1257426" y="286332"/>
                                                      </a:cubicBezTo>
                                                      <a:cubicBezTo>
                                                        <a:pt x="1257815" y="277068"/>
                                                        <a:pt x="1256584" y="267738"/>
                                                        <a:pt x="1253798" y="258928"/>
                                                      </a:cubicBezTo>
                                                      <a:cubicBezTo>
                                                        <a:pt x="1249457" y="258604"/>
                                                        <a:pt x="1245117" y="258280"/>
                                                        <a:pt x="1240841" y="258021"/>
                                                      </a:cubicBezTo>
                                                      <a:cubicBezTo>
                                                        <a:pt x="1244534" y="247137"/>
                                                        <a:pt x="1255612" y="239298"/>
                                                        <a:pt x="1267014" y="239427"/>
                                                      </a:cubicBezTo>
                                                      <a:cubicBezTo>
                                                        <a:pt x="1256972" y="225304"/>
                                                        <a:pt x="1235917" y="220510"/>
                                                        <a:pt x="1220757" y="228932"/>
                                                      </a:cubicBezTo>
                                                      <a:cubicBezTo>
                                                        <a:pt x="1219332" y="222324"/>
                                                        <a:pt x="1217907" y="215456"/>
                                                        <a:pt x="1219785" y="209043"/>
                                                      </a:cubicBezTo>
                                                      <a:cubicBezTo>
                                                        <a:pt x="1221664" y="202629"/>
                                                        <a:pt x="1228078" y="196992"/>
                                                        <a:pt x="1234621" y="198418"/>
                                                      </a:cubicBezTo>
                                                      <a:cubicBezTo>
                                                        <a:pt x="1237342" y="193818"/>
                                                        <a:pt x="1232678" y="188441"/>
                                                        <a:pt x="1228402" y="185266"/>
                                                      </a:cubicBezTo>
                                                      <a:cubicBezTo>
                                                        <a:pt x="1216546" y="176455"/>
                                                        <a:pt x="1204237" y="168228"/>
                                                        <a:pt x="1191474" y="160777"/>
                                                      </a:cubicBezTo>
                                                      <a:cubicBezTo>
                                                        <a:pt x="1197240" y="156437"/>
                                                        <a:pt x="1198924" y="148144"/>
                                                        <a:pt x="1196787" y="141277"/>
                                                      </a:cubicBezTo>
                                                      <a:cubicBezTo>
                                                        <a:pt x="1194713" y="134409"/>
                                                        <a:pt x="1189401" y="128903"/>
                                                        <a:pt x="1183376" y="124951"/>
                                                      </a:cubicBezTo>
                                                      <a:cubicBezTo>
                                                        <a:pt x="1177027" y="120740"/>
                                                        <a:pt x="1168864" y="117889"/>
                                                        <a:pt x="1161673" y="120610"/>
                                                      </a:cubicBezTo>
                                                      <a:cubicBezTo>
                                                        <a:pt x="1161478" y="107977"/>
                                                        <a:pt x="1169771" y="95538"/>
                                                        <a:pt x="1181627" y="91003"/>
                                                      </a:cubicBezTo>
                                                      <a:cubicBezTo>
                                                        <a:pt x="1186615" y="88088"/>
                                                        <a:pt x="1186227" y="80119"/>
                                                        <a:pt x="1182274" y="75843"/>
                                                      </a:cubicBezTo>
                                                      <a:cubicBezTo>
                                                        <a:pt x="1178258" y="71632"/>
                                                        <a:pt x="1172298" y="70142"/>
                                                        <a:pt x="1166596" y="68911"/>
                                                      </a:cubicBezTo>
                                                      <a:cubicBezTo>
                                                        <a:pt x="1177221" y="60619"/>
                                                        <a:pt x="1193806" y="61137"/>
                                                        <a:pt x="1203848" y="70142"/>
                                                      </a:cubicBezTo>
                                                      <a:cubicBezTo>
                                                        <a:pt x="1206310" y="72280"/>
                                                        <a:pt x="1208577" y="75001"/>
                                                        <a:pt x="1211752" y="75714"/>
                                                      </a:cubicBezTo>
                                                      <a:cubicBezTo>
                                                        <a:pt x="1224126" y="78564"/>
                                                        <a:pt x="1225357" y="52067"/>
                                                        <a:pt x="1238120" y="51937"/>
                                                      </a:cubicBezTo>
                                                      <a:cubicBezTo>
                                                        <a:pt x="1240128" y="38527"/>
                                                        <a:pt x="1248032" y="26930"/>
                                                        <a:pt x="1255677" y="15787"/>
                                                      </a:cubicBezTo>
                                                      <a:lnTo>
                                                        <a:pt x="1260536" y="8790"/>
                                                      </a:lnTo>
                                                      <a:cubicBezTo>
                                                        <a:pt x="1239999" y="14556"/>
                                                        <a:pt x="1218814" y="4255"/>
                                                        <a:pt x="1197758" y="1080"/>
                                                      </a:cubicBezTo>
                                                      <a:cubicBezTo>
                                                        <a:pt x="1179942" y="-1641"/>
                                                        <a:pt x="1161543" y="951"/>
                                                        <a:pt x="1144569" y="6911"/>
                                                      </a:cubicBezTo>
                                                      <a:cubicBezTo>
                                                        <a:pt x="1136277" y="23108"/>
                                                        <a:pt x="1127790" y="40988"/>
                                                        <a:pt x="1131612" y="58805"/>
                                                      </a:cubicBezTo>
                                                      <a:cubicBezTo>
                                                        <a:pt x="1133880" y="69624"/>
                                                        <a:pt x="1140552" y="79018"/>
                                                        <a:pt x="1144440" y="89383"/>
                                                      </a:cubicBezTo>
                                                      <a:cubicBezTo>
                                                        <a:pt x="1148262" y="99814"/>
                                                        <a:pt x="1148521" y="113160"/>
                                                        <a:pt x="1139969" y="120286"/>
                                                      </a:cubicBezTo>
                                                      <a:cubicBezTo>
                                                        <a:pt x="1138220" y="121776"/>
                                                        <a:pt x="1136018" y="122942"/>
                                                        <a:pt x="1135046" y="125080"/>
                                                      </a:cubicBezTo>
                                                      <a:cubicBezTo>
                                                        <a:pt x="1131159" y="133114"/>
                                                        <a:pt x="1147096" y="144581"/>
                                                        <a:pt x="1139322" y="148986"/>
                                                      </a:cubicBezTo>
                                                      <a:cubicBezTo>
                                                        <a:pt x="1132390" y="144386"/>
                                                        <a:pt x="1123644" y="141212"/>
                                                        <a:pt x="1115610" y="143674"/>
                                                      </a:cubicBezTo>
                                                      <a:cubicBezTo>
                                                        <a:pt x="1107641" y="146200"/>
                                                        <a:pt x="1101811" y="156048"/>
                                                        <a:pt x="1105957" y="163369"/>
                                                      </a:cubicBezTo>
                                                      <a:cubicBezTo>
                                                        <a:pt x="1108548" y="167904"/>
                                                        <a:pt x="1113796" y="170042"/>
                                                        <a:pt x="1117877" y="173281"/>
                                                      </a:cubicBezTo>
                                                      <a:cubicBezTo>
                                                        <a:pt x="1121959" y="176585"/>
                                                        <a:pt x="1124874" y="182934"/>
                                                        <a:pt x="1121311" y="186756"/>
                                                      </a:cubicBezTo>
                                                      <a:cubicBezTo>
                                                        <a:pt x="1117359" y="181120"/>
                                                        <a:pt x="1107382" y="186886"/>
                                                        <a:pt x="1107512" y="193818"/>
                                                      </a:cubicBezTo>
                                                      <a:cubicBezTo>
                                                        <a:pt x="1107641" y="200685"/>
                                                        <a:pt x="1113407" y="205998"/>
                                                        <a:pt x="1118849" y="210274"/>
                                                      </a:cubicBezTo>
                                                      <a:cubicBezTo>
                                                        <a:pt x="1125004" y="215262"/>
                                                        <a:pt x="1131871" y="220315"/>
                                                        <a:pt x="1139775" y="220898"/>
                                                      </a:cubicBezTo>
                                                      <a:cubicBezTo>
                                                        <a:pt x="1145023" y="221222"/>
                                                        <a:pt x="1150270" y="219603"/>
                                                        <a:pt x="1155453" y="220186"/>
                                                      </a:cubicBezTo>
                                                      <a:cubicBezTo>
                                                        <a:pt x="1160636" y="220834"/>
                                                        <a:pt x="1166208" y="225239"/>
                                                        <a:pt x="1164977" y="230292"/>
                                                      </a:cubicBezTo>
                                                      <a:cubicBezTo>
                                                        <a:pt x="1170743" y="229321"/>
                                                        <a:pt x="1176897" y="233272"/>
                                                        <a:pt x="1178452" y="238909"/>
                                                      </a:cubicBezTo>
                                                      <a:cubicBezTo>
                                                        <a:pt x="1172168" y="237613"/>
                                                        <a:pt x="1170937" y="248432"/>
                                                        <a:pt x="1175472" y="253032"/>
                                                      </a:cubicBezTo>
                                                      <a:cubicBezTo>
                                                        <a:pt x="1179942" y="257697"/>
                                                        <a:pt x="1187004" y="260677"/>
                                                        <a:pt x="1188300" y="267026"/>
                                                      </a:cubicBezTo>
                                                      <a:cubicBezTo>
                                                        <a:pt x="1189336" y="271950"/>
                                                        <a:pt x="1186162" y="276744"/>
                                                        <a:pt x="1182793" y="280501"/>
                                                      </a:cubicBezTo>
                                                      <a:cubicBezTo>
                                                        <a:pt x="1173205" y="291256"/>
                                                        <a:pt x="1160507" y="299160"/>
                                                        <a:pt x="1146642" y="303047"/>
                                                      </a:cubicBezTo>
                                                      <a:cubicBezTo>
                                                        <a:pt x="1143144" y="304019"/>
                                                        <a:pt x="1139322" y="304990"/>
                                                        <a:pt x="1137119" y="307906"/>
                                                      </a:cubicBezTo>
                                                      <a:cubicBezTo>
                                                        <a:pt x="1129539" y="318077"/>
                                                        <a:pt x="1152408" y="329998"/>
                                                        <a:pt x="1147938" y="341853"/>
                                                      </a:cubicBezTo>
                                                      <a:cubicBezTo>
                                                        <a:pt x="1145541" y="348332"/>
                                                        <a:pt x="1135953" y="349174"/>
                                                        <a:pt x="1130381" y="345157"/>
                                                      </a:cubicBezTo>
                                                      <a:cubicBezTo>
                                                        <a:pt x="1124810" y="341076"/>
                                                        <a:pt x="1122283" y="334144"/>
                                                        <a:pt x="1120016" y="327601"/>
                                                      </a:cubicBezTo>
                                                      <a:cubicBezTo>
                                                        <a:pt x="1117100" y="327601"/>
                                                        <a:pt x="1114185" y="327601"/>
                                                        <a:pt x="1111269" y="327536"/>
                                                      </a:cubicBezTo>
                                                      <a:cubicBezTo>
                                                        <a:pt x="1109715" y="321446"/>
                                                        <a:pt x="1108160" y="315291"/>
                                                        <a:pt x="1106605" y="309201"/>
                                                      </a:cubicBezTo>
                                                      <a:cubicBezTo>
                                                        <a:pt x="1112047" y="309655"/>
                                                        <a:pt x="1118979" y="309331"/>
                                                        <a:pt x="1121246" y="304342"/>
                                                      </a:cubicBezTo>
                                                      <a:cubicBezTo>
                                                        <a:pt x="1123967" y="298253"/>
                                                        <a:pt x="1116517" y="292098"/>
                                                        <a:pt x="1109844" y="291644"/>
                                                      </a:cubicBezTo>
                                                      <a:cubicBezTo>
                                                        <a:pt x="1103171" y="291256"/>
                                                        <a:pt x="1096369" y="293718"/>
                                                        <a:pt x="1089890" y="291904"/>
                                                      </a:cubicBezTo>
                                                      <a:cubicBezTo>
                                                        <a:pt x="1091510" y="288599"/>
                                                        <a:pt x="1091186" y="284518"/>
                                                        <a:pt x="1089113" y="281473"/>
                                                      </a:cubicBezTo>
                                                      <a:cubicBezTo>
                                                        <a:pt x="1079978" y="281084"/>
                                                        <a:pt x="1070713" y="284388"/>
                                                        <a:pt x="1063846" y="290478"/>
                                                      </a:cubicBezTo>
                                                      <a:cubicBezTo>
                                                        <a:pt x="1070843" y="296244"/>
                                                        <a:pt x="1065660" y="308813"/>
                                                        <a:pt x="1057108" y="311793"/>
                                                      </a:cubicBezTo>
                                                      <a:cubicBezTo>
                                                        <a:pt x="1048492" y="314708"/>
                                                        <a:pt x="1040847" y="311145"/>
                                                        <a:pt x="1031842" y="309849"/>
                                                      </a:cubicBezTo>
                                                      <a:cubicBezTo>
                                                        <a:pt x="1017460" y="307711"/>
                                                        <a:pt x="1004502" y="317883"/>
                                                        <a:pt x="990574" y="322094"/>
                                                      </a:cubicBezTo>
                                                      <a:cubicBezTo>
                                                        <a:pt x="976645" y="326305"/>
                                                        <a:pt x="956108" y="317818"/>
                                                        <a:pt x="959865" y="303759"/>
                                                      </a:cubicBezTo>
                                                      <a:cubicBezTo>
                                                        <a:pt x="950601" y="310627"/>
                                                        <a:pt x="937255" y="306740"/>
                                                        <a:pt x="927537" y="300585"/>
                                                      </a:cubicBezTo>
                                                      <a:cubicBezTo>
                                                        <a:pt x="917754" y="294365"/>
                                                        <a:pt x="908814" y="286008"/>
                                                        <a:pt x="897477" y="283935"/>
                                                      </a:cubicBezTo>
                                                      <a:cubicBezTo>
                                                        <a:pt x="872404" y="279400"/>
                                                        <a:pt x="851479" y="307323"/>
                                                        <a:pt x="826018" y="307193"/>
                                                      </a:cubicBezTo>
                                                      <a:cubicBezTo>
                                                        <a:pt x="822066" y="311858"/>
                                                        <a:pt x="825759" y="318854"/>
                                                        <a:pt x="829452" y="323778"/>
                                                      </a:cubicBezTo>
                                                      <a:cubicBezTo>
                                                        <a:pt x="836772" y="333366"/>
                                                        <a:pt x="844028" y="342955"/>
                                                        <a:pt x="851284" y="352543"/>
                                                      </a:cubicBezTo>
                                                      <a:cubicBezTo>
                                                        <a:pt x="843640" y="351442"/>
                                                        <a:pt x="835541" y="356948"/>
                                                        <a:pt x="833727" y="364463"/>
                                                      </a:cubicBezTo>
                                                      <a:cubicBezTo>
                                                        <a:pt x="823232" y="364463"/>
                                                        <a:pt x="812996" y="358503"/>
                                                        <a:pt x="807619" y="349498"/>
                                                      </a:cubicBezTo>
                                                      <a:cubicBezTo>
                                                        <a:pt x="811830" y="347490"/>
                                                        <a:pt x="815976" y="345546"/>
                                                        <a:pt x="820187" y="343538"/>
                                                      </a:cubicBezTo>
                                                      <a:cubicBezTo>
                                                        <a:pt x="817660" y="335569"/>
                                                        <a:pt x="813644" y="328054"/>
                                                        <a:pt x="808331" y="321575"/>
                                                      </a:cubicBezTo>
                                                      <a:cubicBezTo>
                                                        <a:pt x="804379" y="326823"/>
                                                        <a:pt x="795828" y="323130"/>
                                                        <a:pt x="791617" y="318142"/>
                                                      </a:cubicBezTo>
                                                      <a:cubicBezTo>
                                                        <a:pt x="787341" y="313153"/>
                                                        <a:pt x="783195" y="306545"/>
                                                        <a:pt x="776651" y="306351"/>
                                                      </a:cubicBezTo>
                                                      <a:cubicBezTo>
                                                        <a:pt x="772958" y="306221"/>
                                                        <a:pt x="769589" y="308359"/>
                                                        <a:pt x="766350" y="310173"/>
                                                      </a:cubicBezTo>
                                                      <a:cubicBezTo>
                                                        <a:pt x="739723" y="325074"/>
                                                        <a:pt x="707395" y="323843"/>
                                                        <a:pt x="676881" y="322223"/>
                                                      </a:cubicBezTo>
                                                      <a:cubicBezTo>
                                                        <a:pt x="662369" y="321446"/>
                                                        <a:pt x="644359" y="317947"/>
                                                        <a:pt x="640666" y="303954"/>
                                                      </a:cubicBezTo>
                                                      <a:cubicBezTo>
                                                        <a:pt x="649801" y="293653"/>
                                                        <a:pt x="662240" y="286397"/>
                                                        <a:pt x="675650" y="283417"/>
                                                      </a:cubicBezTo>
                                                      <a:cubicBezTo>
                                                        <a:pt x="676557" y="276031"/>
                                                        <a:pt x="668265" y="271107"/>
                                                        <a:pt x="661203" y="268645"/>
                                                      </a:cubicBezTo>
                                                      <a:cubicBezTo>
                                                        <a:pt x="616177" y="253162"/>
                                                        <a:pt x="565709" y="255364"/>
                                                        <a:pt x="522821" y="234633"/>
                                                      </a:cubicBezTo>
                                                      <a:cubicBezTo>
                                                        <a:pt x="504357" y="225757"/>
                                                        <a:pt x="484468" y="212476"/>
                                                        <a:pt x="465291" y="219603"/>
                                                      </a:cubicBezTo>
                                                      <a:cubicBezTo>
                                                        <a:pt x="456351" y="222907"/>
                                                        <a:pt x="449548" y="230228"/>
                                                        <a:pt x="441450" y="235281"/>
                                                      </a:cubicBezTo>
                                                      <a:cubicBezTo>
                                                        <a:pt x="433352" y="240334"/>
                                                        <a:pt x="421820" y="242731"/>
                                                        <a:pt x="414823" y="236253"/>
                                                      </a:cubicBezTo>
                                                      <a:cubicBezTo>
                                                        <a:pt x="412944" y="229839"/>
                                                        <a:pt x="417997" y="223749"/>
                                                        <a:pt x="420654" y="217659"/>
                                                      </a:cubicBezTo>
                                                      <a:cubicBezTo>
                                                        <a:pt x="423375" y="211634"/>
                                                        <a:pt x="420783" y="201592"/>
                                                        <a:pt x="414240" y="202823"/>
                                                      </a:cubicBezTo>
                                                      <a:cubicBezTo>
                                                        <a:pt x="407761" y="212541"/>
                                                        <a:pt x="401347" y="222194"/>
                                                        <a:pt x="394869" y="231912"/>
                                                      </a:cubicBezTo>
                                                      <a:cubicBezTo>
                                                        <a:pt x="390334" y="238779"/>
                                                        <a:pt x="382754" y="246618"/>
                                                        <a:pt x="375304" y="243120"/>
                                                      </a:cubicBezTo>
                                                      <a:cubicBezTo>
                                                        <a:pt x="371870" y="241500"/>
                                                        <a:pt x="369862" y="237872"/>
                                                        <a:pt x="368177" y="234503"/>
                                                      </a:cubicBezTo>
                                                      <a:cubicBezTo>
                                                        <a:pt x="360144" y="218825"/>
                                                        <a:pt x="352434" y="203018"/>
                                                        <a:pt x="344854" y="187145"/>
                                                      </a:cubicBezTo>
                                                      <a:cubicBezTo>
                                                        <a:pt x="340708" y="178334"/>
                                                        <a:pt x="328917" y="168552"/>
                                                        <a:pt x="323540" y="176650"/>
                                                      </a:cubicBezTo>
                                                      <a:cubicBezTo>
                                                        <a:pt x="332610" y="180343"/>
                                                        <a:pt x="331444" y="194077"/>
                                                        <a:pt x="325807" y="202111"/>
                                                      </a:cubicBezTo>
                                                      <a:cubicBezTo>
                                                        <a:pt x="320171" y="210144"/>
                                                        <a:pt x="311619" y="216946"/>
                                                        <a:pt x="310194" y="226664"/>
                                                      </a:cubicBezTo>
                                                      <a:cubicBezTo>
                                                        <a:pt x="301124" y="218631"/>
                                                        <a:pt x="287001" y="222518"/>
                                                        <a:pt x="275663" y="226859"/>
                                                      </a:cubicBezTo>
                                                      <a:cubicBezTo>
                                                        <a:pt x="267500" y="230033"/>
                                                        <a:pt x="259337" y="233143"/>
                                                        <a:pt x="251174" y="236317"/>
                                                      </a:cubicBezTo>
                                                      <a:cubicBezTo>
                                                        <a:pt x="238865" y="240982"/>
                                                        <a:pt x="225973" y="246165"/>
                                                        <a:pt x="217680" y="256401"/>
                                                      </a:cubicBezTo>
                                                      <a:cubicBezTo>
                                                        <a:pt x="213663" y="261389"/>
                                                        <a:pt x="210813" y="267415"/>
                                                        <a:pt x="205695" y="271237"/>
                                                      </a:cubicBezTo>
                                                      <a:cubicBezTo>
                                                        <a:pt x="200577" y="274994"/>
                                                        <a:pt x="191766" y="275059"/>
                                                        <a:pt x="189110" y="269293"/>
                                                      </a:cubicBezTo>
                                                      <a:cubicBezTo>
                                                        <a:pt x="206926" y="240788"/>
                                                        <a:pt x="238347" y="221158"/>
                                                        <a:pt x="271841" y="217724"/>
                                                      </a:cubicBezTo>
                                                      <a:cubicBezTo>
                                                        <a:pt x="274044" y="214290"/>
                                                        <a:pt x="274756" y="209950"/>
                                                        <a:pt x="273720" y="205998"/>
                                                      </a:cubicBezTo>
                                                      <a:cubicBezTo>
                                                        <a:pt x="247287" y="207553"/>
                                                        <a:pt x="221308" y="217011"/>
                                                        <a:pt x="199993" y="232819"/>
                                                      </a:cubicBezTo>
                                                      <a:cubicBezTo>
                                                        <a:pt x="195782" y="235929"/>
                                                        <a:pt x="191507" y="239427"/>
                                                        <a:pt x="186389" y="240399"/>
                                                      </a:cubicBezTo>
                                                      <a:cubicBezTo>
                                                        <a:pt x="181983" y="241306"/>
                                                        <a:pt x="177448" y="240205"/>
                                                        <a:pt x="172978" y="239427"/>
                                                      </a:cubicBezTo>
                                                      <a:cubicBezTo>
                                                        <a:pt x="157494" y="236836"/>
                                                        <a:pt x="141298" y="238067"/>
                                                        <a:pt x="126397" y="242990"/>
                                                      </a:cubicBezTo>
                                                      <a:cubicBezTo>
                                                        <a:pt x="128729" y="253874"/>
                                                        <a:pt x="138382" y="262750"/>
                                                        <a:pt x="149461" y="264110"/>
                                                      </a:cubicBezTo>
                                                      <a:cubicBezTo>
                                                        <a:pt x="152959" y="267738"/>
                                                        <a:pt x="148165" y="274282"/>
                                                        <a:pt x="143112" y="274347"/>
                                                      </a:cubicBezTo>
                                                      <a:cubicBezTo>
                                                        <a:pt x="138058" y="274347"/>
                                                        <a:pt x="133718" y="270848"/>
                                                        <a:pt x="129442" y="268127"/>
                                                      </a:cubicBezTo>
                                                      <a:cubicBezTo>
                                                        <a:pt x="118428" y="260936"/>
                                                        <a:pt x="105665" y="260418"/>
                                                        <a:pt x="92514" y="259446"/>
                                                      </a:cubicBezTo>
                                                      <a:cubicBezTo>
                                                        <a:pt x="80010" y="258474"/>
                                                        <a:pt x="67960" y="252514"/>
                                                        <a:pt x="59668" y="243120"/>
                                                      </a:cubicBezTo>
                                                      <a:cubicBezTo>
                                                        <a:pt x="56882" y="239945"/>
                                                        <a:pt x="54420" y="236382"/>
                                                        <a:pt x="50922" y="233985"/>
                                                      </a:cubicBezTo>
                                                      <a:cubicBezTo>
                                                        <a:pt x="40945" y="227183"/>
                                                        <a:pt x="27534" y="232689"/>
                                                        <a:pt x="15484" y="232365"/>
                                                      </a:cubicBezTo>
                                                      <a:cubicBezTo>
                                                        <a:pt x="9977" y="232171"/>
                                                        <a:pt x="4924" y="230746"/>
                                                        <a:pt x="0" y="228673"/>
                                                      </a:cubicBezTo>
                                                      <a:lnTo>
                                                        <a:pt x="324" y="633713"/>
                                                      </a:lnTo>
                                                      <a:cubicBezTo>
                                                        <a:pt x="12050" y="638054"/>
                                                        <a:pt x="25526" y="637471"/>
                                                        <a:pt x="36733" y="632093"/>
                                                      </a:cubicBezTo>
                                                      <a:cubicBezTo>
                                                        <a:pt x="38612" y="631186"/>
                                                        <a:pt x="40426" y="630215"/>
                                                        <a:pt x="42435" y="630020"/>
                                                      </a:cubicBezTo>
                                                      <a:cubicBezTo>
                                                        <a:pt x="47099" y="629502"/>
                                                        <a:pt x="51310" y="633583"/>
                                                        <a:pt x="52412" y="638183"/>
                                                      </a:cubicBezTo>
                                                      <a:cubicBezTo>
                                                        <a:pt x="53513" y="642718"/>
                                                        <a:pt x="52282" y="647577"/>
                                                        <a:pt x="50662" y="651983"/>
                                                      </a:cubicBezTo>
                                                      <a:cubicBezTo>
                                                        <a:pt x="49691" y="654574"/>
                                                        <a:pt x="48589" y="657554"/>
                                                        <a:pt x="49885" y="660016"/>
                                                      </a:cubicBezTo>
                                                      <a:cubicBezTo>
                                                        <a:pt x="51764" y="663709"/>
                                                        <a:pt x="57076" y="663450"/>
                                                        <a:pt x="61028" y="662283"/>
                                                      </a:cubicBezTo>
                                                      <a:cubicBezTo>
                                                        <a:pt x="65045" y="661182"/>
                                                        <a:pt x="69839" y="659822"/>
                                                        <a:pt x="72884" y="662672"/>
                                                      </a:cubicBezTo>
                                                      <a:cubicBezTo>
                                                        <a:pt x="75864" y="665458"/>
                                                        <a:pt x="74957" y="670447"/>
                                                        <a:pt x="76382" y="674269"/>
                                                      </a:cubicBezTo>
                                                      <a:cubicBezTo>
                                                        <a:pt x="78844" y="680812"/>
                                                        <a:pt x="87137" y="682497"/>
                                                        <a:pt x="94069" y="683209"/>
                                                      </a:cubicBezTo>
                                                      <a:cubicBezTo>
                                                        <a:pt x="97114" y="683533"/>
                                                        <a:pt x="100224" y="683857"/>
                                                        <a:pt x="103074" y="682885"/>
                                                      </a:cubicBezTo>
                                                      <a:cubicBezTo>
                                                        <a:pt x="109877" y="680488"/>
                                                        <a:pt x="113569" y="671548"/>
                                                        <a:pt x="120696" y="671289"/>
                                                      </a:cubicBezTo>
                                                      <a:cubicBezTo>
                                                        <a:pt x="122186" y="671224"/>
                                                        <a:pt x="123870" y="671548"/>
                                                        <a:pt x="125036" y="670576"/>
                                                      </a:cubicBezTo>
                                                      <a:cubicBezTo>
                                                        <a:pt x="125814" y="669863"/>
                                                        <a:pt x="126073" y="668762"/>
                                                        <a:pt x="126462" y="667790"/>
                                                      </a:cubicBezTo>
                                                      <a:cubicBezTo>
                                                        <a:pt x="128988" y="661053"/>
                                                        <a:pt x="138188" y="659109"/>
                                                        <a:pt x="144796" y="661895"/>
                                                      </a:cubicBezTo>
                                                      <a:cubicBezTo>
                                                        <a:pt x="151339" y="664681"/>
                                                        <a:pt x="155939" y="670706"/>
                                                        <a:pt x="160150" y="676472"/>
                                                      </a:cubicBezTo>
                                                      <a:cubicBezTo>
                                                        <a:pt x="166953" y="685801"/>
                                                        <a:pt x="173820" y="695130"/>
                                                        <a:pt x="180623" y="704459"/>
                                                      </a:cubicBezTo>
                                                      <a:cubicBezTo>
                                                        <a:pt x="183149" y="707893"/>
                                                        <a:pt x="185870" y="711456"/>
                                                        <a:pt x="189757" y="713076"/>
                                                      </a:cubicBezTo>
                                                      <a:cubicBezTo>
                                                        <a:pt x="192673" y="714306"/>
                                                        <a:pt x="196236" y="714436"/>
                                                        <a:pt x="198244" y="716833"/>
                                                      </a:cubicBezTo>
                                                      <a:cubicBezTo>
                                                        <a:pt x="199929" y="718841"/>
                                                        <a:pt x="199929" y="721822"/>
                                                        <a:pt x="200577" y="724348"/>
                                                      </a:cubicBezTo>
                                                      <a:cubicBezTo>
                                                        <a:pt x="202196" y="730827"/>
                                                        <a:pt x="208157" y="735232"/>
                                                        <a:pt x="211331" y="741063"/>
                                                      </a:cubicBezTo>
                                                      <a:cubicBezTo>
                                                        <a:pt x="213339" y="744626"/>
                                                        <a:pt x="214246" y="748708"/>
                                                        <a:pt x="215931" y="752400"/>
                                                      </a:cubicBezTo>
                                                      <a:cubicBezTo>
                                                        <a:pt x="217226" y="755251"/>
                                                        <a:pt x="218976" y="757842"/>
                                                        <a:pt x="220660" y="760434"/>
                                                      </a:cubicBezTo>
                                                      <a:cubicBezTo>
                                                        <a:pt x="225649" y="767884"/>
                                                        <a:pt x="230637" y="775270"/>
                                                        <a:pt x="235561" y="782720"/>
                                                      </a:cubicBezTo>
                                                      <a:cubicBezTo>
                                                        <a:pt x="237375" y="785376"/>
                                                        <a:pt x="239254" y="788097"/>
                                                        <a:pt x="242039" y="789587"/>
                                                      </a:cubicBezTo>
                                                      <a:cubicBezTo>
                                                        <a:pt x="244307" y="790754"/>
                                                        <a:pt x="246898" y="791013"/>
                                                        <a:pt x="249425" y="791466"/>
                                                      </a:cubicBezTo>
                                                      <a:cubicBezTo>
                                                        <a:pt x="260827" y="793345"/>
                                                        <a:pt x="271452" y="799240"/>
                                                        <a:pt x="279162" y="807857"/>
                                                      </a:cubicBezTo>
                                                      <a:cubicBezTo>
                                                        <a:pt x="274951" y="811550"/>
                                                        <a:pt x="270739" y="815307"/>
                                                        <a:pt x="266593" y="819000"/>
                                                      </a:cubicBezTo>
                                                      <a:cubicBezTo>
                                                        <a:pt x="273655" y="825025"/>
                                                        <a:pt x="280069" y="831763"/>
                                                        <a:pt x="285640" y="839148"/>
                                                      </a:cubicBezTo>
                                                      <a:cubicBezTo>
                                                        <a:pt x="287130" y="841027"/>
                                                        <a:pt x="284798" y="842582"/>
                                                        <a:pt x="282725" y="843813"/>
                                                      </a:cubicBezTo>
                                                      <a:cubicBezTo>
                                                        <a:pt x="280652" y="845044"/>
                                                        <a:pt x="278125" y="845821"/>
                                                        <a:pt x="276894" y="847895"/>
                                                      </a:cubicBezTo>
                                                      <a:cubicBezTo>
                                                        <a:pt x="274951" y="851134"/>
                                                        <a:pt x="276894" y="855928"/>
                                                        <a:pt x="274432" y="858714"/>
                                                      </a:cubicBezTo>
                                                      <a:cubicBezTo>
                                                        <a:pt x="273072" y="860204"/>
                                                        <a:pt x="270804" y="860463"/>
                                                        <a:pt x="268990" y="861500"/>
                                                      </a:cubicBezTo>
                                                      <a:cubicBezTo>
                                                        <a:pt x="268407" y="861759"/>
                                                        <a:pt x="268083" y="862277"/>
                                                        <a:pt x="267630" y="862730"/>
                                                      </a:cubicBezTo>
                                                      <a:cubicBezTo>
                                                        <a:pt x="266399" y="866618"/>
                                                        <a:pt x="270027" y="870764"/>
                                                        <a:pt x="273720" y="872902"/>
                                                      </a:cubicBezTo>
                                                      <a:cubicBezTo>
                                                        <a:pt x="277736" y="875234"/>
                                                        <a:pt x="282595" y="877243"/>
                                                        <a:pt x="284021" y="881583"/>
                                                      </a:cubicBezTo>
                                                      <a:cubicBezTo>
                                                        <a:pt x="284604" y="883332"/>
                                                        <a:pt x="284539" y="885211"/>
                                                        <a:pt x="285057" y="887025"/>
                                                      </a:cubicBezTo>
                                                      <a:cubicBezTo>
                                                        <a:pt x="287130" y="894346"/>
                                                        <a:pt x="297172" y="895642"/>
                                                        <a:pt x="302290" y="901343"/>
                                                      </a:cubicBezTo>
                                                      <a:cubicBezTo>
                                                        <a:pt x="304363" y="903740"/>
                                                        <a:pt x="305529" y="906785"/>
                                                        <a:pt x="306631" y="909765"/>
                                                      </a:cubicBezTo>
                                                      <a:cubicBezTo>
                                                        <a:pt x="309222" y="916762"/>
                                                        <a:pt x="311878" y="923823"/>
                                                        <a:pt x="314470" y="930820"/>
                                                      </a:cubicBezTo>
                                                      <a:cubicBezTo>
                                                        <a:pt x="315247" y="933023"/>
                                                        <a:pt x="316089" y="935226"/>
                                                        <a:pt x="317774" y="936845"/>
                                                      </a:cubicBezTo>
                                                      <a:cubicBezTo>
                                                        <a:pt x="320884" y="939955"/>
                                                        <a:pt x="325743" y="940020"/>
                                                        <a:pt x="330083" y="940668"/>
                                                      </a:cubicBezTo>
                                                      <a:cubicBezTo>
                                                        <a:pt x="334424" y="941316"/>
                                                        <a:pt x="339412" y="943777"/>
                                                        <a:pt x="339607" y="948183"/>
                                                      </a:cubicBezTo>
                                                      <a:cubicBezTo>
                                                        <a:pt x="339801" y="952588"/>
                                                        <a:pt x="335072" y="955374"/>
                                                        <a:pt x="330990" y="957188"/>
                                                      </a:cubicBezTo>
                                                      <a:cubicBezTo>
                                                        <a:pt x="327492" y="958678"/>
                                                        <a:pt x="323993" y="960233"/>
                                                        <a:pt x="320495" y="961723"/>
                                                      </a:cubicBezTo>
                                                      <a:cubicBezTo>
                                                        <a:pt x="332156" y="962501"/>
                                                        <a:pt x="332351" y="980511"/>
                                                        <a:pt x="341291" y="987897"/>
                                                      </a:cubicBezTo>
                                                      <a:cubicBezTo>
                                                        <a:pt x="345049" y="991071"/>
                                                        <a:pt x="350167" y="992043"/>
                                                        <a:pt x="355026" y="992885"/>
                                                      </a:cubicBezTo>
                                                      <a:cubicBezTo>
                                                        <a:pt x="362411" y="994181"/>
                                                        <a:pt x="369732" y="995412"/>
                                                        <a:pt x="377118" y="996707"/>
                                                      </a:cubicBezTo>
                                                      <a:cubicBezTo>
                                                        <a:pt x="379256" y="997096"/>
                                                        <a:pt x="381523" y="997550"/>
                                                        <a:pt x="383078" y="998975"/>
                                                      </a:cubicBezTo>
                                                      <a:cubicBezTo>
                                                        <a:pt x="385928" y="1001501"/>
                                                        <a:pt x="385734" y="1006166"/>
                                                        <a:pt x="388261" y="1009017"/>
                                                      </a:cubicBezTo>
                                                      <a:cubicBezTo>
                                                        <a:pt x="393573" y="1014718"/>
                                                        <a:pt x="404457" y="1007786"/>
                                                        <a:pt x="410612" y="1012580"/>
                                                      </a:cubicBezTo>
                                                      <a:cubicBezTo>
                                                        <a:pt x="414499" y="1015625"/>
                                                        <a:pt x="414175" y="1021455"/>
                                                        <a:pt x="416248" y="1025926"/>
                                                      </a:cubicBezTo>
                                                      <a:cubicBezTo>
                                                        <a:pt x="421755" y="1038041"/>
                                                        <a:pt x="440089" y="1034996"/>
                                                        <a:pt x="451556" y="1041798"/>
                                                      </a:cubicBezTo>
                                                      <a:cubicBezTo>
                                                        <a:pt x="459136" y="1046268"/>
                                                        <a:pt x="463024" y="1054885"/>
                                                        <a:pt x="464449" y="1063761"/>
                                                      </a:cubicBezTo>
                                                      <a:lnTo>
                                                        <a:pt x="1140229" y="1063761"/>
                                                      </a:lnTo>
                                                      <a:cubicBezTo>
                                                        <a:pt x="1140812" y="1059744"/>
                                                        <a:pt x="1141330" y="1055662"/>
                                                        <a:pt x="1141913" y="1051646"/>
                                                      </a:cubicBezTo>
                                                      <a:cubicBezTo>
                                                        <a:pt x="1143533" y="1050803"/>
                                                        <a:pt x="1145088" y="1050026"/>
                                                        <a:pt x="1146707" y="1049184"/>
                                                      </a:cubicBezTo>
                                                      <a:cubicBezTo>
                                                        <a:pt x="1145282" y="1046463"/>
                                                        <a:pt x="1147873" y="1043029"/>
                                                        <a:pt x="1150853" y="1042446"/>
                                                      </a:cubicBezTo>
                                                      <a:cubicBezTo>
                                                        <a:pt x="1153898" y="1041863"/>
                                                        <a:pt x="1156879" y="1043159"/>
                                                        <a:pt x="1159664" y="1044390"/>
                                                      </a:cubicBezTo>
                                                      <a:cubicBezTo>
                                                        <a:pt x="1159016" y="1051646"/>
                                                        <a:pt x="1158369" y="1058902"/>
                                                        <a:pt x="1157721" y="1066158"/>
                                                      </a:cubicBezTo>
                                                      <a:cubicBezTo>
                                                        <a:pt x="1162709" y="1066482"/>
                                                        <a:pt x="1167698" y="1066805"/>
                                                        <a:pt x="1172686" y="1067194"/>
                                                      </a:cubicBezTo>
                                                      <a:cubicBezTo>
                                                        <a:pt x="1172492" y="1071535"/>
                                                        <a:pt x="1175861" y="1075357"/>
                                                        <a:pt x="1179813" y="1077171"/>
                                                      </a:cubicBezTo>
                                                      <a:cubicBezTo>
                                                        <a:pt x="1183829" y="1078920"/>
                                                        <a:pt x="1188300" y="1079050"/>
                                                        <a:pt x="1192640" y="1079180"/>
                                                      </a:cubicBezTo>
                                                      <a:cubicBezTo>
                                                        <a:pt x="1193288" y="1073219"/>
                                                        <a:pt x="1200998" y="1069332"/>
                                                        <a:pt x="1206116" y="1072442"/>
                                                      </a:cubicBezTo>
                                                      <a:cubicBezTo>
                                                        <a:pt x="1210910" y="1081382"/>
                                                        <a:pt x="1222312" y="1086241"/>
                                                        <a:pt x="1232095" y="1083520"/>
                                                      </a:cubicBezTo>
                                                      <a:cubicBezTo>
                                                        <a:pt x="1239416" y="1090711"/>
                                                        <a:pt x="1250818" y="1093433"/>
                                                        <a:pt x="1260600" y="1090258"/>
                                                      </a:cubicBezTo>
                                                      <a:cubicBezTo>
                                                        <a:pt x="1262933" y="1089480"/>
                                                        <a:pt x="1265265" y="1088444"/>
                                                        <a:pt x="1267662" y="1088509"/>
                                                      </a:cubicBezTo>
                                                      <a:cubicBezTo>
                                                        <a:pt x="1270254" y="1088638"/>
                                                        <a:pt x="1272586" y="1089999"/>
                                                        <a:pt x="1274788" y="1091294"/>
                                                      </a:cubicBezTo>
                                                      <a:cubicBezTo>
                                                        <a:pt x="1277898" y="1089480"/>
                                                        <a:pt x="1283858" y="1090971"/>
                                                        <a:pt x="1287875" y="1089416"/>
                                                      </a:cubicBezTo>
                                                      <a:cubicBezTo>
                                                        <a:pt x="1294419" y="1087019"/>
                                                        <a:pt x="1294354" y="1077236"/>
                                                        <a:pt x="1299666" y="1072701"/>
                                                      </a:cubicBezTo>
                                                      <a:cubicBezTo>
                                                        <a:pt x="1301934" y="1070757"/>
                                                        <a:pt x="1304979" y="1069980"/>
                                                        <a:pt x="1307376" y="1068231"/>
                                                      </a:cubicBezTo>
                                                      <a:cubicBezTo>
                                                        <a:pt x="1313012" y="1063955"/>
                                                        <a:pt x="1315150" y="1054108"/>
                                                        <a:pt x="1322212" y="1054172"/>
                                                      </a:cubicBezTo>
                                                      <a:cubicBezTo>
                                                        <a:pt x="1326099" y="1054172"/>
                                                        <a:pt x="1329208" y="1057606"/>
                                                        <a:pt x="1333031" y="1058319"/>
                                                      </a:cubicBezTo>
                                                      <a:cubicBezTo>
                                                        <a:pt x="1337696" y="1059226"/>
                                                        <a:pt x="1343461" y="1056310"/>
                                                        <a:pt x="1346701" y="1059809"/>
                                                      </a:cubicBezTo>
                                                      <a:cubicBezTo>
                                                        <a:pt x="1348126" y="1061299"/>
                                                        <a:pt x="1348385" y="1063437"/>
                                                        <a:pt x="1349163" y="1065380"/>
                                                      </a:cubicBezTo>
                                                      <a:cubicBezTo>
                                                        <a:pt x="1351430" y="1071600"/>
                                                        <a:pt x="1359334" y="1075033"/>
                                                        <a:pt x="1365424" y="1072507"/>
                                                      </a:cubicBezTo>
                                                      <a:cubicBezTo>
                                                        <a:pt x="1364970" y="1084816"/>
                                                        <a:pt x="1376826" y="1096089"/>
                                                        <a:pt x="1389071" y="1094987"/>
                                                      </a:cubicBezTo>
                                                      <a:cubicBezTo>
                                                        <a:pt x="1391273" y="1094793"/>
                                                        <a:pt x="1393605" y="1094275"/>
                                                        <a:pt x="1395419" y="1095441"/>
                                                      </a:cubicBezTo>
                                                      <a:cubicBezTo>
                                                        <a:pt x="1397104" y="1096413"/>
                                                        <a:pt x="1397817" y="1098421"/>
                                                        <a:pt x="1398464" y="1100300"/>
                                                      </a:cubicBezTo>
                                                      <a:cubicBezTo>
                                                        <a:pt x="1400732" y="1107232"/>
                                                        <a:pt x="1402999" y="1114164"/>
                                                        <a:pt x="1405332" y="1121161"/>
                                                      </a:cubicBezTo>
                                                      <a:cubicBezTo>
                                                        <a:pt x="1408765" y="1131656"/>
                                                        <a:pt x="1413236" y="1143317"/>
                                                        <a:pt x="1423342" y="1147788"/>
                                                      </a:cubicBezTo>
                                                      <a:cubicBezTo>
                                                        <a:pt x="1426322" y="1149019"/>
                                                        <a:pt x="1429497" y="1149602"/>
                                                        <a:pt x="1432607" y="1150120"/>
                                                      </a:cubicBezTo>
                                                      <a:cubicBezTo>
                                                        <a:pt x="1454504" y="1153878"/>
                                                        <a:pt x="1476402" y="1157635"/>
                                                        <a:pt x="1498299" y="1161393"/>
                                                      </a:cubicBezTo>
                                                      <a:cubicBezTo>
                                                        <a:pt x="1500178" y="1161717"/>
                                                        <a:pt x="1502057" y="1162041"/>
                                                        <a:pt x="1503612" y="1163077"/>
                                                      </a:cubicBezTo>
                                                      <a:cubicBezTo>
                                                        <a:pt x="1507693" y="1165798"/>
                                                        <a:pt x="1507693" y="1171629"/>
                                                        <a:pt x="1508730" y="1176423"/>
                                                      </a:cubicBezTo>
                                                      <a:cubicBezTo>
                                                        <a:pt x="1509831" y="1181217"/>
                                                        <a:pt x="1515079" y="1186335"/>
                                                        <a:pt x="1518966" y="1183355"/>
                                                      </a:cubicBezTo>
                                                      <a:cubicBezTo>
                                                        <a:pt x="1514949" y="1189834"/>
                                                        <a:pt x="1527647" y="1195859"/>
                                                        <a:pt x="1526935" y="1203503"/>
                                                      </a:cubicBezTo>
                                                      <a:cubicBezTo>
                                                        <a:pt x="1526352" y="1209982"/>
                                                        <a:pt x="1517541" y="1211278"/>
                                                        <a:pt x="1511127" y="1210500"/>
                                                      </a:cubicBezTo>
                                                      <a:cubicBezTo>
                                                        <a:pt x="1508535" y="1210241"/>
                                                        <a:pt x="1505555" y="1209593"/>
                                                        <a:pt x="1504519" y="1207261"/>
                                                      </a:cubicBezTo>
                                                      <a:cubicBezTo>
                                                        <a:pt x="1503936" y="1206030"/>
                                                        <a:pt x="1504065" y="1204605"/>
                                                        <a:pt x="1503741" y="1203244"/>
                                                      </a:cubicBezTo>
                                                      <a:cubicBezTo>
                                                        <a:pt x="1502834" y="1199940"/>
                                                        <a:pt x="1498947" y="1198256"/>
                                                        <a:pt x="1495449" y="1198450"/>
                                                      </a:cubicBezTo>
                                                      <a:cubicBezTo>
                                                        <a:pt x="1487027" y="1198839"/>
                                                        <a:pt x="1480872" y="1207067"/>
                                                        <a:pt x="1478734" y="1215230"/>
                                                      </a:cubicBezTo>
                                                      <a:cubicBezTo>
                                                        <a:pt x="1476531" y="1223393"/>
                                                        <a:pt x="1477049" y="1232074"/>
                                                        <a:pt x="1475106" y="1240302"/>
                                                      </a:cubicBezTo>
                                                      <a:cubicBezTo>
                                                        <a:pt x="1472191" y="1252546"/>
                                                        <a:pt x="1464028" y="1262847"/>
                                                        <a:pt x="1454763" y="1271334"/>
                                                      </a:cubicBezTo>
                                                      <a:cubicBezTo>
                                                        <a:pt x="1454828" y="1270621"/>
                                                        <a:pt x="1454893" y="1269844"/>
                                                        <a:pt x="1454958" y="1269131"/>
                                                      </a:cubicBezTo>
                                                      <a:cubicBezTo>
                                                        <a:pt x="1454115" y="1271464"/>
                                                        <a:pt x="1453208" y="1273925"/>
                                                        <a:pt x="1453791" y="1276322"/>
                                                      </a:cubicBezTo>
                                                      <a:cubicBezTo>
                                                        <a:pt x="1455411" y="1277618"/>
                                                        <a:pt x="1457938" y="1277618"/>
                                                        <a:pt x="1459622" y="1276387"/>
                                                      </a:cubicBezTo>
                                                      <a:cubicBezTo>
                                                        <a:pt x="1461630" y="1274962"/>
                                                        <a:pt x="1462343" y="1272176"/>
                                                        <a:pt x="1464352" y="1270686"/>
                                                      </a:cubicBezTo>
                                                      <a:cubicBezTo>
                                                        <a:pt x="1465842" y="1269650"/>
                                                        <a:pt x="1467785" y="1269390"/>
                                                        <a:pt x="1469599" y="1269714"/>
                                                      </a:cubicBezTo>
                                                      <a:cubicBezTo>
                                                        <a:pt x="1470312" y="1269844"/>
                                                        <a:pt x="1471024" y="1270038"/>
                                                        <a:pt x="1471608" y="1270427"/>
                                                      </a:cubicBezTo>
                                                      <a:cubicBezTo>
                                                        <a:pt x="1472061" y="1270751"/>
                                                        <a:pt x="1472450" y="1271205"/>
                                                        <a:pt x="1472774" y="1271723"/>
                                                      </a:cubicBezTo>
                                                      <a:cubicBezTo>
                                                        <a:pt x="1472903" y="1271593"/>
                                                        <a:pt x="1472968" y="1271399"/>
                                                        <a:pt x="1473098" y="1271269"/>
                                                      </a:cubicBezTo>
                                                      <a:cubicBezTo>
                                                        <a:pt x="1484630" y="1268613"/>
                                                        <a:pt x="1496809" y="1268613"/>
                                                        <a:pt x="1508406" y="1271205"/>
                                                      </a:cubicBezTo>
                                                      <a:cubicBezTo>
                                                        <a:pt x="1513200" y="1272306"/>
                                                        <a:pt x="1518577" y="1273731"/>
                                                        <a:pt x="1522724" y="1271140"/>
                                                      </a:cubicBezTo>
                                                      <a:cubicBezTo>
                                                        <a:pt x="1523890" y="1270362"/>
                                                        <a:pt x="1524797" y="1269390"/>
                                                        <a:pt x="1526027" y="1268743"/>
                                                      </a:cubicBezTo>
                                                      <a:cubicBezTo>
                                                        <a:pt x="1528360" y="1267447"/>
                                                        <a:pt x="1531275" y="1267706"/>
                                                        <a:pt x="1533802" y="1266929"/>
                                                      </a:cubicBezTo>
                                                      <a:cubicBezTo>
                                                        <a:pt x="1536199" y="1266281"/>
                                                        <a:pt x="1538272" y="1264791"/>
                                                        <a:pt x="1539633" y="1262782"/>
                                                      </a:cubicBezTo>
                                                      <a:cubicBezTo>
                                                        <a:pt x="1540216" y="1262005"/>
                                                        <a:pt x="1540669" y="1261033"/>
                                                        <a:pt x="1540669" y="1260061"/>
                                                      </a:cubicBezTo>
                                                      <a:cubicBezTo>
                                                        <a:pt x="1540799" y="1256369"/>
                                                        <a:pt x="1535745" y="1255267"/>
                                                        <a:pt x="1532830" y="1252870"/>
                                                      </a:cubicBezTo>
                                                      <a:cubicBezTo>
                                                        <a:pt x="1529526" y="1250149"/>
                                                        <a:pt x="1529202" y="1244966"/>
                                                        <a:pt x="1531016" y="1241014"/>
                                                      </a:cubicBezTo>
                                                      <a:cubicBezTo>
                                                        <a:pt x="1532830" y="1237127"/>
                                                        <a:pt x="1536264" y="1234277"/>
                                                        <a:pt x="1539762" y="1231750"/>
                                                      </a:cubicBezTo>
                                                      <a:cubicBezTo>
                                                        <a:pt x="1543973" y="1228640"/>
                                                        <a:pt x="1548508" y="1225855"/>
                                                        <a:pt x="1553497" y="1224364"/>
                                                      </a:cubicBezTo>
                                                      <a:cubicBezTo>
                                                        <a:pt x="1557254" y="1223198"/>
                                                        <a:pt x="1561141" y="1222810"/>
                                                        <a:pt x="1565029" y="1222421"/>
                                                      </a:cubicBezTo>
                                                      <a:cubicBezTo>
                                                        <a:pt x="1568268" y="1222032"/>
                                                        <a:pt x="1571572" y="1221708"/>
                                                        <a:pt x="1574876" y="1221384"/>
                                                      </a:cubicBezTo>
                                                      <a:cubicBezTo>
                                                        <a:pt x="1588222" y="1220024"/>
                                                        <a:pt x="1601632" y="1218663"/>
                                                        <a:pt x="1615043" y="1218663"/>
                                                      </a:cubicBezTo>
                                                      <a:cubicBezTo>
                                                        <a:pt x="1615432" y="1218210"/>
                                                        <a:pt x="1615756" y="1217756"/>
                                                        <a:pt x="1616144" y="1217367"/>
                                                      </a:cubicBezTo>
                                                      <a:cubicBezTo>
                                                        <a:pt x="1618023" y="1215553"/>
                                                        <a:pt x="1620809" y="1215230"/>
                                                        <a:pt x="1623336" y="1214582"/>
                                                      </a:cubicBezTo>
                                                      <a:cubicBezTo>
                                                        <a:pt x="1625862" y="1213869"/>
                                                        <a:pt x="1628583" y="1212444"/>
                                                        <a:pt x="1629102" y="1209917"/>
                                                      </a:cubicBezTo>
                                                      <a:cubicBezTo>
                                                        <a:pt x="1629231" y="1209010"/>
                                                        <a:pt x="1629102" y="1208103"/>
                                                        <a:pt x="1629361" y="1207261"/>
                                                      </a:cubicBezTo>
                                                      <a:cubicBezTo>
                                                        <a:pt x="1629685" y="1206095"/>
                                                        <a:pt x="1630657" y="1205253"/>
                                                        <a:pt x="1631693" y="1204475"/>
                                                      </a:cubicBezTo>
                                                      <a:cubicBezTo>
                                                        <a:pt x="1636099" y="1201171"/>
                                                        <a:pt x="1641281" y="1198904"/>
                                                        <a:pt x="1646788" y="1197997"/>
                                                      </a:cubicBezTo>
                                                      <a:lnTo>
                                                        <a:pt x="1732176" y="1198839"/>
                                                      </a:lnTo>
                                                      <a:cubicBezTo>
                                                        <a:pt x="1733083" y="1198709"/>
                                                        <a:pt x="1733925" y="1198644"/>
                                                        <a:pt x="1734832" y="1198515"/>
                                                      </a:cubicBezTo>
                                                      <a:cubicBezTo>
                                                        <a:pt x="1733536" y="1195211"/>
                                                        <a:pt x="1735415" y="1191388"/>
                                                        <a:pt x="1738266" y="1189315"/>
                                                      </a:cubicBezTo>
                                                      <a:cubicBezTo>
                                                        <a:pt x="1741181" y="1187177"/>
                                                        <a:pt x="1744744" y="1186465"/>
                                                        <a:pt x="1748243" y="1185817"/>
                                                      </a:cubicBezTo>
                                                      <a:cubicBezTo>
                                                        <a:pt x="1745522" y="1182448"/>
                                                        <a:pt x="1747724" y="1177330"/>
                                                        <a:pt x="1750769" y="1174285"/>
                                                      </a:cubicBezTo>
                                                      <a:cubicBezTo>
                                                        <a:pt x="1753814" y="1171175"/>
                                                        <a:pt x="1757831" y="1168713"/>
                                                        <a:pt x="1759321" y="1164632"/>
                                                      </a:cubicBezTo>
                                                      <a:cubicBezTo>
                                                        <a:pt x="1760228" y="1162235"/>
                                                        <a:pt x="1760098" y="1159514"/>
                                                        <a:pt x="1760811" y="1156987"/>
                                                      </a:cubicBezTo>
                                                      <a:cubicBezTo>
                                                        <a:pt x="1761524" y="1154331"/>
                                                        <a:pt x="1763143" y="1152064"/>
                                                        <a:pt x="1764633" y="1149731"/>
                                                      </a:cubicBezTo>
                                                      <a:cubicBezTo>
                                                        <a:pt x="1771565" y="1139366"/>
                                                        <a:pt x="1777785" y="1127639"/>
                                                        <a:pt x="1777331" y="1115265"/>
                                                      </a:cubicBezTo>
                                                      <a:cubicBezTo>
                                                        <a:pt x="1775971" y="1117209"/>
                                                        <a:pt x="1774546" y="1119152"/>
                                                        <a:pt x="1772991" y="1120902"/>
                                                      </a:cubicBezTo>
                                                      <a:cubicBezTo>
                                                        <a:pt x="1768585" y="1126084"/>
                                                        <a:pt x="1760163" y="1130360"/>
                                                        <a:pt x="1755628" y="1125307"/>
                                                      </a:cubicBezTo>
                                                      <a:cubicBezTo>
                                                        <a:pt x="1751482" y="1120707"/>
                                                        <a:pt x="1755304" y="1113451"/>
                                                        <a:pt x="1759191" y="1108592"/>
                                                      </a:cubicBezTo>
                                                      <a:cubicBezTo>
                                                        <a:pt x="1775452" y="1088185"/>
                                                        <a:pt x="1792038" y="1068101"/>
                                                        <a:pt x="1809012" y="1048277"/>
                                                      </a:cubicBezTo>
                                                      <a:cubicBezTo>
                                                        <a:pt x="1813935" y="1042511"/>
                                                        <a:pt x="1819313" y="1036551"/>
                                                        <a:pt x="1826569" y="1034413"/>
                                                      </a:cubicBezTo>
                                                      <a:cubicBezTo>
                                                        <a:pt x="1830585" y="1033182"/>
                                                        <a:pt x="1835055" y="1033247"/>
                                                        <a:pt x="1838424" y="1030785"/>
                                                      </a:cubicBezTo>
                                                      <a:cubicBezTo>
                                                        <a:pt x="1843607" y="1027092"/>
                                                        <a:pt x="1843996" y="1019577"/>
                                                        <a:pt x="1847689" y="1014394"/>
                                                      </a:cubicBezTo>
                                                      <a:cubicBezTo>
                                                        <a:pt x="1853131" y="1006749"/>
                                                        <a:pt x="1864144" y="1006231"/>
                                                        <a:pt x="1873603" y="1006425"/>
                                                      </a:cubicBezTo>
                                                      <a:cubicBezTo>
                                                        <a:pt x="1914483" y="1007332"/>
                                                        <a:pt x="1955363" y="1008304"/>
                                                        <a:pt x="1996307" y="1009211"/>
                                                      </a:cubicBezTo>
                                                      <a:cubicBezTo>
                                                        <a:pt x="2008033" y="1009535"/>
                                                        <a:pt x="2020537" y="1009600"/>
                                                        <a:pt x="2030644" y="1003445"/>
                                                      </a:cubicBezTo>
                                                      <a:cubicBezTo>
                                                        <a:pt x="2043406" y="995671"/>
                                                        <a:pt x="2049755" y="979345"/>
                                                        <a:pt x="2063425" y="973255"/>
                                                      </a:cubicBezTo>
                                                      <a:cubicBezTo>
                                                        <a:pt x="2070292" y="970210"/>
                                                        <a:pt x="2078002" y="970210"/>
                                                        <a:pt x="2085387" y="968849"/>
                                                      </a:cubicBezTo>
                                                      <a:cubicBezTo>
                                                        <a:pt x="2101649" y="965740"/>
                                                        <a:pt x="2116355" y="955244"/>
                                                        <a:pt x="2124518" y="940862"/>
                                                      </a:cubicBezTo>
                                                      <a:cubicBezTo>
                                                        <a:pt x="2117133" y="940862"/>
                                                        <a:pt x="2110524" y="933606"/>
                                                        <a:pt x="2111302" y="926220"/>
                                                      </a:cubicBezTo>
                                                      <a:close/>
                                                      <a:moveTo>
                                                        <a:pt x="588189" y="381956"/>
                                                      </a:moveTo>
                                                      <a:cubicBezTo>
                                                        <a:pt x="586375" y="383057"/>
                                                        <a:pt x="584108" y="383705"/>
                                                        <a:pt x="583201" y="385584"/>
                                                      </a:cubicBezTo>
                                                      <a:cubicBezTo>
                                                        <a:pt x="582359" y="387268"/>
                                                        <a:pt x="583007" y="389276"/>
                                                        <a:pt x="583201" y="391155"/>
                                                      </a:cubicBezTo>
                                                      <a:cubicBezTo>
                                                        <a:pt x="583525" y="396662"/>
                                                        <a:pt x="578990" y="401456"/>
                                                        <a:pt x="573807" y="403335"/>
                                                      </a:cubicBezTo>
                                                      <a:cubicBezTo>
                                                        <a:pt x="568624" y="405279"/>
                                                        <a:pt x="562988" y="404955"/>
                                                        <a:pt x="557481" y="404890"/>
                                                      </a:cubicBezTo>
                                                      <a:cubicBezTo>
                                                        <a:pt x="551974" y="404825"/>
                                                        <a:pt x="545237" y="405797"/>
                                                        <a:pt x="543228" y="410915"/>
                                                      </a:cubicBezTo>
                                                      <a:cubicBezTo>
                                                        <a:pt x="542386" y="413053"/>
                                                        <a:pt x="542645" y="415450"/>
                                                        <a:pt x="542386" y="417717"/>
                                                      </a:cubicBezTo>
                                                      <a:cubicBezTo>
                                                        <a:pt x="541738" y="423613"/>
                                                        <a:pt x="537203" y="428925"/>
                                                        <a:pt x="531437" y="430545"/>
                                                      </a:cubicBezTo>
                                                      <a:cubicBezTo>
                                                        <a:pt x="528133" y="431452"/>
                                                        <a:pt x="524570" y="431193"/>
                                                        <a:pt x="521266" y="432229"/>
                                                      </a:cubicBezTo>
                                                      <a:cubicBezTo>
                                                        <a:pt x="510706" y="435469"/>
                                                        <a:pt x="505653" y="450629"/>
                                                        <a:pt x="494574" y="450758"/>
                                                      </a:cubicBezTo>
                                                      <a:cubicBezTo>
                                                        <a:pt x="492242" y="447519"/>
                                                        <a:pt x="493991" y="442790"/>
                                                        <a:pt x="496906" y="440069"/>
                                                      </a:cubicBezTo>
                                                      <a:cubicBezTo>
                                                        <a:pt x="499822" y="437347"/>
                                                        <a:pt x="503644" y="435793"/>
                                                        <a:pt x="506624" y="433136"/>
                                                      </a:cubicBezTo>
                                                      <a:cubicBezTo>
                                                        <a:pt x="509928" y="430221"/>
                                                        <a:pt x="512131" y="425945"/>
                                                        <a:pt x="512520" y="421540"/>
                                                      </a:cubicBezTo>
                                                      <a:cubicBezTo>
                                                        <a:pt x="512649" y="420244"/>
                                                        <a:pt x="512520" y="418884"/>
                                                        <a:pt x="512066" y="417717"/>
                                                      </a:cubicBezTo>
                                                      <a:cubicBezTo>
                                                        <a:pt x="510835" y="415191"/>
                                                        <a:pt x="507467" y="414349"/>
                                                        <a:pt x="504746" y="415061"/>
                                                      </a:cubicBezTo>
                                                      <a:cubicBezTo>
                                                        <a:pt x="502024" y="415839"/>
                                                        <a:pt x="499822" y="417717"/>
                                                        <a:pt x="497684" y="419596"/>
                                                      </a:cubicBezTo>
                                                      <a:cubicBezTo>
                                                        <a:pt x="491011" y="425427"/>
                                                        <a:pt x="484014" y="430998"/>
                                                        <a:pt x="475981" y="434950"/>
                                                      </a:cubicBezTo>
                                                      <a:cubicBezTo>
                                                        <a:pt x="468012" y="438838"/>
                                                        <a:pt x="458942" y="440911"/>
                                                        <a:pt x="450196" y="439356"/>
                                                      </a:cubicBezTo>
                                                      <a:cubicBezTo>
                                                        <a:pt x="449159" y="439162"/>
                                                        <a:pt x="448058" y="438838"/>
                                                        <a:pt x="447410" y="438125"/>
                                                      </a:cubicBezTo>
                                                      <a:cubicBezTo>
                                                        <a:pt x="446697" y="437347"/>
                                                        <a:pt x="446503" y="436311"/>
                                                        <a:pt x="446309" y="435274"/>
                                                      </a:cubicBezTo>
                                                      <a:cubicBezTo>
                                                        <a:pt x="445661" y="430739"/>
                                                        <a:pt x="445531" y="426140"/>
                                                        <a:pt x="445985" y="421605"/>
                                                      </a:cubicBezTo>
                                                      <a:cubicBezTo>
                                                        <a:pt x="452075" y="423807"/>
                                                        <a:pt x="459590" y="420374"/>
                                                        <a:pt x="461922" y="414349"/>
                                                      </a:cubicBezTo>
                                                      <a:cubicBezTo>
                                                        <a:pt x="463218" y="411044"/>
                                                        <a:pt x="463088" y="407352"/>
                                                        <a:pt x="463801" y="403918"/>
                                                      </a:cubicBezTo>
                                                      <a:cubicBezTo>
                                                        <a:pt x="464578" y="400420"/>
                                                        <a:pt x="466716" y="396727"/>
                                                        <a:pt x="470215" y="396144"/>
                                                      </a:cubicBezTo>
                                                      <a:cubicBezTo>
                                                        <a:pt x="472223" y="395820"/>
                                                        <a:pt x="474167" y="396533"/>
                                                        <a:pt x="476110" y="397116"/>
                                                      </a:cubicBezTo>
                                                      <a:cubicBezTo>
                                                        <a:pt x="480969" y="398606"/>
                                                        <a:pt x="486541" y="399059"/>
                                                        <a:pt x="490881" y="396338"/>
                                                      </a:cubicBezTo>
                                                      <a:cubicBezTo>
                                                        <a:pt x="492825" y="395172"/>
                                                        <a:pt x="494509" y="393099"/>
                                                        <a:pt x="494185" y="390831"/>
                                                      </a:cubicBezTo>
                                                      <a:cubicBezTo>
                                                        <a:pt x="493797" y="388434"/>
                                                        <a:pt x="491464" y="386879"/>
                                                        <a:pt x="489197" y="385843"/>
                                                      </a:cubicBezTo>
                                                      <a:cubicBezTo>
                                                        <a:pt x="479090" y="381243"/>
                                                        <a:pt x="467235" y="380660"/>
                                                        <a:pt x="456674" y="384223"/>
                                                      </a:cubicBezTo>
                                                      <a:cubicBezTo>
                                                        <a:pt x="454342" y="385065"/>
                                                        <a:pt x="451686" y="386426"/>
                                                        <a:pt x="451362" y="388888"/>
                                                      </a:cubicBezTo>
                                                      <a:cubicBezTo>
                                                        <a:pt x="451103" y="390507"/>
                                                        <a:pt x="451816" y="392516"/>
                                                        <a:pt x="450585" y="393617"/>
                                                      </a:cubicBezTo>
                                                      <a:cubicBezTo>
                                                        <a:pt x="450002" y="394200"/>
                                                        <a:pt x="449095" y="394200"/>
                                                        <a:pt x="448252" y="394265"/>
                                                      </a:cubicBezTo>
                                                      <a:cubicBezTo>
                                                        <a:pt x="438794" y="394654"/>
                                                        <a:pt x="429335" y="395042"/>
                                                        <a:pt x="419941" y="395431"/>
                                                      </a:cubicBezTo>
                                                      <a:cubicBezTo>
                                                        <a:pt x="417414" y="395496"/>
                                                        <a:pt x="414758" y="395561"/>
                                                        <a:pt x="412555" y="394330"/>
                                                      </a:cubicBezTo>
                                                      <a:cubicBezTo>
                                                        <a:pt x="410353" y="393034"/>
                                                        <a:pt x="409057" y="389924"/>
                                                        <a:pt x="410612" y="387916"/>
                                                      </a:cubicBezTo>
                                                      <a:cubicBezTo>
                                                        <a:pt x="424929" y="383446"/>
                                                        <a:pt x="439506" y="378911"/>
                                                        <a:pt x="454537" y="378263"/>
                                                      </a:cubicBezTo>
                                                      <a:cubicBezTo>
                                                        <a:pt x="459460" y="378069"/>
                                                        <a:pt x="464902" y="378133"/>
                                                        <a:pt x="468660" y="374894"/>
                                                      </a:cubicBezTo>
                                                      <a:cubicBezTo>
                                                        <a:pt x="471834" y="372108"/>
                                                        <a:pt x="473195" y="367314"/>
                                                        <a:pt x="477017" y="365435"/>
                                                      </a:cubicBezTo>
                                                      <a:cubicBezTo>
                                                        <a:pt x="481552" y="363297"/>
                                                        <a:pt x="487707" y="366342"/>
                                                        <a:pt x="491788" y="363427"/>
                                                      </a:cubicBezTo>
                                                      <a:cubicBezTo>
                                                        <a:pt x="493538" y="362131"/>
                                                        <a:pt x="494509" y="360058"/>
                                                        <a:pt x="495805" y="358309"/>
                                                      </a:cubicBezTo>
                                                      <a:cubicBezTo>
                                                        <a:pt x="500081" y="352608"/>
                                                        <a:pt x="507920" y="351377"/>
                                                        <a:pt x="514982" y="350535"/>
                                                      </a:cubicBezTo>
                                                      <a:cubicBezTo>
                                                        <a:pt x="525283" y="349304"/>
                                                        <a:pt x="535584" y="348073"/>
                                                        <a:pt x="545949" y="348332"/>
                                                      </a:cubicBezTo>
                                                      <a:cubicBezTo>
                                                        <a:pt x="544913" y="352932"/>
                                                        <a:pt x="543941" y="357596"/>
                                                        <a:pt x="542904" y="362196"/>
                                                      </a:cubicBezTo>
                                                      <a:cubicBezTo>
                                                        <a:pt x="542710" y="363168"/>
                                                        <a:pt x="542451" y="364204"/>
                                                        <a:pt x="541738" y="364852"/>
                                                      </a:cubicBezTo>
                                                      <a:cubicBezTo>
                                                        <a:pt x="540183" y="366213"/>
                                                        <a:pt x="537786" y="365111"/>
                                                        <a:pt x="535713" y="365176"/>
                                                      </a:cubicBezTo>
                                                      <a:cubicBezTo>
                                                        <a:pt x="532798" y="365241"/>
                                                        <a:pt x="530530" y="367832"/>
                                                        <a:pt x="529753" y="370618"/>
                                                      </a:cubicBezTo>
                                                      <a:cubicBezTo>
                                                        <a:pt x="528975" y="373404"/>
                                                        <a:pt x="529429" y="376384"/>
                                                        <a:pt x="529947" y="379235"/>
                                                      </a:cubicBezTo>
                                                      <a:cubicBezTo>
                                                        <a:pt x="530142" y="380595"/>
                                                        <a:pt x="530401" y="382020"/>
                                                        <a:pt x="531372" y="383057"/>
                                                      </a:cubicBezTo>
                                                      <a:cubicBezTo>
                                                        <a:pt x="532409" y="384094"/>
                                                        <a:pt x="533899" y="384418"/>
                                                        <a:pt x="535324" y="384612"/>
                                                      </a:cubicBezTo>
                                                      <a:cubicBezTo>
                                                        <a:pt x="542645" y="385843"/>
                                                        <a:pt x="550419" y="386361"/>
                                                        <a:pt x="557416" y="383834"/>
                                                      </a:cubicBezTo>
                                                      <a:cubicBezTo>
                                                        <a:pt x="564478" y="381308"/>
                                                        <a:pt x="570568" y="375088"/>
                                                        <a:pt x="571021" y="367638"/>
                                                      </a:cubicBezTo>
                                                      <a:cubicBezTo>
                                                        <a:pt x="576139" y="367573"/>
                                                        <a:pt x="581257" y="367573"/>
                                                        <a:pt x="586375" y="367508"/>
                                                      </a:cubicBezTo>
                                                      <a:cubicBezTo>
                                                        <a:pt x="587866" y="367508"/>
                                                        <a:pt x="589485" y="367508"/>
                                                        <a:pt x="590716" y="368351"/>
                                                      </a:cubicBezTo>
                                                      <a:cubicBezTo>
                                                        <a:pt x="592077" y="369193"/>
                                                        <a:pt x="592724" y="370877"/>
                                                        <a:pt x="592919" y="372432"/>
                                                      </a:cubicBezTo>
                                                      <a:cubicBezTo>
                                                        <a:pt x="593372" y="376190"/>
                                                        <a:pt x="591429" y="380077"/>
                                                        <a:pt x="588254" y="381956"/>
                                                      </a:cubicBezTo>
                                                      <a:close/>
                                                      <a:moveTo>
                                                        <a:pt x="780927" y="543143"/>
                                                      </a:moveTo>
                                                      <a:cubicBezTo>
                                                        <a:pt x="778271" y="546252"/>
                                                        <a:pt x="774124" y="547678"/>
                                                        <a:pt x="770043" y="548131"/>
                                                      </a:cubicBezTo>
                                                      <a:cubicBezTo>
                                                        <a:pt x="767905" y="548325"/>
                                                        <a:pt x="765443" y="548520"/>
                                                        <a:pt x="764212" y="550204"/>
                                                      </a:cubicBezTo>
                                                      <a:cubicBezTo>
                                                        <a:pt x="762657" y="552213"/>
                                                        <a:pt x="763694" y="555322"/>
                                                        <a:pt x="762334" y="557395"/>
                                                      </a:cubicBezTo>
                                                      <a:cubicBezTo>
                                                        <a:pt x="759807" y="561218"/>
                                                        <a:pt x="752680" y="558173"/>
                                                        <a:pt x="749895" y="561801"/>
                                                      </a:cubicBezTo>
                                                      <a:cubicBezTo>
                                                        <a:pt x="748988" y="563032"/>
                                                        <a:pt x="748858" y="564781"/>
                                                        <a:pt x="747886" y="566077"/>
                                                      </a:cubicBezTo>
                                                      <a:cubicBezTo>
                                                        <a:pt x="745813" y="568927"/>
                                                        <a:pt x="741408" y="567567"/>
                                                        <a:pt x="737845" y="567826"/>
                                                      </a:cubicBezTo>
                                                      <a:cubicBezTo>
                                                        <a:pt x="733893" y="568085"/>
                                                        <a:pt x="730265" y="570936"/>
                                                        <a:pt x="729034" y="574693"/>
                                                      </a:cubicBezTo>
                                                      <a:cubicBezTo>
                                                        <a:pt x="728321" y="576896"/>
                                                        <a:pt x="728191" y="579552"/>
                                                        <a:pt x="726313" y="580848"/>
                                                      </a:cubicBezTo>
                                                      <a:cubicBezTo>
                                                        <a:pt x="725082" y="581690"/>
                                                        <a:pt x="723462" y="581625"/>
                                                        <a:pt x="721972" y="581820"/>
                                                      </a:cubicBezTo>
                                                      <a:cubicBezTo>
                                                        <a:pt x="715623" y="582468"/>
                                                        <a:pt x="710181" y="588169"/>
                                                        <a:pt x="709857" y="594518"/>
                                                      </a:cubicBezTo>
                                                      <a:cubicBezTo>
                                                        <a:pt x="701824" y="593546"/>
                                                        <a:pt x="691847" y="593481"/>
                                                        <a:pt x="687700" y="600478"/>
                                                      </a:cubicBezTo>
                                                      <a:cubicBezTo>
                                                        <a:pt x="685886" y="603393"/>
                                                        <a:pt x="685692" y="607151"/>
                                                        <a:pt x="683619" y="609937"/>
                                                      </a:cubicBezTo>
                                                      <a:cubicBezTo>
                                                        <a:pt x="680250" y="614731"/>
                                                        <a:pt x="673383" y="614990"/>
                                                        <a:pt x="667487" y="614860"/>
                                                      </a:cubicBezTo>
                                                      <a:cubicBezTo>
                                                        <a:pt x="653234" y="614407"/>
                                                        <a:pt x="638982" y="613953"/>
                                                        <a:pt x="624729" y="613500"/>
                                                      </a:cubicBezTo>
                                                      <a:cubicBezTo>
                                                        <a:pt x="619935" y="613305"/>
                                                        <a:pt x="615011" y="613176"/>
                                                        <a:pt x="610476" y="611362"/>
                                                      </a:cubicBezTo>
                                                      <a:cubicBezTo>
                                                        <a:pt x="606006" y="609548"/>
                                                        <a:pt x="602054" y="605726"/>
                                                        <a:pt x="601406" y="600931"/>
                                                      </a:cubicBezTo>
                                                      <a:lnTo>
                                                        <a:pt x="618704" y="600931"/>
                                                      </a:lnTo>
                                                      <a:cubicBezTo>
                                                        <a:pt x="621749" y="600931"/>
                                                        <a:pt x="624923" y="600931"/>
                                                        <a:pt x="627514" y="599312"/>
                                                      </a:cubicBezTo>
                                                      <a:cubicBezTo>
                                                        <a:pt x="632827" y="596072"/>
                                                        <a:pt x="632892" y="588428"/>
                                                        <a:pt x="632244" y="582208"/>
                                                      </a:cubicBezTo>
                                                      <a:cubicBezTo>
                                                        <a:pt x="637427" y="581755"/>
                                                        <a:pt x="642480" y="580654"/>
                                                        <a:pt x="647404" y="578969"/>
                                                      </a:cubicBezTo>
                                                      <a:cubicBezTo>
                                                        <a:pt x="650773" y="577803"/>
                                                        <a:pt x="654465" y="575989"/>
                                                        <a:pt x="655567" y="572620"/>
                                                      </a:cubicBezTo>
                                                      <a:cubicBezTo>
                                                        <a:pt x="656798" y="568668"/>
                                                        <a:pt x="653947" y="564716"/>
                                                        <a:pt x="651874" y="561088"/>
                                                      </a:cubicBezTo>
                                                      <a:cubicBezTo>
                                                        <a:pt x="649930" y="557719"/>
                                                        <a:pt x="648505" y="553184"/>
                                                        <a:pt x="650837" y="550010"/>
                                                      </a:cubicBezTo>
                                                      <a:cubicBezTo>
                                                        <a:pt x="646885" y="549880"/>
                                                        <a:pt x="642674" y="549751"/>
                                                        <a:pt x="639565" y="547289"/>
                                                      </a:cubicBezTo>
                                                      <a:cubicBezTo>
                                                        <a:pt x="636455" y="544892"/>
                                                        <a:pt x="635548" y="539385"/>
                                                        <a:pt x="638852" y="537247"/>
                                                      </a:cubicBezTo>
                                                      <a:cubicBezTo>
                                                        <a:pt x="639889" y="536664"/>
                                                        <a:pt x="641055" y="536405"/>
                                                        <a:pt x="642156" y="536211"/>
                                                      </a:cubicBezTo>
                                                      <a:cubicBezTo>
                                                        <a:pt x="646885" y="535304"/>
                                                        <a:pt x="651550" y="534461"/>
                                                        <a:pt x="656214" y="533554"/>
                                                      </a:cubicBezTo>
                                                      <a:cubicBezTo>
                                                        <a:pt x="658417" y="533166"/>
                                                        <a:pt x="660749" y="532777"/>
                                                        <a:pt x="662758" y="533749"/>
                                                      </a:cubicBezTo>
                                                      <a:cubicBezTo>
                                                        <a:pt x="664831" y="534850"/>
                                                        <a:pt x="665868" y="537247"/>
                                                        <a:pt x="666904" y="539320"/>
                                                      </a:cubicBezTo>
                                                      <a:cubicBezTo>
                                                        <a:pt x="669820" y="545345"/>
                                                        <a:pt x="675456" y="551500"/>
                                                        <a:pt x="681999" y="550204"/>
                                                      </a:cubicBezTo>
                                                      <a:cubicBezTo>
                                                        <a:pt x="682453" y="556359"/>
                                                        <a:pt x="685627" y="562384"/>
                                                        <a:pt x="690810" y="565688"/>
                                                      </a:cubicBezTo>
                                                      <a:cubicBezTo>
                                                        <a:pt x="696058" y="568992"/>
                                                        <a:pt x="703249" y="569122"/>
                                                        <a:pt x="708237" y="565558"/>
                                                      </a:cubicBezTo>
                                                      <a:cubicBezTo>
                                                        <a:pt x="710181" y="564198"/>
                                                        <a:pt x="711865" y="562254"/>
                                                        <a:pt x="714133" y="561477"/>
                                                      </a:cubicBezTo>
                                                      <a:cubicBezTo>
                                                        <a:pt x="716077" y="560829"/>
                                                        <a:pt x="718279" y="561088"/>
                                                        <a:pt x="720288" y="560505"/>
                                                      </a:cubicBezTo>
                                                      <a:cubicBezTo>
                                                        <a:pt x="726831" y="558691"/>
                                                        <a:pt x="728191" y="549297"/>
                                                        <a:pt x="734281" y="546123"/>
                                                      </a:cubicBezTo>
                                                      <a:cubicBezTo>
                                                        <a:pt x="739982" y="543143"/>
                                                        <a:pt x="748793" y="546123"/>
                                                        <a:pt x="752162" y="540681"/>
                                                      </a:cubicBezTo>
                                                      <a:cubicBezTo>
                                                        <a:pt x="752616" y="539838"/>
                                                        <a:pt x="752940" y="538996"/>
                                                        <a:pt x="753458" y="538219"/>
                                                      </a:cubicBezTo>
                                                      <a:cubicBezTo>
                                                        <a:pt x="754171" y="537247"/>
                                                        <a:pt x="755142" y="536534"/>
                                                        <a:pt x="756114" y="535887"/>
                                                      </a:cubicBezTo>
                                                      <a:cubicBezTo>
                                                        <a:pt x="762204" y="531740"/>
                                                        <a:pt x="769266" y="527464"/>
                                                        <a:pt x="776457" y="529019"/>
                                                      </a:cubicBezTo>
                                                      <a:cubicBezTo>
                                                        <a:pt x="778400" y="529473"/>
                                                        <a:pt x="780344" y="530380"/>
                                                        <a:pt x="781640" y="531935"/>
                                                      </a:cubicBezTo>
                                                      <a:cubicBezTo>
                                                        <a:pt x="784231" y="535044"/>
                                                        <a:pt x="783583" y="540033"/>
                                                        <a:pt x="780927" y="543143"/>
                                                      </a:cubicBezTo>
                                                      <a:close/>
                                                      <a:moveTo>
                                                        <a:pt x="1118266" y="1002344"/>
                                                      </a:moveTo>
                                                      <a:cubicBezTo>
                                                        <a:pt x="1115740" y="1003121"/>
                                                        <a:pt x="1112306" y="1001372"/>
                                                        <a:pt x="1110751" y="1003510"/>
                                                      </a:cubicBezTo>
                                                      <a:cubicBezTo>
                                                        <a:pt x="1111269" y="1007267"/>
                                                        <a:pt x="1110622" y="1011155"/>
                                                        <a:pt x="1108937" y="1014523"/>
                                                      </a:cubicBezTo>
                                                      <a:cubicBezTo>
                                                        <a:pt x="1107188" y="1016143"/>
                                                        <a:pt x="1104273" y="1014977"/>
                                                        <a:pt x="1102977" y="1013098"/>
                                                      </a:cubicBezTo>
                                                      <a:cubicBezTo>
                                                        <a:pt x="1101616" y="1011219"/>
                                                        <a:pt x="1101292" y="1008822"/>
                                                        <a:pt x="1100450" y="1006684"/>
                                                      </a:cubicBezTo>
                                                      <a:cubicBezTo>
                                                        <a:pt x="1099025" y="1003186"/>
                                                        <a:pt x="1096239" y="1000465"/>
                                                        <a:pt x="1094425" y="997226"/>
                                                      </a:cubicBezTo>
                                                      <a:cubicBezTo>
                                                        <a:pt x="1088271" y="986277"/>
                                                        <a:pt x="1093324" y="970728"/>
                                                        <a:pt x="1084966" y="961334"/>
                                                      </a:cubicBezTo>
                                                      <a:cubicBezTo>
                                                        <a:pt x="1083347" y="959456"/>
                                                        <a:pt x="1081338" y="958030"/>
                                                        <a:pt x="1079330" y="956605"/>
                                                      </a:cubicBezTo>
                                                      <a:cubicBezTo>
                                                        <a:pt x="1071491" y="950904"/>
                                                        <a:pt x="1063976" y="944749"/>
                                                        <a:pt x="1056914" y="938206"/>
                                                      </a:cubicBezTo>
                                                      <a:cubicBezTo>
                                                        <a:pt x="1055683" y="937040"/>
                                                        <a:pt x="1054388" y="935809"/>
                                                        <a:pt x="1053675" y="934319"/>
                                                      </a:cubicBezTo>
                                                      <a:cubicBezTo>
                                                        <a:pt x="1051991" y="930885"/>
                                                        <a:pt x="1053286" y="926868"/>
                                                        <a:pt x="1053221" y="923111"/>
                                                      </a:cubicBezTo>
                                                      <a:cubicBezTo>
                                                        <a:pt x="1053092" y="913976"/>
                                                        <a:pt x="1045253" y="905683"/>
                                                        <a:pt x="1047067" y="896743"/>
                                                      </a:cubicBezTo>
                                                      <a:cubicBezTo>
                                                        <a:pt x="1047585" y="894216"/>
                                                        <a:pt x="1048816" y="891949"/>
                                                        <a:pt x="1050306" y="889876"/>
                                                      </a:cubicBezTo>
                                                      <a:cubicBezTo>
                                                        <a:pt x="1054064" y="884628"/>
                                                        <a:pt x="1059700" y="880417"/>
                                                        <a:pt x="1066049" y="880028"/>
                                                      </a:cubicBezTo>
                                                      <a:cubicBezTo>
                                                        <a:pt x="1072463" y="879704"/>
                                                        <a:pt x="1079200" y="884239"/>
                                                        <a:pt x="1079848" y="890588"/>
                                                      </a:cubicBezTo>
                                                      <a:cubicBezTo>
                                                        <a:pt x="1080043" y="892921"/>
                                                        <a:pt x="1079524" y="895318"/>
                                                        <a:pt x="1080302" y="897520"/>
                                                      </a:cubicBezTo>
                                                      <a:cubicBezTo>
                                                        <a:pt x="1082051" y="902444"/>
                                                        <a:pt x="1089113" y="903157"/>
                                                        <a:pt x="1091963" y="907497"/>
                                                      </a:cubicBezTo>
                                                      <a:cubicBezTo>
                                                        <a:pt x="1093259" y="909376"/>
                                                        <a:pt x="1093583" y="911773"/>
                                                        <a:pt x="1093907" y="914041"/>
                                                      </a:cubicBezTo>
                                                      <a:cubicBezTo>
                                                        <a:pt x="1094749" y="921038"/>
                                                        <a:pt x="1095656" y="928099"/>
                                                        <a:pt x="1096563" y="935161"/>
                                                      </a:cubicBezTo>
                                                      <a:cubicBezTo>
                                                        <a:pt x="1097016" y="938659"/>
                                                        <a:pt x="1097535" y="942352"/>
                                                        <a:pt x="1099478" y="945268"/>
                                                      </a:cubicBezTo>
                                                      <a:cubicBezTo>
                                                        <a:pt x="1101422" y="948248"/>
                                                        <a:pt x="1105244" y="950256"/>
                                                        <a:pt x="1108548" y="948960"/>
                                                      </a:cubicBezTo>
                                                      <a:cubicBezTo>
                                                        <a:pt x="1110168" y="955763"/>
                                                        <a:pt x="1103689" y="963602"/>
                                                        <a:pt x="1107641" y="969368"/>
                                                      </a:cubicBezTo>
                                                      <a:cubicBezTo>
                                                        <a:pt x="1108678" y="970858"/>
                                                        <a:pt x="1110298" y="971830"/>
                                                        <a:pt x="1111658" y="973061"/>
                                                      </a:cubicBezTo>
                                                      <a:cubicBezTo>
                                                        <a:pt x="1117294" y="977919"/>
                                                        <a:pt x="1119238" y="985694"/>
                                                        <a:pt x="1120793" y="992950"/>
                                                      </a:cubicBezTo>
                                                      <a:cubicBezTo>
                                                        <a:pt x="1121635" y="996448"/>
                                                        <a:pt x="1121700" y="1001307"/>
                                                        <a:pt x="1118266" y="100234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5" name="Freeform: Shape 38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04BB58F-F13C-4B9F-AFD6-217AA735629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3831760" y="2882613"/>
                                                  <a:ext cx="1517899" cy="81523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15503 w 1517899"/>
                                                    <a:gd name="connsiteY0" fmla="*/ 182283 h 815239"/>
                                                    <a:gd name="connsiteX1" fmla="*/ 1514013 w 1517899"/>
                                                    <a:gd name="connsiteY1" fmla="*/ 177878 h 815239"/>
                                                    <a:gd name="connsiteX2" fmla="*/ 1508571 w 1517899"/>
                                                    <a:gd name="connsiteY2" fmla="*/ 170103 h 815239"/>
                                                    <a:gd name="connsiteX3" fmla="*/ 1510385 w 1517899"/>
                                                    <a:gd name="connsiteY3" fmla="*/ 166475 h 815239"/>
                                                    <a:gd name="connsiteX4" fmla="*/ 1507923 w 1517899"/>
                                                    <a:gd name="connsiteY4" fmla="*/ 157211 h 815239"/>
                                                    <a:gd name="connsiteX5" fmla="*/ 1502869 w 1517899"/>
                                                    <a:gd name="connsiteY5" fmla="*/ 148595 h 815239"/>
                                                    <a:gd name="connsiteX6" fmla="*/ 1507793 w 1517899"/>
                                                    <a:gd name="connsiteY6" fmla="*/ 133564 h 815239"/>
                                                    <a:gd name="connsiteX7" fmla="*/ 1497492 w 1517899"/>
                                                    <a:gd name="connsiteY7" fmla="*/ 119506 h 815239"/>
                                                    <a:gd name="connsiteX8" fmla="*/ 1492957 w 1517899"/>
                                                    <a:gd name="connsiteY8" fmla="*/ 117497 h 815239"/>
                                                    <a:gd name="connsiteX9" fmla="*/ 1488098 w 1517899"/>
                                                    <a:gd name="connsiteY9" fmla="*/ 118469 h 815239"/>
                                                    <a:gd name="connsiteX10" fmla="*/ 1465683 w 1517899"/>
                                                    <a:gd name="connsiteY10" fmla="*/ 108557 h 815239"/>
                                                    <a:gd name="connsiteX11" fmla="*/ 1462508 w 1517899"/>
                                                    <a:gd name="connsiteY11" fmla="*/ 106484 h 815239"/>
                                                    <a:gd name="connsiteX12" fmla="*/ 1454539 w 1517899"/>
                                                    <a:gd name="connsiteY12" fmla="*/ 118340 h 815239"/>
                                                    <a:gd name="connsiteX13" fmla="*/ 1441841 w 1517899"/>
                                                    <a:gd name="connsiteY13" fmla="*/ 152806 h 815239"/>
                                                    <a:gd name="connsiteX14" fmla="*/ 1438019 w 1517899"/>
                                                    <a:gd name="connsiteY14" fmla="*/ 160062 h 815239"/>
                                                    <a:gd name="connsiteX15" fmla="*/ 1436529 w 1517899"/>
                                                    <a:gd name="connsiteY15" fmla="*/ 167706 h 815239"/>
                                                    <a:gd name="connsiteX16" fmla="*/ 1427977 w 1517899"/>
                                                    <a:gd name="connsiteY16" fmla="*/ 177295 h 815239"/>
                                                    <a:gd name="connsiteX17" fmla="*/ 1425450 w 1517899"/>
                                                    <a:gd name="connsiteY17" fmla="*/ 188891 h 815239"/>
                                                    <a:gd name="connsiteX18" fmla="*/ 1415474 w 1517899"/>
                                                    <a:gd name="connsiteY18" fmla="*/ 192390 h 815239"/>
                                                    <a:gd name="connsiteX19" fmla="*/ 1411975 w 1517899"/>
                                                    <a:gd name="connsiteY19" fmla="*/ 201654 h 815239"/>
                                                    <a:gd name="connsiteX20" fmla="*/ 1409319 w 1517899"/>
                                                    <a:gd name="connsiteY20" fmla="*/ 201978 h 815239"/>
                                                    <a:gd name="connsiteX21" fmla="*/ 1323866 w 1517899"/>
                                                    <a:gd name="connsiteY21" fmla="*/ 201136 h 815239"/>
                                                    <a:gd name="connsiteX22" fmla="*/ 1308772 w 1517899"/>
                                                    <a:gd name="connsiteY22" fmla="*/ 207614 h 815239"/>
                                                    <a:gd name="connsiteX23" fmla="*/ 1306439 w 1517899"/>
                                                    <a:gd name="connsiteY23" fmla="*/ 210400 h 815239"/>
                                                    <a:gd name="connsiteX24" fmla="*/ 1306180 w 1517899"/>
                                                    <a:gd name="connsiteY24" fmla="*/ 212992 h 815239"/>
                                                    <a:gd name="connsiteX25" fmla="*/ 1300414 w 1517899"/>
                                                    <a:gd name="connsiteY25" fmla="*/ 217656 h 815239"/>
                                                    <a:gd name="connsiteX26" fmla="*/ 1293223 w 1517899"/>
                                                    <a:gd name="connsiteY26" fmla="*/ 220442 h 815239"/>
                                                    <a:gd name="connsiteX27" fmla="*/ 1292186 w 1517899"/>
                                                    <a:gd name="connsiteY27" fmla="*/ 221738 h 815239"/>
                                                    <a:gd name="connsiteX28" fmla="*/ 1293288 w 1517899"/>
                                                    <a:gd name="connsiteY28" fmla="*/ 221738 h 815239"/>
                                                    <a:gd name="connsiteX29" fmla="*/ 1284542 w 1517899"/>
                                                    <a:gd name="connsiteY29" fmla="*/ 239100 h 815239"/>
                                                    <a:gd name="connsiteX30" fmla="*/ 1275990 w 1517899"/>
                                                    <a:gd name="connsiteY30" fmla="*/ 242145 h 815239"/>
                                                    <a:gd name="connsiteX31" fmla="*/ 1272103 w 1517899"/>
                                                    <a:gd name="connsiteY31" fmla="*/ 249919 h 815239"/>
                                                    <a:gd name="connsiteX32" fmla="*/ 1264393 w 1517899"/>
                                                    <a:gd name="connsiteY32" fmla="*/ 253936 h 815239"/>
                                                    <a:gd name="connsiteX33" fmla="*/ 1234397 w 1517899"/>
                                                    <a:gd name="connsiteY33" fmla="*/ 259378 h 815239"/>
                                                    <a:gd name="connsiteX34" fmla="*/ 1225975 w 1517899"/>
                                                    <a:gd name="connsiteY34" fmla="*/ 261516 h 815239"/>
                                                    <a:gd name="connsiteX35" fmla="*/ 1209779 w 1517899"/>
                                                    <a:gd name="connsiteY35" fmla="*/ 281664 h 815239"/>
                                                    <a:gd name="connsiteX36" fmla="*/ 1204013 w 1517899"/>
                                                    <a:gd name="connsiteY36" fmla="*/ 283608 h 815239"/>
                                                    <a:gd name="connsiteX37" fmla="*/ 1201033 w 1517899"/>
                                                    <a:gd name="connsiteY37" fmla="*/ 287560 h 815239"/>
                                                    <a:gd name="connsiteX38" fmla="*/ 1196498 w 1517899"/>
                                                    <a:gd name="connsiteY38" fmla="*/ 289763 h 815239"/>
                                                    <a:gd name="connsiteX39" fmla="*/ 1183022 w 1517899"/>
                                                    <a:gd name="connsiteY39" fmla="*/ 293585 h 815239"/>
                                                    <a:gd name="connsiteX40" fmla="*/ 1182634 w 1517899"/>
                                                    <a:gd name="connsiteY40" fmla="*/ 298638 h 815239"/>
                                                    <a:gd name="connsiteX41" fmla="*/ 1170713 w 1517899"/>
                                                    <a:gd name="connsiteY41" fmla="*/ 302590 h 815239"/>
                                                    <a:gd name="connsiteX42" fmla="*/ 1169871 w 1517899"/>
                                                    <a:gd name="connsiteY42" fmla="*/ 305635 h 815239"/>
                                                    <a:gd name="connsiteX43" fmla="*/ 1160477 w 1517899"/>
                                                    <a:gd name="connsiteY43" fmla="*/ 313733 h 815239"/>
                                                    <a:gd name="connsiteX44" fmla="*/ 1147520 w 1517899"/>
                                                    <a:gd name="connsiteY44" fmla="*/ 313539 h 815239"/>
                                                    <a:gd name="connsiteX45" fmla="*/ 1145317 w 1517899"/>
                                                    <a:gd name="connsiteY45" fmla="*/ 321896 h 815239"/>
                                                    <a:gd name="connsiteX46" fmla="*/ 1128667 w 1517899"/>
                                                    <a:gd name="connsiteY46" fmla="*/ 325136 h 815239"/>
                                                    <a:gd name="connsiteX47" fmla="*/ 1125493 w 1517899"/>
                                                    <a:gd name="connsiteY47" fmla="*/ 323710 h 815239"/>
                                                    <a:gd name="connsiteX48" fmla="*/ 1124715 w 1517899"/>
                                                    <a:gd name="connsiteY48" fmla="*/ 320212 h 815239"/>
                                                    <a:gd name="connsiteX49" fmla="*/ 1113831 w 1517899"/>
                                                    <a:gd name="connsiteY49" fmla="*/ 310948 h 815239"/>
                                                    <a:gd name="connsiteX50" fmla="*/ 1107806 w 1517899"/>
                                                    <a:gd name="connsiteY50" fmla="*/ 299351 h 815239"/>
                                                    <a:gd name="connsiteX51" fmla="*/ 1112989 w 1517899"/>
                                                    <a:gd name="connsiteY51" fmla="*/ 295788 h 815239"/>
                                                    <a:gd name="connsiteX52" fmla="*/ 1115062 w 1517899"/>
                                                    <a:gd name="connsiteY52" fmla="*/ 290475 h 815239"/>
                                                    <a:gd name="connsiteX53" fmla="*/ 1140977 w 1517899"/>
                                                    <a:gd name="connsiteY53" fmla="*/ 292808 h 815239"/>
                                                    <a:gd name="connsiteX54" fmla="*/ 1149982 w 1517899"/>
                                                    <a:gd name="connsiteY54" fmla="*/ 274862 h 815239"/>
                                                    <a:gd name="connsiteX55" fmla="*/ 1148751 w 1517899"/>
                                                    <a:gd name="connsiteY55" fmla="*/ 273566 h 815239"/>
                                                    <a:gd name="connsiteX56" fmla="*/ 1146742 w 1517899"/>
                                                    <a:gd name="connsiteY56" fmla="*/ 272854 h 815239"/>
                                                    <a:gd name="connsiteX57" fmla="*/ 1141560 w 1517899"/>
                                                    <a:gd name="connsiteY57" fmla="*/ 273825 h 815239"/>
                                                    <a:gd name="connsiteX58" fmla="*/ 1136830 w 1517899"/>
                                                    <a:gd name="connsiteY58" fmla="*/ 279527 h 815239"/>
                                                    <a:gd name="connsiteX59" fmla="*/ 1130935 w 1517899"/>
                                                    <a:gd name="connsiteY59" fmla="*/ 279462 h 815239"/>
                                                    <a:gd name="connsiteX60" fmla="*/ 1132101 w 1517899"/>
                                                    <a:gd name="connsiteY60" fmla="*/ 272206 h 815239"/>
                                                    <a:gd name="connsiteX61" fmla="*/ 1134174 w 1517899"/>
                                                    <a:gd name="connsiteY61" fmla="*/ 248235 h 815239"/>
                                                    <a:gd name="connsiteX62" fmla="*/ 1133720 w 1517899"/>
                                                    <a:gd name="connsiteY62" fmla="*/ 241173 h 815239"/>
                                                    <a:gd name="connsiteX63" fmla="*/ 1114868 w 1517899"/>
                                                    <a:gd name="connsiteY63" fmla="*/ 238517 h 815239"/>
                                                    <a:gd name="connsiteX64" fmla="*/ 1095756 w 1517899"/>
                                                    <a:gd name="connsiteY64" fmla="*/ 247976 h 815239"/>
                                                    <a:gd name="connsiteX65" fmla="*/ 1099060 w 1517899"/>
                                                    <a:gd name="connsiteY65" fmla="*/ 232816 h 815239"/>
                                                    <a:gd name="connsiteX66" fmla="*/ 1104178 w 1517899"/>
                                                    <a:gd name="connsiteY66" fmla="*/ 231132 h 815239"/>
                                                    <a:gd name="connsiteX67" fmla="*/ 1106251 w 1517899"/>
                                                    <a:gd name="connsiteY67" fmla="*/ 219924 h 815239"/>
                                                    <a:gd name="connsiteX68" fmla="*/ 1111758 w 1517899"/>
                                                    <a:gd name="connsiteY68" fmla="*/ 195500 h 815239"/>
                                                    <a:gd name="connsiteX69" fmla="*/ 1104567 w 1517899"/>
                                                    <a:gd name="connsiteY69" fmla="*/ 188373 h 815239"/>
                                                    <a:gd name="connsiteX70" fmla="*/ 1101975 w 1517899"/>
                                                    <a:gd name="connsiteY70" fmla="*/ 180599 h 815239"/>
                                                    <a:gd name="connsiteX71" fmla="*/ 1098088 w 1517899"/>
                                                    <a:gd name="connsiteY71" fmla="*/ 179303 h 815239"/>
                                                    <a:gd name="connsiteX72" fmla="*/ 1062521 w 1517899"/>
                                                    <a:gd name="connsiteY72" fmla="*/ 194139 h 815239"/>
                                                    <a:gd name="connsiteX73" fmla="*/ 1057403 w 1517899"/>
                                                    <a:gd name="connsiteY73" fmla="*/ 199646 h 815239"/>
                                                    <a:gd name="connsiteX74" fmla="*/ 1047944 w 1517899"/>
                                                    <a:gd name="connsiteY74" fmla="*/ 203274 h 815239"/>
                                                    <a:gd name="connsiteX75" fmla="*/ 1039716 w 1517899"/>
                                                    <a:gd name="connsiteY75" fmla="*/ 223422 h 815239"/>
                                                    <a:gd name="connsiteX76" fmla="*/ 1036866 w 1517899"/>
                                                    <a:gd name="connsiteY76" fmla="*/ 283932 h 815239"/>
                                                    <a:gd name="connsiteX77" fmla="*/ 1035116 w 1517899"/>
                                                    <a:gd name="connsiteY77" fmla="*/ 289957 h 815239"/>
                                                    <a:gd name="connsiteX78" fmla="*/ 1026111 w 1517899"/>
                                                    <a:gd name="connsiteY78" fmla="*/ 294039 h 815239"/>
                                                    <a:gd name="connsiteX79" fmla="*/ 1021641 w 1517899"/>
                                                    <a:gd name="connsiteY79" fmla="*/ 306607 h 815239"/>
                                                    <a:gd name="connsiteX80" fmla="*/ 1017884 w 1517899"/>
                                                    <a:gd name="connsiteY80" fmla="*/ 307773 h 815239"/>
                                                    <a:gd name="connsiteX81" fmla="*/ 1002335 w 1517899"/>
                                                    <a:gd name="connsiteY81" fmla="*/ 293326 h 815239"/>
                                                    <a:gd name="connsiteX82" fmla="*/ 1001752 w 1517899"/>
                                                    <a:gd name="connsiteY82" fmla="*/ 286653 h 815239"/>
                                                    <a:gd name="connsiteX83" fmla="*/ 996699 w 1517899"/>
                                                    <a:gd name="connsiteY83" fmla="*/ 281729 h 815239"/>
                                                    <a:gd name="connsiteX84" fmla="*/ 994302 w 1517899"/>
                                                    <a:gd name="connsiteY84" fmla="*/ 264820 h 815239"/>
                                                    <a:gd name="connsiteX85" fmla="*/ 1000651 w 1517899"/>
                                                    <a:gd name="connsiteY85" fmla="*/ 241886 h 815239"/>
                                                    <a:gd name="connsiteX86" fmla="*/ 1006805 w 1517899"/>
                                                    <a:gd name="connsiteY86" fmla="*/ 221932 h 815239"/>
                                                    <a:gd name="connsiteX87" fmla="*/ 1016394 w 1517899"/>
                                                    <a:gd name="connsiteY87" fmla="*/ 208521 h 815239"/>
                                                    <a:gd name="connsiteX88" fmla="*/ 1002141 w 1517899"/>
                                                    <a:gd name="connsiteY88" fmla="*/ 198156 h 815239"/>
                                                    <a:gd name="connsiteX89" fmla="*/ 1007518 w 1517899"/>
                                                    <a:gd name="connsiteY89" fmla="*/ 190381 h 815239"/>
                                                    <a:gd name="connsiteX90" fmla="*/ 1023390 w 1517899"/>
                                                    <a:gd name="connsiteY90" fmla="*/ 179433 h 815239"/>
                                                    <a:gd name="connsiteX91" fmla="*/ 1034922 w 1517899"/>
                                                    <a:gd name="connsiteY91" fmla="*/ 172177 h 815239"/>
                                                    <a:gd name="connsiteX92" fmla="*/ 1050665 w 1517899"/>
                                                    <a:gd name="connsiteY92" fmla="*/ 166540 h 815239"/>
                                                    <a:gd name="connsiteX93" fmla="*/ 1081244 w 1517899"/>
                                                    <a:gd name="connsiteY93" fmla="*/ 163884 h 815239"/>
                                                    <a:gd name="connsiteX94" fmla="*/ 1095497 w 1517899"/>
                                                    <a:gd name="connsiteY94" fmla="*/ 157600 h 815239"/>
                                                    <a:gd name="connsiteX95" fmla="*/ 1082475 w 1517899"/>
                                                    <a:gd name="connsiteY95" fmla="*/ 148983 h 815239"/>
                                                    <a:gd name="connsiteX96" fmla="*/ 1067315 w 1517899"/>
                                                    <a:gd name="connsiteY96" fmla="*/ 142634 h 815239"/>
                                                    <a:gd name="connsiteX97" fmla="*/ 1049629 w 1517899"/>
                                                    <a:gd name="connsiteY97" fmla="*/ 141727 h 815239"/>
                                                    <a:gd name="connsiteX98" fmla="*/ 1035311 w 1517899"/>
                                                    <a:gd name="connsiteY98" fmla="*/ 149307 h 815239"/>
                                                    <a:gd name="connsiteX99" fmla="*/ 1004408 w 1517899"/>
                                                    <a:gd name="connsiteY99" fmla="*/ 148854 h 815239"/>
                                                    <a:gd name="connsiteX100" fmla="*/ 1001946 w 1517899"/>
                                                    <a:gd name="connsiteY100" fmla="*/ 134277 h 815239"/>
                                                    <a:gd name="connsiteX101" fmla="*/ 987758 w 1517899"/>
                                                    <a:gd name="connsiteY101" fmla="*/ 130325 h 815239"/>
                                                    <a:gd name="connsiteX102" fmla="*/ 987175 w 1517899"/>
                                                    <a:gd name="connsiteY102" fmla="*/ 124170 h 815239"/>
                                                    <a:gd name="connsiteX103" fmla="*/ 974607 w 1517899"/>
                                                    <a:gd name="connsiteY103" fmla="*/ 123652 h 815239"/>
                                                    <a:gd name="connsiteX104" fmla="*/ 972858 w 1517899"/>
                                                    <a:gd name="connsiteY104" fmla="*/ 129029 h 815239"/>
                                                    <a:gd name="connsiteX105" fmla="*/ 961585 w 1517899"/>
                                                    <a:gd name="connsiteY105" fmla="*/ 132528 h 815239"/>
                                                    <a:gd name="connsiteX106" fmla="*/ 956985 w 1517899"/>
                                                    <a:gd name="connsiteY106" fmla="*/ 141598 h 815239"/>
                                                    <a:gd name="connsiteX107" fmla="*/ 945518 w 1517899"/>
                                                    <a:gd name="connsiteY107" fmla="*/ 145809 h 815239"/>
                                                    <a:gd name="connsiteX108" fmla="*/ 942797 w 1517899"/>
                                                    <a:gd name="connsiteY108" fmla="*/ 149372 h 815239"/>
                                                    <a:gd name="connsiteX109" fmla="*/ 931200 w 1517899"/>
                                                    <a:gd name="connsiteY109" fmla="*/ 145291 h 815239"/>
                                                    <a:gd name="connsiteX110" fmla="*/ 917336 w 1517899"/>
                                                    <a:gd name="connsiteY110" fmla="*/ 143023 h 815239"/>
                                                    <a:gd name="connsiteX111" fmla="*/ 903278 w 1517899"/>
                                                    <a:gd name="connsiteY111" fmla="*/ 141403 h 815239"/>
                                                    <a:gd name="connsiteX112" fmla="*/ 898160 w 1517899"/>
                                                    <a:gd name="connsiteY112" fmla="*/ 129677 h 815239"/>
                                                    <a:gd name="connsiteX113" fmla="*/ 911052 w 1517899"/>
                                                    <a:gd name="connsiteY113" fmla="*/ 124170 h 815239"/>
                                                    <a:gd name="connsiteX114" fmla="*/ 914291 w 1517899"/>
                                                    <a:gd name="connsiteY114" fmla="*/ 111537 h 815239"/>
                                                    <a:gd name="connsiteX115" fmla="*/ 930876 w 1517899"/>
                                                    <a:gd name="connsiteY115" fmla="*/ 109140 h 815239"/>
                                                    <a:gd name="connsiteX116" fmla="*/ 933986 w 1517899"/>
                                                    <a:gd name="connsiteY116" fmla="*/ 105188 h 815239"/>
                                                    <a:gd name="connsiteX117" fmla="*/ 949859 w 1517899"/>
                                                    <a:gd name="connsiteY117" fmla="*/ 101560 h 815239"/>
                                                    <a:gd name="connsiteX118" fmla="*/ 950312 w 1517899"/>
                                                    <a:gd name="connsiteY118" fmla="*/ 96960 h 815239"/>
                                                    <a:gd name="connsiteX119" fmla="*/ 952191 w 1517899"/>
                                                    <a:gd name="connsiteY119" fmla="*/ 94563 h 815239"/>
                                                    <a:gd name="connsiteX120" fmla="*/ 945129 w 1517899"/>
                                                    <a:gd name="connsiteY120" fmla="*/ 91778 h 815239"/>
                                                    <a:gd name="connsiteX121" fmla="*/ 938003 w 1517899"/>
                                                    <a:gd name="connsiteY121" fmla="*/ 93527 h 815239"/>
                                                    <a:gd name="connsiteX122" fmla="*/ 909562 w 1517899"/>
                                                    <a:gd name="connsiteY122" fmla="*/ 86789 h 815239"/>
                                                    <a:gd name="connsiteX123" fmla="*/ 883583 w 1517899"/>
                                                    <a:gd name="connsiteY123" fmla="*/ 75711 h 815239"/>
                                                    <a:gd name="connsiteX124" fmla="*/ 870107 w 1517899"/>
                                                    <a:gd name="connsiteY124" fmla="*/ 82448 h 815239"/>
                                                    <a:gd name="connsiteX125" fmla="*/ 857280 w 1517899"/>
                                                    <a:gd name="connsiteY125" fmla="*/ 80440 h 815239"/>
                                                    <a:gd name="connsiteX126" fmla="*/ 850088 w 1517899"/>
                                                    <a:gd name="connsiteY126" fmla="*/ 70463 h 815239"/>
                                                    <a:gd name="connsiteX127" fmla="*/ 835188 w 1517899"/>
                                                    <a:gd name="connsiteY127" fmla="*/ 69491 h 815239"/>
                                                    <a:gd name="connsiteX128" fmla="*/ 837131 w 1517899"/>
                                                    <a:gd name="connsiteY128" fmla="*/ 47723 h 815239"/>
                                                    <a:gd name="connsiteX129" fmla="*/ 828321 w 1517899"/>
                                                    <a:gd name="connsiteY129" fmla="*/ 45780 h 815239"/>
                                                    <a:gd name="connsiteX130" fmla="*/ 824174 w 1517899"/>
                                                    <a:gd name="connsiteY130" fmla="*/ 52517 h 815239"/>
                                                    <a:gd name="connsiteX131" fmla="*/ 819380 w 1517899"/>
                                                    <a:gd name="connsiteY131" fmla="*/ 54979 h 815239"/>
                                                    <a:gd name="connsiteX132" fmla="*/ 817696 w 1517899"/>
                                                    <a:gd name="connsiteY132" fmla="*/ 67094 h 815239"/>
                                                    <a:gd name="connsiteX133" fmla="*/ 141916 w 1517899"/>
                                                    <a:gd name="connsiteY133" fmla="*/ 67094 h 815239"/>
                                                    <a:gd name="connsiteX134" fmla="*/ 142564 w 1517899"/>
                                                    <a:gd name="connsiteY134" fmla="*/ 72860 h 815239"/>
                                                    <a:gd name="connsiteX135" fmla="*/ 145026 w 1517899"/>
                                                    <a:gd name="connsiteY135" fmla="*/ 87890 h 815239"/>
                                                    <a:gd name="connsiteX136" fmla="*/ 150079 w 1517899"/>
                                                    <a:gd name="connsiteY136" fmla="*/ 96053 h 815239"/>
                                                    <a:gd name="connsiteX137" fmla="*/ 150403 w 1517899"/>
                                                    <a:gd name="connsiteY137" fmla="*/ 103050 h 815239"/>
                                                    <a:gd name="connsiteX138" fmla="*/ 148265 w 1517899"/>
                                                    <a:gd name="connsiteY138" fmla="*/ 127280 h 815239"/>
                                                    <a:gd name="connsiteX139" fmla="*/ 134660 w 1517899"/>
                                                    <a:gd name="connsiteY139" fmla="*/ 120542 h 815239"/>
                                                    <a:gd name="connsiteX140" fmla="*/ 134142 w 1517899"/>
                                                    <a:gd name="connsiteY140" fmla="*/ 102532 h 815239"/>
                                                    <a:gd name="connsiteX141" fmla="*/ 123128 w 1517899"/>
                                                    <a:gd name="connsiteY141" fmla="*/ 90806 h 815239"/>
                                                    <a:gd name="connsiteX142" fmla="*/ 101425 w 1517899"/>
                                                    <a:gd name="connsiteY142" fmla="*/ 52712 h 815239"/>
                                                    <a:gd name="connsiteX143" fmla="*/ 76806 w 1517899"/>
                                                    <a:gd name="connsiteY143" fmla="*/ 35220 h 815239"/>
                                                    <a:gd name="connsiteX144" fmla="*/ 75057 w 1517899"/>
                                                    <a:gd name="connsiteY144" fmla="*/ 25890 h 815239"/>
                                                    <a:gd name="connsiteX145" fmla="*/ 64756 w 1517899"/>
                                                    <a:gd name="connsiteY145" fmla="*/ 20125 h 815239"/>
                                                    <a:gd name="connsiteX146" fmla="*/ 39360 w 1517899"/>
                                                    <a:gd name="connsiteY146" fmla="*/ 14035 h 815239"/>
                                                    <a:gd name="connsiteX147" fmla="*/ 29642 w 1517899"/>
                                                    <a:gd name="connsiteY147" fmla="*/ 10471 h 815239"/>
                                                    <a:gd name="connsiteX148" fmla="*/ 21285 w 1517899"/>
                                                    <a:gd name="connsiteY148" fmla="*/ 3021 h 815239"/>
                                                    <a:gd name="connsiteX149" fmla="*/ 1720 w 1517899"/>
                                                    <a:gd name="connsiteY149" fmla="*/ 3151 h 815239"/>
                                                    <a:gd name="connsiteX150" fmla="*/ 8587 w 1517899"/>
                                                    <a:gd name="connsiteY150" fmla="*/ 19606 h 815239"/>
                                                    <a:gd name="connsiteX151" fmla="*/ 26921 w 1517899"/>
                                                    <a:gd name="connsiteY151" fmla="*/ 28741 h 815239"/>
                                                    <a:gd name="connsiteX152" fmla="*/ 30873 w 1517899"/>
                                                    <a:gd name="connsiteY152" fmla="*/ 34507 h 815239"/>
                                                    <a:gd name="connsiteX153" fmla="*/ 61841 w 1517899"/>
                                                    <a:gd name="connsiteY153" fmla="*/ 49796 h 815239"/>
                                                    <a:gd name="connsiteX154" fmla="*/ 87561 w 1517899"/>
                                                    <a:gd name="connsiteY154" fmla="*/ 70981 h 815239"/>
                                                    <a:gd name="connsiteX155" fmla="*/ 88921 w 1517899"/>
                                                    <a:gd name="connsiteY155" fmla="*/ 81412 h 815239"/>
                                                    <a:gd name="connsiteX156" fmla="*/ 96048 w 1517899"/>
                                                    <a:gd name="connsiteY156" fmla="*/ 90158 h 815239"/>
                                                    <a:gd name="connsiteX157" fmla="*/ 107968 w 1517899"/>
                                                    <a:gd name="connsiteY157" fmla="*/ 138423 h 815239"/>
                                                    <a:gd name="connsiteX158" fmla="*/ 121184 w 1517899"/>
                                                    <a:gd name="connsiteY158" fmla="*/ 159479 h 815239"/>
                                                    <a:gd name="connsiteX159" fmla="*/ 102332 w 1517899"/>
                                                    <a:gd name="connsiteY159" fmla="*/ 164208 h 815239"/>
                                                    <a:gd name="connsiteX160" fmla="*/ 102656 w 1517899"/>
                                                    <a:gd name="connsiteY160" fmla="*/ 205736 h 815239"/>
                                                    <a:gd name="connsiteX161" fmla="*/ 107515 w 1517899"/>
                                                    <a:gd name="connsiteY161" fmla="*/ 219470 h 815239"/>
                                                    <a:gd name="connsiteX162" fmla="*/ 114706 w 1517899"/>
                                                    <a:gd name="connsiteY162" fmla="*/ 223098 h 815239"/>
                                                    <a:gd name="connsiteX163" fmla="*/ 116585 w 1517899"/>
                                                    <a:gd name="connsiteY163" fmla="*/ 230549 h 815239"/>
                                                    <a:gd name="connsiteX164" fmla="*/ 116390 w 1517899"/>
                                                    <a:gd name="connsiteY164" fmla="*/ 254066 h 815239"/>
                                                    <a:gd name="connsiteX165" fmla="*/ 104729 w 1517899"/>
                                                    <a:gd name="connsiteY165" fmla="*/ 254260 h 815239"/>
                                                    <a:gd name="connsiteX166" fmla="*/ 114576 w 1517899"/>
                                                    <a:gd name="connsiteY166" fmla="*/ 311725 h 815239"/>
                                                    <a:gd name="connsiteX167" fmla="*/ 114576 w 1517899"/>
                                                    <a:gd name="connsiteY167" fmla="*/ 323775 h 815239"/>
                                                    <a:gd name="connsiteX168" fmla="*/ 110430 w 1517899"/>
                                                    <a:gd name="connsiteY168" fmla="*/ 331031 h 815239"/>
                                                    <a:gd name="connsiteX169" fmla="*/ 106543 w 1517899"/>
                                                    <a:gd name="connsiteY169" fmla="*/ 358824 h 815239"/>
                                                    <a:gd name="connsiteX170" fmla="*/ 135049 w 1517899"/>
                                                    <a:gd name="connsiteY170" fmla="*/ 418622 h 815239"/>
                                                    <a:gd name="connsiteX171" fmla="*/ 178325 w 1517899"/>
                                                    <a:gd name="connsiteY171" fmla="*/ 469478 h 815239"/>
                                                    <a:gd name="connsiteX172" fmla="*/ 184415 w 1517899"/>
                                                    <a:gd name="connsiteY172" fmla="*/ 476734 h 815239"/>
                                                    <a:gd name="connsiteX173" fmla="*/ 186877 w 1517899"/>
                                                    <a:gd name="connsiteY173" fmla="*/ 488007 h 815239"/>
                                                    <a:gd name="connsiteX174" fmla="*/ 188885 w 1517899"/>
                                                    <a:gd name="connsiteY174" fmla="*/ 512431 h 815239"/>
                                                    <a:gd name="connsiteX175" fmla="*/ 190829 w 1517899"/>
                                                    <a:gd name="connsiteY175" fmla="*/ 521307 h 815239"/>
                                                    <a:gd name="connsiteX176" fmla="*/ 198409 w 1517899"/>
                                                    <a:gd name="connsiteY176" fmla="*/ 528498 h 815239"/>
                                                    <a:gd name="connsiteX177" fmla="*/ 212079 w 1517899"/>
                                                    <a:gd name="connsiteY177" fmla="*/ 537892 h 815239"/>
                                                    <a:gd name="connsiteX178" fmla="*/ 256327 w 1517899"/>
                                                    <a:gd name="connsiteY178" fmla="*/ 549100 h 815239"/>
                                                    <a:gd name="connsiteX179" fmla="*/ 272135 w 1517899"/>
                                                    <a:gd name="connsiteY179" fmla="*/ 571516 h 815239"/>
                                                    <a:gd name="connsiteX180" fmla="*/ 276541 w 1517899"/>
                                                    <a:gd name="connsiteY180" fmla="*/ 590563 h 815239"/>
                                                    <a:gd name="connsiteX181" fmla="*/ 277836 w 1517899"/>
                                                    <a:gd name="connsiteY181" fmla="*/ 596264 h 815239"/>
                                                    <a:gd name="connsiteX182" fmla="*/ 322085 w 1517899"/>
                                                    <a:gd name="connsiteY182" fmla="*/ 589980 h 815239"/>
                                                    <a:gd name="connsiteX183" fmla="*/ 349101 w 1517899"/>
                                                    <a:gd name="connsiteY183" fmla="*/ 594061 h 815239"/>
                                                    <a:gd name="connsiteX184" fmla="*/ 359402 w 1517899"/>
                                                    <a:gd name="connsiteY184" fmla="*/ 604038 h 815239"/>
                                                    <a:gd name="connsiteX185" fmla="*/ 379096 w 1517899"/>
                                                    <a:gd name="connsiteY185" fmla="*/ 606565 h 815239"/>
                                                    <a:gd name="connsiteX186" fmla="*/ 386028 w 1517899"/>
                                                    <a:gd name="connsiteY186" fmla="*/ 617125 h 815239"/>
                                                    <a:gd name="connsiteX187" fmla="*/ 393155 w 1517899"/>
                                                    <a:gd name="connsiteY187" fmla="*/ 619652 h 815239"/>
                                                    <a:gd name="connsiteX188" fmla="*/ 452110 w 1517899"/>
                                                    <a:gd name="connsiteY188" fmla="*/ 629693 h 815239"/>
                                                    <a:gd name="connsiteX189" fmla="*/ 490722 w 1517899"/>
                                                    <a:gd name="connsiteY189" fmla="*/ 627685 h 815239"/>
                                                    <a:gd name="connsiteX190" fmla="*/ 504586 w 1517899"/>
                                                    <a:gd name="connsiteY190" fmla="*/ 618032 h 815239"/>
                                                    <a:gd name="connsiteX191" fmla="*/ 525383 w 1517899"/>
                                                    <a:gd name="connsiteY191" fmla="*/ 612849 h 815239"/>
                                                    <a:gd name="connsiteX192" fmla="*/ 571899 w 1517899"/>
                                                    <a:gd name="connsiteY192" fmla="*/ 644529 h 815239"/>
                                                    <a:gd name="connsiteX193" fmla="*/ 573777 w 1517899"/>
                                                    <a:gd name="connsiteY193" fmla="*/ 653794 h 815239"/>
                                                    <a:gd name="connsiteX194" fmla="*/ 587577 w 1517899"/>
                                                    <a:gd name="connsiteY194" fmla="*/ 674266 h 815239"/>
                                                    <a:gd name="connsiteX195" fmla="*/ 601765 w 1517899"/>
                                                    <a:gd name="connsiteY195" fmla="*/ 685539 h 815239"/>
                                                    <a:gd name="connsiteX196" fmla="*/ 617443 w 1517899"/>
                                                    <a:gd name="connsiteY196" fmla="*/ 692536 h 815239"/>
                                                    <a:gd name="connsiteX197" fmla="*/ 620877 w 1517899"/>
                                                    <a:gd name="connsiteY197" fmla="*/ 701022 h 815239"/>
                                                    <a:gd name="connsiteX198" fmla="*/ 628975 w 1517899"/>
                                                    <a:gd name="connsiteY198" fmla="*/ 701022 h 815239"/>
                                                    <a:gd name="connsiteX199" fmla="*/ 629817 w 1517899"/>
                                                    <a:gd name="connsiteY199" fmla="*/ 682364 h 815239"/>
                                                    <a:gd name="connsiteX200" fmla="*/ 640377 w 1517899"/>
                                                    <a:gd name="connsiteY200" fmla="*/ 682364 h 815239"/>
                                                    <a:gd name="connsiteX201" fmla="*/ 651780 w 1517899"/>
                                                    <a:gd name="connsiteY201" fmla="*/ 674978 h 815239"/>
                                                    <a:gd name="connsiteX202" fmla="*/ 678471 w 1517899"/>
                                                    <a:gd name="connsiteY202" fmla="*/ 688454 h 815239"/>
                                                    <a:gd name="connsiteX203" fmla="*/ 696741 w 1517899"/>
                                                    <a:gd name="connsiteY203" fmla="*/ 712749 h 815239"/>
                                                    <a:gd name="connsiteX204" fmla="*/ 714686 w 1517899"/>
                                                    <a:gd name="connsiteY204" fmla="*/ 734711 h 815239"/>
                                                    <a:gd name="connsiteX205" fmla="*/ 713067 w 1517899"/>
                                                    <a:gd name="connsiteY205" fmla="*/ 742226 h 815239"/>
                                                    <a:gd name="connsiteX206" fmla="*/ 721294 w 1517899"/>
                                                    <a:gd name="connsiteY206" fmla="*/ 747085 h 815239"/>
                                                    <a:gd name="connsiteX207" fmla="*/ 720193 w 1517899"/>
                                                    <a:gd name="connsiteY207" fmla="*/ 773258 h 815239"/>
                                                    <a:gd name="connsiteX208" fmla="*/ 762239 w 1517899"/>
                                                    <a:gd name="connsiteY208" fmla="*/ 790556 h 815239"/>
                                                    <a:gd name="connsiteX209" fmla="*/ 768329 w 1517899"/>
                                                    <a:gd name="connsiteY209" fmla="*/ 792694 h 815239"/>
                                                    <a:gd name="connsiteX210" fmla="*/ 762563 w 1517899"/>
                                                    <a:gd name="connsiteY210" fmla="*/ 756803 h 815239"/>
                                                    <a:gd name="connsiteX211" fmla="*/ 768394 w 1517899"/>
                                                    <a:gd name="connsiteY211" fmla="*/ 746243 h 815239"/>
                                                    <a:gd name="connsiteX212" fmla="*/ 767552 w 1517899"/>
                                                    <a:gd name="connsiteY212" fmla="*/ 724345 h 815239"/>
                                                    <a:gd name="connsiteX213" fmla="*/ 779602 w 1517899"/>
                                                    <a:gd name="connsiteY213" fmla="*/ 718385 h 815239"/>
                                                    <a:gd name="connsiteX214" fmla="*/ 808107 w 1517899"/>
                                                    <a:gd name="connsiteY214" fmla="*/ 681457 h 815239"/>
                                                    <a:gd name="connsiteX215" fmla="*/ 852356 w 1517899"/>
                                                    <a:gd name="connsiteY215" fmla="*/ 648935 h 815239"/>
                                                    <a:gd name="connsiteX216" fmla="*/ 914680 w 1517899"/>
                                                    <a:gd name="connsiteY216" fmla="*/ 679254 h 815239"/>
                                                    <a:gd name="connsiteX217" fmla="*/ 922649 w 1517899"/>
                                                    <a:gd name="connsiteY217" fmla="*/ 689685 h 815239"/>
                                                    <a:gd name="connsiteX218" fmla="*/ 929775 w 1517899"/>
                                                    <a:gd name="connsiteY218" fmla="*/ 689685 h 815239"/>
                                                    <a:gd name="connsiteX219" fmla="*/ 959706 w 1517899"/>
                                                    <a:gd name="connsiteY219" fmla="*/ 684372 h 815239"/>
                                                    <a:gd name="connsiteX220" fmla="*/ 954977 w 1517899"/>
                                                    <a:gd name="connsiteY220" fmla="*/ 673035 h 815239"/>
                                                    <a:gd name="connsiteX221" fmla="*/ 975060 w 1517899"/>
                                                    <a:gd name="connsiteY221" fmla="*/ 652433 h 815239"/>
                                                    <a:gd name="connsiteX222" fmla="*/ 1003760 w 1517899"/>
                                                    <a:gd name="connsiteY222" fmla="*/ 638893 h 815239"/>
                                                    <a:gd name="connsiteX223" fmla="*/ 1021058 w 1517899"/>
                                                    <a:gd name="connsiteY223" fmla="*/ 662604 h 815239"/>
                                                    <a:gd name="connsiteX224" fmla="*/ 1060318 w 1517899"/>
                                                    <a:gd name="connsiteY224" fmla="*/ 656968 h 815239"/>
                                                    <a:gd name="connsiteX225" fmla="*/ 1076126 w 1517899"/>
                                                    <a:gd name="connsiteY225" fmla="*/ 675238 h 815239"/>
                                                    <a:gd name="connsiteX226" fmla="*/ 1090703 w 1517899"/>
                                                    <a:gd name="connsiteY226" fmla="*/ 665520 h 815239"/>
                                                    <a:gd name="connsiteX227" fmla="*/ 1117330 w 1517899"/>
                                                    <a:gd name="connsiteY227" fmla="*/ 678023 h 815239"/>
                                                    <a:gd name="connsiteX228" fmla="*/ 1123808 w 1517899"/>
                                                    <a:gd name="connsiteY228" fmla="*/ 710416 h 815239"/>
                                                    <a:gd name="connsiteX229" fmla="*/ 1140199 w 1517899"/>
                                                    <a:gd name="connsiteY229" fmla="*/ 747215 h 815239"/>
                                                    <a:gd name="connsiteX230" fmla="*/ 1179394 w 1517899"/>
                                                    <a:gd name="connsiteY230" fmla="*/ 815240 h 815239"/>
                                                    <a:gd name="connsiteX231" fmla="*/ 1176673 w 1517899"/>
                                                    <a:gd name="connsiteY231" fmla="*/ 721883 h 815239"/>
                                                    <a:gd name="connsiteX232" fmla="*/ 1153739 w 1517899"/>
                                                    <a:gd name="connsiteY232" fmla="*/ 670379 h 815239"/>
                                                    <a:gd name="connsiteX233" fmla="*/ 1160412 w 1517899"/>
                                                    <a:gd name="connsiteY233" fmla="*/ 613497 h 815239"/>
                                                    <a:gd name="connsiteX234" fmla="*/ 1202847 w 1517899"/>
                                                    <a:gd name="connsiteY234" fmla="*/ 567953 h 815239"/>
                                                    <a:gd name="connsiteX235" fmla="*/ 1218136 w 1517899"/>
                                                    <a:gd name="connsiteY235" fmla="*/ 555384 h 815239"/>
                                                    <a:gd name="connsiteX236" fmla="*/ 1267049 w 1517899"/>
                                                    <a:gd name="connsiteY236" fmla="*/ 515152 h 815239"/>
                                                    <a:gd name="connsiteX237" fmla="*/ 1283246 w 1517899"/>
                                                    <a:gd name="connsiteY237" fmla="*/ 504786 h 815239"/>
                                                    <a:gd name="connsiteX238" fmla="*/ 1304431 w 1517899"/>
                                                    <a:gd name="connsiteY238" fmla="*/ 491117 h 815239"/>
                                                    <a:gd name="connsiteX239" fmla="*/ 1295944 w 1517899"/>
                                                    <a:gd name="connsiteY239" fmla="*/ 476799 h 815239"/>
                                                    <a:gd name="connsiteX240" fmla="*/ 1292964 w 1517899"/>
                                                    <a:gd name="connsiteY240" fmla="*/ 461834 h 815239"/>
                                                    <a:gd name="connsiteX241" fmla="*/ 1282274 w 1517899"/>
                                                    <a:gd name="connsiteY241" fmla="*/ 453476 h 815239"/>
                                                    <a:gd name="connsiteX242" fmla="*/ 1286680 w 1517899"/>
                                                    <a:gd name="connsiteY242" fmla="*/ 444536 h 815239"/>
                                                    <a:gd name="connsiteX243" fmla="*/ 1268021 w 1517899"/>
                                                    <a:gd name="connsiteY243" fmla="*/ 420759 h 815239"/>
                                                    <a:gd name="connsiteX244" fmla="*/ 1269641 w 1517899"/>
                                                    <a:gd name="connsiteY244" fmla="*/ 412208 h 815239"/>
                                                    <a:gd name="connsiteX245" fmla="*/ 1287263 w 1517899"/>
                                                    <a:gd name="connsiteY245" fmla="*/ 364979 h 815239"/>
                                                    <a:gd name="connsiteX246" fmla="*/ 1296657 w 1517899"/>
                                                    <a:gd name="connsiteY246" fmla="*/ 390116 h 815239"/>
                                                    <a:gd name="connsiteX247" fmla="*/ 1305014 w 1517899"/>
                                                    <a:gd name="connsiteY247" fmla="*/ 415965 h 815239"/>
                                                    <a:gd name="connsiteX248" fmla="*/ 1330993 w 1517899"/>
                                                    <a:gd name="connsiteY248" fmla="*/ 361999 h 815239"/>
                                                    <a:gd name="connsiteX249" fmla="*/ 1356519 w 1517899"/>
                                                    <a:gd name="connsiteY249" fmla="*/ 335501 h 815239"/>
                                                    <a:gd name="connsiteX250" fmla="*/ 1359758 w 1517899"/>
                                                    <a:gd name="connsiteY250" fmla="*/ 323063 h 815239"/>
                                                    <a:gd name="connsiteX251" fmla="*/ 1404006 w 1517899"/>
                                                    <a:gd name="connsiteY251" fmla="*/ 311401 h 815239"/>
                                                    <a:gd name="connsiteX252" fmla="*/ 1406533 w 1517899"/>
                                                    <a:gd name="connsiteY252" fmla="*/ 299934 h 815239"/>
                                                    <a:gd name="connsiteX253" fmla="*/ 1426487 w 1517899"/>
                                                    <a:gd name="connsiteY253" fmla="*/ 309263 h 815239"/>
                                                    <a:gd name="connsiteX254" fmla="*/ 1423313 w 1517899"/>
                                                    <a:gd name="connsiteY254" fmla="*/ 238193 h 815239"/>
                                                    <a:gd name="connsiteX255" fmla="*/ 1469440 w 1517899"/>
                                                    <a:gd name="connsiteY255" fmla="*/ 212797 h 815239"/>
                                                    <a:gd name="connsiteX256" fmla="*/ 1480389 w 1517899"/>
                                                    <a:gd name="connsiteY256" fmla="*/ 209040 h 815239"/>
                                                    <a:gd name="connsiteX257" fmla="*/ 1494059 w 1517899"/>
                                                    <a:gd name="connsiteY257" fmla="*/ 213251 h 815239"/>
                                                    <a:gd name="connsiteX258" fmla="*/ 1517900 w 1517899"/>
                                                    <a:gd name="connsiteY258" fmla="*/ 204116 h 815239"/>
                                                    <a:gd name="connsiteX259" fmla="*/ 1515762 w 1517899"/>
                                                    <a:gd name="connsiteY259" fmla="*/ 182542 h 81523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  <a:cxn ang="0">
                                                      <a:pos x="connsiteX245" y="connsiteY245"/>
                                                    </a:cxn>
                                                    <a:cxn ang="0">
                                                      <a:pos x="connsiteX246" y="connsiteY246"/>
                                                    </a:cxn>
                                                    <a:cxn ang="0">
                                                      <a:pos x="connsiteX247" y="connsiteY247"/>
                                                    </a:cxn>
                                                    <a:cxn ang="0">
                                                      <a:pos x="connsiteX248" y="connsiteY248"/>
                                                    </a:cxn>
                                                    <a:cxn ang="0">
                                                      <a:pos x="connsiteX249" y="connsiteY249"/>
                                                    </a:cxn>
                                                    <a:cxn ang="0">
                                                      <a:pos x="connsiteX250" y="connsiteY250"/>
                                                    </a:cxn>
                                                    <a:cxn ang="0">
                                                      <a:pos x="connsiteX251" y="connsiteY251"/>
                                                    </a:cxn>
                                                    <a:cxn ang="0">
                                                      <a:pos x="connsiteX252" y="connsiteY252"/>
                                                    </a:cxn>
                                                    <a:cxn ang="0">
                                                      <a:pos x="connsiteX253" y="connsiteY253"/>
                                                    </a:cxn>
                                                    <a:cxn ang="0">
                                                      <a:pos x="connsiteX254" y="connsiteY254"/>
                                                    </a:cxn>
                                                    <a:cxn ang="0">
                                                      <a:pos x="connsiteX255" y="connsiteY255"/>
                                                    </a:cxn>
                                                    <a:cxn ang="0">
                                                      <a:pos x="connsiteX256" y="connsiteY256"/>
                                                    </a:cxn>
                                                    <a:cxn ang="0">
                                                      <a:pos x="connsiteX257" y="connsiteY257"/>
                                                    </a:cxn>
                                                    <a:cxn ang="0">
                                                      <a:pos x="connsiteX258" y="connsiteY258"/>
                                                    </a:cxn>
                                                    <a:cxn ang="0">
                                                      <a:pos x="connsiteX259" y="connsiteY25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17899" h="815239">
                                                      <a:moveTo>
                                                        <a:pt x="1515503" y="182283"/>
                                                      </a:moveTo>
                                                      <a:cubicBezTo>
                                                        <a:pt x="1515244" y="180728"/>
                                                        <a:pt x="1514919" y="179173"/>
                                                        <a:pt x="1514013" y="177878"/>
                                                      </a:cubicBezTo>
                                                      <a:cubicBezTo>
                                                        <a:pt x="1512199" y="175157"/>
                                                        <a:pt x="1507988" y="173343"/>
                                                        <a:pt x="1508571" y="170103"/>
                                                      </a:cubicBezTo>
                                                      <a:cubicBezTo>
                                                        <a:pt x="1508830" y="168743"/>
                                                        <a:pt x="1509866" y="167706"/>
                                                        <a:pt x="1510385" y="166475"/>
                                                      </a:cubicBezTo>
                                                      <a:cubicBezTo>
                                                        <a:pt x="1511810" y="163431"/>
                                                        <a:pt x="1509996" y="159867"/>
                                                        <a:pt x="1507923" y="157211"/>
                                                      </a:cubicBezTo>
                                                      <a:cubicBezTo>
                                                        <a:pt x="1505850" y="154555"/>
                                                        <a:pt x="1503258" y="151964"/>
                                                        <a:pt x="1502869" y="148595"/>
                                                      </a:cubicBezTo>
                                                      <a:cubicBezTo>
                                                        <a:pt x="1502286" y="143282"/>
                                                        <a:pt x="1507405" y="138877"/>
                                                        <a:pt x="1507793" y="133564"/>
                                                      </a:cubicBezTo>
                                                      <a:cubicBezTo>
                                                        <a:pt x="1508182" y="127475"/>
                                                        <a:pt x="1502546" y="122939"/>
                                                        <a:pt x="1497492" y="119506"/>
                                                      </a:cubicBezTo>
                                                      <a:cubicBezTo>
                                                        <a:pt x="1496132" y="118599"/>
                                                        <a:pt x="1494642" y="117627"/>
                                                        <a:pt x="1492957" y="117497"/>
                                                      </a:cubicBezTo>
                                                      <a:cubicBezTo>
                                                        <a:pt x="1491273" y="117368"/>
                                                        <a:pt x="1489718" y="118081"/>
                                                        <a:pt x="1488098" y="118469"/>
                                                      </a:cubicBezTo>
                                                      <a:cubicBezTo>
                                                        <a:pt x="1479806" y="120413"/>
                                                        <a:pt x="1472291" y="113934"/>
                                                        <a:pt x="1465683" y="108557"/>
                                                      </a:cubicBezTo>
                                                      <a:cubicBezTo>
                                                        <a:pt x="1464711" y="107780"/>
                                                        <a:pt x="1463609" y="107067"/>
                                                        <a:pt x="1462508" y="106484"/>
                                                      </a:cubicBezTo>
                                                      <a:cubicBezTo>
                                                        <a:pt x="1459852" y="110436"/>
                                                        <a:pt x="1457260" y="114453"/>
                                                        <a:pt x="1454539" y="118340"/>
                                                      </a:cubicBezTo>
                                                      <a:cubicBezTo>
                                                        <a:pt x="1454993" y="130714"/>
                                                        <a:pt x="1448709" y="142440"/>
                                                        <a:pt x="1441841" y="152806"/>
                                                      </a:cubicBezTo>
                                                      <a:cubicBezTo>
                                                        <a:pt x="1440351" y="155073"/>
                                                        <a:pt x="1438732" y="157405"/>
                                                        <a:pt x="1438019" y="160062"/>
                                                      </a:cubicBezTo>
                                                      <a:cubicBezTo>
                                                        <a:pt x="1437371" y="162588"/>
                                                        <a:pt x="1437436" y="165245"/>
                                                        <a:pt x="1436529" y="167706"/>
                                                      </a:cubicBezTo>
                                                      <a:cubicBezTo>
                                                        <a:pt x="1435039" y="171788"/>
                                                        <a:pt x="1431022" y="174250"/>
                                                        <a:pt x="1427977" y="177295"/>
                                                      </a:cubicBezTo>
                                                      <a:cubicBezTo>
                                                        <a:pt x="1424932" y="180340"/>
                                                        <a:pt x="1422730" y="185522"/>
                                                        <a:pt x="1425450" y="188891"/>
                                                      </a:cubicBezTo>
                                                      <a:cubicBezTo>
                                                        <a:pt x="1421952" y="189539"/>
                                                        <a:pt x="1418389" y="190252"/>
                                                        <a:pt x="1415474" y="192390"/>
                                                      </a:cubicBezTo>
                                                      <a:cubicBezTo>
                                                        <a:pt x="1412623" y="194463"/>
                                                        <a:pt x="1410679" y="198350"/>
                                                        <a:pt x="1411975" y="201654"/>
                                                      </a:cubicBezTo>
                                                      <a:cubicBezTo>
                                                        <a:pt x="1411068" y="201784"/>
                                                        <a:pt x="1410226" y="201848"/>
                                                        <a:pt x="1409319" y="201978"/>
                                                      </a:cubicBezTo>
                                                      <a:lnTo>
                                                        <a:pt x="1323866" y="201136"/>
                                                      </a:lnTo>
                                                      <a:cubicBezTo>
                                                        <a:pt x="1318425" y="202043"/>
                                                        <a:pt x="1313177" y="204310"/>
                                                        <a:pt x="1308772" y="207614"/>
                                                      </a:cubicBezTo>
                                                      <a:cubicBezTo>
                                                        <a:pt x="1307800" y="208327"/>
                                                        <a:pt x="1306828" y="209234"/>
                                                        <a:pt x="1306439" y="210400"/>
                                                      </a:cubicBezTo>
                                                      <a:cubicBezTo>
                                                        <a:pt x="1306180" y="211242"/>
                                                        <a:pt x="1306310" y="212149"/>
                                                        <a:pt x="1306180" y="212992"/>
                                                      </a:cubicBezTo>
                                                      <a:cubicBezTo>
                                                        <a:pt x="1305727" y="215583"/>
                                                        <a:pt x="1302941" y="217008"/>
                                                        <a:pt x="1300414" y="217656"/>
                                                      </a:cubicBezTo>
                                                      <a:cubicBezTo>
                                                        <a:pt x="1297887" y="218304"/>
                                                        <a:pt x="1295102" y="218693"/>
                                                        <a:pt x="1293223" y="220442"/>
                                                      </a:cubicBezTo>
                                                      <a:cubicBezTo>
                                                        <a:pt x="1292834" y="220831"/>
                                                        <a:pt x="1292510" y="221284"/>
                                                        <a:pt x="1292186" y="221738"/>
                                                      </a:cubicBezTo>
                                                      <a:cubicBezTo>
                                                        <a:pt x="1292575" y="221738"/>
                                                        <a:pt x="1292899" y="221738"/>
                                                        <a:pt x="1293288" y="221738"/>
                                                      </a:cubicBezTo>
                                                      <a:cubicBezTo>
                                                        <a:pt x="1295685" y="228540"/>
                                                        <a:pt x="1291474" y="236962"/>
                                                        <a:pt x="1284542" y="239100"/>
                                                      </a:cubicBezTo>
                                                      <a:cubicBezTo>
                                                        <a:pt x="1281626" y="240007"/>
                                                        <a:pt x="1278193" y="240007"/>
                                                        <a:pt x="1275990" y="242145"/>
                                                      </a:cubicBezTo>
                                                      <a:cubicBezTo>
                                                        <a:pt x="1273917" y="244218"/>
                                                        <a:pt x="1273852" y="247587"/>
                                                        <a:pt x="1272103" y="249919"/>
                                                      </a:cubicBezTo>
                                                      <a:cubicBezTo>
                                                        <a:pt x="1270353" y="252317"/>
                                                        <a:pt x="1267244" y="253224"/>
                                                        <a:pt x="1264393" y="253936"/>
                                                      </a:cubicBezTo>
                                                      <a:cubicBezTo>
                                                        <a:pt x="1254546" y="256398"/>
                                                        <a:pt x="1244504" y="258212"/>
                                                        <a:pt x="1234397" y="259378"/>
                                                      </a:cubicBezTo>
                                                      <a:cubicBezTo>
                                                        <a:pt x="1231482" y="259702"/>
                                                        <a:pt x="1228502" y="260026"/>
                                                        <a:pt x="1225975" y="261516"/>
                                                      </a:cubicBezTo>
                                                      <a:cubicBezTo>
                                                        <a:pt x="1218331" y="265922"/>
                                                        <a:pt x="1218136" y="278879"/>
                                                        <a:pt x="1209779" y="281664"/>
                                                      </a:cubicBezTo>
                                                      <a:cubicBezTo>
                                                        <a:pt x="1207835" y="282312"/>
                                                        <a:pt x="1205568" y="282312"/>
                                                        <a:pt x="1204013" y="283608"/>
                                                      </a:cubicBezTo>
                                                      <a:cubicBezTo>
                                                        <a:pt x="1202717" y="284645"/>
                                                        <a:pt x="1202199" y="286394"/>
                                                        <a:pt x="1201033" y="287560"/>
                                                      </a:cubicBezTo>
                                                      <a:cubicBezTo>
                                                        <a:pt x="1199802" y="288791"/>
                                                        <a:pt x="1198117" y="289309"/>
                                                        <a:pt x="1196498" y="289763"/>
                                                      </a:cubicBezTo>
                                                      <a:lnTo>
                                                        <a:pt x="1183022" y="293585"/>
                                                      </a:lnTo>
                                                      <a:cubicBezTo>
                                                        <a:pt x="1183476" y="295269"/>
                                                        <a:pt x="1183282" y="297083"/>
                                                        <a:pt x="1182634" y="298638"/>
                                                      </a:cubicBezTo>
                                                      <a:cubicBezTo>
                                                        <a:pt x="1178876" y="300776"/>
                                                        <a:pt x="1172722" y="298768"/>
                                                        <a:pt x="1170713" y="302590"/>
                                                      </a:cubicBezTo>
                                                      <a:cubicBezTo>
                                                        <a:pt x="1170195" y="303497"/>
                                                        <a:pt x="1170130" y="304599"/>
                                                        <a:pt x="1169871" y="305635"/>
                                                      </a:cubicBezTo>
                                                      <a:cubicBezTo>
                                                        <a:pt x="1168769" y="309846"/>
                                                        <a:pt x="1164753" y="312762"/>
                                                        <a:pt x="1160477" y="313733"/>
                                                      </a:cubicBezTo>
                                                      <a:cubicBezTo>
                                                        <a:pt x="1156266" y="314705"/>
                                                        <a:pt x="1151796" y="314122"/>
                                                        <a:pt x="1147520" y="313539"/>
                                                      </a:cubicBezTo>
                                                      <a:cubicBezTo>
                                                        <a:pt x="1147325" y="316454"/>
                                                        <a:pt x="1147066" y="319564"/>
                                                        <a:pt x="1145317" y="321896"/>
                                                      </a:cubicBezTo>
                                                      <a:cubicBezTo>
                                                        <a:pt x="1141819" y="326755"/>
                                                        <a:pt x="1134563" y="326237"/>
                                                        <a:pt x="1128667" y="325136"/>
                                                      </a:cubicBezTo>
                                                      <a:cubicBezTo>
                                                        <a:pt x="1127501" y="324941"/>
                                                        <a:pt x="1126205" y="324617"/>
                                                        <a:pt x="1125493" y="323710"/>
                                                      </a:cubicBezTo>
                                                      <a:cubicBezTo>
                                                        <a:pt x="1124780" y="322739"/>
                                                        <a:pt x="1124910" y="321378"/>
                                                        <a:pt x="1124715" y="320212"/>
                                                      </a:cubicBezTo>
                                                      <a:cubicBezTo>
                                                        <a:pt x="1123938" y="315288"/>
                                                        <a:pt x="1118302" y="313150"/>
                                                        <a:pt x="1113831" y="310948"/>
                                                      </a:cubicBezTo>
                                                      <a:cubicBezTo>
                                                        <a:pt x="1109361" y="308745"/>
                                                        <a:pt x="1104826" y="303433"/>
                                                        <a:pt x="1107806" y="299351"/>
                                                      </a:cubicBezTo>
                                                      <a:cubicBezTo>
                                                        <a:pt x="1109037" y="297602"/>
                                                        <a:pt x="1111240" y="296954"/>
                                                        <a:pt x="1112989" y="295788"/>
                                                      </a:cubicBezTo>
                                                      <a:cubicBezTo>
                                                        <a:pt x="1114738" y="294622"/>
                                                        <a:pt x="1116228" y="292225"/>
                                                        <a:pt x="1115062" y="290475"/>
                                                      </a:cubicBezTo>
                                                      <a:cubicBezTo>
                                                        <a:pt x="1123484" y="287430"/>
                                                        <a:pt x="1133332" y="297472"/>
                                                        <a:pt x="1140977" y="292808"/>
                                                      </a:cubicBezTo>
                                                      <a:cubicBezTo>
                                                        <a:pt x="1146807" y="289244"/>
                                                        <a:pt x="1145835" y="280239"/>
                                                        <a:pt x="1149982" y="274862"/>
                                                      </a:cubicBezTo>
                                                      <a:cubicBezTo>
                                                        <a:pt x="1149658" y="274344"/>
                                                        <a:pt x="1149269" y="273890"/>
                                                        <a:pt x="1148751" y="273566"/>
                                                      </a:cubicBezTo>
                                                      <a:cubicBezTo>
                                                        <a:pt x="1148168" y="273178"/>
                                                        <a:pt x="1147455" y="272983"/>
                                                        <a:pt x="1146742" y="272854"/>
                                                      </a:cubicBezTo>
                                                      <a:cubicBezTo>
                                                        <a:pt x="1144928" y="272594"/>
                                                        <a:pt x="1142985" y="272789"/>
                                                        <a:pt x="1141560" y="273825"/>
                                                      </a:cubicBezTo>
                                                      <a:cubicBezTo>
                                                        <a:pt x="1139551" y="275315"/>
                                                        <a:pt x="1138839" y="278101"/>
                                                        <a:pt x="1136830" y="279527"/>
                                                      </a:cubicBezTo>
                                                      <a:cubicBezTo>
                                                        <a:pt x="1135146" y="280758"/>
                                                        <a:pt x="1132619" y="280693"/>
                                                        <a:pt x="1130935" y="279462"/>
                                                      </a:cubicBezTo>
                                                      <a:cubicBezTo>
                                                        <a:pt x="1130352" y="277065"/>
                                                        <a:pt x="1131259" y="274538"/>
                                                        <a:pt x="1132101" y="272206"/>
                                                      </a:cubicBezTo>
                                                      <a:cubicBezTo>
                                                        <a:pt x="1132813" y="264237"/>
                                                        <a:pt x="1133526" y="256204"/>
                                                        <a:pt x="1134174" y="248235"/>
                                                      </a:cubicBezTo>
                                                      <a:cubicBezTo>
                                                        <a:pt x="1134368" y="245838"/>
                                                        <a:pt x="1134563" y="243376"/>
                                                        <a:pt x="1133720" y="241173"/>
                                                      </a:cubicBezTo>
                                                      <a:cubicBezTo>
                                                        <a:pt x="1131064" y="234500"/>
                                                        <a:pt x="1121152" y="234889"/>
                                                        <a:pt x="1114868" y="238517"/>
                                                      </a:cubicBezTo>
                                                      <a:cubicBezTo>
                                                        <a:pt x="1108648" y="242145"/>
                                                        <a:pt x="1102947" y="247781"/>
                                                        <a:pt x="1095756" y="247976"/>
                                                      </a:cubicBezTo>
                                                      <a:cubicBezTo>
                                                        <a:pt x="1091545" y="243570"/>
                                                        <a:pt x="1093424" y="235083"/>
                                                        <a:pt x="1099060" y="232816"/>
                                                      </a:cubicBezTo>
                                                      <a:cubicBezTo>
                                                        <a:pt x="1100744" y="232168"/>
                                                        <a:pt x="1102558" y="231974"/>
                                                        <a:pt x="1104178" y="231132"/>
                                                      </a:cubicBezTo>
                                                      <a:cubicBezTo>
                                                        <a:pt x="1108130" y="229123"/>
                                                        <a:pt x="1109167" y="223163"/>
                                                        <a:pt x="1106251" y="219924"/>
                                                      </a:cubicBezTo>
                                                      <a:cubicBezTo>
                                                        <a:pt x="1115840" y="216879"/>
                                                        <a:pt x="1119079" y="202367"/>
                                                        <a:pt x="1111758" y="195500"/>
                                                      </a:cubicBezTo>
                                                      <a:cubicBezTo>
                                                        <a:pt x="1109231" y="193167"/>
                                                        <a:pt x="1105798" y="191547"/>
                                                        <a:pt x="1104567" y="188373"/>
                                                      </a:cubicBezTo>
                                                      <a:cubicBezTo>
                                                        <a:pt x="1103530" y="185782"/>
                                                        <a:pt x="1104113" y="182413"/>
                                                        <a:pt x="1101975" y="180599"/>
                                                      </a:cubicBezTo>
                                                      <a:cubicBezTo>
                                                        <a:pt x="1100939" y="179692"/>
                                                        <a:pt x="1099449" y="179433"/>
                                                        <a:pt x="1098088" y="179303"/>
                                                      </a:cubicBezTo>
                                                      <a:cubicBezTo>
                                                        <a:pt x="1084742" y="177942"/>
                                                        <a:pt x="1070943" y="183708"/>
                                                        <a:pt x="1062521" y="194139"/>
                                                      </a:cubicBezTo>
                                                      <a:cubicBezTo>
                                                        <a:pt x="1060966" y="196083"/>
                                                        <a:pt x="1059476" y="198220"/>
                                                        <a:pt x="1057403" y="199646"/>
                                                      </a:cubicBezTo>
                                                      <a:cubicBezTo>
                                                        <a:pt x="1054552" y="201525"/>
                                                        <a:pt x="1050924" y="201654"/>
                                                        <a:pt x="1047944" y="203274"/>
                                                      </a:cubicBezTo>
                                                      <a:cubicBezTo>
                                                        <a:pt x="1041206" y="206837"/>
                                                        <a:pt x="1040040" y="215842"/>
                                                        <a:pt x="1039716" y="223422"/>
                                                      </a:cubicBezTo>
                                                      <a:cubicBezTo>
                                                        <a:pt x="1038744" y="243570"/>
                                                        <a:pt x="1037773" y="263784"/>
                                                        <a:pt x="1036866" y="283932"/>
                                                      </a:cubicBezTo>
                                                      <a:cubicBezTo>
                                                        <a:pt x="1036736" y="286070"/>
                                                        <a:pt x="1036607" y="288402"/>
                                                        <a:pt x="1035116" y="289957"/>
                                                      </a:cubicBezTo>
                                                      <a:cubicBezTo>
                                                        <a:pt x="1032784" y="292354"/>
                                                        <a:pt x="1028508" y="291706"/>
                                                        <a:pt x="1026111" y="294039"/>
                                                      </a:cubicBezTo>
                                                      <a:cubicBezTo>
                                                        <a:pt x="1022872" y="297213"/>
                                                        <a:pt x="1025204" y="303821"/>
                                                        <a:pt x="1021641" y="306607"/>
                                                      </a:cubicBezTo>
                                                      <a:cubicBezTo>
                                                        <a:pt x="1020605" y="307449"/>
                                                        <a:pt x="1019244" y="307708"/>
                                                        <a:pt x="1017884" y="307773"/>
                                                      </a:cubicBezTo>
                                                      <a:cubicBezTo>
                                                        <a:pt x="1009980" y="308227"/>
                                                        <a:pt x="1002400" y="301230"/>
                                                        <a:pt x="1002335" y="293326"/>
                                                      </a:cubicBezTo>
                                                      <a:cubicBezTo>
                                                        <a:pt x="1002335" y="291058"/>
                                                        <a:pt x="1002788" y="288661"/>
                                                        <a:pt x="1001752" y="286653"/>
                                                      </a:cubicBezTo>
                                                      <a:cubicBezTo>
                                                        <a:pt x="1000715" y="284515"/>
                                                        <a:pt x="998383" y="283414"/>
                                                        <a:pt x="996699" y="281729"/>
                                                      </a:cubicBezTo>
                                                      <a:cubicBezTo>
                                                        <a:pt x="992552" y="277518"/>
                                                        <a:pt x="993265" y="270651"/>
                                                        <a:pt x="994302" y="264820"/>
                                                      </a:cubicBezTo>
                                                      <a:cubicBezTo>
                                                        <a:pt x="995662" y="256981"/>
                                                        <a:pt x="997087" y="249012"/>
                                                        <a:pt x="1000651" y="241886"/>
                                                      </a:cubicBezTo>
                                                      <a:cubicBezTo>
                                                        <a:pt x="1003890" y="235472"/>
                                                        <a:pt x="1009008" y="228734"/>
                                                        <a:pt x="1006805" y="221932"/>
                                                      </a:cubicBezTo>
                                                      <a:cubicBezTo>
                                                        <a:pt x="1012571" y="219470"/>
                                                        <a:pt x="1019503" y="213963"/>
                                                        <a:pt x="1016394" y="208521"/>
                                                      </a:cubicBezTo>
                                                      <a:cubicBezTo>
                                                        <a:pt x="1013349" y="203144"/>
                                                        <a:pt x="1002918" y="204245"/>
                                                        <a:pt x="1002141" y="198156"/>
                                                      </a:cubicBezTo>
                                                      <a:cubicBezTo>
                                                        <a:pt x="1001687" y="194852"/>
                                                        <a:pt x="1004732" y="192260"/>
                                                        <a:pt x="1007518" y="190381"/>
                                                      </a:cubicBezTo>
                                                      <a:cubicBezTo>
                                                        <a:pt x="1012830" y="186753"/>
                                                        <a:pt x="1018078" y="183061"/>
                                                        <a:pt x="1023390" y="179433"/>
                                                      </a:cubicBezTo>
                                                      <a:cubicBezTo>
                                                        <a:pt x="1027148" y="176841"/>
                                                        <a:pt x="1030905" y="174250"/>
                                                        <a:pt x="1034922" y="172177"/>
                                                      </a:cubicBezTo>
                                                      <a:cubicBezTo>
                                                        <a:pt x="1039911" y="169585"/>
                                                        <a:pt x="1045223" y="167836"/>
                                                        <a:pt x="1050665" y="166540"/>
                                                      </a:cubicBezTo>
                                                      <a:cubicBezTo>
                                                        <a:pt x="1060642" y="164143"/>
                                                        <a:pt x="1071008" y="163366"/>
                                                        <a:pt x="1081244" y="163884"/>
                                                      </a:cubicBezTo>
                                                      <a:cubicBezTo>
                                                        <a:pt x="1087010" y="164143"/>
                                                        <a:pt x="1094719" y="163301"/>
                                                        <a:pt x="1095497" y="157600"/>
                                                      </a:cubicBezTo>
                                                      <a:cubicBezTo>
                                                        <a:pt x="1096274" y="151704"/>
                                                        <a:pt x="1088435" y="148983"/>
                                                        <a:pt x="1082475" y="148983"/>
                                                      </a:cubicBezTo>
                                                      <a:cubicBezTo>
                                                        <a:pt x="1076515" y="148983"/>
                                                        <a:pt x="1068805" y="148336"/>
                                                        <a:pt x="1067315" y="142634"/>
                                                      </a:cubicBezTo>
                                                      <a:cubicBezTo>
                                                        <a:pt x="1061679" y="144513"/>
                                                        <a:pt x="1055524" y="142375"/>
                                                        <a:pt x="1049629" y="141727"/>
                                                      </a:cubicBezTo>
                                                      <a:cubicBezTo>
                                                        <a:pt x="1043668" y="141144"/>
                                                        <a:pt x="1036283" y="143412"/>
                                                        <a:pt x="1035311" y="149307"/>
                                                      </a:cubicBezTo>
                                                      <a:cubicBezTo>
                                                        <a:pt x="1025010" y="149178"/>
                                                        <a:pt x="1014709" y="148983"/>
                                                        <a:pt x="1004408" y="148854"/>
                                                      </a:cubicBezTo>
                                                      <a:cubicBezTo>
                                                        <a:pt x="1006416" y="144060"/>
                                                        <a:pt x="1005445" y="138164"/>
                                                        <a:pt x="1001946" y="134277"/>
                                                      </a:cubicBezTo>
                                                      <a:cubicBezTo>
                                                        <a:pt x="998448" y="130390"/>
                                                        <a:pt x="992682" y="128770"/>
                                                        <a:pt x="987758" y="130325"/>
                                                      </a:cubicBezTo>
                                                      <a:cubicBezTo>
                                                        <a:pt x="987564" y="128252"/>
                                                        <a:pt x="987369" y="126244"/>
                                                        <a:pt x="987175" y="124170"/>
                                                      </a:cubicBezTo>
                                                      <a:cubicBezTo>
                                                        <a:pt x="982964" y="123976"/>
                                                        <a:pt x="978818" y="123782"/>
                                                        <a:pt x="974607" y="123652"/>
                                                      </a:cubicBezTo>
                                                      <a:cubicBezTo>
                                                        <a:pt x="974024" y="125466"/>
                                                        <a:pt x="973441" y="127215"/>
                                                        <a:pt x="972858" y="129029"/>
                                                      </a:cubicBezTo>
                                                      <a:cubicBezTo>
                                                        <a:pt x="968905" y="129224"/>
                                                        <a:pt x="964954" y="130455"/>
                                                        <a:pt x="961585" y="132528"/>
                                                      </a:cubicBezTo>
                                                      <a:cubicBezTo>
                                                        <a:pt x="964694" y="135314"/>
                                                        <a:pt x="960937" y="140432"/>
                                                        <a:pt x="956985" y="141598"/>
                                                      </a:cubicBezTo>
                                                      <a:cubicBezTo>
                                                        <a:pt x="952968" y="142764"/>
                                                        <a:pt x="948174" y="142570"/>
                                                        <a:pt x="945518" y="145809"/>
                                                      </a:cubicBezTo>
                                                      <a:cubicBezTo>
                                                        <a:pt x="944546" y="146975"/>
                                                        <a:pt x="944028" y="148465"/>
                                                        <a:pt x="942797" y="149372"/>
                                                      </a:cubicBezTo>
                                                      <a:cubicBezTo>
                                                        <a:pt x="939299" y="152028"/>
                                                        <a:pt x="934958" y="147623"/>
                                                        <a:pt x="931200" y="145291"/>
                                                      </a:cubicBezTo>
                                                      <a:cubicBezTo>
                                                        <a:pt x="927119" y="142764"/>
                                                        <a:pt x="922066" y="142829"/>
                                                        <a:pt x="917336" y="143023"/>
                                                      </a:cubicBezTo>
                                                      <a:cubicBezTo>
                                                        <a:pt x="912607" y="143217"/>
                                                        <a:pt x="907553" y="143477"/>
                                                        <a:pt x="903278" y="141403"/>
                                                      </a:cubicBezTo>
                                                      <a:cubicBezTo>
                                                        <a:pt x="899002" y="139330"/>
                                                        <a:pt x="895957" y="133888"/>
                                                        <a:pt x="898160" y="129677"/>
                                                      </a:cubicBezTo>
                                                      <a:cubicBezTo>
                                                        <a:pt x="902694" y="128511"/>
                                                        <a:pt x="907424" y="127215"/>
                                                        <a:pt x="911052" y="124170"/>
                                                      </a:cubicBezTo>
                                                      <a:cubicBezTo>
                                                        <a:pt x="914615" y="121125"/>
                                                        <a:pt x="916624" y="115619"/>
                                                        <a:pt x="914291" y="111537"/>
                                                      </a:cubicBezTo>
                                                      <a:cubicBezTo>
                                                        <a:pt x="919280" y="108622"/>
                                                        <a:pt x="926730" y="113157"/>
                                                        <a:pt x="930876" y="109140"/>
                                                      </a:cubicBezTo>
                                                      <a:cubicBezTo>
                                                        <a:pt x="932107" y="107974"/>
                                                        <a:pt x="932690" y="106289"/>
                                                        <a:pt x="933986" y="105188"/>
                                                      </a:cubicBezTo>
                                                      <a:cubicBezTo>
                                                        <a:pt x="938456" y="101495"/>
                                                        <a:pt x="947915" y="107002"/>
                                                        <a:pt x="949859" y="101560"/>
                                                      </a:cubicBezTo>
                                                      <a:cubicBezTo>
                                                        <a:pt x="950377" y="100070"/>
                                                        <a:pt x="949859" y="98450"/>
                                                        <a:pt x="950312" y="96960"/>
                                                      </a:cubicBezTo>
                                                      <a:cubicBezTo>
                                                        <a:pt x="950636" y="95794"/>
                                                        <a:pt x="951349" y="95082"/>
                                                        <a:pt x="952191" y="94563"/>
                                                      </a:cubicBezTo>
                                                      <a:cubicBezTo>
                                                        <a:pt x="949988" y="93268"/>
                                                        <a:pt x="947656" y="91907"/>
                                                        <a:pt x="945129" y="91778"/>
                                                      </a:cubicBezTo>
                                                      <a:cubicBezTo>
                                                        <a:pt x="942667" y="91648"/>
                                                        <a:pt x="940335" y="92749"/>
                                                        <a:pt x="938003" y="93527"/>
                                                      </a:cubicBezTo>
                                                      <a:cubicBezTo>
                                                        <a:pt x="928220" y="96701"/>
                                                        <a:pt x="916818" y="93980"/>
                                                        <a:pt x="909562" y="86789"/>
                                                      </a:cubicBezTo>
                                                      <a:cubicBezTo>
                                                        <a:pt x="899779" y="89575"/>
                                                        <a:pt x="888377" y="84716"/>
                                                        <a:pt x="883583" y="75711"/>
                                                      </a:cubicBezTo>
                                                      <a:cubicBezTo>
                                                        <a:pt x="878465" y="72601"/>
                                                        <a:pt x="870755" y="76488"/>
                                                        <a:pt x="870107" y="82448"/>
                                                      </a:cubicBezTo>
                                                      <a:cubicBezTo>
                                                        <a:pt x="865767" y="82384"/>
                                                        <a:pt x="861232" y="82254"/>
                                                        <a:pt x="857280" y="80440"/>
                                                      </a:cubicBezTo>
                                                      <a:cubicBezTo>
                                                        <a:pt x="853328" y="78626"/>
                                                        <a:pt x="849894" y="74804"/>
                                                        <a:pt x="850088" y="70463"/>
                                                      </a:cubicBezTo>
                                                      <a:cubicBezTo>
                                                        <a:pt x="845100" y="70139"/>
                                                        <a:pt x="840112" y="69815"/>
                                                        <a:pt x="835188" y="69491"/>
                                                      </a:cubicBezTo>
                                                      <a:cubicBezTo>
                                                        <a:pt x="835836" y="62235"/>
                                                        <a:pt x="836484" y="54979"/>
                                                        <a:pt x="837131" y="47723"/>
                                                      </a:cubicBezTo>
                                                      <a:cubicBezTo>
                                                        <a:pt x="834346" y="46492"/>
                                                        <a:pt x="831301" y="45197"/>
                                                        <a:pt x="828321" y="45780"/>
                                                      </a:cubicBezTo>
                                                      <a:cubicBezTo>
                                                        <a:pt x="825341" y="46363"/>
                                                        <a:pt x="822749" y="49796"/>
                                                        <a:pt x="824174" y="52517"/>
                                                      </a:cubicBezTo>
                                                      <a:cubicBezTo>
                                                        <a:pt x="822555" y="53360"/>
                                                        <a:pt x="821000" y="54137"/>
                                                        <a:pt x="819380" y="54979"/>
                                                      </a:cubicBezTo>
                                                      <a:cubicBezTo>
                                                        <a:pt x="818797" y="58996"/>
                                                        <a:pt x="818279" y="63077"/>
                                                        <a:pt x="817696" y="67094"/>
                                                      </a:cubicBezTo>
                                                      <a:lnTo>
                                                        <a:pt x="141916" y="67094"/>
                                                      </a:lnTo>
                                                      <a:cubicBezTo>
                                                        <a:pt x="142240" y="69038"/>
                                                        <a:pt x="142499" y="70981"/>
                                                        <a:pt x="142564" y="72860"/>
                                                      </a:cubicBezTo>
                                                      <a:cubicBezTo>
                                                        <a:pt x="142823" y="77978"/>
                                                        <a:pt x="142564" y="83420"/>
                                                        <a:pt x="145026" y="87890"/>
                                                      </a:cubicBezTo>
                                                      <a:cubicBezTo>
                                                        <a:pt x="146580" y="90676"/>
                                                        <a:pt x="149107" y="92944"/>
                                                        <a:pt x="150079" y="96053"/>
                                                      </a:cubicBezTo>
                                                      <a:cubicBezTo>
                                                        <a:pt x="150792" y="98321"/>
                                                        <a:pt x="150597" y="100718"/>
                                                        <a:pt x="150403" y="103050"/>
                                                      </a:cubicBezTo>
                                                      <a:cubicBezTo>
                                                        <a:pt x="149690" y="111148"/>
                                                        <a:pt x="148978" y="119182"/>
                                                        <a:pt x="148265" y="127280"/>
                                                      </a:cubicBezTo>
                                                      <a:cubicBezTo>
                                                        <a:pt x="143665" y="131167"/>
                                                        <a:pt x="136280" y="126308"/>
                                                        <a:pt x="134660" y="120542"/>
                                                      </a:cubicBezTo>
                                                      <a:cubicBezTo>
                                                        <a:pt x="133040" y="114776"/>
                                                        <a:pt x="134660" y="108492"/>
                                                        <a:pt x="134142" y="102532"/>
                                                      </a:cubicBezTo>
                                                      <a:cubicBezTo>
                                                        <a:pt x="133623" y="96507"/>
                                                        <a:pt x="129088" y="89769"/>
                                                        <a:pt x="123128" y="90806"/>
                                                      </a:cubicBezTo>
                                                      <a:cubicBezTo>
                                                        <a:pt x="126043" y="75322"/>
                                                        <a:pt x="115678" y="59385"/>
                                                        <a:pt x="101425" y="52712"/>
                                                      </a:cubicBezTo>
                                                      <a:cubicBezTo>
                                                        <a:pt x="91901" y="48242"/>
                                                        <a:pt x="79139" y="45456"/>
                                                        <a:pt x="76806" y="35220"/>
                                                      </a:cubicBezTo>
                                                      <a:cubicBezTo>
                                                        <a:pt x="76094" y="32110"/>
                                                        <a:pt x="76547" y="28676"/>
                                                        <a:pt x="75057" y="25890"/>
                                                      </a:cubicBezTo>
                                                      <a:cubicBezTo>
                                                        <a:pt x="73113" y="22327"/>
                                                        <a:pt x="68708" y="21032"/>
                                                        <a:pt x="64756" y="20125"/>
                                                      </a:cubicBezTo>
                                                      <a:cubicBezTo>
                                                        <a:pt x="56269" y="18116"/>
                                                        <a:pt x="47782" y="16043"/>
                                                        <a:pt x="39360" y="14035"/>
                                                      </a:cubicBezTo>
                                                      <a:cubicBezTo>
                                                        <a:pt x="35991" y="13257"/>
                                                        <a:pt x="32558" y="12415"/>
                                                        <a:pt x="29642" y="10471"/>
                                                      </a:cubicBezTo>
                                                      <a:cubicBezTo>
                                                        <a:pt x="26532" y="8398"/>
                                                        <a:pt x="24330" y="5224"/>
                                                        <a:pt x="21285" y="3021"/>
                                                      </a:cubicBezTo>
                                                      <a:cubicBezTo>
                                                        <a:pt x="15649" y="-1060"/>
                                                        <a:pt x="7356" y="-996"/>
                                                        <a:pt x="1720" y="3151"/>
                                                      </a:cubicBezTo>
                                                      <a:cubicBezTo>
                                                        <a:pt x="-2815" y="8333"/>
                                                        <a:pt x="2367" y="16561"/>
                                                        <a:pt x="8587" y="19606"/>
                                                      </a:cubicBezTo>
                                                      <a:cubicBezTo>
                                                        <a:pt x="14806" y="22586"/>
                                                        <a:pt x="22386" y="23558"/>
                                                        <a:pt x="26921" y="28741"/>
                                                      </a:cubicBezTo>
                                                      <a:cubicBezTo>
                                                        <a:pt x="28476" y="30490"/>
                                                        <a:pt x="29513" y="32628"/>
                                                        <a:pt x="30873" y="34507"/>
                                                      </a:cubicBezTo>
                                                      <a:cubicBezTo>
                                                        <a:pt x="37741" y="44095"/>
                                                        <a:pt x="50503" y="46622"/>
                                                        <a:pt x="61841" y="49796"/>
                                                      </a:cubicBezTo>
                                                      <a:cubicBezTo>
                                                        <a:pt x="73178" y="52971"/>
                                                        <a:pt x="85747" y="59385"/>
                                                        <a:pt x="87561" y="70981"/>
                                                      </a:cubicBezTo>
                                                      <a:cubicBezTo>
                                                        <a:pt x="88079" y="74480"/>
                                                        <a:pt x="87561" y="78172"/>
                                                        <a:pt x="88921" y="81412"/>
                                                      </a:cubicBezTo>
                                                      <a:cubicBezTo>
                                                        <a:pt x="90346" y="84910"/>
                                                        <a:pt x="93651" y="87242"/>
                                                        <a:pt x="96048" y="90158"/>
                                                      </a:cubicBezTo>
                                                      <a:cubicBezTo>
                                                        <a:pt x="106737" y="103245"/>
                                                        <a:pt x="97408" y="125272"/>
                                                        <a:pt x="107968" y="138423"/>
                                                      </a:cubicBezTo>
                                                      <a:cubicBezTo>
                                                        <a:pt x="113540" y="145291"/>
                                                        <a:pt x="124553" y="151316"/>
                                                        <a:pt x="121184" y="159479"/>
                                                      </a:cubicBezTo>
                                                      <a:cubicBezTo>
                                                        <a:pt x="118528" y="166022"/>
                                                        <a:pt x="109264" y="165698"/>
                                                        <a:pt x="102332" y="164208"/>
                                                      </a:cubicBezTo>
                                                      <a:cubicBezTo>
                                                        <a:pt x="102461" y="178072"/>
                                                        <a:pt x="102526" y="191936"/>
                                                        <a:pt x="102656" y="205736"/>
                                                      </a:cubicBezTo>
                                                      <a:cubicBezTo>
                                                        <a:pt x="102656" y="210789"/>
                                                        <a:pt x="103174" y="216749"/>
                                                        <a:pt x="107515" y="219470"/>
                                                      </a:cubicBezTo>
                                                      <a:cubicBezTo>
                                                        <a:pt x="109782" y="220895"/>
                                                        <a:pt x="112892" y="221155"/>
                                                        <a:pt x="114706" y="223098"/>
                                                      </a:cubicBezTo>
                                                      <a:cubicBezTo>
                                                        <a:pt x="116520" y="225042"/>
                                                        <a:pt x="116585" y="227957"/>
                                                        <a:pt x="116585" y="230549"/>
                                                      </a:cubicBezTo>
                                                      <a:cubicBezTo>
                                                        <a:pt x="116520" y="238388"/>
                                                        <a:pt x="116455" y="246227"/>
                                                        <a:pt x="116390" y="254066"/>
                                                      </a:cubicBezTo>
                                                      <a:cubicBezTo>
                                                        <a:pt x="112503" y="254066"/>
                                                        <a:pt x="108616" y="254195"/>
                                                        <a:pt x="104729" y="254260"/>
                                                      </a:cubicBezTo>
                                                      <a:cubicBezTo>
                                                        <a:pt x="108033" y="273437"/>
                                                        <a:pt x="111272" y="292548"/>
                                                        <a:pt x="114576" y="311725"/>
                                                      </a:cubicBezTo>
                                                      <a:cubicBezTo>
                                                        <a:pt x="115289" y="315742"/>
                                                        <a:pt x="115937" y="319953"/>
                                                        <a:pt x="114576" y="323775"/>
                                                      </a:cubicBezTo>
                                                      <a:cubicBezTo>
                                                        <a:pt x="113669" y="326431"/>
                                                        <a:pt x="111855" y="328634"/>
                                                        <a:pt x="110430" y="331031"/>
                                                      </a:cubicBezTo>
                                                      <a:cubicBezTo>
                                                        <a:pt x="105830" y="338546"/>
                                                        <a:pt x="106413" y="350013"/>
                                                        <a:pt x="106543" y="358824"/>
                                                      </a:cubicBezTo>
                                                      <a:cubicBezTo>
                                                        <a:pt x="106737" y="381305"/>
                                                        <a:pt x="121249" y="400870"/>
                                                        <a:pt x="135049" y="418622"/>
                                                      </a:cubicBezTo>
                                                      <a:cubicBezTo>
                                                        <a:pt x="148718" y="436178"/>
                                                        <a:pt x="162518" y="453865"/>
                                                        <a:pt x="178325" y="469478"/>
                                                      </a:cubicBezTo>
                                                      <a:cubicBezTo>
                                                        <a:pt x="180593" y="471681"/>
                                                        <a:pt x="182925" y="473948"/>
                                                        <a:pt x="184415" y="476734"/>
                                                      </a:cubicBezTo>
                                                      <a:cubicBezTo>
                                                        <a:pt x="186229" y="480168"/>
                                                        <a:pt x="186553" y="484120"/>
                                                        <a:pt x="186877" y="488007"/>
                                                      </a:cubicBezTo>
                                                      <a:cubicBezTo>
                                                        <a:pt x="187525" y="496170"/>
                                                        <a:pt x="188173" y="504268"/>
                                                        <a:pt x="188885" y="512431"/>
                                                      </a:cubicBezTo>
                                                      <a:cubicBezTo>
                                                        <a:pt x="189145" y="515476"/>
                                                        <a:pt x="189404" y="518586"/>
                                                        <a:pt x="190829" y="521307"/>
                                                      </a:cubicBezTo>
                                                      <a:cubicBezTo>
                                                        <a:pt x="192514" y="524417"/>
                                                        <a:pt x="195494" y="526490"/>
                                                        <a:pt x="198409" y="528498"/>
                                                      </a:cubicBezTo>
                                                      <a:cubicBezTo>
                                                        <a:pt x="202944" y="531608"/>
                                                        <a:pt x="207544" y="534782"/>
                                                        <a:pt x="212079" y="537892"/>
                                                      </a:cubicBezTo>
                                                      <a:cubicBezTo>
                                                        <a:pt x="225295" y="546962"/>
                                                        <a:pt x="242075" y="556421"/>
                                                        <a:pt x="256327" y="549100"/>
                                                      </a:cubicBezTo>
                                                      <a:cubicBezTo>
                                                        <a:pt x="258854" y="557975"/>
                                                        <a:pt x="267924" y="563288"/>
                                                        <a:pt x="272135" y="571516"/>
                                                      </a:cubicBezTo>
                                                      <a:cubicBezTo>
                                                        <a:pt x="275115" y="577347"/>
                                                        <a:pt x="275439" y="584149"/>
                                                        <a:pt x="276541" y="590563"/>
                                                      </a:cubicBezTo>
                                                      <a:cubicBezTo>
                                                        <a:pt x="276865" y="592506"/>
                                                        <a:pt x="277318" y="594385"/>
                                                        <a:pt x="277836" y="596264"/>
                                                      </a:cubicBezTo>
                                                      <a:cubicBezTo>
                                                        <a:pt x="292607" y="594515"/>
                                                        <a:pt x="307379" y="592118"/>
                                                        <a:pt x="322085" y="589980"/>
                                                      </a:cubicBezTo>
                                                      <a:cubicBezTo>
                                                        <a:pt x="331414" y="588619"/>
                                                        <a:pt x="342104" y="587777"/>
                                                        <a:pt x="349101" y="594061"/>
                                                      </a:cubicBezTo>
                                                      <a:cubicBezTo>
                                                        <a:pt x="352664" y="597300"/>
                                                        <a:pt x="354996" y="602159"/>
                                                        <a:pt x="359402" y="604038"/>
                                                      </a:cubicBezTo>
                                                      <a:cubicBezTo>
                                                        <a:pt x="365621" y="606630"/>
                                                        <a:pt x="373914" y="602224"/>
                                                        <a:pt x="379096" y="606565"/>
                                                      </a:cubicBezTo>
                                                      <a:cubicBezTo>
                                                        <a:pt x="382336" y="609286"/>
                                                        <a:pt x="382724" y="614404"/>
                                                        <a:pt x="386028" y="617125"/>
                                                      </a:cubicBezTo>
                                                      <a:cubicBezTo>
                                                        <a:pt x="387972" y="618745"/>
                                                        <a:pt x="390628" y="619263"/>
                                                        <a:pt x="393155" y="619652"/>
                                                      </a:cubicBezTo>
                                                      <a:cubicBezTo>
                                                        <a:pt x="412785" y="623020"/>
                                                        <a:pt x="432415" y="626389"/>
                                                        <a:pt x="452110" y="629693"/>
                                                      </a:cubicBezTo>
                                                      <a:cubicBezTo>
                                                        <a:pt x="465067" y="631896"/>
                                                        <a:pt x="479190" y="633969"/>
                                                        <a:pt x="490722" y="627685"/>
                                                      </a:cubicBezTo>
                                                      <a:cubicBezTo>
                                                        <a:pt x="495646" y="625029"/>
                                                        <a:pt x="499792" y="620947"/>
                                                        <a:pt x="504586" y="618032"/>
                                                      </a:cubicBezTo>
                                                      <a:cubicBezTo>
                                                        <a:pt x="510806" y="614274"/>
                                                        <a:pt x="518127" y="612460"/>
                                                        <a:pt x="525383" y="612849"/>
                                                      </a:cubicBezTo>
                                                      <a:cubicBezTo>
                                                        <a:pt x="544689" y="614015"/>
                                                        <a:pt x="559395" y="629823"/>
                                                        <a:pt x="571899" y="644529"/>
                                                      </a:cubicBezTo>
                                                      <a:cubicBezTo>
                                                        <a:pt x="574166" y="647186"/>
                                                        <a:pt x="576369" y="651461"/>
                                                        <a:pt x="573777" y="653794"/>
                                                      </a:cubicBezTo>
                                                      <a:cubicBezTo>
                                                        <a:pt x="583107" y="654830"/>
                                                        <a:pt x="590103" y="665261"/>
                                                        <a:pt x="587577" y="674266"/>
                                                      </a:cubicBezTo>
                                                      <a:cubicBezTo>
                                                        <a:pt x="593926" y="674072"/>
                                                        <a:pt x="598072" y="680420"/>
                                                        <a:pt x="601765" y="685539"/>
                                                      </a:cubicBezTo>
                                                      <a:cubicBezTo>
                                                        <a:pt x="605393" y="690722"/>
                                                        <a:pt x="612066" y="695839"/>
                                                        <a:pt x="617443" y="692536"/>
                                                      </a:cubicBezTo>
                                                      <a:cubicBezTo>
                                                        <a:pt x="618609" y="695386"/>
                                                        <a:pt x="619775" y="698172"/>
                                                        <a:pt x="620877" y="701022"/>
                                                      </a:cubicBezTo>
                                                      <a:cubicBezTo>
                                                        <a:pt x="623598" y="701022"/>
                                                        <a:pt x="626254" y="701022"/>
                                                        <a:pt x="628975" y="701022"/>
                                                      </a:cubicBezTo>
                                                      <a:cubicBezTo>
                                                        <a:pt x="630789" y="694997"/>
                                                        <a:pt x="631113" y="688519"/>
                                                        <a:pt x="629817" y="682364"/>
                                                      </a:cubicBezTo>
                                                      <a:cubicBezTo>
                                                        <a:pt x="633316" y="682364"/>
                                                        <a:pt x="636879" y="682364"/>
                                                        <a:pt x="640377" y="682364"/>
                                                      </a:cubicBezTo>
                                                      <a:cubicBezTo>
                                                        <a:pt x="637203" y="677440"/>
                                                        <a:pt x="646078" y="673683"/>
                                                        <a:pt x="651780" y="674978"/>
                                                      </a:cubicBezTo>
                                                      <a:cubicBezTo>
                                                        <a:pt x="661562" y="677246"/>
                                                        <a:pt x="670827" y="681911"/>
                                                        <a:pt x="678471" y="688454"/>
                                                      </a:cubicBezTo>
                                                      <a:cubicBezTo>
                                                        <a:pt x="686246" y="695062"/>
                                                        <a:pt x="692271" y="703549"/>
                                                        <a:pt x="696741" y="712749"/>
                                                      </a:cubicBezTo>
                                                      <a:cubicBezTo>
                                                        <a:pt x="701017" y="721559"/>
                                                        <a:pt x="705228" y="732184"/>
                                                        <a:pt x="714686" y="734711"/>
                                                      </a:cubicBezTo>
                                                      <a:cubicBezTo>
                                                        <a:pt x="714168" y="737238"/>
                                                        <a:pt x="713585" y="739764"/>
                                                        <a:pt x="713067" y="742226"/>
                                                      </a:cubicBezTo>
                                                      <a:cubicBezTo>
                                                        <a:pt x="715788" y="743846"/>
                                                        <a:pt x="718509" y="745465"/>
                                                        <a:pt x="721294" y="747085"/>
                                                      </a:cubicBezTo>
                                                      <a:cubicBezTo>
                                                        <a:pt x="720906" y="755831"/>
                                                        <a:pt x="720582" y="764512"/>
                                                        <a:pt x="720193" y="773258"/>
                                                      </a:cubicBezTo>
                                                      <a:cubicBezTo>
                                                        <a:pt x="731142" y="784013"/>
                                                        <a:pt x="747598" y="786086"/>
                                                        <a:pt x="762239" y="790556"/>
                                                      </a:cubicBezTo>
                                                      <a:cubicBezTo>
                                                        <a:pt x="764312" y="791204"/>
                                                        <a:pt x="766321" y="791981"/>
                                                        <a:pt x="768329" y="792694"/>
                                                      </a:cubicBezTo>
                                                      <a:cubicBezTo>
                                                        <a:pt x="768135" y="780450"/>
                                                        <a:pt x="757445" y="768076"/>
                                                        <a:pt x="762563" y="756803"/>
                                                      </a:cubicBezTo>
                                                      <a:cubicBezTo>
                                                        <a:pt x="764247" y="753110"/>
                                                        <a:pt x="767487" y="750195"/>
                                                        <a:pt x="768394" y="746243"/>
                                                      </a:cubicBezTo>
                                                      <a:cubicBezTo>
                                                        <a:pt x="770078" y="738922"/>
                                                        <a:pt x="763276" y="730500"/>
                                                        <a:pt x="767552" y="724345"/>
                                                      </a:cubicBezTo>
                                                      <a:cubicBezTo>
                                                        <a:pt x="770143" y="720588"/>
                                                        <a:pt x="775391" y="720134"/>
                                                        <a:pt x="779602" y="718385"/>
                                                      </a:cubicBezTo>
                                                      <a:cubicBezTo>
                                                        <a:pt x="794049" y="712166"/>
                                                        <a:pt x="795409" y="690786"/>
                                                        <a:pt x="808107" y="681457"/>
                                                      </a:cubicBezTo>
                                                      <a:cubicBezTo>
                                                        <a:pt x="822879" y="670638"/>
                                                        <a:pt x="837650" y="659754"/>
                                                        <a:pt x="852356" y="648935"/>
                                                      </a:cubicBezTo>
                                                      <a:cubicBezTo>
                                                        <a:pt x="876716" y="642974"/>
                                                        <a:pt x="904379" y="656450"/>
                                                        <a:pt x="914680" y="679254"/>
                                                      </a:cubicBezTo>
                                                      <a:cubicBezTo>
                                                        <a:pt x="916559" y="683401"/>
                                                        <a:pt x="918373" y="688260"/>
                                                        <a:pt x="922649" y="689685"/>
                                                      </a:cubicBezTo>
                                                      <a:cubicBezTo>
                                                        <a:pt x="924916" y="690462"/>
                                                        <a:pt x="927378" y="690074"/>
                                                        <a:pt x="929775" y="689685"/>
                                                      </a:cubicBezTo>
                                                      <a:cubicBezTo>
                                                        <a:pt x="939752" y="687936"/>
                                                        <a:pt x="949729" y="686122"/>
                                                        <a:pt x="959706" y="684372"/>
                                                      </a:cubicBezTo>
                                                      <a:cubicBezTo>
                                                        <a:pt x="961326" y="680420"/>
                                                        <a:pt x="956855" y="676857"/>
                                                        <a:pt x="954977" y="673035"/>
                                                      </a:cubicBezTo>
                                                      <a:cubicBezTo>
                                                        <a:pt x="950053" y="662864"/>
                                                        <a:pt x="963852" y="653729"/>
                                                        <a:pt x="975060" y="652433"/>
                                                      </a:cubicBezTo>
                                                      <a:cubicBezTo>
                                                        <a:pt x="986268" y="651073"/>
                                                        <a:pt x="1000651" y="649712"/>
                                                        <a:pt x="1003760" y="638893"/>
                                                      </a:cubicBezTo>
                                                      <a:cubicBezTo>
                                                        <a:pt x="1005315" y="648935"/>
                                                        <a:pt x="1011988" y="658070"/>
                                                        <a:pt x="1021058" y="662604"/>
                                                      </a:cubicBezTo>
                                                      <a:cubicBezTo>
                                                        <a:pt x="1028508" y="649259"/>
                                                        <a:pt x="1049434" y="646214"/>
                                                        <a:pt x="1060318" y="656968"/>
                                                      </a:cubicBezTo>
                                                      <a:cubicBezTo>
                                                        <a:pt x="1066084" y="662669"/>
                                                        <a:pt x="1069129" y="671156"/>
                                                        <a:pt x="1076126" y="675238"/>
                                                      </a:cubicBezTo>
                                                      <a:cubicBezTo>
                                                        <a:pt x="1083123" y="679319"/>
                                                        <a:pt x="1095302" y="672193"/>
                                                        <a:pt x="1090703" y="665520"/>
                                                      </a:cubicBezTo>
                                                      <a:cubicBezTo>
                                                        <a:pt x="1100291" y="660013"/>
                                                        <a:pt x="1112795" y="667982"/>
                                                        <a:pt x="1117330" y="678023"/>
                                                      </a:cubicBezTo>
                                                      <a:cubicBezTo>
                                                        <a:pt x="1121930" y="688065"/>
                                                        <a:pt x="1121541" y="699597"/>
                                                        <a:pt x="1123808" y="710416"/>
                                                      </a:cubicBezTo>
                                                      <a:cubicBezTo>
                                                        <a:pt x="1126659" y="723633"/>
                                                        <a:pt x="1133461" y="735553"/>
                                                        <a:pt x="1140199" y="747215"/>
                                                      </a:cubicBezTo>
                                                      <a:cubicBezTo>
                                                        <a:pt x="1153286" y="769890"/>
                                                        <a:pt x="1166308" y="792565"/>
                                                        <a:pt x="1179394" y="815240"/>
                                                      </a:cubicBezTo>
                                                      <a:cubicBezTo>
                                                        <a:pt x="1189890" y="785179"/>
                                                        <a:pt x="1188918" y="751296"/>
                                                        <a:pt x="1176673" y="721883"/>
                                                      </a:cubicBezTo>
                                                      <a:cubicBezTo>
                                                        <a:pt x="1169417" y="704521"/>
                                                        <a:pt x="1158469" y="688648"/>
                                                        <a:pt x="1153739" y="670379"/>
                                                      </a:cubicBezTo>
                                                      <a:cubicBezTo>
                                                        <a:pt x="1148816" y="651461"/>
                                                        <a:pt x="1151277" y="630795"/>
                                                        <a:pt x="1160412" y="613497"/>
                                                      </a:cubicBezTo>
                                                      <a:cubicBezTo>
                                                        <a:pt x="1170195" y="595033"/>
                                                        <a:pt x="1186715" y="581234"/>
                                                        <a:pt x="1202847" y="567953"/>
                                                      </a:cubicBezTo>
                                                      <a:cubicBezTo>
                                                        <a:pt x="1207965" y="563742"/>
                                                        <a:pt x="1213018" y="559530"/>
                                                        <a:pt x="1218136" y="555384"/>
                                                      </a:cubicBezTo>
                                                      <a:cubicBezTo>
                                                        <a:pt x="1234462" y="541973"/>
                                                        <a:pt x="1250723" y="528563"/>
                                                        <a:pt x="1267049" y="515152"/>
                                                      </a:cubicBezTo>
                                                      <a:cubicBezTo>
                                                        <a:pt x="1272038" y="511071"/>
                                                        <a:pt x="1277156" y="506860"/>
                                                        <a:pt x="1283246" y="504786"/>
                                                      </a:cubicBezTo>
                                                      <a:cubicBezTo>
                                                        <a:pt x="1291862" y="501806"/>
                                                        <a:pt x="1304625" y="500251"/>
                                                        <a:pt x="1304431" y="491117"/>
                                                      </a:cubicBezTo>
                                                      <a:cubicBezTo>
                                                        <a:pt x="1304301" y="485480"/>
                                                        <a:pt x="1298471" y="481852"/>
                                                        <a:pt x="1295944" y="476799"/>
                                                      </a:cubicBezTo>
                                                      <a:cubicBezTo>
                                                        <a:pt x="1293676" y="472264"/>
                                                        <a:pt x="1294195" y="466822"/>
                                                        <a:pt x="1292964" y="461834"/>
                                                      </a:cubicBezTo>
                                                      <a:cubicBezTo>
                                                        <a:pt x="1291733" y="456845"/>
                                                        <a:pt x="1287068" y="451792"/>
                                                        <a:pt x="1282274" y="453476"/>
                                                      </a:cubicBezTo>
                                                      <a:cubicBezTo>
                                                        <a:pt x="1280525" y="450042"/>
                                                        <a:pt x="1282857" y="445248"/>
                                                        <a:pt x="1286680" y="444536"/>
                                                      </a:cubicBezTo>
                                                      <a:cubicBezTo>
                                                        <a:pt x="1288753" y="434105"/>
                                                        <a:pt x="1269641" y="431255"/>
                                                        <a:pt x="1268021" y="420759"/>
                                                      </a:cubicBezTo>
                                                      <a:cubicBezTo>
                                                        <a:pt x="1267568" y="417844"/>
                                                        <a:pt x="1268604" y="414993"/>
                                                        <a:pt x="1269641" y="412208"/>
                                                      </a:cubicBezTo>
                                                      <a:cubicBezTo>
                                                        <a:pt x="1275536" y="396465"/>
                                                        <a:pt x="1281432" y="380722"/>
                                                        <a:pt x="1287263" y="364979"/>
                                                      </a:cubicBezTo>
                                                      <a:cubicBezTo>
                                                        <a:pt x="1296980" y="366922"/>
                                                        <a:pt x="1298082" y="380268"/>
                                                        <a:pt x="1296657" y="390116"/>
                                                      </a:cubicBezTo>
                                                      <a:cubicBezTo>
                                                        <a:pt x="1295231" y="399898"/>
                                                        <a:pt x="1295490" y="413050"/>
                                                        <a:pt x="1305014" y="415965"/>
                                                      </a:cubicBezTo>
                                                      <a:cubicBezTo>
                                                        <a:pt x="1305727" y="395428"/>
                                                        <a:pt x="1315380" y="375345"/>
                                                        <a:pt x="1330993" y="361999"/>
                                                      </a:cubicBezTo>
                                                      <a:cubicBezTo>
                                                        <a:pt x="1340452" y="353900"/>
                                                        <a:pt x="1352567" y="347292"/>
                                                        <a:pt x="1356519" y="335501"/>
                                                      </a:cubicBezTo>
                                                      <a:cubicBezTo>
                                                        <a:pt x="1357879" y="331420"/>
                                                        <a:pt x="1358073" y="327014"/>
                                                        <a:pt x="1359758" y="323063"/>
                                                      </a:cubicBezTo>
                                                      <a:cubicBezTo>
                                                        <a:pt x="1366172" y="307773"/>
                                                        <a:pt x="1387745" y="308291"/>
                                                        <a:pt x="1404006" y="311401"/>
                                                      </a:cubicBezTo>
                                                      <a:cubicBezTo>
                                                        <a:pt x="1404849" y="307579"/>
                                                        <a:pt x="1405691" y="303756"/>
                                                        <a:pt x="1406533" y="299934"/>
                                                      </a:cubicBezTo>
                                                      <a:cubicBezTo>
                                                        <a:pt x="1409060" y="307773"/>
                                                        <a:pt x="1418842" y="312373"/>
                                                        <a:pt x="1426487" y="309263"/>
                                                      </a:cubicBezTo>
                                                      <a:cubicBezTo>
                                                        <a:pt x="1424997" y="284450"/>
                                                        <a:pt x="1424738" y="263006"/>
                                                        <a:pt x="1423313" y="238193"/>
                                                      </a:cubicBezTo>
                                                      <a:cubicBezTo>
                                                        <a:pt x="1438667" y="229706"/>
                                                        <a:pt x="1454086" y="221284"/>
                                                        <a:pt x="1469440" y="212797"/>
                                                      </a:cubicBezTo>
                                                      <a:cubicBezTo>
                                                        <a:pt x="1472874" y="210918"/>
                                                        <a:pt x="1476437" y="208975"/>
                                                        <a:pt x="1480389" y="209040"/>
                                                      </a:cubicBezTo>
                                                      <a:cubicBezTo>
                                                        <a:pt x="1485183" y="209040"/>
                                                        <a:pt x="1489394" y="212149"/>
                                                        <a:pt x="1494059" y="213251"/>
                                                      </a:cubicBezTo>
                                                      <a:cubicBezTo>
                                                        <a:pt x="1503129" y="215453"/>
                                                        <a:pt x="1510644" y="210595"/>
                                                        <a:pt x="1517900" y="204116"/>
                                                      </a:cubicBezTo>
                                                      <a:cubicBezTo>
                                                        <a:pt x="1517705" y="196860"/>
                                                        <a:pt x="1517058" y="189669"/>
                                                        <a:pt x="1515762" y="18254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6" name="Freeform: Shape 38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80257D1-89E2-4600-8A81-E9B7DA84EE0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109338" y="3471564"/>
                                                  <a:ext cx="755532" cy="50545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18121 w 755532"/>
                                                    <a:gd name="connsiteY0" fmla="*/ 496704 h 505450"/>
                                                    <a:gd name="connsiteX1" fmla="*/ 616177 w 755532"/>
                                                    <a:gd name="connsiteY1" fmla="*/ 479083 h 505450"/>
                                                    <a:gd name="connsiteX2" fmla="*/ 632827 w 755532"/>
                                                    <a:gd name="connsiteY2" fmla="*/ 478046 h 505450"/>
                                                    <a:gd name="connsiteX3" fmla="*/ 633799 w 755532"/>
                                                    <a:gd name="connsiteY3" fmla="*/ 473511 h 505450"/>
                                                    <a:gd name="connsiteX4" fmla="*/ 647015 w 755532"/>
                                                    <a:gd name="connsiteY4" fmla="*/ 475649 h 505450"/>
                                                    <a:gd name="connsiteX5" fmla="*/ 660037 w 755532"/>
                                                    <a:gd name="connsiteY5" fmla="*/ 475973 h 505450"/>
                                                    <a:gd name="connsiteX6" fmla="*/ 661138 w 755532"/>
                                                    <a:gd name="connsiteY6" fmla="*/ 465801 h 505450"/>
                                                    <a:gd name="connsiteX7" fmla="*/ 645266 w 755532"/>
                                                    <a:gd name="connsiteY7" fmla="*/ 452391 h 505450"/>
                                                    <a:gd name="connsiteX8" fmla="*/ 640796 w 755532"/>
                                                    <a:gd name="connsiteY8" fmla="*/ 446366 h 505450"/>
                                                    <a:gd name="connsiteX9" fmla="*/ 639500 w 755532"/>
                                                    <a:gd name="connsiteY9" fmla="*/ 437620 h 505450"/>
                                                    <a:gd name="connsiteX10" fmla="*/ 644294 w 755532"/>
                                                    <a:gd name="connsiteY10" fmla="*/ 436194 h 505450"/>
                                                    <a:gd name="connsiteX11" fmla="*/ 648959 w 755532"/>
                                                    <a:gd name="connsiteY11" fmla="*/ 424598 h 505450"/>
                                                    <a:gd name="connsiteX12" fmla="*/ 684785 w 755532"/>
                                                    <a:gd name="connsiteY12" fmla="*/ 429457 h 505450"/>
                                                    <a:gd name="connsiteX13" fmla="*/ 690875 w 755532"/>
                                                    <a:gd name="connsiteY13" fmla="*/ 428161 h 505450"/>
                                                    <a:gd name="connsiteX14" fmla="*/ 693855 w 755532"/>
                                                    <a:gd name="connsiteY14" fmla="*/ 422849 h 505450"/>
                                                    <a:gd name="connsiteX15" fmla="*/ 714457 w 755532"/>
                                                    <a:gd name="connsiteY15" fmla="*/ 408207 h 505450"/>
                                                    <a:gd name="connsiteX16" fmla="*/ 715623 w 755532"/>
                                                    <a:gd name="connsiteY16" fmla="*/ 407559 h 505450"/>
                                                    <a:gd name="connsiteX17" fmla="*/ 726896 w 755532"/>
                                                    <a:gd name="connsiteY17" fmla="*/ 374518 h 505450"/>
                                                    <a:gd name="connsiteX18" fmla="*/ 720612 w 755532"/>
                                                    <a:gd name="connsiteY18" fmla="*/ 351196 h 505450"/>
                                                    <a:gd name="connsiteX19" fmla="*/ 734476 w 755532"/>
                                                    <a:gd name="connsiteY19" fmla="*/ 342838 h 505450"/>
                                                    <a:gd name="connsiteX20" fmla="*/ 750607 w 755532"/>
                                                    <a:gd name="connsiteY20" fmla="*/ 338433 h 505450"/>
                                                    <a:gd name="connsiteX21" fmla="*/ 753264 w 755532"/>
                                                    <a:gd name="connsiteY21" fmla="*/ 324050 h 505450"/>
                                                    <a:gd name="connsiteX22" fmla="*/ 744518 w 755532"/>
                                                    <a:gd name="connsiteY22" fmla="*/ 321848 h 505450"/>
                                                    <a:gd name="connsiteX23" fmla="*/ 697224 w 755532"/>
                                                    <a:gd name="connsiteY23" fmla="*/ 323143 h 505450"/>
                                                    <a:gd name="connsiteX24" fmla="*/ 685044 w 755532"/>
                                                    <a:gd name="connsiteY24" fmla="*/ 326188 h 505450"/>
                                                    <a:gd name="connsiteX25" fmla="*/ 681351 w 755532"/>
                                                    <a:gd name="connsiteY25" fmla="*/ 337137 h 505450"/>
                                                    <a:gd name="connsiteX26" fmla="*/ 663859 w 755532"/>
                                                    <a:gd name="connsiteY26" fmla="*/ 340959 h 505450"/>
                                                    <a:gd name="connsiteX27" fmla="*/ 663017 w 755532"/>
                                                    <a:gd name="connsiteY27" fmla="*/ 385921 h 505450"/>
                                                    <a:gd name="connsiteX28" fmla="*/ 646302 w 755532"/>
                                                    <a:gd name="connsiteY28" fmla="*/ 394148 h 505450"/>
                                                    <a:gd name="connsiteX29" fmla="*/ 633734 w 755532"/>
                                                    <a:gd name="connsiteY29" fmla="*/ 406717 h 505450"/>
                                                    <a:gd name="connsiteX30" fmla="*/ 612031 w 755532"/>
                                                    <a:gd name="connsiteY30" fmla="*/ 404579 h 505450"/>
                                                    <a:gd name="connsiteX31" fmla="*/ 607431 w 755532"/>
                                                    <a:gd name="connsiteY31" fmla="*/ 415981 h 505450"/>
                                                    <a:gd name="connsiteX32" fmla="*/ 566162 w 755532"/>
                                                    <a:gd name="connsiteY32" fmla="*/ 411576 h 505450"/>
                                                    <a:gd name="connsiteX33" fmla="*/ 557222 w 755532"/>
                                                    <a:gd name="connsiteY33" fmla="*/ 417601 h 505450"/>
                                                    <a:gd name="connsiteX34" fmla="*/ 548346 w 755532"/>
                                                    <a:gd name="connsiteY34" fmla="*/ 415981 h 505450"/>
                                                    <a:gd name="connsiteX35" fmla="*/ 542969 w 755532"/>
                                                    <a:gd name="connsiteY35" fmla="*/ 406522 h 505450"/>
                                                    <a:gd name="connsiteX36" fmla="*/ 532668 w 755532"/>
                                                    <a:gd name="connsiteY36" fmla="*/ 403737 h 505450"/>
                                                    <a:gd name="connsiteX37" fmla="*/ 519582 w 755532"/>
                                                    <a:gd name="connsiteY37" fmla="*/ 378211 h 505450"/>
                                                    <a:gd name="connsiteX38" fmla="*/ 499822 w 755532"/>
                                                    <a:gd name="connsiteY38" fmla="*/ 355731 h 505450"/>
                                                    <a:gd name="connsiteX39" fmla="*/ 496582 w 755532"/>
                                                    <a:gd name="connsiteY39" fmla="*/ 345883 h 505450"/>
                                                    <a:gd name="connsiteX40" fmla="*/ 490946 w 755532"/>
                                                    <a:gd name="connsiteY40" fmla="*/ 343939 h 505450"/>
                                                    <a:gd name="connsiteX41" fmla="*/ 478702 w 755532"/>
                                                    <a:gd name="connsiteY41" fmla="*/ 315952 h 505450"/>
                                                    <a:gd name="connsiteX42" fmla="*/ 479285 w 755532"/>
                                                    <a:gd name="connsiteY42" fmla="*/ 253823 h 505450"/>
                                                    <a:gd name="connsiteX43" fmla="*/ 484144 w 755532"/>
                                                    <a:gd name="connsiteY43" fmla="*/ 221300 h 505450"/>
                                                    <a:gd name="connsiteX44" fmla="*/ 490234 w 755532"/>
                                                    <a:gd name="connsiteY44" fmla="*/ 207306 h 505450"/>
                                                    <a:gd name="connsiteX45" fmla="*/ 490493 w 755532"/>
                                                    <a:gd name="connsiteY45" fmla="*/ 203678 h 505450"/>
                                                    <a:gd name="connsiteX46" fmla="*/ 484403 w 755532"/>
                                                    <a:gd name="connsiteY46" fmla="*/ 201541 h 505450"/>
                                                    <a:gd name="connsiteX47" fmla="*/ 442357 w 755532"/>
                                                    <a:gd name="connsiteY47" fmla="*/ 184243 h 505450"/>
                                                    <a:gd name="connsiteX48" fmla="*/ 443458 w 755532"/>
                                                    <a:gd name="connsiteY48" fmla="*/ 158069 h 505450"/>
                                                    <a:gd name="connsiteX49" fmla="*/ 435230 w 755532"/>
                                                    <a:gd name="connsiteY49" fmla="*/ 153210 h 505450"/>
                                                    <a:gd name="connsiteX50" fmla="*/ 436850 w 755532"/>
                                                    <a:gd name="connsiteY50" fmla="*/ 145695 h 505450"/>
                                                    <a:gd name="connsiteX51" fmla="*/ 418904 w 755532"/>
                                                    <a:gd name="connsiteY51" fmla="*/ 123733 h 505450"/>
                                                    <a:gd name="connsiteX52" fmla="*/ 400635 w 755532"/>
                                                    <a:gd name="connsiteY52" fmla="*/ 99438 h 505450"/>
                                                    <a:gd name="connsiteX53" fmla="*/ 373943 w 755532"/>
                                                    <a:gd name="connsiteY53" fmla="*/ 85963 h 505450"/>
                                                    <a:gd name="connsiteX54" fmla="*/ 362541 w 755532"/>
                                                    <a:gd name="connsiteY54" fmla="*/ 93348 h 505450"/>
                                                    <a:gd name="connsiteX55" fmla="*/ 351981 w 755532"/>
                                                    <a:gd name="connsiteY55" fmla="*/ 93348 h 505450"/>
                                                    <a:gd name="connsiteX56" fmla="*/ 351139 w 755532"/>
                                                    <a:gd name="connsiteY56" fmla="*/ 112007 h 505450"/>
                                                    <a:gd name="connsiteX57" fmla="*/ 343040 w 755532"/>
                                                    <a:gd name="connsiteY57" fmla="*/ 112007 h 505450"/>
                                                    <a:gd name="connsiteX58" fmla="*/ 339607 w 755532"/>
                                                    <a:gd name="connsiteY58" fmla="*/ 103520 h 505450"/>
                                                    <a:gd name="connsiteX59" fmla="*/ 323929 w 755532"/>
                                                    <a:gd name="connsiteY59" fmla="*/ 96523 h 505450"/>
                                                    <a:gd name="connsiteX60" fmla="*/ 309740 w 755532"/>
                                                    <a:gd name="connsiteY60" fmla="*/ 85250 h 505450"/>
                                                    <a:gd name="connsiteX61" fmla="*/ 295941 w 755532"/>
                                                    <a:gd name="connsiteY61" fmla="*/ 64778 h 505450"/>
                                                    <a:gd name="connsiteX62" fmla="*/ 294062 w 755532"/>
                                                    <a:gd name="connsiteY62" fmla="*/ 55514 h 505450"/>
                                                    <a:gd name="connsiteX63" fmla="*/ 247546 w 755532"/>
                                                    <a:gd name="connsiteY63" fmla="*/ 23833 h 505450"/>
                                                    <a:gd name="connsiteX64" fmla="*/ 226750 w 755532"/>
                                                    <a:gd name="connsiteY64" fmla="*/ 29016 h 505450"/>
                                                    <a:gd name="connsiteX65" fmla="*/ 212886 w 755532"/>
                                                    <a:gd name="connsiteY65" fmla="*/ 38669 h 505450"/>
                                                    <a:gd name="connsiteX66" fmla="*/ 174274 w 755532"/>
                                                    <a:gd name="connsiteY66" fmla="*/ 40678 h 505450"/>
                                                    <a:gd name="connsiteX67" fmla="*/ 115319 w 755532"/>
                                                    <a:gd name="connsiteY67" fmla="*/ 30636 h 505450"/>
                                                    <a:gd name="connsiteX68" fmla="*/ 108192 w 755532"/>
                                                    <a:gd name="connsiteY68" fmla="*/ 28109 h 505450"/>
                                                    <a:gd name="connsiteX69" fmla="*/ 101260 w 755532"/>
                                                    <a:gd name="connsiteY69" fmla="*/ 17549 h 505450"/>
                                                    <a:gd name="connsiteX70" fmla="*/ 81565 w 755532"/>
                                                    <a:gd name="connsiteY70" fmla="*/ 15022 h 505450"/>
                                                    <a:gd name="connsiteX71" fmla="*/ 71264 w 755532"/>
                                                    <a:gd name="connsiteY71" fmla="*/ 5045 h 505450"/>
                                                    <a:gd name="connsiteX72" fmla="*/ 44249 w 755532"/>
                                                    <a:gd name="connsiteY72" fmla="*/ 964 h 505450"/>
                                                    <a:gd name="connsiteX73" fmla="*/ 0 w 755532"/>
                                                    <a:gd name="connsiteY73" fmla="*/ 7248 h 505450"/>
                                                    <a:gd name="connsiteX74" fmla="*/ 32522 w 755532"/>
                                                    <a:gd name="connsiteY74" fmla="*/ 79873 h 505450"/>
                                                    <a:gd name="connsiteX75" fmla="*/ 38483 w 755532"/>
                                                    <a:gd name="connsiteY75" fmla="*/ 93996 h 505450"/>
                                                    <a:gd name="connsiteX76" fmla="*/ 46516 w 755532"/>
                                                    <a:gd name="connsiteY76" fmla="*/ 98596 h 505450"/>
                                                    <a:gd name="connsiteX77" fmla="*/ 71135 w 755532"/>
                                                    <a:gd name="connsiteY77" fmla="*/ 114274 h 505450"/>
                                                    <a:gd name="connsiteX78" fmla="*/ 77743 w 755532"/>
                                                    <a:gd name="connsiteY78" fmla="*/ 122372 h 505450"/>
                                                    <a:gd name="connsiteX79" fmla="*/ 73143 w 755532"/>
                                                    <a:gd name="connsiteY79" fmla="*/ 161050 h 505450"/>
                                                    <a:gd name="connsiteX80" fmla="*/ 80723 w 755532"/>
                                                    <a:gd name="connsiteY80" fmla="*/ 167593 h 505450"/>
                                                    <a:gd name="connsiteX81" fmla="*/ 106378 w 755532"/>
                                                    <a:gd name="connsiteY81" fmla="*/ 183530 h 505450"/>
                                                    <a:gd name="connsiteX82" fmla="*/ 110524 w 755532"/>
                                                    <a:gd name="connsiteY82" fmla="*/ 192794 h 505450"/>
                                                    <a:gd name="connsiteX83" fmla="*/ 121862 w 755532"/>
                                                    <a:gd name="connsiteY83" fmla="*/ 195839 h 505450"/>
                                                    <a:gd name="connsiteX84" fmla="*/ 133005 w 755532"/>
                                                    <a:gd name="connsiteY84" fmla="*/ 222596 h 505450"/>
                                                    <a:gd name="connsiteX85" fmla="*/ 157559 w 755532"/>
                                                    <a:gd name="connsiteY85" fmla="*/ 256090 h 505450"/>
                                                    <a:gd name="connsiteX86" fmla="*/ 175181 w 755532"/>
                                                    <a:gd name="connsiteY86" fmla="*/ 281940 h 505450"/>
                                                    <a:gd name="connsiteX87" fmla="*/ 180623 w 755532"/>
                                                    <a:gd name="connsiteY87" fmla="*/ 252592 h 505450"/>
                                                    <a:gd name="connsiteX88" fmla="*/ 168637 w 755532"/>
                                                    <a:gd name="connsiteY88" fmla="*/ 243586 h 505450"/>
                                                    <a:gd name="connsiteX89" fmla="*/ 161900 w 755532"/>
                                                    <a:gd name="connsiteY89" fmla="*/ 233609 h 505450"/>
                                                    <a:gd name="connsiteX90" fmla="*/ 132616 w 755532"/>
                                                    <a:gd name="connsiteY90" fmla="*/ 178866 h 505450"/>
                                                    <a:gd name="connsiteX91" fmla="*/ 126526 w 755532"/>
                                                    <a:gd name="connsiteY91" fmla="*/ 167398 h 505450"/>
                                                    <a:gd name="connsiteX92" fmla="*/ 106702 w 755532"/>
                                                    <a:gd name="connsiteY92" fmla="*/ 130276 h 505450"/>
                                                    <a:gd name="connsiteX93" fmla="*/ 104111 w 755532"/>
                                                    <a:gd name="connsiteY93" fmla="*/ 121141 h 505450"/>
                                                    <a:gd name="connsiteX94" fmla="*/ 92514 w 755532"/>
                                                    <a:gd name="connsiteY94" fmla="*/ 116995 h 505450"/>
                                                    <a:gd name="connsiteX95" fmla="*/ 89340 w 755532"/>
                                                    <a:gd name="connsiteY95" fmla="*/ 97300 h 505450"/>
                                                    <a:gd name="connsiteX96" fmla="*/ 70876 w 755532"/>
                                                    <a:gd name="connsiteY96" fmla="*/ 84797 h 505450"/>
                                                    <a:gd name="connsiteX97" fmla="*/ 58631 w 755532"/>
                                                    <a:gd name="connsiteY97" fmla="*/ 36272 h 505450"/>
                                                    <a:gd name="connsiteX98" fmla="*/ 62518 w 755532"/>
                                                    <a:gd name="connsiteY98" fmla="*/ 25712 h 505450"/>
                                                    <a:gd name="connsiteX99" fmla="*/ 72495 w 755532"/>
                                                    <a:gd name="connsiteY99" fmla="*/ 25064 h 505450"/>
                                                    <a:gd name="connsiteX100" fmla="*/ 105471 w 755532"/>
                                                    <a:gd name="connsiteY100" fmla="*/ 41390 h 505450"/>
                                                    <a:gd name="connsiteX101" fmla="*/ 94782 w 755532"/>
                                                    <a:gd name="connsiteY101" fmla="*/ 51691 h 505450"/>
                                                    <a:gd name="connsiteX102" fmla="*/ 114023 w 755532"/>
                                                    <a:gd name="connsiteY102" fmla="*/ 80650 h 505450"/>
                                                    <a:gd name="connsiteX103" fmla="*/ 118364 w 755532"/>
                                                    <a:gd name="connsiteY103" fmla="*/ 92571 h 505450"/>
                                                    <a:gd name="connsiteX104" fmla="*/ 109034 w 755532"/>
                                                    <a:gd name="connsiteY104" fmla="*/ 97689 h 505450"/>
                                                    <a:gd name="connsiteX105" fmla="*/ 119789 w 755532"/>
                                                    <a:gd name="connsiteY105" fmla="*/ 113626 h 505450"/>
                                                    <a:gd name="connsiteX106" fmla="*/ 138641 w 755532"/>
                                                    <a:gd name="connsiteY106" fmla="*/ 124575 h 505450"/>
                                                    <a:gd name="connsiteX107" fmla="*/ 140974 w 755532"/>
                                                    <a:gd name="connsiteY107" fmla="*/ 132997 h 505450"/>
                                                    <a:gd name="connsiteX108" fmla="*/ 149266 w 755532"/>
                                                    <a:gd name="connsiteY108" fmla="*/ 133710 h 505450"/>
                                                    <a:gd name="connsiteX109" fmla="*/ 169674 w 755532"/>
                                                    <a:gd name="connsiteY109" fmla="*/ 160402 h 505450"/>
                                                    <a:gd name="connsiteX110" fmla="*/ 190211 w 755532"/>
                                                    <a:gd name="connsiteY110" fmla="*/ 170897 h 505450"/>
                                                    <a:gd name="connsiteX111" fmla="*/ 199346 w 755532"/>
                                                    <a:gd name="connsiteY111" fmla="*/ 189361 h 505450"/>
                                                    <a:gd name="connsiteX112" fmla="*/ 194422 w 755532"/>
                                                    <a:gd name="connsiteY112" fmla="*/ 195451 h 505450"/>
                                                    <a:gd name="connsiteX113" fmla="*/ 206602 w 755532"/>
                                                    <a:gd name="connsiteY113" fmla="*/ 211777 h 505450"/>
                                                    <a:gd name="connsiteX114" fmla="*/ 225454 w 755532"/>
                                                    <a:gd name="connsiteY114" fmla="*/ 223697 h 505450"/>
                                                    <a:gd name="connsiteX115" fmla="*/ 226167 w 755532"/>
                                                    <a:gd name="connsiteY115" fmla="*/ 236914 h 505450"/>
                                                    <a:gd name="connsiteX116" fmla="*/ 242493 w 755532"/>
                                                    <a:gd name="connsiteY116" fmla="*/ 248316 h 505450"/>
                                                    <a:gd name="connsiteX117" fmla="*/ 270740 w 755532"/>
                                                    <a:gd name="connsiteY117" fmla="*/ 277210 h 505450"/>
                                                    <a:gd name="connsiteX118" fmla="*/ 304558 w 755532"/>
                                                    <a:gd name="connsiteY118" fmla="*/ 350936 h 505450"/>
                                                    <a:gd name="connsiteX119" fmla="*/ 309676 w 755532"/>
                                                    <a:gd name="connsiteY119" fmla="*/ 366874 h 505450"/>
                                                    <a:gd name="connsiteX120" fmla="*/ 337663 w 755532"/>
                                                    <a:gd name="connsiteY120" fmla="*/ 384107 h 505450"/>
                                                    <a:gd name="connsiteX121" fmla="*/ 355998 w 755532"/>
                                                    <a:gd name="connsiteY121" fmla="*/ 409827 h 505450"/>
                                                    <a:gd name="connsiteX122" fmla="*/ 405299 w 755532"/>
                                                    <a:gd name="connsiteY122" fmla="*/ 437231 h 505450"/>
                                                    <a:gd name="connsiteX123" fmla="*/ 489262 w 755532"/>
                                                    <a:gd name="connsiteY123" fmla="*/ 463210 h 505450"/>
                                                    <a:gd name="connsiteX124" fmla="*/ 505393 w 755532"/>
                                                    <a:gd name="connsiteY124" fmla="*/ 487958 h 505450"/>
                                                    <a:gd name="connsiteX125" fmla="*/ 543487 w 755532"/>
                                                    <a:gd name="connsiteY125" fmla="*/ 466385 h 505450"/>
                                                    <a:gd name="connsiteX126" fmla="*/ 565515 w 755532"/>
                                                    <a:gd name="connsiteY126" fmla="*/ 473511 h 505450"/>
                                                    <a:gd name="connsiteX127" fmla="*/ 606459 w 755532"/>
                                                    <a:gd name="connsiteY127" fmla="*/ 505450 h 505450"/>
                                                    <a:gd name="connsiteX128" fmla="*/ 617991 w 755532"/>
                                                    <a:gd name="connsiteY128" fmla="*/ 496963 h 50545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755532" h="505450">
                                                      <a:moveTo>
                                                        <a:pt x="618121" y="496704"/>
                                                      </a:moveTo>
                                                      <a:cubicBezTo>
                                                        <a:pt x="620453" y="491068"/>
                                                        <a:pt x="619222" y="484395"/>
                                                        <a:pt x="616177" y="479083"/>
                                                      </a:cubicBezTo>
                                                      <a:cubicBezTo>
                                                        <a:pt x="621749" y="479147"/>
                                                        <a:pt x="627320" y="478823"/>
                                                        <a:pt x="632827" y="478046"/>
                                                      </a:cubicBezTo>
                                                      <a:cubicBezTo>
                                                        <a:pt x="633151" y="476556"/>
                                                        <a:pt x="633475" y="475001"/>
                                                        <a:pt x="633799" y="473511"/>
                                                      </a:cubicBezTo>
                                                      <a:cubicBezTo>
                                                        <a:pt x="637815" y="471049"/>
                                                        <a:pt x="642869" y="473511"/>
                                                        <a:pt x="647015" y="475649"/>
                                                      </a:cubicBezTo>
                                                      <a:cubicBezTo>
                                                        <a:pt x="651161" y="477787"/>
                                                        <a:pt x="656862" y="479406"/>
                                                        <a:pt x="660037" y="475973"/>
                                                      </a:cubicBezTo>
                                                      <a:cubicBezTo>
                                                        <a:pt x="662434" y="473381"/>
                                                        <a:pt x="661851" y="469300"/>
                                                        <a:pt x="661138" y="465801"/>
                                                      </a:cubicBezTo>
                                                      <a:cubicBezTo>
                                                        <a:pt x="654271" y="464182"/>
                                                        <a:pt x="649477" y="458092"/>
                                                        <a:pt x="645266" y="452391"/>
                                                      </a:cubicBezTo>
                                                      <a:cubicBezTo>
                                                        <a:pt x="643776" y="450383"/>
                                                        <a:pt x="642286" y="448374"/>
                                                        <a:pt x="640796" y="446366"/>
                                                      </a:cubicBezTo>
                                                      <a:cubicBezTo>
                                                        <a:pt x="638852" y="443710"/>
                                                        <a:pt x="637038" y="439693"/>
                                                        <a:pt x="639500" y="437620"/>
                                                      </a:cubicBezTo>
                                                      <a:cubicBezTo>
                                                        <a:pt x="640796" y="436518"/>
                                                        <a:pt x="642674" y="436648"/>
                                                        <a:pt x="644294" y="436194"/>
                                                      </a:cubicBezTo>
                                                      <a:cubicBezTo>
                                                        <a:pt x="649023" y="435028"/>
                                                        <a:pt x="651550" y="428679"/>
                                                        <a:pt x="648959" y="424598"/>
                                                      </a:cubicBezTo>
                                                      <a:cubicBezTo>
                                                        <a:pt x="660685" y="427513"/>
                                                        <a:pt x="672735" y="429133"/>
                                                        <a:pt x="684785" y="429457"/>
                                                      </a:cubicBezTo>
                                                      <a:cubicBezTo>
                                                        <a:pt x="686923" y="429457"/>
                                                        <a:pt x="689190" y="429457"/>
                                                        <a:pt x="690875" y="428161"/>
                                                      </a:cubicBezTo>
                                                      <a:cubicBezTo>
                                                        <a:pt x="692495" y="426865"/>
                                                        <a:pt x="693078" y="424727"/>
                                                        <a:pt x="693855" y="422849"/>
                                                      </a:cubicBezTo>
                                                      <a:cubicBezTo>
                                                        <a:pt x="697289" y="414686"/>
                                                        <a:pt x="705646" y="410021"/>
                                                        <a:pt x="714457" y="408207"/>
                                                      </a:cubicBezTo>
                                                      <a:cubicBezTo>
                                                        <a:pt x="714846" y="408013"/>
                                                        <a:pt x="715234" y="407753"/>
                                                        <a:pt x="715623" y="407559"/>
                                                      </a:cubicBezTo>
                                                      <a:cubicBezTo>
                                                        <a:pt x="726442" y="401016"/>
                                                        <a:pt x="731431" y="386309"/>
                                                        <a:pt x="726896" y="374518"/>
                                                      </a:cubicBezTo>
                                                      <a:cubicBezTo>
                                                        <a:pt x="723916" y="366744"/>
                                                        <a:pt x="717243" y="358775"/>
                                                        <a:pt x="720612" y="351196"/>
                                                      </a:cubicBezTo>
                                                      <a:cubicBezTo>
                                                        <a:pt x="722879" y="346077"/>
                                                        <a:pt x="728969" y="343810"/>
                                                        <a:pt x="734476" y="342838"/>
                                                      </a:cubicBezTo>
                                                      <a:cubicBezTo>
                                                        <a:pt x="739982" y="341866"/>
                                                        <a:pt x="746007" y="341607"/>
                                                        <a:pt x="750607" y="338433"/>
                                                      </a:cubicBezTo>
                                                      <a:cubicBezTo>
                                                        <a:pt x="755272" y="335258"/>
                                                        <a:pt x="757539" y="327743"/>
                                                        <a:pt x="753264" y="324050"/>
                                                      </a:cubicBezTo>
                                                      <a:cubicBezTo>
                                                        <a:pt x="750931" y="322042"/>
                                                        <a:pt x="747627" y="321912"/>
                                                        <a:pt x="744518" y="321848"/>
                                                      </a:cubicBezTo>
                                                      <a:cubicBezTo>
                                                        <a:pt x="728710" y="321653"/>
                                                        <a:pt x="712967" y="322107"/>
                                                        <a:pt x="697224" y="323143"/>
                                                      </a:cubicBezTo>
                                                      <a:cubicBezTo>
                                                        <a:pt x="693013" y="323402"/>
                                                        <a:pt x="688543" y="323856"/>
                                                        <a:pt x="685044" y="326188"/>
                                                      </a:cubicBezTo>
                                                      <a:cubicBezTo>
                                                        <a:pt x="681481" y="328521"/>
                                                        <a:pt x="679278" y="333444"/>
                                                        <a:pt x="681351" y="337137"/>
                                                      </a:cubicBezTo>
                                                      <a:cubicBezTo>
                                                        <a:pt x="675391" y="337461"/>
                                                        <a:pt x="669431" y="338822"/>
                                                        <a:pt x="663859" y="340959"/>
                                                      </a:cubicBezTo>
                                                      <a:cubicBezTo>
                                                        <a:pt x="660426" y="356055"/>
                                                        <a:pt x="673318" y="374389"/>
                                                        <a:pt x="663017" y="385921"/>
                                                      </a:cubicBezTo>
                                                      <a:cubicBezTo>
                                                        <a:pt x="658806" y="390585"/>
                                                        <a:pt x="652198" y="392011"/>
                                                        <a:pt x="646302" y="394148"/>
                                                      </a:cubicBezTo>
                                                      <a:cubicBezTo>
                                                        <a:pt x="640407" y="396286"/>
                                                        <a:pt x="634187" y="400433"/>
                                                        <a:pt x="633734" y="406717"/>
                                                      </a:cubicBezTo>
                                                      <a:cubicBezTo>
                                                        <a:pt x="626672" y="404708"/>
                                                        <a:pt x="619287" y="403996"/>
                                                        <a:pt x="612031" y="404579"/>
                                                      </a:cubicBezTo>
                                                      <a:cubicBezTo>
                                                        <a:pt x="610476" y="408401"/>
                                                        <a:pt x="608986" y="412224"/>
                                                        <a:pt x="607431" y="415981"/>
                                                      </a:cubicBezTo>
                                                      <a:cubicBezTo>
                                                        <a:pt x="594798" y="410021"/>
                                                        <a:pt x="580091" y="410734"/>
                                                        <a:pt x="566162" y="411576"/>
                                                      </a:cubicBezTo>
                                                      <a:cubicBezTo>
                                                        <a:pt x="562146" y="411835"/>
                                                        <a:pt x="556704" y="413584"/>
                                                        <a:pt x="557222" y="417601"/>
                                                      </a:cubicBezTo>
                                                      <a:cubicBezTo>
                                                        <a:pt x="555602" y="420840"/>
                                                        <a:pt x="550290" y="419091"/>
                                                        <a:pt x="548346" y="415981"/>
                                                      </a:cubicBezTo>
                                                      <a:cubicBezTo>
                                                        <a:pt x="546403" y="412872"/>
                                                        <a:pt x="545820" y="408855"/>
                                                        <a:pt x="542969" y="406522"/>
                                                      </a:cubicBezTo>
                                                      <a:cubicBezTo>
                                                        <a:pt x="540183" y="404255"/>
                                                        <a:pt x="536167" y="404449"/>
                                                        <a:pt x="532668" y="403737"/>
                                                      </a:cubicBezTo>
                                                      <a:cubicBezTo>
                                                        <a:pt x="521914" y="401534"/>
                                                        <a:pt x="515111" y="388253"/>
                                                        <a:pt x="519582" y="378211"/>
                                                      </a:cubicBezTo>
                                                      <a:cubicBezTo>
                                                        <a:pt x="509281" y="375620"/>
                                                        <a:pt x="501053" y="366226"/>
                                                        <a:pt x="499822" y="355731"/>
                                                      </a:cubicBezTo>
                                                      <a:cubicBezTo>
                                                        <a:pt x="499433" y="352167"/>
                                                        <a:pt x="499433" y="347956"/>
                                                        <a:pt x="496582" y="345883"/>
                                                      </a:cubicBezTo>
                                                      <a:cubicBezTo>
                                                        <a:pt x="494963" y="344717"/>
                                                        <a:pt x="492890" y="344523"/>
                                                        <a:pt x="490946" y="343939"/>
                                                      </a:cubicBezTo>
                                                      <a:cubicBezTo>
                                                        <a:pt x="480451" y="340765"/>
                                                        <a:pt x="478572" y="326966"/>
                                                        <a:pt x="478702" y="315952"/>
                                                      </a:cubicBezTo>
                                                      <a:cubicBezTo>
                                                        <a:pt x="478896" y="295221"/>
                                                        <a:pt x="479090" y="274554"/>
                                                        <a:pt x="479285" y="253823"/>
                                                      </a:cubicBezTo>
                                                      <a:cubicBezTo>
                                                        <a:pt x="479414" y="242744"/>
                                                        <a:pt x="479544" y="231342"/>
                                                        <a:pt x="484144" y="221300"/>
                                                      </a:cubicBezTo>
                                                      <a:cubicBezTo>
                                                        <a:pt x="486282" y="216636"/>
                                                        <a:pt x="489327" y="212360"/>
                                                        <a:pt x="490234" y="207306"/>
                                                      </a:cubicBezTo>
                                                      <a:cubicBezTo>
                                                        <a:pt x="490428" y="206075"/>
                                                        <a:pt x="490493" y="204909"/>
                                                        <a:pt x="490493" y="203678"/>
                                                      </a:cubicBezTo>
                                                      <a:cubicBezTo>
                                                        <a:pt x="488484" y="202966"/>
                                                        <a:pt x="486476" y="202188"/>
                                                        <a:pt x="484403" y="201541"/>
                                                      </a:cubicBezTo>
                                                      <a:cubicBezTo>
                                                        <a:pt x="469761" y="197070"/>
                                                        <a:pt x="453306" y="194932"/>
                                                        <a:pt x="442357" y="184243"/>
                                                      </a:cubicBezTo>
                                                      <a:cubicBezTo>
                                                        <a:pt x="442746" y="175497"/>
                                                        <a:pt x="443070" y="166815"/>
                                                        <a:pt x="443458" y="158069"/>
                                                      </a:cubicBezTo>
                                                      <a:cubicBezTo>
                                                        <a:pt x="440737" y="156450"/>
                                                        <a:pt x="438016" y="154830"/>
                                                        <a:pt x="435230" y="153210"/>
                                                      </a:cubicBezTo>
                                                      <a:cubicBezTo>
                                                        <a:pt x="435749" y="150684"/>
                                                        <a:pt x="436332" y="148157"/>
                                                        <a:pt x="436850" y="145695"/>
                                                      </a:cubicBezTo>
                                                      <a:cubicBezTo>
                                                        <a:pt x="427391" y="143169"/>
                                                        <a:pt x="423180" y="132479"/>
                                                        <a:pt x="418904" y="123733"/>
                                                      </a:cubicBezTo>
                                                      <a:cubicBezTo>
                                                        <a:pt x="414434" y="114533"/>
                                                        <a:pt x="408409" y="106046"/>
                                                        <a:pt x="400635" y="99438"/>
                                                      </a:cubicBezTo>
                                                      <a:cubicBezTo>
                                                        <a:pt x="392990" y="92895"/>
                                                        <a:pt x="383726" y="88230"/>
                                                        <a:pt x="373943" y="85963"/>
                                                      </a:cubicBezTo>
                                                      <a:cubicBezTo>
                                                        <a:pt x="368242" y="84667"/>
                                                        <a:pt x="359366" y="88425"/>
                                                        <a:pt x="362541" y="93348"/>
                                                      </a:cubicBezTo>
                                                      <a:cubicBezTo>
                                                        <a:pt x="359042" y="93348"/>
                                                        <a:pt x="355479" y="93348"/>
                                                        <a:pt x="351981" y="93348"/>
                                                      </a:cubicBezTo>
                                                      <a:cubicBezTo>
                                                        <a:pt x="353277" y="99503"/>
                                                        <a:pt x="352953" y="105982"/>
                                                        <a:pt x="351139" y="112007"/>
                                                      </a:cubicBezTo>
                                                      <a:cubicBezTo>
                                                        <a:pt x="348418" y="112007"/>
                                                        <a:pt x="345761" y="112007"/>
                                                        <a:pt x="343040" y="112007"/>
                                                      </a:cubicBezTo>
                                                      <a:cubicBezTo>
                                                        <a:pt x="341874" y="109156"/>
                                                        <a:pt x="340708" y="106370"/>
                                                        <a:pt x="339607" y="103520"/>
                                                      </a:cubicBezTo>
                                                      <a:cubicBezTo>
                                                        <a:pt x="334230" y="106824"/>
                                                        <a:pt x="327557" y="101706"/>
                                                        <a:pt x="323929" y="96523"/>
                                                      </a:cubicBezTo>
                                                      <a:cubicBezTo>
                                                        <a:pt x="320301" y="91340"/>
                                                        <a:pt x="316090" y="84991"/>
                                                        <a:pt x="309740" y="85250"/>
                                                      </a:cubicBezTo>
                                                      <a:cubicBezTo>
                                                        <a:pt x="312267" y="76245"/>
                                                        <a:pt x="305270" y="65814"/>
                                                        <a:pt x="295941" y="64778"/>
                                                      </a:cubicBezTo>
                                                      <a:cubicBezTo>
                                                        <a:pt x="298533" y="62446"/>
                                                        <a:pt x="296330" y="58170"/>
                                                        <a:pt x="294062" y="55514"/>
                                                      </a:cubicBezTo>
                                                      <a:cubicBezTo>
                                                        <a:pt x="281559" y="40807"/>
                                                        <a:pt x="266852" y="24935"/>
                                                        <a:pt x="247546" y="23833"/>
                                                      </a:cubicBezTo>
                                                      <a:cubicBezTo>
                                                        <a:pt x="240290" y="23380"/>
                                                        <a:pt x="232969" y="25258"/>
                                                        <a:pt x="226750" y="29016"/>
                                                      </a:cubicBezTo>
                                                      <a:cubicBezTo>
                                                        <a:pt x="221956" y="31932"/>
                                                        <a:pt x="217874" y="35948"/>
                                                        <a:pt x="212886" y="38669"/>
                                                      </a:cubicBezTo>
                                                      <a:cubicBezTo>
                                                        <a:pt x="201354" y="44953"/>
                                                        <a:pt x="187231" y="42880"/>
                                                        <a:pt x="174274" y="40678"/>
                                                      </a:cubicBezTo>
                                                      <a:cubicBezTo>
                                                        <a:pt x="154644" y="37309"/>
                                                        <a:pt x="135014" y="33940"/>
                                                        <a:pt x="115319" y="30636"/>
                                                      </a:cubicBezTo>
                                                      <a:cubicBezTo>
                                                        <a:pt x="112792" y="30182"/>
                                                        <a:pt x="110201" y="29729"/>
                                                        <a:pt x="108192" y="28109"/>
                                                      </a:cubicBezTo>
                                                      <a:cubicBezTo>
                                                        <a:pt x="104953" y="25388"/>
                                                        <a:pt x="104499" y="20270"/>
                                                        <a:pt x="101260" y="17549"/>
                                                      </a:cubicBezTo>
                                                      <a:cubicBezTo>
                                                        <a:pt x="96077" y="13208"/>
                                                        <a:pt x="87849" y="17549"/>
                                                        <a:pt x="81565" y="15022"/>
                                                      </a:cubicBezTo>
                                                      <a:cubicBezTo>
                                                        <a:pt x="77095" y="13144"/>
                                                        <a:pt x="74828" y="8285"/>
                                                        <a:pt x="71264" y="5045"/>
                                                      </a:cubicBezTo>
                                                      <a:cubicBezTo>
                                                        <a:pt x="64267" y="-1239"/>
                                                        <a:pt x="53578" y="-397"/>
                                                        <a:pt x="44249" y="964"/>
                                                      </a:cubicBezTo>
                                                      <a:cubicBezTo>
                                                        <a:pt x="29542" y="3102"/>
                                                        <a:pt x="14771" y="5499"/>
                                                        <a:pt x="0" y="7248"/>
                                                      </a:cubicBezTo>
                                                      <a:cubicBezTo>
                                                        <a:pt x="6673" y="32774"/>
                                                        <a:pt x="25914" y="54088"/>
                                                        <a:pt x="32522" y="79873"/>
                                                      </a:cubicBezTo>
                                                      <a:cubicBezTo>
                                                        <a:pt x="33818" y="84926"/>
                                                        <a:pt x="34790" y="90433"/>
                                                        <a:pt x="38483" y="93996"/>
                                                      </a:cubicBezTo>
                                                      <a:cubicBezTo>
                                                        <a:pt x="40685" y="96134"/>
                                                        <a:pt x="43666" y="97365"/>
                                                        <a:pt x="46516" y="98596"/>
                                                      </a:cubicBezTo>
                                                      <a:cubicBezTo>
                                                        <a:pt x="55392" y="102613"/>
                                                        <a:pt x="63749" y="107925"/>
                                                        <a:pt x="71135" y="114274"/>
                                                      </a:cubicBezTo>
                                                      <a:cubicBezTo>
                                                        <a:pt x="73791" y="116542"/>
                                                        <a:pt x="76447" y="119133"/>
                                                        <a:pt x="77743" y="122372"/>
                                                      </a:cubicBezTo>
                                                      <a:cubicBezTo>
                                                        <a:pt x="82667" y="134876"/>
                                                        <a:pt x="66082" y="149647"/>
                                                        <a:pt x="73143" y="161050"/>
                                                      </a:cubicBezTo>
                                                      <a:cubicBezTo>
                                                        <a:pt x="74892" y="163900"/>
                                                        <a:pt x="77872" y="165779"/>
                                                        <a:pt x="80723" y="167593"/>
                                                      </a:cubicBezTo>
                                                      <a:cubicBezTo>
                                                        <a:pt x="89275" y="172905"/>
                                                        <a:pt x="97826" y="178218"/>
                                                        <a:pt x="106378" y="183530"/>
                                                      </a:cubicBezTo>
                                                      <a:cubicBezTo>
                                                        <a:pt x="103916" y="186640"/>
                                                        <a:pt x="106896" y="191304"/>
                                                        <a:pt x="110524" y="192794"/>
                                                      </a:cubicBezTo>
                                                      <a:cubicBezTo>
                                                        <a:pt x="114152" y="194285"/>
                                                        <a:pt x="118364" y="194155"/>
                                                        <a:pt x="121862" y="195839"/>
                                                      </a:cubicBezTo>
                                                      <a:cubicBezTo>
                                                        <a:pt x="130932" y="200180"/>
                                                        <a:pt x="130673" y="212813"/>
                                                        <a:pt x="133005" y="222596"/>
                                                      </a:cubicBezTo>
                                                      <a:cubicBezTo>
                                                        <a:pt x="136244" y="236330"/>
                                                        <a:pt x="146675" y="247150"/>
                                                        <a:pt x="157559" y="256090"/>
                                                      </a:cubicBezTo>
                                                      <a:cubicBezTo>
                                                        <a:pt x="165981" y="262957"/>
                                                        <a:pt x="175828" y="271120"/>
                                                        <a:pt x="175181" y="281940"/>
                                                      </a:cubicBezTo>
                                                      <a:cubicBezTo>
                                                        <a:pt x="185805" y="277145"/>
                                                        <a:pt x="188850" y="260884"/>
                                                        <a:pt x="180623" y="252592"/>
                                                      </a:cubicBezTo>
                                                      <a:cubicBezTo>
                                                        <a:pt x="177124" y="249028"/>
                                                        <a:pt x="172265" y="247020"/>
                                                        <a:pt x="168637" y="243586"/>
                                                      </a:cubicBezTo>
                                                      <a:cubicBezTo>
                                                        <a:pt x="165722" y="240801"/>
                                                        <a:pt x="163778" y="237173"/>
                                                        <a:pt x="161900" y="233609"/>
                                                      </a:cubicBezTo>
                                                      <a:cubicBezTo>
                                                        <a:pt x="152117" y="215340"/>
                                                        <a:pt x="142399" y="197070"/>
                                                        <a:pt x="132616" y="178866"/>
                                                      </a:cubicBezTo>
                                                      <a:cubicBezTo>
                                                        <a:pt x="130608" y="175043"/>
                                                        <a:pt x="128535" y="171221"/>
                                                        <a:pt x="126526" y="167398"/>
                                                      </a:cubicBezTo>
                                                      <a:cubicBezTo>
                                                        <a:pt x="119918" y="155024"/>
                                                        <a:pt x="113310" y="142650"/>
                                                        <a:pt x="106702" y="130276"/>
                                                      </a:cubicBezTo>
                                                      <a:cubicBezTo>
                                                        <a:pt x="105212" y="127426"/>
                                                        <a:pt x="103592" y="124316"/>
                                                        <a:pt x="104111" y="121141"/>
                                                      </a:cubicBezTo>
                                                      <a:cubicBezTo>
                                                        <a:pt x="100224" y="119781"/>
                                                        <a:pt x="96401" y="118420"/>
                                                        <a:pt x="92514" y="116995"/>
                                                      </a:cubicBezTo>
                                                      <a:cubicBezTo>
                                                        <a:pt x="97826" y="111747"/>
                                                        <a:pt x="94846" y="102354"/>
                                                        <a:pt x="89340" y="97300"/>
                                                      </a:cubicBezTo>
                                                      <a:cubicBezTo>
                                                        <a:pt x="83833" y="92312"/>
                                                        <a:pt x="76447" y="89720"/>
                                                        <a:pt x="70876" y="84797"/>
                                                      </a:cubicBezTo>
                                                      <a:cubicBezTo>
                                                        <a:pt x="57854" y="73394"/>
                                                        <a:pt x="57724" y="53570"/>
                                                        <a:pt x="58631" y="36272"/>
                                                      </a:cubicBezTo>
                                                      <a:cubicBezTo>
                                                        <a:pt x="58825" y="32385"/>
                                                        <a:pt x="59344" y="27980"/>
                                                        <a:pt x="62518" y="25712"/>
                                                      </a:cubicBezTo>
                                                      <a:cubicBezTo>
                                                        <a:pt x="65304" y="23704"/>
                                                        <a:pt x="69191" y="24222"/>
                                                        <a:pt x="72495" y="25064"/>
                                                      </a:cubicBezTo>
                                                      <a:cubicBezTo>
                                                        <a:pt x="84545" y="27980"/>
                                                        <a:pt x="95883" y="33551"/>
                                                        <a:pt x="105471" y="41390"/>
                                                      </a:cubicBezTo>
                                                      <a:cubicBezTo>
                                                        <a:pt x="105342" y="46897"/>
                                                        <a:pt x="100224" y="51756"/>
                                                        <a:pt x="94782" y="51691"/>
                                                      </a:cubicBezTo>
                                                      <a:cubicBezTo>
                                                        <a:pt x="101195" y="61344"/>
                                                        <a:pt x="107609" y="70997"/>
                                                        <a:pt x="114023" y="80650"/>
                                                      </a:cubicBezTo>
                                                      <a:cubicBezTo>
                                                        <a:pt x="116420" y="84278"/>
                                                        <a:pt x="118947" y="88295"/>
                                                        <a:pt x="118364" y="92571"/>
                                                      </a:cubicBezTo>
                                                      <a:cubicBezTo>
                                                        <a:pt x="117780" y="96847"/>
                                                        <a:pt x="112339" y="100475"/>
                                                        <a:pt x="109034" y="97689"/>
                                                      </a:cubicBezTo>
                                                      <a:cubicBezTo>
                                                        <a:pt x="104046" y="103585"/>
                                                        <a:pt x="112339" y="111747"/>
                                                        <a:pt x="119789" y="113626"/>
                                                      </a:cubicBezTo>
                                                      <a:cubicBezTo>
                                                        <a:pt x="127304" y="115440"/>
                                                        <a:pt x="136957" y="117060"/>
                                                        <a:pt x="138641" y="124575"/>
                                                      </a:cubicBezTo>
                                                      <a:cubicBezTo>
                                                        <a:pt x="139289" y="127491"/>
                                                        <a:pt x="138641" y="131119"/>
                                                        <a:pt x="140974" y="132997"/>
                                                      </a:cubicBezTo>
                                                      <a:cubicBezTo>
                                                        <a:pt x="143176" y="134811"/>
                                                        <a:pt x="146416" y="133645"/>
                                                        <a:pt x="149266" y="133710"/>
                                                      </a:cubicBezTo>
                                                      <a:cubicBezTo>
                                                        <a:pt x="161057" y="133839"/>
                                                        <a:pt x="161705" y="151655"/>
                                                        <a:pt x="169674" y="160402"/>
                                                      </a:cubicBezTo>
                                                      <a:cubicBezTo>
                                                        <a:pt x="174921" y="166167"/>
                                                        <a:pt x="183279" y="167463"/>
                                                        <a:pt x="190211" y="170897"/>
                                                      </a:cubicBezTo>
                                                      <a:cubicBezTo>
                                                        <a:pt x="197208" y="174330"/>
                                                        <a:pt x="203427" y="182817"/>
                                                        <a:pt x="199346" y="189361"/>
                                                      </a:cubicBezTo>
                                                      <a:cubicBezTo>
                                                        <a:pt x="197985" y="191564"/>
                                                        <a:pt x="195653" y="193118"/>
                                                        <a:pt x="194422" y="195451"/>
                                                      </a:cubicBezTo>
                                                      <a:cubicBezTo>
                                                        <a:pt x="190794" y="202383"/>
                                                        <a:pt x="199151" y="209509"/>
                                                        <a:pt x="206602" y="211777"/>
                                                      </a:cubicBezTo>
                                                      <a:cubicBezTo>
                                                        <a:pt x="214052" y="214044"/>
                                                        <a:pt x="223381" y="216182"/>
                                                        <a:pt x="225454" y="223697"/>
                                                      </a:cubicBezTo>
                                                      <a:cubicBezTo>
                                                        <a:pt x="226621" y="227973"/>
                                                        <a:pt x="224807" y="232702"/>
                                                        <a:pt x="226167" y="236914"/>
                                                      </a:cubicBezTo>
                                                      <a:cubicBezTo>
                                                        <a:pt x="228305" y="243457"/>
                                                        <a:pt x="236338" y="245271"/>
                                                        <a:pt x="242493" y="248316"/>
                                                      </a:cubicBezTo>
                                                      <a:cubicBezTo>
                                                        <a:pt x="254543" y="254276"/>
                                                        <a:pt x="262317" y="266715"/>
                                                        <a:pt x="270740" y="277210"/>
                                                      </a:cubicBezTo>
                                                      <a:cubicBezTo>
                                                        <a:pt x="287843" y="298525"/>
                                                        <a:pt x="299569" y="324115"/>
                                                        <a:pt x="304558" y="350936"/>
                                                      </a:cubicBezTo>
                                                      <a:cubicBezTo>
                                                        <a:pt x="305594" y="356443"/>
                                                        <a:pt x="306436" y="362274"/>
                                                        <a:pt x="309676" y="366874"/>
                                                      </a:cubicBezTo>
                                                      <a:cubicBezTo>
                                                        <a:pt x="316025" y="375944"/>
                                                        <a:pt x="328917" y="377304"/>
                                                        <a:pt x="337663" y="384107"/>
                                                      </a:cubicBezTo>
                                                      <a:cubicBezTo>
                                                        <a:pt x="346021" y="390585"/>
                                                        <a:pt x="349584" y="401340"/>
                                                        <a:pt x="355998" y="409827"/>
                                                      </a:cubicBezTo>
                                                      <a:cubicBezTo>
                                                        <a:pt x="367529" y="425051"/>
                                                        <a:pt x="387030" y="431530"/>
                                                        <a:pt x="405299" y="437231"/>
                                                      </a:cubicBezTo>
                                                      <a:cubicBezTo>
                                                        <a:pt x="433287" y="445912"/>
                                                        <a:pt x="461274" y="454529"/>
                                                        <a:pt x="489262" y="463210"/>
                                                      </a:cubicBezTo>
                                                      <a:cubicBezTo>
                                                        <a:pt x="490817" y="473252"/>
                                                        <a:pt x="496842" y="482516"/>
                                                        <a:pt x="505393" y="487958"/>
                                                      </a:cubicBezTo>
                                                      <a:cubicBezTo>
                                                        <a:pt x="519517" y="493983"/>
                                                        <a:pt x="528457" y="469624"/>
                                                        <a:pt x="543487" y="466385"/>
                                                      </a:cubicBezTo>
                                                      <a:cubicBezTo>
                                                        <a:pt x="551262" y="464765"/>
                                                        <a:pt x="558842" y="469235"/>
                                                        <a:pt x="565515" y="473511"/>
                                                      </a:cubicBezTo>
                                                      <a:cubicBezTo>
                                                        <a:pt x="580091" y="482905"/>
                                                        <a:pt x="594927" y="492493"/>
                                                        <a:pt x="606459" y="505450"/>
                                                      </a:cubicBezTo>
                                                      <a:cubicBezTo>
                                                        <a:pt x="611383" y="505191"/>
                                                        <a:pt x="616047" y="501628"/>
                                                        <a:pt x="617991" y="49696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7" name="Freeform: Shape 38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D024031-EAD3-48E4-876B-2C9C823A79C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78185" y="3994377"/>
                                                  <a:ext cx="65608" cy="3121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4138 w 65608"/>
                                                    <a:gd name="connsiteY0" fmla="*/ 20472 h 31217"/>
                                                    <a:gd name="connsiteX1" fmla="*/ 61223 w 65608"/>
                                                    <a:gd name="connsiteY1" fmla="*/ 17751 h 31217"/>
                                                    <a:gd name="connsiteX2" fmla="*/ 58437 w 65608"/>
                                                    <a:gd name="connsiteY2" fmla="*/ 10690 h 31217"/>
                                                    <a:gd name="connsiteX3" fmla="*/ 49108 w 65608"/>
                                                    <a:gd name="connsiteY3" fmla="*/ 7904 h 31217"/>
                                                    <a:gd name="connsiteX4" fmla="*/ 39001 w 65608"/>
                                                    <a:gd name="connsiteY4" fmla="*/ 7515 h 31217"/>
                                                    <a:gd name="connsiteX5" fmla="*/ 33883 w 65608"/>
                                                    <a:gd name="connsiteY5" fmla="*/ 3757 h 31217"/>
                                                    <a:gd name="connsiteX6" fmla="*/ 28182 w 65608"/>
                                                    <a:gd name="connsiteY6" fmla="*/ 4211 h 31217"/>
                                                    <a:gd name="connsiteX7" fmla="*/ 14382 w 65608"/>
                                                    <a:gd name="connsiteY7" fmla="*/ 0 h 31217"/>
                                                    <a:gd name="connsiteX8" fmla="*/ 11597 w 65608"/>
                                                    <a:gd name="connsiteY8" fmla="*/ 259 h 31217"/>
                                                    <a:gd name="connsiteX9" fmla="*/ 6090 w 65608"/>
                                                    <a:gd name="connsiteY9" fmla="*/ 13151 h 31217"/>
                                                    <a:gd name="connsiteX10" fmla="*/ 0 w 65608"/>
                                                    <a:gd name="connsiteY10" fmla="*/ 16002 h 31217"/>
                                                    <a:gd name="connsiteX11" fmla="*/ 21120 w 65608"/>
                                                    <a:gd name="connsiteY11" fmla="*/ 26562 h 31217"/>
                                                    <a:gd name="connsiteX12" fmla="*/ 65239 w 65608"/>
                                                    <a:gd name="connsiteY12" fmla="*/ 28117 h 31217"/>
                                                    <a:gd name="connsiteX13" fmla="*/ 64138 w 65608"/>
                                                    <a:gd name="connsiteY13" fmla="*/ 20537 h 3121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5608" h="31217">
                                                      <a:moveTo>
                                                        <a:pt x="64138" y="20472"/>
                                                      </a:moveTo>
                                                      <a:cubicBezTo>
                                                        <a:pt x="63296" y="19436"/>
                                                        <a:pt x="62065" y="18788"/>
                                                        <a:pt x="61223" y="17751"/>
                                                      </a:cubicBezTo>
                                                      <a:cubicBezTo>
                                                        <a:pt x="59668" y="15743"/>
                                                        <a:pt x="59862" y="12828"/>
                                                        <a:pt x="58437" y="10690"/>
                                                      </a:cubicBezTo>
                                                      <a:cubicBezTo>
                                                        <a:pt x="56493" y="7839"/>
                                                        <a:pt x="52476" y="7515"/>
                                                        <a:pt x="49108" y="7904"/>
                                                      </a:cubicBezTo>
                                                      <a:cubicBezTo>
                                                        <a:pt x="45674" y="8293"/>
                                                        <a:pt x="42046" y="9070"/>
                                                        <a:pt x="39001" y="7515"/>
                                                      </a:cubicBezTo>
                                                      <a:cubicBezTo>
                                                        <a:pt x="37122" y="6543"/>
                                                        <a:pt x="35697" y="4859"/>
                                                        <a:pt x="33883" y="3757"/>
                                                      </a:cubicBezTo>
                                                      <a:cubicBezTo>
                                                        <a:pt x="32069" y="2656"/>
                                                        <a:pt x="29348" y="2462"/>
                                                        <a:pt x="28182" y="4211"/>
                                                      </a:cubicBezTo>
                                                      <a:cubicBezTo>
                                                        <a:pt x="23323" y="4988"/>
                                                        <a:pt x="18658" y="2527"/>
                                                        <a:pt x="14382" y="0"/>
                                                      </a:cubicBezTo>
                                                      <a:cubicBezTo>
                                                        <a:pt x="13476" y="194"/>
                                                        <a:pt x="12568" y="324"/>
                                                        <a:pt x="11597" y="259"/>
                                                      </a:cubicBezTo>
                                                      <a:cubicBezTo>
                                                        <a:pt x="13994" y="4859"/>
                                                        <a:pt x="10495" y="10495"/>
                                                        <a:pt x="6090" y="13151"/>
                                                      </a:cubicBezTo>
                                                      <a:cubicBezTo>
                                                        <a:pt x="4211" y="14318"/>
                                                        <a:pt x="2073" y="15160"/>
                                                        <a:pt x="0" y="16002"/>
                                                      </a:cubicBezTo>
                                                      <a:cubicBezTo>
                                                        <a:pt x="7062" y="19371"/>
                                                        <a:pt x="13864" y="23582"/>
                                                        <a:pt x="21120" y="26562"/>
                                                      </a:cubicBezTo>
                                                      <a:cubicBezTo>
                                                        <a:pt x="35049" y="32199"/>
                                                        <a:pt x="50922" y="32717"/>
                                                        <a:pt x="65239" y="28117"/>
                                                      </a:cubicBezTo>
                                                      <a:cubicBezTo>
                                                        <a:pt x="65822" y="25396"/>
                                                        <a:pt x="65887" y="22546"/>
                                                        <a:pt x="64138" y="2053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8" name="Freeform: Shape 38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287F870-34AD-4445-9B6A-AB51B86F524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792568" y="3948638"/>
                                                  <a:ext cx="155612" cy="8901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7530 w 155612"/>
                                                    <a:gd name="connsiteY0" fmla="*/ 79881 h 89015"/>
                                                    <a:gd name="connsiteX1" fmla="*/ 61158 w 155612"/>
                                                    <a:gd name="connsiteY1" fmla="*/ 74893 h 89015"/>
                                                    <a:gd name="connsiteX2" fmla="*/ 68479 w 155612"/>
                                                    <a:gd name="connsiteY2" fmla="*/ 74050 h 89015"/>
                                                    <a:gd name="connsiteX3" fmla="*/ 68997 w 155612"/>
                                                    <a:gd name="connsiteY3" fmla="*/ 70293 h 89015"/>
                                                    <a:gd name="connsiteX4" fmla="*/ 67766 w 155612"/>
                                                    <a:gd name="connsiteY4" fmla="*/ 61806 h 89015"/>
                                                    <a:gd name="connsiteX5" fmla="*/ 81112 w 155612"/>
                                                    <a:gd name="connsiteY5" fmla="*/ 60575 h 89015"/>
                                                    <a:gd name="connsiteX6" fmla="*/ 84934 w 155612"/>
                                                    <a:gd name="connsiteY6" fmla="*/ 59474 h 89015"/>
                                                    <a:gd name="connsiteX7" fmla="*/ 87331 w 155612"/>
                                                    <a:gd name="connsiteY7" fmla="*/ 56947 h 89015"/>
                                                    <a:gd name="connsiteX8" fmla="*/ 91024 w 155612"/>
                                                    <a:gd name="connsiteY8" fmla="*/ 56494 h 89015"/>
                                                    <a:gd name="connsiteX9" fmla="*/ 103139 w 155612"/>
                                                    <a:gd name="connsiteY9" fmla="*/ 46193 h 89015"/>
                                                    <a:gd name="connsiteX10" fmla="*/ 105536 w 155612"/>
                                                    <a:gd name="connsiteY10" fmla="*/ 41787 h 89015"/>
                                                    <a:gd name="connsiteX11" fmla="*/ 108063 w 155612"/>
                                                    <a:gd name="connsiteY11" fmla="*/ 41398 h 89015"/>
                                                    <a:gd name="connsiteX12" fmla="*/ 126008 w 155612"/>
                                                    <a:gd name="connsiteY12" fmla="*/ 41398 h 89015"/>
                                                    <a:gd name="connsiteX13" fmla="*/ 134430 w 155612"/>
                                                    <a:gd name="connsiteY13" fmla="*/ 41917 h 89015"/>
                                                    <a:gd name="connsiteX14" fmla="*/ 137929 w 155612"/>
                                                    <a:gd name="connsiteY14" fmla="*/ 42759 h 89015"/>
                                                    <a:gd name="connsiteX15" fmla="*/ 138771 w 155612"/>
                                                    <a:gd name="connsiteY15" fmla="*/ 36475 h 89015"/>
                                                    <a:gd name="connsiteX16" fmla="*/ 154514 w 155612"/>
                                                    <a:gd name="connsiteY16" fmla="*/ 34725 h 89015"/>
                                                    <a:gd name="connsiteX17" fmla="*/ 146869 w 155612"/>
                                                    <a:gd name="connsiteY17" fmla="*/ 22740 h 89015"/>
                                                    <a:gd name="connsiteX18" fmla="*/ 138771 w 155612"/>
                                                    <a:gd name="connsiteY18" fmla="*/ 10884 h 89015"/>
                                                    <a:gd name="connsiteX19" fmla="*/ 100936 w 155612"/>
                                                    <a:gd name="connsiteY19" fmla="*/ 130 h 89015"/>
                                                    <a:gd name="connsiteX20" fmla="*/ 85776 w 155612"/>
                                                    <a:gd name="connsiteY20" fmla="*/ 2397 h 89015"/>
                                                    <a:gd name="connsiteX21" fmla="*/ 24554 w 155612"/>
                                                    <a:gd name="connsiteY21" fmla="*/ 10884 h 89015"/>
                                                    <a:gd name="connsiteX22" fmla="*/ 20926 w 155612"/>
                                                    <a:gd name="connsiteY22" fmla="*/ 12569 h 89015"/>
                                                    <a:gd name="connsiteX23" fmla="*/ 17881 w 155612"/>
                                                    <a:gd name="connsiteY23" fmla="*/ 23323 h 89015"/>
                                                    <a:gd name="connsiteX24" fmla="*/ 9070 w 155612"/>
                                                    <a:gd name="connsiteY24" fmla="*/ 27729 h 89015"/>
                                                    <a:gd name="connsiteX25" fmla="*/ 8617 w 155612"/>
                                                    <a:gd name="connsiteY25" fmla="*/ 35568 h 89015"/>
                                                    <a:gd name="connsiteX26" fmla="*/ 0 w 155612"/>
                                                    <a:gd name="connsiteY26" fmla="*/ 45804 h 89015"/>
                                                    <a:gd name="connsiteX27" fmla="*/ 13799 w 155612"/>
                                                    <a:gd name="connsiteY27" fmla="*/ 50015 h 89015"/>
                                                    <a:gd name="connsiteX28" fmla="*/ 19501 w 155612"/>
                                                    <a:gd name="connsiteY28" fmla="*/ 49561 h 89015"/>
                                                    <a:gd name="connsiteX29" fmla="*/ 24619 w 155612"/>
                                                    <a:gd name="connsiteY29" fmla="*/ 53319 h 89015"/>
                                                    <a:gd name="connsiteX30" fmla="*/ 34725 w 155612"/>
                                                    <a:gd name="connsiteY30" fmla="*/ 53708 h 89015"/>
                                                    <a:gd name="connsiteX31" fmla="*/ 44054 w 155612"/>
                                                    <a:gd name="connsiteY31" fmla="*/ 56494 h 89015"/>
                                                    <a:gd name="connsiteX32" fmla="*/ 46840 w 155612"/>
                                                    <a:gd name="connsiteY32" fmla="*/ 63555 h 89015"/>
                                                    <a:gd name="connsiteX33" fmla="*/ 49756 w 155612"/>
                                                    <a:gd name="connsiteY33" fmla="*/ 66276 h 89015"/>
                                                    <a:gd name="connsiteX34" fmla="*/ 50857 w 155612"/>
                                                    <a:gd name="connsiteY34" fmla="*/ 73856 h 89015"/>
                                                    <a:gd name="connsiteX35" fmla="*/ 51829 w 155612"/>
                                                    <a:gd name="connsiteY35" fmla="*/ 73597 h 89015"/>
                                                    <a:gd name="connsiteX36" fmla="*/ 54679 w 155612"/>
                                                    <a:gd name="connsiteY36" fmla="*/ 89016 h 89015"/>
                                                    <a:gd name="connsiteX37" fmla="*/ 58890 w 155612"/>
                                                    <a:gd name="connsiteY37" fmla="*/ 86360 h 89015"/>
                                                    <a:gd name="connsiteX38" fmla="*/ 57465 w 155612"/>
                                                    <a:gd name="connsiteY38" fmla="*/ 79946 h 8901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5612" h="89015">
                                                      <a:moveTo>
                                                        <a:pt x="57530" y="79881"/>
                                                      </a:moveTo>
                                                      <a:cubicBezTo>
                                                        <a:pt x="57659" y="77678"/>
                                                        <a:pt x="59020" y="75411"/>
                                                        <a:pt x="61158" y="74893"/>
                                                      </a:cubicBezTo>
                                                      <a:cubicBezTo>
                                                        <a:pt x="63620" y="74310"/>
                                                        <a:pt x="66859" y="75994"/>
                                                        <a:pt x="68479" y="74050"/>
                                                      </a:cubicBezTo>
                                                      <a:cubicBezTo>
                                                        <a:pt x="69321" y="73079"/>
                                                        <a:pt x="69191" y="71589"/>
                                                        <a:pt x="68997" y="70293"/>
                                                      </a:cubicBezTo>
                                                      <a:cubicBezTo>
                                                        <a:pt x="68608" y="67442"/>
                                                        <a:pt x="68155" y="64656"/>
                                                        <a:pt x="67766" y="61806"/>
                                                      </a:cubicBezTo>
                                                      <a:cubicBezTo>
                                                        <a:pt x="72236" y="61417"/>
                                                        <a:pt x="76642" y="60964"/>
                                                        <a:pt x="81112" y="60575"/>
                                                      </a:cubicBezTo>
                                                      <a:cubicBezTo>
                                                        <a:pt x="82472" y="60445"/>
                                                        <a:pt x="83898" y="60316"/>
                                                        <a:pt x="84934" y="59474"/>
                                                      </a:cubicBezTo>
                                                      <a:cubicBezTo>
                                                        <a:pt x="85841" y="58761"/>
                                                        <a:pt x="86359" y="57595"/>
                                                        <a:pt x="87331" y="56947"/>
                                                      </a:cubicBezTo>
                                                      <a:cubicBezTo>
                                                        <a:pt x="88433" y="56299"/>
                                                        <a:pt x="89793" y="56494"/>
                                                        <a:pt x="91024" y="56494"/>
                                                      </a:cubicBezTo>
                                                      <a:cubicBezTo>
                                                        <a:pt x="96725" y="56494"/>
                                                        <a:pt x="101584" y="51635"/>
                                                        <a:pt x="103139" y="46193"/>
                                                      </a:cubicBezTo>
                                                      <a:cubicBezTo>
                                                        <a:pt x="103592" y="44508"/>
                                                        <a:pt x="103981" y="42565"/>
                                                        <a:pt x="105536" y="41787"/>
                                                      </a:cubicBezTo>
                                                      <a:cubicBezTo>
                                                        <a:pt x="106313" y="41398"/>
                                                        <a:pt x="107220" y="41398"/>
                                                        <a:pt x="108063" y="41398"/>
                                                      </a:cubicBezTo>
                                                      <a:cubicBezTo>
                                                        <a:pt x="114023" y="41398"/>
                                                        <a:pt x="120048" y="41398"/>
                                                        <a:pt x="126008" y="41398"/>
                                                      </a:cubicBezTo>
                                                      <a:cubicBezTo>
                                                        <a:pt x="128859" y="41398"/>
                                                        <a:pt x="131645" y="41398"/>
                                                        <a:pt x="134430" y="41917"/>
                                                      </a:cubicBezTo>
                                                      <a:cubicBezTo>
                                                        <a:pt x="135597" y="42111"/>
                                                        <a:pt x="136763" y="42435"/>
                                                        <a:pt x="137929" y="42759"/>
                                                      </a:cubicBezTo>
                                                      <a:cubicBezTo>
                                                        <a:pt x="138059" y="40686"/>
                                                        <a:pt x="138253" y="38548"/>
                                                        <a:pt x="138771" y="36475"/>
                                                      </a:cubicBezTo>
                                                      <a:cubicBezTo>
                                                        <a:pt x="144019" y="35892"/>
                                                        <a:pt x="149266" y="35309"/>
                                                        <a:pt x="154514" y="34725"/>
                                                      </a:cubicBezTo>
                                                      <a:cubicBezTo>
                                                        <a:pt x="158142" y="30514"/>
                                                        <a:pt x="152052" y="24813"/>
                                                        <a:pt x="146869" y="22740"/>
                                                      </a:cubicBezTo>
                                                      <a:cubicBezTo>
                                                        <a:pt x="141687" y="20667"/>
                                                        <a:pt x="135402" y="15290"/>
                                                        <a:pt x="138771" y="10884"/>
                                                      </a:cubicBezTo>
                                                      <a:cubicBezTo>
                                                        <a:pt x="126656" y="16909"/>
                                                        <a:pt x="114412" y="1620"/>
                                                        <a:pt x="100936" y="130"/>
                                                      </a:cubicBezTo>
                                                      <a:cubicBezTo>
                                                        <a:pt x="95818" y="-453"/>
                                                        <a:pt x="90765" y="1037"/>
                                                        <a:pt x="85776" y="2397"/>
                                                      </a:cubicBezTo>
                                                      <a:cubicBezTo>
                                                        <a:pt x="65822" y="7710"/>
                                                        <a:pt x="45221" y="10496"/>
                                                        <a:pt x="24554" y="10884"/>
                                                      </a:cubicBezTo>
                                                      <a:cubicBezTo>
                                                        <a:pt x="23388" y="11532"/>
                                                        <a:pt x="22222" y="12115"/>
                                                        <a:pt x="20926" y="12569"/>
                                                      </a:cubicBezTo>
                                                      <a:cubicBezTo>
                                                        <a:pt x="22934" y="16197"/>
                                                        <a:pt x="21509" y="21315"/>
                                                        <a:pt x="17881" y="23323"/>
                                                      </a:cubicBezTo>
                                                      <a:cubicBezTo>
                                                        <a:pt x="14966" y="24943"/>
                                                        <a:pt x="10819" y="24878"/>
                                                        <a:pt x="9070" y="27729"/>
                                                      </a:cubicBezTo>
                                                      <a:cubicBezTo>
                                                        <a:pt x="7710" y="29996"/>
                                                        <a:pt x="8617" y="32911"/>
                                                        <a:pt x="8617" y="35568"/>
                                                      </a:cubicBezTo>
                                                      <a:cubicBezTo>
                                                        <a:pt x="8617" y="40427"/>
                                                        <a:pt x="4665" y="44767"/>
                                                        <a:pt x="0" y="45804"/>
                                                      </a:cubicBezTo>
                                                      <a:cubicBezTo>
                                                        <a:pt x="4276" y="48331"/>
                                                        <a:pt x="8940" y="50792"/>
                                                        <a:pt x="13799" y="50015"/>
                                                      </a:cubicBezTo>
                                                      <a:cubicBezTo>
                                                        <a:pt x="14966" y="48266"/>
                                                        <a:pt x="17687" y="48460"/>
                                                        <a:pt x="19501" y="49561"/>
                                                      </a:cubicBezTo>
                                                      <a:cubicBezTo>
                                                        <a:pt x="21315" y="50663"/>
                                                        <a:pt x="22675" y="52347"/>
                                                        <a:pt x="24619" y="53319"/>
                                                      </a:cubicBezTo>
                                                      <a:cubicBezTo>
                                                        <a:pt x="27664" y="54874"/>
                                                        <a:pt x="31292" y="54097"/>
                                                        <a:pt x="34725" y="53708"/>
                                                      </a:cubicBezTo>
                                                      <a:cubicBezTo>
                                                        <a:pt x="38159" y="53319"/>
                                                        <a:pt x="42176" y="53708"/>
                                                        <a:pt x="44054" y="56494"/>
                                                      </a:cubicBezTo>
                                                      <a:cubicBezTo>
                                                        <a:pt x="45480" y="58567"/>
                                                        <a:pt x="45285" y="61547"/>
                                                        <a:pt x="46840" y="63555"/>
                                                      </a:cubicBezTo>
                                                      <a:cubicBezTo>
                                                        <a:pt x="47682" y="64592"/>
                                                        <a:pt x="48848" y="65304"/>
                                                        <a:pt x="49756" y="66276"/>
                                                      </a:cubicBezTo>
                                                      <a:cubicBezTo>
                                                        <a:pt x="51505" y="68349"/>
                                                        <a:pt x="51505" y="71135"/>
                                                        <a:pt x="50857" y="73856"/>
                                                      </a:cubicBezTo>
                                                      <a:cubicBezTo>
                                                        <a:pt x="51181" y="73727"/>
                                                        <a:pt x="51505" y="73662"/>
                                                        <a:pt x="51829" y="73597"/>
                                                      </a:cubicBezTo>
                                                      <a:cubicBezTo>
                                                        <a:pt x="52801" y="78715"/>
                                                        <a:pt x="53707" y="83898"/>
                                                        <a:pt x="54679" y="89016"/>
                                                      </a:cubicBezTo>
                                                      <a:cubicBezTo>
                                                        <a:pt x="56040" y="88044"/>
                                                        <a:pt x="57400" y="87137"/>
                                                        <a:pt x="58890" y="86360"/>
                                                      </a:cubicBezTo>
                                                      <a:cubicBezTo>
                                                        <a:pt x="58113" y="84286"/>
                                                        <a:pt x="57335" y="82149"/>
                                                        <a:pt x="57465" y="7994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89" name="Freeform: Shape 38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9EC7152-5E10-4B1D-BA4C-4F4CC5BED3A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847312" y="3989906"/>
                                                  <a:ext cx="91068" cy="10200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4351 w 91068"/>
                                                    <a:gd name="connsiteY0" fmla="*/ 101843 h 102007"/>
                                                    <a:gd name="connsiteX1" fmla="*/ 90506 w 91068"/>
                                                    <a:gd name="connsiteY1" fmla="*/ 100677 h 102007"/>
                                                    <a:gd name="connsiteX2" fmla="*/ 88368 w 91068"/>
                                                    <a:gd name="connsiteY2" fmla="*/ 73208 h 102007"/>
                                                    <a:gd name="connsiteX3" fmla="*/ 90635 w 91068"/>
                                                    <a:gd name="connsiteY3" fmla="*/ 53902 h 102007"/>
                                                    <a:gd name="connsiteX4" fmla="*/ 83185 w 91068"/>
                                                    <a:gd name="connsiteY4" fmla="*/ 1360 h 102007"/>
                                                    <a:gd name="connsiteX5" fmla="*/ 79686 w 91068"/>
                                                    <a:gd name="connsiteY5" fmla="*/ 518 h 102007"/>
                                                    <a:gd name="connsiteX6" fmla="*/ 71264 w 91068"/>
                                                    <a:gd name="connsiteY6" fmla="*/ 0 h 102007"/>
                                                    <a:gd name="connsiteX7" fmla="*/ 53319 w 91068"/>
                                                    <a:gd name="connsiteY7" fmla="*/ 0 h 102007"/>
                                                    <a:gd name="connsiteX8" fmla="*/ 50792 w 91068"/>
                                                    <a:gd name="connsiteY8" fmla="*/ 389 h 102007"/>
                                                    <a:gd name="connsiteX9" fmla="*/ 48395 w 91068"/>
                                                    <a:gd name="connsiteY9" fmla="*/ 4794 h 102007"/>
                                                    <a:gd name="connsiteX10" fmla="*/ 36280 w 91068"/>
                                                    <a:gd name="connsiteY10" fmla="*/ 15095 h 102007"/>
                                                    <a:gd name="connsiteX11" fmla="*/ 32587 w 91068"/>
                                                    <a:gd name="connsiteY11" fmla="*/ 15549 h 102007"/>
                                                    <a:gd name="connsiteX12" fmla="*/ 30190 w 91068"/>
                                                    <a:gd name="connsiteY12" fmla="*/ 18075 h 102007"/>
                                                    <a:gd name="connsiteX13" fmla="*/ 26368 w 91068"/>
                                                    <a:gd name="connsiteY13" fmla="*/ 19177 h 102007"/>
                                                    <a:gd name="connsiteX14" fmla="*/ 13022 w 91068"/>
                                                    <a:gd name="connsiteY14" fmla="*/ 20407 h 102007"/>
                                                    <a:gd name="connsiteX15" fmla="*/ 14253 w 91068"/>
                                                    <a:gd name="connsiteY15" fmla="*/ 28894 h 102007"/>
                                                    <a:gd name="connsiteX16" fmla="*/ 13735 w 91068"/>
                                                    <a:gd name="connsiteY16" fmla="*/ 32652 h 102007"/>
                                                    <a:gd name="connsiteX17" fmla="*/ 6414 w 91068"/>
                                                    <a:gd name="connsiteY17" fmla="*/ 33494 h 102007"/>
                                                    <a:gd name="connsiteX18" fmla="*/ 2786 w 91068"/>
                                                    <a:gd name="connsiteY18" fmla="*/ 38483 h 102007"/>
                                                    <a:gd name="connsiteX19" fmla="*/ 4211 w 91068"/>
                                                    <a:gd name="connsiteY19" fmla="*/ 44896 h 102007"/>
                                                    <a:gd name="connsiteX20" fmla="*/ 0 w 91068"/>
                                                    <a:gd name="connsiteY20" fmla="*/ 47553 h 102007"/>
                                                    <a:gd name="connsiteX21" fmla="*/ 2721 w 91068"/>
                                                    <a:gd name="connsiteY21" fmla="*/ 62194 h 102007"/>
                                                    <a:gd name="connsiteX22" fmla="*/ 17881 w 91068"/>
                                                    <a:gd name="connsiteY22" fmla="*/ 68090 h 102007"/>
                                                    <a:gd name="connsiteX23" fmla="*/ 27080 w 91068"/>
                                                    <a:gd name="connsiteY23" fmla="*/ 85647 h 102007"/>
                                                    <a:gd name="connsiteX24" fmla="*/ 41787 w 91068"/>
                                                    <a:gd name="connsiteY24" fmla="*/ 100418 h 102007"/>
                                                    <a:gd name="connsiteX25" fmla="*/ 70746 w 91068"/>
                                                    <a:gd name="connsiteY25" fmla="*/ 101778 h 102007"/>
                                                    <a:gd name="connsiteX26" fmla="*/ 84481 w 91068"/>
                                                    <a:gd name="connsiteY26" fmla="*/ 101649 h 10200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1068" h="102007">
                                                      <a:moveTo>
                                                        <a:pt x="84351" y="101843"/>
                                                      </a:moveTo>
                                                      <a:cubicBezTo>
                                                        <a:pt x="86424" y="101584"/>
                                                        <a:pt x="88497" y="101130"/>
                                                        <a:pt x="90506" y="100677"/>
                                                      </a:cubicBezTo>
                                                      <a:cubicBezTo>
                                                        <a:pt x="86554" y="91866"/>
                                                        <a:pt x="85064" y="82602"/>
                                                        <a:pt x="88368" y="73208"/>
                                                      </a:cubicBezTo>
                                                      <a:cubicBezTo>
                                                        <a:pt x="86813" y="66859"/>
                                                        <a:pt x="89663" y="60380"/>
                                                        <a:pt x="90635" y="53902"/>
                                                      </a:cubicBezTo>
                                                      <a:cubicBezTo>
                                                        <a:pt x="93356" y="36345"/>
                                                        <a:pt x="82343" y="18723"/>
                                                        <a:pt x="83185" y="1360"/>
                                                      </a:cubicBezTo>
                                                      <a:cubicBezTo>
                                                        <a:pt x="82019" y="1037"/>
                                                        <a:pt x="80853" y="713"/>
                                                        <a:pt x="79686" y="518"/>
                                                      </a:cubicBezTo>
                                                      <a:cubicBezTo>
                                                        <a:pt x="76901" y="0"/>
                                                        <a:pt x="74050" y="0"/>
                                                        <a:pt x="71264" y="0"/>
                                                      </a:cubicBezTo>
                                                      <a:cubicBezTo>
                                                        <a:pt x="65304" y="0"/>
                                                        <a:pt x="59279" y="0"/>
                                                        <a:pt x="53319" y="0"/>
                                                      </a:cubicBezTo>
                                                      <a:cubicBezTo>
                                                        <a:pt x="52476" y="0"/>
                                                        <a:pt x="51569" y="0"/>
                                                        <a:pt x="50792" y="389"/>
                                                      </a:cubicBezTo>
                                                      <a:cubicBezTo>
                                                        <a:pt x="49237" y="1166"/>
                                                        <a:pt x="48913" y="3174"/>
                                                        <a:pt x="48395" y="4794"/>
                                                      </a:cubicBezTo>
                                                      <a:cubicBezTo>
                                                        <a:pt x="46840" y="10301"/>
                                                        <a:pt x="41981" y="15030"/>
                                                        <a:pt x="36280" y="15095"/>
                                                      </a:cubicBezTo>
                                                      <a:cubicBezTo>
                                                        <a:pt x="35049" y="15095"/>
                                                        <a:pt x="33689" y="14901"/>
                                                        <a:pt x="32587" y="15549"/>
                                                      </a:cubicBezTo>
                                                      <a:cubicBezTo>
                                                        <a:pt x="31615" y="16132"/>
                                                        <a:pt x="31097" y="17298"/>
                                                        <a:pt x="30190" y="18075"/>
                                                      </a:cubicBezTo>
                                                      <a:cubicBezTo>
                                                        <a:pt x="29154" y="18918"/>
                                                        <a:pt x="27728" y="19047"/>
                                                        <a:pt x="26368" y="19177"/>
                                                      </a:cubicBezTo>
                                                      <a:cubicBezTo>
                                                        <a:pt x="21898" y="19565"/>
                                                        <a:pt x="17492" y="20019"/>
                                                        <a:pt x="13022" y="20407"/>
                                                      </a:cubicBezTo>
                                                      <a:cubicBezTo>
                                                        <a:pt x="13411" y="23258"/>
                                                        <a:pt x="13864" y="26044"/>
                                                        <a:pt x="14253" y="28894"/>
                                                      </a:cubicBezTo>
                                                      <a:cubicBezTo>
                                                        <a:pt x="14447" y="30190"/>
                                                        <a:pt x="14577" y="31615"/>
                                                        <a:pt x="13735" y="32652"/>
                                                      </a:cubicBezTo>
                                                      <a:cubicBezTo>
                                                        <a:pt x="12115" y="34596"/>
                                                        <a:pt x="8940" y="32911"/>
                                                        <a:pt x="6414" y="33494"/>
                                                      </a:cubicBezTo>
                                                      <a:cubicBezTo>
                                                        <a:pt x="4276" y="34013"/>
                                                        <a:pt x="2915" y="36280"/>
                                                        <a:pt x="2786" y="38483"/>
                                                      </a:cubicBezTo>
                                                      <a:cubicBezTo>
                                                        <a:pt x="2656" y="40685"/>
                                                        <a:pt x="3434" y="42823"/>
                                                        <a:pt x="4211" y="44896"/>
                                                      </a:cubicBezTo>
                                                      <a:cubicBezTo>
                                                        <a:pt x="2721" y="45674"/>
                                                        <a:pt x="1360" y="46581"/>
                                                        <a:pt x="0" y="47553"/>
                                                      </a:cubicBezTo>
                                                      <a:cubicBezTo>
                                                        <a:pt x="907" y="52412"/>
                                                        <a:pt x="1814" y="57335"/>
                                                        <a:pt x="2721" y="62194"/>
                                                      </a:cubicBezTo>
                                                      <a:cubicBezTo>
                                                        <a:pt x="7774" y="64138"/>
                                                        <a:pt x="12828" y="66146"/>
                                                        <a:pt x="17881" y="68090"/>
                                                      </a:cubicBezTo>
                                                      <a:cubicBezTo>
                                                        <a:pt x="11985" y="73337"/>
                                                        <a:pt x="19695" y="82602"/>
                                                        <a:pt x="27080" y="85647"/>
                                                      </a:cubicBezTo>
                                                      <a:cubicBezTo>
                                                        <a:pt x="34013" y="88497"/>
                                                        <a:pt x="42888" y="93421"/>
                                                        <a:pt x="41787" y="100418"/>
                                                      </a:cubicBezTo>
                                                      <a:cubicBezTo>
                                                        <a:pt x="51440" y="100871"/>
                                                        <a:pt x="61093" y="101325"/>
                                                        <a:pt x="70746" y="101778"/>
                                                      </a:cubicBezTo>
                                                      <a:cubicBezTo>
                                                        <a:pt x="75346" y="101973"/>
                                                        <a:pt x="79946" y="102232"/>
                                                        <a:pt x="84481" y="10164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0" name="Freeform: Shape 38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FF62B5A-496C-4D9A-9B43-B8E57BE3758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873909" y="4089482"/>
                                                  <a:ext cx="97078" cy="7061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96560 w 97078"/>
                                                    <a:gd name="connsiteY0" fmla="*/ 41787 h 70616"/>
                                                    <a:gd name="connsiteX1" fmla="*/ 85871 w 97078"/>
                                                    <a:gd name="connsiteY1" fmla="*/ 30385 h 70616"/>
                                                    <a:gd name="connsiteX2" fmla="*/ 64751 w 97078"/>
                                                    <a:gd name="connsiteY2" fmla="*/ 713 h 70616"/>
                                                    <a:gd name="connsiteX3" fmla="*/ 64427 w 97078"/>
                                                    <a:gd name="connsiteY3" fmla="*/ 0 h 70616"/>
                                                    <a:gd name="connsiteX4" fmla="*/ 63649 w 97078"/>
                                                    <a:gd name="connsiteY4" fmla="*/ 194 h 70616"/>
                                                    <a:gd name="connsiteX5" fmla="*/ 63520 w 97078"/>
                                                    <a:gd name="connsiteY5" fmla="*/ 194 h 70616"/>
                                                    <a:gd name="connsiteX6" fmla="*/ 57624 w 97078"/>
                                                    <a:gd name="connsiteY6" fmla="*/ 1296 h 70616"/>
                                                    <a:gd name="connsiteX7" fmla="*/ 44019 w 97078"/>
                                                    <a:gd name="connsiteY7" fmla="*/ 1425 h 70616"/>
                                                    <a:gd name="connsiteX8" fmla="*/ 15125 w 97078"/>
                                                    <a:gd name="connsiteY8" fmla="*/ 65 h 70616"/>
                                                    <a:gd name="connsiteX9" fmla="*/ 14218 w 97078"/>
                                                    <a:gd name="connsiteY9" fmla="*/ 65 h 70616"/>
                                                    <a:gd name="connsiteX10" fmla="*/ 14088 w 97078"/>
                                                    <a:gd name="connsiteY10" fmla="*/ 907 h 70616"/>
                                                    <a:gd name="connsiteX11" fmla="*/ 14088 w 97078"/>
                                                    <a:gd name="connsiteY11" fmla="*/ 1360 h 70616"/>
                                                    <a:gd name="connsiteX12" fmla="*/ 14088 w 97078"/>
                                                    <a:gd name="connsiteY12" fmla="*/ 1814 h 70616"/>
                                                    <a:gd name="connsiteX13" fmla="*/ 2103 w 97078"/>
                                                    <a:gd name="connsiteY13" fmla="*/ 9070 h 70616"/>
                                                    <a:gd name="connsiteX14" fmla="*/ 1779 w 97078"/>
                                                    <a:gd name="connsiteY14" fmla="*/ 9200 h 70616"/>
                                                    <a:gd name="connsiteX15" fmla="*/ 1520 w 97078"/>
                                                    <a:gd name="connsiteY15" fmla="*/ 9459 h 70616"/>
                                                    <a:gd name="connsiteX16" fmla="*/ 94 w 97078"/>
                                                    <a:gd name="connsiteY16" fmla="*/ 15354 h 70616"/>
                                                    <a:gd name="connsiteX17" fmla="*/ 4500 w 97078"/>
                                                    <a:gd name="connsiteY17" fmla="*/ 22740 h 70616"/>
                                                    <a:gd name="connsiteX18" fmla="*/ 17910 w 97078"/>
                                                    <a:gd name="connsiteY18" fmla="*/ 26562 h 70616"/>
                                                    <a:gd name="connsiteX19" fmla="*/ 46416 w 97078"/>
                                                    <a:gd name="connsiteY19" fmla="*/ 29413 h 70616"/>
                                                    <a:gd name="connsiteX20" fmla="*/ 50498 w 97078"/>
                                                    <a:gd name="connsiteY20" fmla="*/ 43795 h 70616"/>
                                                    <a:gd name="connsiteX21" fmla="*/ 63066 w 97078"/>
                                                    <a:gd name="connsiteY21" fmla="*/ 51375 h 70616"/>
                                                    <a:gd name="connsiteX22" fmla="*/ 73367 w 97078"/>
                                                    <a:gd name="connsiteY22" fmla="*/ 70422 h 70616"/>
                                                    <a:gd name="connsiteX23" fmla="*/ 73626 w 97078"/>
                                                    <a:gd name="connsiteY23" fmla="*/ 70616 h 70616"/>
                                                    <a:gd name="connsiteX24" fmla="*/ 74728 w 97078"/>
                                                    <a:gd name="connsiteY24" fmla="*/ 70487 h 70616"/>
                                                    <a:gd name="connsiteX25" fmla="*/ 75505 w 97078"/>
                                                    <a:gd name="connsiteY25" fmla="*/ 70357 h 70616"/>
                                                    <a:gd name="connsiteX26" fmla="*/ 86389 w 97078"/>
                                                    <a:gd name="connsiteY26" fmla="*/ 64397 h 70616"/>
                                                    <a:gd name="connsiteX27" fmla="*/ 87555 w 97078"/>
                                                    <a:gd name="connsiteY27" fmla="*/ 56623 h 70616"/>
                                                    <a:gd name="connsiteX28" fmla="*/ 89563 w 97078"/>
                                                    <a:gd name="connsiteY28" fmla="*/ 48848 h 70616"/>
                                                    <a:gd name="connsiteX29" fmla="*/ 91896 w 97078"/>
                                                    <a:gd name="connsiteY29" fmla="*/ 47618 h 70616"/>
                                                    <a:gd name="connsiteX30" fmla="*/ 94876 w 97078"/>
                                                    <a:gd name="connsiteY30" fmla="*/ 45998 h 70616"/>
                                                    <a:gd name="connsiteX31" fmla="*/ 96755 w 97078"/>
                                                    <a:gd name="connsiteY31" fmla="*/ 43212 h 70616"/>
                                                    <a:gd name="connsiteX32" fmla="*/ 96884 w 97078"/>
                                                    <a:gd name="connsiteY32" fmla="*/ 42823 h 70616"/>
                                                    <a:gd name="connsiteX33" fmla="*/ 97079 w 97078"/>
                                                    <a:gd name="connsiteY33" fmla="*/ 42240 h 70616"/>
                                                    <a:gd name="connsiteX34" fmla="*/ 96625 w 97078"/>
                                                    <a:gd name="connsiteY34" fmla="*/ 41787 h 70616"/>
                                                    <a:gd name="connsiteX35" fmla="*/ 91118 w 97078"/>
                                                    <a:gd name="connsiteY35" fmla="*/ 45804 h 70616"/>
                                                    <a:gd name="connsiteX36" fmla="*/ 88268 w 97078"/>
                                                    <a:gd name="connsiteY36" fmla="*/ 47358 h 70616"/>
                                                    <a:gd name="connsiteX37" fmla="*/ 85547 w 97078"/>
                                                    <a:gd name="connsiteY37" fmla="*/ 56623 h 70616"/>
                                                    <a:gd name="connsiteX38" fmla="*/ 84640 w 97078"/>
                                                    <a:gd name="connsiteY38" fmla="*/ 63490 h 70616"/>
                                                    <a:gd name="connsiteX39" fmla="*/ 74404 w 97078"/>
                                                    <a:gd name="connsiteY39" fmla="*/ 68543 h 70616"/>
                                                    <a:gd name="connsiteX40" fmla="*/ 73950 w 97078"/>
                                                    <a:gd name="connsiteY40" fmla="*/ 68543 h 70616"/>
                                                    <a:gd name="connsiteX41" fmla="*/ 65334 w 97078"/>
                                                    <a:gd name="connsiteY41" fmla="*/ 50922 h 70616"/>
                                                    <a:gd name="connsiteX42" fmla="*/ 65982 w 97078"/>
                                                    <a:gd name="connsiteY42" fmla="*/ 49626 h 70616"/>
                                                    <a:gd name="connsiteX43" fmla="*/ 64491 w 97078"/>
                                                    <a:gd name="connsiteY43" fmla="*/ 49626 h 70616"/>
                                                    <a:gd name="connsiteX44" fmla="*/ 51988 w 97078"/>
                                                    <a:gd name="connsiteY44" fmla="*/ 42564 h 70616"/>
                                                    <a:gd name="connsiteX45" fmla="*/ 48424 w 97078"/>
                                                    <a:gd name="connsiteY45" fmla="*/ 28765 h 70616"/>
                                                    <a:gd name="connsiteX46" fmla="*/ 48619 w 97078"/>
                                                    <a:gd name="connsiteY46" fmla="*/ 27663 h 70616"/>
                                                    <a:gd name="connsiteX47" fmla="*/ 18040 w 97078"/>
                                                    <a:gd name="connsiteY47" fmla="*/ 24619 h 70616"/>
                                                    <a:gd name="connsiteX48" fmla="*/ 5601 w 97078"/>
                                                    <a:gd name="connsiteY48" fmla="*/ 21185 h 70616"/>
                                                    <a:gd name="connsiteX49" fmla="*/ 1908 w 97078"/>
                                                    <a:gd name="connsiteY49" fmla="*/ 15095 h 70616"/>
                                                    <a:gd name="connsiteX50" fmla="*/ 2815 w 97078"/>
                                                    <a:gd name="connsiteY50" fmla="*/ 10949 h 70616"/>
                                                    <a:gd name="connsiteX51" fmla="*/ 15837 w 97078"/>
                                                    <a:gd name="connsiteY51" fmla="*/ 2397 h 70616"/>
                                                    <a:gd name="connsiteX52" fmla="*/ 15967 w 97078"/>
                                                    <a:gd name="connsiteY52" fmla="*/ 2008 h 70616"/>
                                                    <a:gd name="connsiteX53" fmla="*/ 43954 w 97078"/>
                                                    <a:gd name="connsiteY53" fmla="*/ 3369 h 70616"/>
                                                    <a:gd name="connsiteX54" fmla="*/ 51340 w 97078"/>
                                                    <a:gd name="connsiteY54" fmla="*/ 3563 h 70616"/>
                                                    <a:gd name="connsiteX55" fmla="*/ 57818 w 97078"/>
                                                    <a:gd name="connsiteY55" fmla="*/ 3239 h 70616"/>
                                                    <a:gd name="connsiteX56" fmla="*/ 63325 w 97078"/>
                                                    <a:gd name="connsiteY56" fmla="*/ 2268 h 70616"/>
                                                    <a:gd name="connsiteX57" fmla="*/ 84381 w 97078"/>
                                                    <a:gd name="connsiteY57" fmla="*/ 31680 h 70616"/>
                                                    <a:gd name="connsiteX58" fmla="*/ 94746 w 97078"/>
                                                    <a:gd name="connsiteY58" fmla="*/ 42759 h 70616"/>
                                                    <a:gd name="connsiteX59" fmla="*/ 93515 w 97078"/>
                                                    <a:gd name="connsiteY59" fmla="*/ 44508 h 70616"/>
                                                    <a:gd name="connsiteX60" fmla="*/ 91118 w 97078"/>
                                                    <a:gd name="connsiteY60" fmla="*/ 45804 h 7061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7078" h="70616">
                                                      <a:moveTo>
                                                        <a:pt x="96560" y="41787"/>
                                                      </a:moveTo>
                                                      <a:cubicBezTo>
                                                        <a:pt x="92608" y="37900"/>
                                                        <a:pt x="88916" y="33818"/>
                                                        <a:pt x="85871" y="30385"/>
                                                      </a:cubicBezTo>
                                                      <a:cubicBezTo>
                                                        <a:pt x="77643" y="21120"/>
                                                        <a:pt x="69415" y="11143"/>
                                                        <a:pt x="64751" y="713"/>
                                                      </a:cubicBezTo>
                                                      <a:lnTo>
                                                        <a:pt x="64427" y="0"/>
                                                      </a:lnTo>
                                                      <a:lnTo>
                                                        <a:pt x="63649" y="194"/>
                                                      </a:lnTo>
                                                      <a:lnTo>
                                                        <a:pt x="63520" y="194"/>
                                                      </a:lnTo>
                                                      <a:cubicBezTo>
                                                        <a:pt x="61706" y="648"/>
                                                        <a:pt x="59632" y="1101"/>
                                                        <a:pt x="57624" y="1296"/>
                                                      </a:cubicBezTo>
                                                      <a:cubicBezTo>
                                                        <a:pt x="53737" y="1749"/>
                                                        <a:pt x="48684" y="1620"/>
                                                        <a:pt x="44019" y="1425"/>
                                                      </a:cubicBezTo>
                                                      <a:lnTo>
                                                        <a:pt x="15125" y="65"/>
                                                      </a:lnTo>
                                                      <a:lnTo>
                                                        <a:pt x="14218" y="65"/>
                                                      </a:lnTo>
                                                      <a:cubicBezTo>
                                                        <a:pt x="14218" y="65"/>
                                                        <a:pt x="14088" y="907"/>
                                                        <a:pt x="14088" y="907"/>
                                                      </a:cubicBezTo>
                                                      <a:lnTo>
                                                        <a:pt x="14088" y="1360"/>
                                                      </a:lnTo>
                                                      <a:cubicBezTo>
                                                        <a:pt x="14088" y="1360"/>
                                                        <a:pt x="14088" y="1749"/>
                                                        <a:pt x="14088" y="1814"/>
                                                      </a:cubicBezTo>
                                                      <a:cubicBezTo>
                                                        <a:pt x="12663" y="6349"/>
                                                        <a:pt x="6962" y="8098"/>
                                                        <a:pt x="2103" y="9070"/>
                                                      </a:cubicBezTo>
                                                      <a:lnTo>
                                                        <a:pt x="1779" y="9200"/>
                                                      </a:lnTo>
                                                      <a:lnTo>
                                                        <a:pt x="1520" y="9459"/>
                                                      </a:lnTo>
                                                      <a:cubicBezTo>
                                                        <a:pt x="289" y="11078"/>
                                                        <a:pt x="-229" y="13087"/>
                                                        <a:pt x="94" y="15354"/>
                                                      </a:cubicBezTo>
                                                      <a:cubicBezTo>
                                                        <a:pt x="418" y="18205"/>
                                                        <a:pt x="2168" y="20991"/>
                                                        <a:pt x="4500" y="22740"/>
                                                      </a:cubicBezTo>
                                                      <a:cubicBezTo>
                                                        <a:pt x="8452" y="25655"/>
                                                        <a:pt x="13699" y="26173"/>
                                                        <a:pt x="17910" y="26562"/>
                                                      </a:cubicBezTo>
                                                      <a:lnTo>
                                                        <a:pt x="46416" y="29413"/>
                                                      </a:lnTo>
                                                      <a:cubicBezTo>
                                                        <a:pt x="45704" y="34272"/>
                                                        <a:pt x="47194" y="39454"/>
                                                        <a:pt x="50498" y="43795"/>
                                                      </a:cubicBezTo>
                                                      <a:cubicBezTo>
                                                        <a:pt x="53802" y="48006"/>
                                                        <a:pt x="58272" y="50727"/>
                                                        <a:pt x="63066" y="51375"/>
                                                      </a:cubicBezTo>
                                                      <a:cubicBezTo>
                                                        <a:pt x="60410" y="58696"/>
                                                        <a:pt x="66111" y="66600"/>
                                                        <a:pt x="73367" y="70422"/>
                                                      </a:cubicBezTo>
                                                      <a:lnTo>
                                                        <a:pt x="73626" y="70616"/>
                                                      </a:lnTo>
                                                      <a:lnTo>
                                                        <a:pt x="74728" y="70487"/>
                                                      </a:lnTo>
                                                      <a:cubicBezTo>
                                                        <a:pt x="74728" y="70487"/>
                                                        <a:pt x="75246" y="70422"/>
                                                        <a:pt x="75505" y="70357"/>
                                                      </a:cubicBezTo>
                                                      <a:cubicBezTo>
                                                        <a:pt x="79651" y="69774"/>
                                                        <a:pt x="84381" y="68414"/>
                                                        <a:pt x="86389" y="64397"/>
                                                      </a:cubicBezTo>
                                                      <a:cubicBezTo>
                                                        <a:pt x="87620" y="62000"/>
                                                        <a:pt x="87620" y="59279"/>
                                                        <a:pt x="87555" y="56623"/>
                                                      </a:cubicBezTo>
                                                      <a:cubicBezTo>
                                                        <a:pt x="87490" y="53319"/>
                                                        <a:pt x="87490" y="50533"/>
                                                        <a:pt x="89563" y="48848"/>
                                                      </a:cubicBezTo>
                                                      <a:cubicBezTo>
                                                        <a:pt x="90211" y="48330"/>
                                                        <a:pt x="91054" y="48006"/>
                                                        <a:pt x="91896" y="47618"/>
                                                      </a:cubicBezTo>
                                                      <a:cubicBezTo>
                                                        <a:pt x="92932" y="47164"/>
                                                        <a:pt x="93969" y="46775"/>
                                                        <a:pt x="94876" y="45998"/>
                                                      </a:cubicBezTo>
                                                      <a:cubicBezTo>
                                                        <a:pt x="95848" y="45156"/>
                                                        <a:pt x="96431" y="44119"/>
                                                        <a:pt x="96755" y="43212"/>
                                                      </a:cubicBezTo>
                                                      <a:cubicBezTo>
                                                        <a:pt x="96819" y="43082"/>
                                                        <a:pt x="96819" y="42953"/>
                                                        <a:pt x="96884" y="42823"/>
                                                      </a:cubicBezTo>
                                                      <a:lnTo>
                                                        <a:pt x="97079" y="42240"/>
                                                      </a:lnTo>
                                                      <a:lnTo>
                                                        <a:pt x="96625" y="41787"/>
                                                      </a:lnTo>
                                                      <a:close/>
                                                      <a:moveTo>
                                                        <a:pt x="91118" y="45804"/>
                                                      </a:moveTo>
                                                      <a:cubicBezTo>
                                                        <a:pt x="90146" y="46192"/>
                                                        <a:pt x="89110" y="46646"/>
                                                        <a:pt x="88268" y="47358"/>
                                                      </a:cubicBezTo>
                                                      <a:cubicBezTo>
                                                        <a:pt x="85417" y="49626"/>
                                                        <a:pt x="85482" y="53189"/>
                                                        <a:pt x="85547" y="56623"/>
                                                      </a:cubicBezTo>
                                                      <a:cubicBezTo>
                                                        <a:pt x="85547" y="59020"/>
                                                        <a:pt x="85612" y="61546"/>
                                                        <a:pt x="84640" y="63490"/>
                                                      </a:cubicBezTo>
                                                      <a:cubicBezTo>
                                                        <a:pt x="82826" y="66988"/>
                                                        <a:pt x="78226" y="68025"/>
                                                        <a:pt x="74404" y="68543"/>
                                                      </a:cubicBezTo>
                                                      <a:lnTo>
                                                        <a:pt x="73950" y="68543"/>
                                                      </a:lnTo>
                                                      <a:cubicBezTo>
                                                        <a:pt x="67212" y="64851"/>
                                                        <a:pt x="61965" y="57465"/>
                                                        <a:pt x="65334" y="50922"/>
                                                      </a:cubicBezTo>
                                                      <a:lnTo>
                                                        <a:pt x="65982" y="49626"/>
                                                      </a:lnTo>
                                                      <a:lnTo>
                                                        <a:pt x="64491" y="49626"/>
                                                      </a:lnTo>
                                                      <a:cubicBezTo>
                                                        <a:pt x="59762" y="49302"/>
                                                        <a:pt x="55227" y="46775"/>
                                                        <a:pt x="51988" y="42564"/>
                                                      </a:cubicBezTo>
                                                      <a:cubicBezTo>
                                                        <a:pt x="48748" y="38418"/>
                                                        <a:pt x="47453" y="33365"/>
                                                        <a:pt x="48424" y="28765"/>
                                                      </a:cubicBezTo>
                                                      <a:lnTo>
                                                        <a:pt x="48619" y="27663"/>
                                                      </a:lnTo>
                                                      <a:lnTo>
                                                        <a:pt x="18040" y="24619"/>
                                                      </a:lnTo>
                                                      <a:cubicBezTo>
                                                        <a:pt x="14088" y="24230"/>
                                                        <a:pt x="9100" y="23776"/>
                                                        <a:pt x="5601" y="21185"/>
                                                      </a:cubicBezTo>
                                                      <a:cubicBezTo>
                                                        <a:pt x="3658" y="19760"/>
                                                        <a:pt x="2232" y="17427"/>
                                                        <a:pt x="1908" y="15095"/>
                                                      </a:cubicBezTo>
                                                      <a:cubicBezTo>
                                                        <a:pt x="1779" y="13929"/>
                                                        <a:pt x="1779" y="12374"/>
                                                        <a:pt x="2815" y="10949"/>
                                                      </a:cubicBezTo>
                                                      <a:cubicBezTo>
                                                        <a:pt x="8063" y="9783"/>
                                                        <a:pt x="14218" y="7774"/>
                                                        <a:pt x="15837" y="2397"/>
                                                      </a:cubicBezTo>
                                                      <a:cubicBezTo>
                                                        <a:pt x="15837" y="2268"/>
                                                        <a:pt x="15837" y="2138"/>
                                                        <a:pt x="15967" y="2008"/>
                                                      </a:cubicBezTo>
                                                      <a:lnTo>
                                                        <a:pt x="43954" y="3369"/>
                                                      </a:lnTo>
                                                      <a:cubicBezTo>
                                                        <a:pt x="46222" y="3434"/>
                                                        <a:pt x="48813" y="3563"/>
                                                        <a:pt x="51340" y="3563"/>
                                                      </a:cubicBezTo>
                                                      <a:cubicBezTo>
                                                        <a:pt x="53867" y="3563"/>
                                                        <a:pt x="55875" y="3434"/>
                                                        <a:pt x="57818" y="3239"/>
                                                      </a:cubicBezTo>
                                                      <a:cubicBezTo>
                                                        <a:pt x="59697" y="3045"/>
                                                        <a:pt x="61576" y="2656"/>
                                                        <a:pt x="63325" y="2268"/>
                                                      </a:cubicBezTo>
                                                      <a:cubicBezTo>
                                                        <a:pt x="68184" y="12633"/>
                                                        <a:pt x="76282" y="22481"/>
                                                        <a:pt x="84381" y="31680"/>
                                                      </a:cubicBezTo>
                                                      <a:cubicBezTo>
                                                        <a:pt x="87361" y="34984"/>
                                                        <a:pt x="90924" y="38936"/>
                                                        <a:pt x="94746" y="42759"/>
                                                      </a:cubicBezTo>
                                                      <a:cubicBezTo>
                                                        <a:pt x="94422" y="43536"/>
                                                        <a:pt x="94034" y="44119"/>
                                                        <a:pt x="93515" y="44508"/>
                                                      </a:cubicBezTo>
                                                      <a:cubicBezTo>
                                                        <a:pt x="92868" y="45091"/>
                                                        <a:pt x="92025" y="45415"/>
                                                        <a:pt x="91118" y="4580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1" name="Freeform: Shape 39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004A631-AA94-4AC2-8C0B-D2965033B89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947665" y="4125831"/>
                                                  <a:ext cx="134300" cy="5981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3569 w 134300"/>
                                                    <a:gd name="connsiteY0" fmla="*/ 7835 h 59811"/>
                                                    <a:gd name="connsiteX1" fmla="*/ 94587 w 134300"/>
                                                    <a:gd name="connsiteY1" fmla="*/ 190 h 59811"/>
                                                    <a:gd name="connsiteX2" fmla="*/ 72949 w 134300"/>
                                                    <a:gd name="connsiteY2" fmla="*/ 17682 h 59811"/>
                                                    <a:gd name="connsiteX3" fmla="*/ 38483 w 134300"/>
                                                    <a:gd name="connsiteY3" fmla="*/ 18459 h 59811"/>
                                                    <a:gd name="connsiteX4" fmla="*/ 22157 w 134300"/>
                                                    <a:gd name="connsiteY4" fmla="*/ 6086 h 59811"/>
                                                    <a:gd name="connsiteX5" fmla="*/ 20408 w 134300"/>
                                                    <a:gd name="connsiteY5" fmla="*/ 8871 h 59811"/>
                                                    <a:gd name="connsiteX6" fmla="*/ 15095 w 134300"/>
                                                    <a:gd name="connsiteY6" fmla="*/ 11722 h 59811"/>
                                                    <a:gd name="connsiteX7" fmla="*/ 11726 w 134300"/>
                                                    <a:gd name="connsiteY7" fmla="*/ 27594 h 59811"/>
                                                    <a:gd name="connsiteX8" fmla="*/ 778 w 134300"/>
                                                    <a:gd name="connsiteY8" fmla="*/ 33166 h 59811"/>
                                                    <a:gd name="connsiteX9" fmla="*/ 0 w 134300"/>
                                                    <a:gd name="connsiteY9" fmla="*/ 33295 h 59811"/>
                                                    <a:gd name="connsiteX10" fmla="*/ 4406 w 134300"/>
                                                    <a:gd name="connsiteY10" fmla="*/ 35174 h 59811"/>
                                                    <a:gd name="connsiteX11" fmla="*/ 32652 w 134300"/>
                                                    <a:gd name="connsiteY11" fmla="*/ 39645 h 59811"/>
                                                    <a:gd name="connsiteX12" fmla="*/ 75864 w 134300"/>
                                                    <a:gd name="connsiteY12" fmla="*/ 58821 h 59811"/>
                                                    <a:gd name="connsiteX13" fmla="*/ 77354 w 134300"/>
                                                    <a:gd name="connsiteY13" fmla="*/ 28890 h 59811"/>
                                                    <a:gd name="connsiteX14" fmla="*/ 101454 w 134300"/>
                                                    <a:gd name="connsiteY14" fmla="*/ 15803 h 59811"/>
                                                    <a:gd name="connsiteX15" fmla="*/ 117003 w 134300"/>
                                                    <a:gd name="connsiteY15" fmla="*/ 28566 h 59811"/>
                                                    <a:gd name="connsiteX16" fmla="*/ 134301 w 134300"/>
                                                    <a:gd name="connsiteY16" fmla="*/ 27011 h 59811"/>
                                                    <a:gd name="connsiteX17" fmla="*/ 113505 w 134300"/>
                                                    <a:gd name="connsiteY17" fmla="*/ 7964 h 5981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34300" h="59811">
                                                      <a:moveTo>
                                                        <a:pt x="113569" y="7835"/>
                                                      </a:moveTo>
                                                      <a:cubicBezTo>
                                                        <a:pt x="108063" y="3429"/>
                                                        <a:pt x="101519" y="-976"/>
                                                        <a:pt x="94587" y="190"/>
                                                      </a:cubicBezTo>
                                                      <a:cubicBezTo>
                                                        <a:pt x="85258" y="1745"/>
                                                        <a:pt x="80464" y="11981"/>
                                                        <a:pt x="72949" y="17682"/>
                                                      </a:cubicBezTo>
                                                      <a:cubicBezTo>
                                                        <a:pt x="63296" y="24938"/>
                                                        <a:pt x="49302" y="23966"/>
                                                        <a:pt x="38483" y="18459"/>
                                                      </a:cubicBezTo>
                                                      <a:cubicBezTo>
                                                        <a:pt x="32328" y="15350"/>
                                                        <a:pt x="27081" y="10944"/>
                                                        <a:pt x="22157" y="6086"/>
                                                      </a:cubicBezTo>
                                                      <a:cubicBezTo>
                                                        <a:pt x="21768" y="7122"/>
                                                        <a:pt x="21315" y="8094"/>
                                                        <a:pt x="20408" y="8871"/>
                                                      </a:cubicBezTo>
                                                      <a:cubicBezTo>
                                                        <a:pt x="18853" y="10167"/>
                                                        <a:pt x="16650" y="10426"/>
                                                        <a:pt x="15095" y="11722"/>
                                                      </a:cubicBezTo>
                                                      <a:cubicBezTo>
                                                        <a:pt x="10754" y="15220"/>
                                                        <a:pt x="14253" y="22606"/>
                                                        <a:pt x="11726" y="27594"/>
                                                      </a:cubicBezTo>
                                                      <a:cubicBezTo>
                                                        <a:pt x="9783" y="31417"/>
                                                        <a:pt x="4989" y="32583"/>
                                                        <a:pt x="778" y="33166"/>
                                                      </a:cubicBezTo>
                                                      <a:cubicBezTo>
                                                        <a:pt x="518" y="33166"/>
                                                        <a:pt x="259" y="33166"/>
                                                        <a:pt x="0" y="33295"/>
                                                      </a:cubicBezTo>
                                                      <a:cubicBezTo>
                                                        <a:pt x="1425" y="34073"/>
                                                        <a:pt x="2915" y="34721"/>
                                                        <a:pt x="4406" y="35174"/>
                                                      </a:cubicBezTo>
                                                      <a:cubicBezTo>
                                                        <a:pt x="13605" y="37701"/>
                                                        <a:pt x="23712" y="36340"/>
                                                        <a:pt x="32652" y="39645"/>
                                                      </a:cubicBezTo>
                                                      <a:cubicBezTo>
                                                        <a:pt x="47942" y="45346"/>
                                                        <a:pt x="60445" y="64328"/>
                                                        <a:pt x="75864" y="58821"/>
                                                      </a:cubicBezTo>
                                                      <a:cubicBezTo>
                                                        <a:pt x="74633" y="48779"/>
                                                        <a:pt x="73532" y="38219"/>
                                                        <a:pt x="77354" y="28890"/>
                                                      </a:cubicBezTo>
                                                      <a:cubicBezTo>
                                                        <a:pt x="81241" y="19561"/>
                                                        <a:pt x="91996" y="12240"/>
                                                        <a:pt x="101454" y="15803"/>
                                                      </a:cubicBezTo>
                                                      <a:cubicBezTo>
                                                        <a:pt x="107804" y="18200"/>
                                                        <a:pt x="111626" y="24420"/>
                                                        <a:pt x="117003" y="28566"/>
                                                      </a:cubicBezTo>
                                                      <a:cubicBezTo>
                                                        <a:pt x="122380" y="32648"/>
                                                        <a:pt x="131969" y="33360"/>
                                                        <a:pt x="134301" y="27011"/>
                                                      </a:cubicBezTo>
                                                      <a:cubicBezTo>
                                                        <a:pt x="127757" y="20209"/>
                                                        <a:pt x="120826" y="13860"/>
                                                        <a:pt x="113505" y="796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2" name="Freeform: Shape 39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619F5D2-EEC8-4AA2-B69E-CE3F7DEF557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30267" y="3843361"/>
                                                  <a:ext cx="87553" cy="5646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6612 w 87553"/>
                                                    <a:gd name="connsiteY0" fmla="*/ 25396 h 56461"/>
                                                    <a:gd name="connsiteX1" fmla="*/ 63548 w 87553"/>
                                                    <a:gd name="connsiteY1" fmla="*/ 14123 h 56461"/>
                                                    <a:gd name="connsiteX2" fmla="*/ 55061 w 87553"/>
                                                    <a:gd name="connsiteY2" fmla="*/ 8876 h 56461"/>
                                                    <a:gd name="connsiteX3" fmla="*/ 49360 w 87553"/>
                                                    <a:gd name="connsiteY3" fmla="*/ 3498 h 56461"/>
                                                    <a:gd name="connsiteX4" fmla="*/ 43011 w 87553"/>
                                                    <a:gd name="connsiteY4" fmla="*/ 2203 h 56461"/>
                                                    <a:gd name="connsiteX5" fmla="*/ 12432 w 87553"/>
                                                    <a:gd name="connsiteY5" fmla="*/ 259 h 56461"/>
                                                    <a:gd name="connsiteX6" fmla="*/ 8351 w 87553"/>
                                                    <a:gd name="connsiteY6" fmla="*/ 0 h 56461"/>
                                                    <a:gd name="connsiteX7" fmla="*/ 5176 w 87553"/>
                                                    <a:gd name="connsiteY7" fmla="*/ 11338 h 56461"/>
                                                    <a:gd name="connsiteX8" fmla="*/ 1160 w 87553"/>
                                                    <a:gd name="connsiteY8" fmla="*/ 14706 h 56461"/>
                                                    <a:gd name="connsiteX9" fmla="*/ 2779 w 87553"/>
                                                    <a:gd name="connsiteY9" fmla="*/ 30644 h 56461"/>
                                                    <a:gd name="connsiteX10" fmla="*/ 1224 w 87553"/>
                                                    <a:gd name="connsiteY10" fmla="*/ 38353 h 56461"/>
                                                    <a:gd name="connsiteX11" fmla="*/ 2261 w 87553"/>
                                                    <a:gd name="connsiteY11" fmla="*/ 55197 h 56461"/>
                                                    <a:gd name="connsiteX12" fmla="*/ 21826 w 87553"/>
                                                    <a:gd name="connsiteY12" fmla="*/ 55586 h 56461"/>
                                                    <a:gd name="connsiteX13" fmla="*/ 23446 w 87553"/>
                                                    <a:gd name="connsiteY13" fmla="*/ 44249 h 56461"/>
                                                    <a:gd name="connsiteX14" fmla="*/ 68277 w 87553"/>
                                                    <a:gd name="connsiteY14" fmla="*/ 37511 h 56461"/>
                                                    <a:gd name="connsiteX15" fmla="*/ 82012 w 87553"/>
                                                    <a:gd name="connsiteY15" fmla="*/ 36604 h 56461"/>
                                                    <a:gd name="connsiteX16" fmla="*/ 86547 w 87553"/>
                                                    <a:gd name="connsiteY16" fmla="*/ 25331 h 5646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87553" h="56461">
                                                      <a:moveTo>
                                                        <a:pt x="86612" y="25396"/>
                                                      </a:moveTo>
                                                      <a:lnTo>
                                                        <a:pt x="63548" y="14123"/>
                                                      </a:lnTo>
                                                      <a:cubicBezTo>
                                                        <a:pt x="60568" y="12633"/>
                                                        <a:pt x="57523" y="11143"/>
                                                        <a:pt x="55061" y="8876"/>
                                                      </a:cubicBezTo>
                                                      <a:cubicBezTo>
                                                        <a:pt x="53182" y="7062"/>
                                                        <a:pt x="51692" y="4729"/>
                                                        <a:pt x="49360" y="3498"/>
                                                      </a:cubicBezTo>
                                                      <a:cubicBezTo>
                                                        <a:pt x="47416" y="2462"/>
                                                        <a:pt x="45214" y="2332"/>
                                                        <a:pt x="43011" y="2203"/>
                                                      </a:cubicBezTo>
                                                      <a:cubicBezTo>
                                                        <a:pt x="32840" y="1555"/>
                                                        <a:pt x="22668" y="907"/>
                                                        <a:pt x="12432" y="259"/>
                                                      </a:cubicBezTo>
                                                      <a:cubicBezTo>
                                                        <a:pt x="11072" y="194"/>
                                                        <a:pt x="9711" y="65"/>
                                                        <a:pt x="8351" y="0"/>
                                                      </a:cubicBezTo>
                                                      <a:cubicBezTo>
                                                        <a:pt x="8480" y="4341"/>
                                                        <a:pt x="8156" y="8487"/>
                                                        <a:pt x="5176" y="11338"/>
                                                      </a:cubicBezTo>
                                                      <a:cubicBezTo>
                                                        <a:pt x="3880" y="12568"/>
                                                        <a:pt x="2196" y="13346"/>
                                                        <a:pt x="1160" y="14706"/>
                                                      </a:cubicBezTo>
                                                      <a:cubicBezTo>
                                                        <a:pt x="-2145" y="19112"/>
                                                        <a:pt x="2649" y="25072"/>
                                                        <a:pt x="2779" y="30644"/>
                                                      </a:cubicBezTo>
                                                      <a:cubicBezTo>
                                                        <a:pt x="2844" y="33300"/>
                                                        <a:pt x="1807" y="35826"/>
                                                        <a:pt x="1224" y="38353"/>
                                                      </a:cubicBezTo>
                                                      <a:cubicBezTo>
                                                        <a:pt x="-7" y="43925"/>
                                                        <a:pt x="900" y="49561"/>
                                                        <a:pt x="2261" y="55197"/>
                                                      </a:cubicBezTo>
                                                      <a:cubicBezTo>
                                                        <a:pt x="8156" y="57076"/>
                                                        <a:pt x="15477" y="56558"/>
                                                        <a:pt x="21826" y="55586"/>
                                                      </a:cubicBezTo>
                                                      <a:cubicBezTo>
                                                        <a:pt x="23640" y="52152"/>
                                                        <a:pt x="24223" y="48071"/>
                                                        <a:pt x="23446" y="44249"/>
                                                      </a:cubicBezTo>
                                                      <a:cubicBezTo>
                                                        <a:pt x="37634" y="38677"/>
                                                        <a:pt x="53118" y="36345"/>
                                                        <a:pt x="68277" y="37511"/>
                                                      </a:cubicBezTo>
                                                      <a:cubicBezTo>
                                                        <a:pt x="72877" y="37835"/>
                                                        <a:pt x="77736" y="38483"/>
                                                        <a:pt x="82012" y="36604"/>
                                                      </a:cubicBezTo>
                                                      <a:cubicBezTo>
                                                        <a:pt x="86223" y="34725"/>
                                                        <a:pt x="89203" y="29154"/>
                                                        <a:pt x="86547" y="2533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3" name="Freeform: Shape 39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6218834-2B72-4923-BC2C-3E10143FDDD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70052" y="3833151"/>
                                                  <a:ext cx="68655" cy="6623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1503 w 68655"/>
                                                    <a:gd name="connsiteY0" fmla="*/ 48563 h 66236"/>
                                                    <a:gd name="connsiteX1" fmla="*/ 63058 w 68655"/>
                                                    <a:gd name="connsiteY1" fmla="*/ 40854 h 66236"/>
                                                    <a:gd name="connsiteX2" fmla="*/ 61439 w 68655"/>
                                                    <a:gd name="connsiteY2" fmla="*/ 24917 h 66236"/>
                                                    <a:gd name="connsiteX3" fmla="*/ 65455 w 68655"/>
                                                    <a:gd name="connsiteY3" fmla="*/ 21548 h 66236"/>
                                                    <a:gd name="connsiteX4" fmla="*/ 68630 w 68655"/>
                                                    <a:gd name="connsiteY4" fmla="*/ 10210 h 66236"/>
                                                    <a:gd name="connsiteX5" fmla="*/ 54312 w 68655"/>
                                                    <a:gd name="connsiteY5" fmla="*/ 7230 h 66236"/>
                                                    <a:gd name="connsiteX6" fmla="*/ 39736 w 68655"/>
                                                    <a:gd name="connsiteY6" fmla="*/ 363 h 66236"/>
                                                    <a:gd name="connsiteX7" fmla="*/ 26714 w 68655"/>
                                                    <a:gd name="connsiteY7" fmla="*/ 6518 h 66236"/>
                                                    <a:gd name="connsiteX8" fmla="*/ 37144 w 68655"/>
                                                    <a:gd name="connsiteY8" fmla="*/ 25953 h 66236"/>
                                                    <a:gd name="connsiteX9" fmla="*/ 37857 w 68655"/>
                                                    <a:gd name="connsiteY9" fmla="*/ 30359 h 66236"/>
                                                    <a:gd name="connsiteX10" fmla="*/ 45113 w 68655"/>
                                                    <a:gd name="connsiteY10" fmla="*/ 37161 h 66236"/>
                                                    <a:gd name="connsiteX11" fmla="*/ 47510 w 68655"/>
                                                    <a:gd name="connsiteY11" fmla="*/ 45778 h 66236"/>
                                                    <a:gd name="connsiteX12" fmla="*/ 42392 w 68655"/>
                                                    <a:gd name="connsiteY12" fmla="*/ 47203 h 66236"/>
                                                    <a:gd name="connsiteX13" fmla="*/ 411 w 68655"/>
                                                    <a:gd name="connsiteY13" fmla="*/ 48045 h 66236"/>
                                                    <a:gd name="connsiteX14" fmla="*/ 7343 w 68655"/>
                                                    <a:gd name="connsiteY14" fmla="*/ 64371 h 66236"/>
                                                    <a:gd name="connsiteX15" fmla="*/ 24964 w 68655"/>
                                                    <a:gd name="connsiteY15" fmla="*/ 62168 h 66236"/>
                                                    <a:gd name="connsiteX16" fmla="*/ 31378 w 68655"/>
                                                    <a:gd name="connsiteY16" fmla="*/ 56532 h 66236"/>
                                                    <a:gd name="connsiteX17" fmla="*/ 36885 w 68655"/>
                                                    <a:gd name="connsiteY17" fmla="*/ 56532 h 66236"/>
                                                    <a:gd name="connsiteX18" fmla="*/ 53924 w 68655"/>
                                                    <a:gd name="connsiteY18" fmla="*/ 59059 h 66236"/>
                                                    <a:gd name="connsiteX19" fmla="*/ 62605 w 68655"/>
                                                    <a:gd name="connsiteY19" fmla="*/ 65473 h 66236"/>
                                                    <a:gd name="connsiteX20" fmla="*/ 61568 w 68655"/>
                                                    <a:gd name="connsiteY20" fmla="*/ 48628 h 6623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8655" h="66236">
                                                      <a:moveTo>
                                                        <a:pt x="61503" y="48563"/>
                                                      </a:moveTo>
                                                      <a:cubicBezTo>
                                                        <a:pt x="62086" y="45972"/>
                                                        <a:pt x="63123" y="43445"/>
                                                        <a:pt x="63058" y="40854"/>
                                                      </a:cubicBezTo>
                                                      <a:cubicBezTo>
                                                        <a:pt x="62929" y="35347"/>
                                                        <a:pt x="58135" y="29322"/>
                                                        <a:pt x="61439" y="24917"/>
                                                      </a:cubicBezTo>
                                                      <a:cubicBezTo>
                                                        <a:pt x="62475" y="23491"/>
                                                        <a:pt x="64160" y="22714"/>
                                                        <a:pt x="65455" y="21548"/>
                                                      </a:cubicBezTo>
                                                      <a:cubicBezTo>
                                                        <a:pt x="68500" y="18762"/>
                                                        <a:pt x="68759" y="14551"/>
                                                        <a:pt x="68630" y="10210"/>
                                                      </a:cubicBezTo>
                                                      <a:cubicBezTo>
                                                        <a:pt x="63706" y="9822"/>
                                                        <a:pt x="58847" y="9174"/>
                                                        <a:pt x="54312" y="7230"/>
                                                      </a:cubicBezTo>
                                                      <a:cubicBezTo>
                                                        <a:pt x="49324" y="5157"/>
                                                        <a:pt x="44983" y="1659"/>
                                                        <a:pt x="39736" y="363"/>
                                                      </a:cubicBezTo>
                                                      <a:cubicBezTo>
                                                        <a:pt x="34488" y="-933"/>
                                                        <a:pt x="27750" y="1270"/>
                                                        <a:pt x="26714" y="6518"/>
                                                      </a:cubicBezTo>
                                                      <a:cubicBezTo>
                                                        <a:pt x="25288" y="13968"/>
                                                        <a:pt x="35654" y="18503"/>
                                                        <a:pt x="37144" y="25953"/>
                                                      </a:cubicBezTo>
                                                      <a:cubicBezTo>
                                                        <a:pt x="37468" y="27443"/>
                                                        <a:pt x="37338" y="28933"/>
                                                        <a:pt x="37857" y="30359"/>
                                                      </a:cubicBezTo>
                                                      <a:cubicBezTo>
                                                        <a:pt x="38958" y="33533"/>
                                                        <a:pt x="42456" y="35088"/>
                                                        <a:pt x="45113" y="37161"/>
                                                      </a:cubicBezTo>
                                                      <a:cubicBezTo>
                                                        <a:pt x="47769" y="39234"/>
                                                        <a:pt x="49907" y="43381"/>
                                                        <a:pt x="47510" y="45778"/>
                                                      </a:cubicBezTo>
                                                      <a:cubicBezTo>
                                                        <a:pt x="46214" y="47073"/>
                                                        <a:pt x="44206" y="47203"/>
                                                        <a:pt x="42392" y="47203"/>
                                                      </a:cubicBezTo>
                                                      <a:cubicBezTo>
                                                        <a:pt x="28398" y="47462"/>
                                                        <a:pt x="14404" y="47786"/>
                                                        <a:pt x="411" y="48045"/>
                                                      </a:cubicBezTo>
                                                      <a:cubicBezTo>
                                                        <a:pt x="-1144" y="54200"/>
                                                        <a:pt x="1836" y="61197"/>
                                                        <a:pt x="7343" y="64371"/>
                                                      </a:cubicBezTo>
                                                      <a:cubicBezTo>
                                                        <a:pt x="12849" y="67546"/>
                                                        <a:pt x="20429" y="66574"/>
                                                        <a:pt x="24964" y="62168"/>
                                                      </a:cubicBezTo>
                                                      <a:cubicBezTo>
                                                        <a:pt x="27037" y="60160"/>
                                                        <a:pt x="28657" y="57439"/>
                                                        <a:pt x="31378" y="56532"/>
                                                      </a:cubicBezTo>
                                                      <a:cubicBezTo>
                                                        <a:pt x="33127" y="55949"/>
                                                        <a:pt x="35006" y="56208"/>
                                                        <a:pt x="36885" y="56532"/>
                                                      </a:cubicBezTo>
                                                      <a:cubicBezTo>
                                                        <a:pt x="42586" y="57374"/>
                                                        <a:pt x="48222" y="58217"/>
                                                        <a:pt x="53924" y="59059"/>
                                                      </a:cubicBezTo>
                                                      <a:cubicBezTo>
                                                        <a:pt x="55932" y="62363"/>
                                                        <a:pt x="59042" y="64371"/>
                                                        <a:pt x="62605" y="65473"/>
                                                      </a:cubicBezTo>
                                                      <a:cubicBezTo>
                                                        <a:pt x="61244" y="59836"/>
                                                        <a:pt x="60272" y="54200"/>
                                                        <a:pt x="61568" y="4862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4" name="Freeform: Shape 39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E4AF1DE-3831-4D3E-A4EC-C3DDA0E84C99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58219" y="4079183"/>
                                                  <a:ext cx="291368" cy="38712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9295 w 291368"/>
                                                    <a:gd name="connsiteY0" fmla="*/ 294838 h 387120"/>
                                                    <a:gd name="connsiteX1" fmla="*/ 50956 w 291368"/>
                                                    <a:gd name="connsiteY1" fmla="*/ 294838 h 387120"/>
                                                    <a:gd name="connsiteX2" fmla="*/ 72724 w 291368"/>
                                                    <a:gd name="connsiteY2" fmla="*/ 306240 h 387120"/>
                                                    <a:gd name="connsiteX3" fmla="*/ 80369 w 291368"/>
                                                    <a:gd name="connsiteY3" fmla="*/ 306370 h 387120"/>
                                                    <a:gd name="connsiteX4" fmla="*/ 83544 w 291368"/>
                                                    <a:gd name="connsiteY4" fmla="*/ 311553 h 387120"/>
                                                    <a:gd name="connsiteX5" fmla="*/ 106996 w 291368"/>
                                                    <a:gd name="connsiteY5" fmla="*/ 321141 h 387120"/>
                                                    <a:gd name="connsiteX6" fmla="*/ 113021 w 291368"/>
                                                    <a:gd name="connsiteY6" fmla="*/ 332543 h 387120"/>
                                                    <a:gd name="connsiteX7" fmla="*/ 124682 w 291368"/>
                                                    <a:gd name="connsiteY7" fmla="*/ 338115 h 387120"/>
                                                    <a:gd name="connsiteX8" fmla="*/ 137510 w 291368"/>
                                                    <a:gd name="connsiteY8" fmla="*/ 358069 h 387120"/>
                                                    <a:gd name="connsiteX9" fmla="*/ 154549 w 291368"/>
                                                    <a:gd name="connsiteY9" fmla="*/ 372970 h 387120"/>
                                                    <a:gd name="connsiteX10" fmla="*/ 167312 w 291368"/>
                                                    <a:gd name="connsiteY10" fmla="*/ 369018 h 387120"/>
                                                    <a:gd name="connsiteX11" fmla="*/ 185516 w 291368"/>
                                                    <a:gd name="connsiteY11" fmla="*/ 371415 h 387120"/>
                                                    <a:gd name="connsiteX12" fmla="*/ 195105 w 291368"/>
                                                    <a:gd name="connsiteY12" fmla="*/ 368305 h 387120"/>
                                                    <a:gd name="connsiteX13" fmla="*/ 210718 w 291368"/>
                                                    <a:gd name="connsiteY13" fmla="*/ 376792 h 387120"/>
                                                    <a:gd name="connsiteX14" fmla="*/ 213763 w 291368"/>
                                                    <a:gd name="connsiteY14" fmla="*/ 385149 h 387120"/>
                                                    <a:gd name="connsiteX15" fmla="*/ 221019 w 291368"/>
                                                    <a:gd name="connsiteY15" fmla="*/ 385149 h 387120"/>
                                                    <a:gd name="connsiteX16" fmla="*/ 235207 w 291368"/>
                                                    <a:gd name="connsiteY16" fmla="*/ 355672 h 387120"/>
                                                    <a:gd name="connsiteX17" fmla="*/ 227757 w 291368"/>
                                                    <a:gd name="connsiteY17" fmla="*/ 328462 h 387120"/>
                                                    <a:gd name="connsiteX18" fmla="*/ 222379 w 291368"/>
                                                    <a:gd name="connsiteY18" fmla="*/ 310063 h 387120"/>
                                                    <a:gd name="connsiteX19" fmla="*/ 225878 w 291368"/>
                                                    <a:gd name="connsiteY19" fmla="*/ 294255 h 387120"/>
                                                    <a:gd name="connsiteX20" fmla="*/ 241880 w 291368"/>
                                                    <a:gd name="connsiteY20" fmla="*/ 291469 h 387120"/>
                                                    <a:gd name="connsiteX21" fmla="*/ 243111 w 291368"/>
                                                    <a:gd name="connsiteY21" fmla="*/ 283954 h 387120"/>
                                                    <a:gd name="connsiteX22" fmla="*/ 229376 w 291368"/>
                                                    <a:gd name="connsiteY22" fmla="*/ 278447 h 387120"/>
                                                    <a:gd name="connsiteX23" fmla="*/ 224906 w 291368"/>
                                                    <a:gd name="connsiteY23" fmla="*/ 265296 h 387120"/>
                                                    <a:gd name="connsiteX24" fmla="*/ 242852 w 291368"/>
                                                    <a:gd name="connsiteY24" fmla="*/ 258299 h 387120"/>
                                                    <a:gd name="connsiteX25" fmla="*/ 270645 w 291368"/>
                                                    <a:gd name="connsiteY25" fmla="*/ 258817 h 387120"/>
                                                    <a:gd name="connsiteX26" fmla="*/ 290469 w 291368"/>
                                                    <a:gd name="connsiteY26" fmla="*/ 250136 h 387120"/>
                                                    <a:gd name="connsiteX27" fmla="*/ 284185 w 291368"/>
                                                    <a:gd name="connsiteY27" fmla="*/ 233356 h 387120"/>
                                                    <a:gd name="connsiteX28" fmla="*/ 284444 w 291368"/>
                                                    <a:gd name="connsiteY28" fmla="*/ 216836 h 387120"/>
                                                    <a:gd name="connsiteX29" fmla="*/ 289692 w 291368"/>
                                                    <a:gd name="connsiteY29" fmla="*/ 214309 h 387120"/>
                                                    <a:gd name="connsiteX30" fmla="*/ 289886 w 291368"/>
                                                    <a:gd name="connsiteY30" fmla="*/ 205499 h 387120"/>
                                                    <a:gd name="connsiteX31" fmla="*/ 282824 w 291368"/>
                                                    <a:gd name="connsiteY31" fmla="*/ 199020 h 387120"/>
                                                    <a:gd name="connsiteX32" fmla="*/ 275050 w 291368"/>
                                                    <a:gd name="connsiteY32" fmla="*/ 166886 h 387120"/>
                                                    <a:gd name="connsiteX33" fmla="*/ 284250 w 291368"/>
                                                    <a:gd name="connsiteY33" fmla="*/ 144794 h 387120"/>
                                                    <a:gd name="connsiteX34" fmla="*/ 282695 w 291368"/>
                                                    <a:gd name="connsiteY34" fmla="*/ 140907 h 387120"/>
                                                    <a:gd name="connsiteX35" fmla="*/ 279067 w 291368"/>
                                                    <a:gd name="connsiteY35" fmla="*/ 140454 h 387120"/>
                                                    <a:gd name="connsiteX36" fmla="*/ 239936 w 291368"/>
                                                    <a:gd name="connsiteY36" fmla="*/ 144535 h 387120"/>
                                                    <a:gd name="connsiteX37" fmla="*/ 232551 w 291368"/>
                                                    <a:gd name="connsiteY37" fmla="*/ 133586 h 387120"/>
                                                    <a:gd name="connsiteX38" fmla="*/ 219658 w 291368"/>
                                                    <a:gd name="connsiteY38" fmla="*/ 126849 h 387120"/>
                                                    <a:gd name="connsiteX39" fmla="*/ 217261 w 291368"/>
                                                    <a:gd name="connsiteY39" fmla="*/ 122184 h 387120"/>
                                                    <a:gd name="connsiteX40" fmla="*/ 195299 w 291368"/>
                                                    <a:gd name="connsiteY40" fmla="*/ 120241 h 387120"/>
                                                    <a:gd name="connsiteX41" fmla="*/ 172494 w 291368"/>
                                                    <a:gd name="connsiteY41" fmla="*/ 122184 h 387120"/>
                                                    <a:gd name="connsiteX42" fmla="*/ 161481 w 291368"/>
                                                    <a:gd name="connsiteY42" fmla="*/ 103720 h 387120"/>
                                                    <a:gd name="connsiteX43" fmla="*/ 162388 w 291368"/>
                                                    <a:gd name="connsiteY43" fmla="*/ 86811 h 387120"/>
                                                    <a:gd name="connsiteX44" fmla="*/ 157788 w 291368"/>
                                                    <a:gd name="connsiteY44" fmla="*/ 79231 h 387120"/>
                                                    <a:gd name="connsiteX45" fmla="*/ 156298 w 291368"/>
                                                    <a:gd name="connsiteY45" fmla="*/ 71003 h 387120"/>
                                                    <a:gd name="connsiteX46" fmla="*/ 142369 w 291368"/>
                                                    <a:gd name="connsiteY46" fmla="*/ 64654 h 387120"/>
                                                    <a:gd name="connsiteX47" fmla="*/ 132975 w 291368"/>
                                                    <a:gd name="connsiteY47" fmla="*/ 54483 h 387120"/>
                                                    <a:gd name="connsiteX48" fmla="*/ 143470 w 291368"/>
                                                    <a:gd name="connsiteY48" fmla="*/ 46903 h 387120"/>
                                                    <a:gd name="connsiteX49" fmla="*/ 142240 w 291368"/>
                                                    <a:gd name="connsiteY49" fmla="*/ 32067 h 387120"/>
                                                    <a:gd name="connsiteX50" fmla="*/ 148200 w 291368"/>
                                                    <a:gd name="connsiteY50" fmla="*/ 19499 h 387120"/>
                                                    <a:gd name="connsiteX51" fmla="*/ 154873 w 291368"/>
                                                    <a:gd name="connsiteY51" fmla="*/ 17490 h 387120"/>
                                                    <a:gd name="connsiteX52" fmla="*/ 157723 w 291368"/>
                                                    <a:gd name="connsiteY52" fmla="*/ 9587 h 387120"/>
                                                    <a:gd name="connsiteX53" fmla="*/ 171004 w 291368"/>
                                                    <a:gd name="connsiteY53" fmla="*/ 2007 h 387120"/>
                                                    <a:gd name="connsiteX54" fmla="*/ 161157 w 291368"/>
                                                    <a:gd name="connsiteY54" fmla="*/ 63 h 387120"/>
                                                    <a:gd name="connsiteX55" fmla="*/ 140296 w 291368"/>
                                                    <a:gd name="connsiteY55" fmla="*/ 10234 h 387120"/>
                                                    <a:gd name="connsiteX56" fmla="*/ 135048 w 291368"/>
                                                    <a:gd name="connsiteY56" fmla="*/ 15871 h 387120"/>
                                                    <a:gd name="connsiteX57" fmla="*/ 118852 w 291368"/>
                                                    <a:gd name="connsiteY57" fmla="*/ 19110 h 387120"/>
                                                    <a:gd name="connsiteX58" fmla="*/ 104923 w 291368"/>
                                                    <a:gd name="connsiteY58" fmla="*/ 26560 h 387120"/>
                                                    <a:gd name="connsiteX59" fmla="*/ 101036 w 291368"/>
                                                    <a:gd name="connsiteY59" fmla="*/ 36538 h 387120"/>
                                                    <a:gd name="connsiteX60" fmla="*/ 96436 w 291368"/>
                                                    <a:gd name="connsiteY60" fmla="*/ 36991 h 387120"/>
                                                    <a:gd name="connsiteX61" fmla="*/ 85228 w 291368"/>
                                                    <a:gd name="connsiteY61" fmla="*/ 45283 h 387120"/>
                                                    <a:gd name="connsiteX62" fmla="*/ 83414 w 291368"/>
                                                    <a:gd name="connsiteY62" fmla="*/ 50596 h 387120"/>
                                                    <a:gd name="connsiteX63" fmla="*/ 78620 w 291368"/>
                                                    <a:gd name="connsiteY63" fmla="*/ 51827 h 387120"/>
                                                    <a:gd name="connsiteX64" fmla="*/ 73955 w 291368"/>
                                                    <a:gd name="connsiteY64" fmla="*/ 59083 h 387120"/>
                                                    <a:gd name="connsiteX65" fmla="*/ 63719 w 291368"/>
                                                    <a:gd name="connsiteY65" fmla="*/ 62452 h 387120"/>
                                                    <a:gd name="connsiteX66" fmla="*/ 62229 w 291368"/>
                                                    <a:gd name="connsiteY66" fmla="*/ 72882 h 387120"/>
                                                    <a:gd name="connsiteX67" fmla="*/ 50049 w 291368"/>
                                                    <a:gd name="connsiteY67" fmla="*/ 76445 h 387120"/>
                                                    <a:gd name="connsiteX68" fmla="*/ 49596 w 291368"/>
                                                    <a:gd name="connsiteY68" fmla="*/ 85062 h 387120"/>
                                                    <a:gd name="connsiteX69" fmla="*/ 37027 w 291368"/>
                                                    <a:gd name="connsiteY69" fmla="*/ 88560 h 387120"/>
                                                    <a:gd name="connsiteX70" fmla="*/ 40202 w 291368"/>
                                                    <a:gd name="connsiteY70" fmla="*/ 80138 h 387120"/>
                                                    <a:gd name="connsiteX71" fmla="*/ 35084 w 291368"/>
                                                    <a:gd name="connsiteY71" fmla="*/ 79490 h 387120"/>
                                                    <a:gd name="connsiteX72" fmla="*/ 25820 w 291368"/>
                                                    <a:gd name="connsiteY72" fmla="*/ 73206 h 387120"/>
                                                    <a:gd name="connsiteX73" fmla="*/ 15324 w 291368"/>
                                                    <a:gd name="connsiteY73" fmla="*/ 80462 h 387120"/>
                                                    <a:gd name="connsiteX74" fmla="*/ 4051 w 291368"/>
                                                    <a:gd name="connsiteY74" fmla="*/ 87005 h 387120"/>
                                                    <a:gd name="connsiteX75" fmla="*/ 8910 w 291368"/>
                                                    <a:gd name="connsiteY75" fmla="*/ 94261 h 387120"/>
                                                    <a:gd name="connsiteX76" fmla="*/ 11955 w 291368"/>
                                                    <a:gd name="connsiteY76" fmla="*/ 96723 h 387120"/>
                                                    <a:gd name="connsiteX77" fmla="*/ 12992 w 291368"/>
                                                    <a:gd name="connsiteY77" fmla="*/ 100416 h 387120"/>
                                                    <a:gd name="connsiteX78" fmla="*/ 33011 w 291368"/>
                                                    <a:gd name="connsiteY78" fmla="*/ 120111 h 387120"/>
                                                    <a:gd name="connsiteX79" fmla="*/ 39748 w 291368"/>
                                                    <a:gd name="connsiteY79" fmla="*/ 138380 h 387120"/>
                                                    <a:gd name="connsiteX80" fmla="*/ 37934 w 291368"/>
                                                    <a:gd name="connsiteY80" fmla="*/ 151662 h 387120"/>
                                                    <a:gd name="connsiteX81" fmla="*/ 39813 w 291368"/>
                                                    <a:gd name="connsiteY81" fmla="*/ 175244 h 387120"/>
                                                    <a:gd name="connsiteX82" fmla="*/ 36833 w 291368"/>
                                                    <a:gd name="connsiteY82" fmla="*/ 178029 h 387120"/>
                                                    <a:gd name="connsiteX83" fmla="*/ 37481 w 291368"/>
                                                    <a:gd name="connsiteY83" fmla="*/ 191116 h 387120"/>
                                                    <a:gd name="connsiteX84" fmla="*/ 49207 w 291368"/>
                                                    <a:gd name="connsiteY84" fmla="*/ 199020 h 387120"/>
                                                    <a:gd name="connsiteX85" fmla="*/ 45709 w 291368"/>
                                                    <a:gd name="connsiteY85" fmla="*/ 214439 h 387120"/>
                                                    <a:gd name="connsiteX86" fmla="*/ 32428 w 291368"/>
                                                    <a:gd name="connsiteY86" fmla="*/ 219557 h 387120"/>
                                                    <a:gd name="connsiteX87" fmla="*/ 30095 w 291368"/>
                                                    <a:gd name="connsiteY87" fmla="*/ 225258 h 387120"/>
                                                    <a:gd name="connsiteX88" fmla="*/ 10012 w 291368"/>
                                                    <a:gd name="connsiteY88" fmla="*/ 237179 h 387120"/>
                                                    <a:gd name="connsiteX89" fmla="*/ 1007 w 291368"/>
                                                    <a:gd name="connsiteY89" fmla="*/ 263935 h 387120"/>
                                                    <a:gd name="connsiteX90" fmla="*/ 5671 w 291368"/>
                                                    <a:gd name="connsiteY90" fmla="*/ 269442 h 387120"/>
                                                    <a:gd name="connsiteX91" fmla="*/ 4959 w 291368"/>
                                                    <a:gd name="connsiteY91" fmla="*/ 273653 h 387120"/>
                                                    <a:gd name="connsiteX92" fmla="*/ 32104 w 291368"/>
                                                    <a:gd name="connsiteY92" fmla="*/ 285120 h 387120"/>
                                                    <a:gd name="connsiteX93" fmla="*/ 39360 w 291368"/>
                                                    <a:gd name="connsiteY93" fmla="*/ 295162 h 38712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91368" h="387120">
                                                      <a:moveTo>
                                                        <a:pt x="39295" y="294838"/>
                                                      </a:moveTo>
                                                      <a:cubicBezTo>
                                                        <a:pt x="42988" y="296199"/>
                                                        <a:pt x="47069" y="294320"/>
                                                        <a:pt x="50956" y="294838"/>
                                                      </a:cubicBezTo>
                                                      <a:cubicBezTo>
                                                        <a:pt x="59249" y="295810"/>
                                                        <a:pt x="64367" y="306629"/>
                                                        <a:pt x="72724" y="306240"/>
                                                      </a:cubicBezTo>
                                                      <a:cubicBezTo>
                                                        <a:pt x="75316" y="306111"/>
                                                        <a:pt x="78231" y="304880"/>
                                                        <a:pt x="80369" y="306370"/>
                                                      </a:cubicBezTo>
                                                      <a:cubicBezTo>
                                                        <a:pt x="82054" y="307536"/>
                                                        <a:pt x="82507" y="309804"/>
                                                        <a:pt x="83544" y="311553"/>
                                                      </a:cubicBezTo>
                                                      <a:cubicBezTo>
                                                        <a:pt x="88014" y="319003"/>
                                                        <a:pt x="101165" y="314663"/>
                                                        <a:pt x="106996" y="321141"/>
                                                      </a:cubicBezTo>
                                                      <a:cubicBezTo>
                                                        <a:pt x="109911" y="324380"/>
                                                        <a:pt x="110041" y="329369"/>
                                                        <a:pt x="113021" y="332543"/>
                                                      </a:cubicBezTo>
                                                      <a:cubicBezTo>
                                                        <a:pt x="116001" y="335718"/>
                                                        <a:pt x="120795" y="336107"/>
                                                        <a:pt x="124682" y="338115"/>
                                                      </a:cubicBezTo>
                                                      <a:cubicBezTo>
                                                        <a:pt x="131809" y="341872"/>
                                                        <a:pt x="134465" y="350554"/>
                                                        <a:pt x="137510" y="358069"/>
                                                      </a:cubicBezTo>
                                                      <a:cubicBezTo>
                                                        <a:pt x="140555" y="365519"/>
                                                        <a:pt x="146515" y="373618"/>
                                                        <a:pt x="154549" y="372970"/>
                                                      </a:cubicBezTo>
                                                      <a:cubicBezTo>
                                                        <a:pt x="159019" y="372646"/>
                                                        <a:pt x="162841" y="369536"/>
                                                        <a:pt x="167312" y="369018"/>
                                                      </a:cubicBezTo>
                                                      <a:cubicBezTo>
                                                        <a:pt x="173401" y="368240"/>
                                                        <a:pt x="179426" y="372322"/>
                                                        <a:pt x="185516" y="371415"/>
                                                      </a:cubicBezTo>
                                                      <a:cubicBezTo>
                                                        <a:pt x="188820" y="370961"/>
                                                        <a:pt x="191801" y="369018"/>
                                                        <a:pt x="195105" y="368305"/>
                                                      </a:cubicBezTo>
                                                      <a:cubicBezTo>
                                                        <a:pt x="201389" y="366945"/>
                                                        <a:pt x="208386" y="370767"/>
                                                        <a:pt x="210718" y="376792"/>
                                                      </a:cubicBezTo>
                                                      <a:cubicBezTo>
                                                        <a:pt x="211754" y="379578"/>
                                                        <a:pt x="211949" y="382752"/>
                                                        <a:pt x="213763" y="385149"/>
                                                      </a:cubicBezTo>
                                                      <a:cubicBezTo>
                                                        <a:pt x="215577" y="387546"/>
                                                        <a:pt x="220112" y="388000"/>
                                                        <a:pt x="221019" y="385149"/>
                                                      </a:cubicBezTo>
                                                      <a:cubicBezTo>
                                                        <a:pt x="228469" y="376986"/>
                                                        <a:pt x="233523" y="366621"/>
                                                        <a:pt x="235207" y="355672"/>
                                                      </a:cubicBezTo>
                                                      <a:cubicBezTo>
                                                        <a:pt x="236697" y="345954"/>
                                                        <a:pt x="235142" y="334941"/>
                                                        <a:pt x="227757" y="328462"/>
                                                      </a:cubicBezTo>
                                                      <a:cubicBezTo>
                                                        <a:pt x="231709" y="322955"/>
                                                        <a:pt x="224841" y="316347"/>
                                                        <a:pt x="222379" y="310063"/>
                                                      </a:cubicBezTo>
                                                      <a:cubicBezTo>
                                                        <a:pt x="220306" y="304750"/>
                                                        <a:pt x="221732" y="298207"/>
                                                        <a:pt x="225878" y="294255"/>
                                                      </a:cubicBezTo>
                                                      <a:cubicBezTo>
                                                        <a:pt x="230024" y="290303"/>
                                                        <a:pt x="236632" y="289137"/>
                                                        <a:pt x="241880" y="291469"/>
                                                      </a:cubicBezTo>
                                                      <a:cubicBezTo>
                                                        <a:pt x="242269" y="288943"/>
                                                        <a:pt x="242722" y="286481"/>
                                                        <a:pt x="243111" y="283954"/>
                                                      </a:cubicBezTo>
                                                      <a:cubicBezTo>
                                                        <a:pt x="238252" y="282788"/>
                                                        <a:pt x="233263" y="281557"/>
                                                        <a:pt x="229376" y="278447"/>
                                                      </a:cubicBezTo>
                                                      <a:cubicBezTo>
                                                        <a:pt x="225489" y="275338"/>
                                                        <a:pt x="223027" y="269896"/>
                                                        <a:pt x="224906" y="265296"/>
                                                      </a:cubicBezTo>
                                                      <a:cubicBezTo>
                                                        <a:pt x="227562" y="259012"/>
                                                        <a:pt x="235984" y="258169"/>
                                                        <a:pt x="242852" y="258299"/>
                                                      </a:cubicBezTo>
                                                      <a:cubicBezTo>
                                                        <a:pt x="252116" y="258493"/>
                                                        <a:pt x="261380" y="258623"/>
                                                        <a:pt x="270645" y="258817"/>
                                                      </a:cubicBezTo>
                                                      <a:cubicBezTo>
                                                        <a:pt x="278419" y="258947"/>
                                                        <a:pt x="288331" y="257651"/>
                                                        <a:pt x="290469" y="250136"/>
                                                      </a:cubicBezTo>
                                                      <a:cubicBezTo>
                                                        <a:pt x="292154" y="244176"/>
                                                        <a:pt x="287554" y="238539"/>
                                                        <a:pt x="284185" y="233356"/>
                                                      </a:cubicBezTo>
                                                      <a:cubicBezTo>
                                                        <a:pt x="280816" y="228174"/>
                                                        <a:pt x="279132" y="220011"/>
                                                        <a:pt x="284444" y="216836"/>
                                                      </a:cubicBezTo>
                                                      <a:cubicBezTo>
                                                        <a:pt x="286129" y="215864"/>
                                                        <a:pt x="288202" y="215605"/>
                                                        <a:pt x="289692" y="214309"/>
                                                      </a:cubicBezTo>
                                                      <a:cubicBezTo>
                                                        <a:pt x="292089" y="212171"/>
                                                        <a:pt x="291700" y="208155"/>
                                                        <a:pt x="289886" y="205499"/>
                                                      </a:cubicBezTo>
                                                      <a:cubicBezTo>
                                                        <a:pt x="288072" y="202842"/>
                                                        <a:pt x="285221" y="201093"/>
                                                        <a:pt x="282824" y="199020"/>
                                                      </a:cubicBezTo>
                                                      <a:cubicBezTo>
                                                        <a:pt x="273884" y="191375"/>
                                                        <a:pt x="270645" y="177770"/>
                                                        <a:pt x="275050" y="166886"/>
                                                      </a:cubicBezTo>
                                                      <a:cubicBezTo>
                                                        <a:pt x="278095" y="159371"/>
                                                        <a:pt x="284379" y="152828"/>
                                                        <a:pt x="284250" y="144794"/>
                                                      </a:cubicBezTo>
                                                      <a:cubicBezTo>
                                                        <a:pt x="284250" y="143369"/>
                                                        <a:pt x="283926" y="141685"/>
                                                        <a:pt x="282695" y="140907"/>
                                                      </a:cubicBezTo>
                                                      <a:cubicBezTo>
                                                        <a:pt x="281658" y="140195"/>
                                                        <a:pt x="280298" y="140324"/>
                                                        <a:pt x="279067" y="140454"/>
                                                      </a:cubicBezTo>
                                                      <a:cubicBezTo>
                                                        <a:pt x="266045" y="141814"/>
                                                        <a:pt x="252958" y="143175"/>
                                                        <a:pt x="239936" y="144535"/>
                                                      </a:cubicBezTo>
                                                      <a:cubicBezTo>
                                                        <a:pt x="241945" y="140000"/>
                                                        <a:pt x="237151" y="135336"/>
                                                        <a:pt x="232551" y="133586"/>
                                                      </a:cubicBezTo>
                                                      <a:cubicBezTo>
                                                        <a:pt x="227951" y="131837"/>
                                                        <a:pt x="222379" y="130930"/>
                                                        <a:pt x="219658" y="126849"/>
                                                      </a:cubicBezTo>
                                                      <a:cubicBezTo>
                                                        <a:pt x="218687" y="125359"/>
                                                        <a:pt x="218233" y="123674"/>
                                                        <a:pt x="217261" y="122184"/>
                                                      </a:cubicBezTo>
                                                      <a:cubicBezTo>
                                                        <a:pt x="212985" y="115382"/>
                                                        <a:pt x="202685" y="117066"/>
                                                        <a:pt x="195299" y="120241"/>
                                                      </a:cubicBezTo>
                                                      <a:cubicBezTo>
                                                        <a:pt x="187913" y="123415"/>
                                                        <a:pt x="178843" y="127173"/>
                                                        <a:pt x="172494" y="122184"/>
                                                      </a:cubicBezTo>
                                                      <a:cubicBezTo>
                                                        <a:pt x="174244" y="114928"/>
                                                        <a:pt x="163360" y="110911"/>
                                                        <a:pt x="161481" y="103720"/>
                                                      </a:cubicBezTo>
                                                      <a:cubicBezTo>
                                                        <a:pt x="160056" y="98213"/>
                                                        <a:pt x="164396" y="92188"/>
                                                        <a:pt x="162388" y="86811"/>
                                                      </a:cubicBezTo>
                                                      <a:cubicBezTo>
                                                        <a:pt x="161351" y="84025"/>
                                                        <a:pt x="158760" y="82017"/>
                                                        <a:pt x="157788" y="79231"/>
                                                      </a:cubicBezTo>
                                                      <a:cubicBezTo>
                                                        <a:pt x="156816" y="76575"/>
                                                        <a:pt x="157399" y="73530"/>
                                                        <a:pt x="156298" y="71003"/>
                                                      </a:cubicBezTo>
                                                      <a:cubicBezTo>
                                                        <a:pt x="154160" y="66144"/>
                                                        <a:pt x="147682" y="65561"/>
                                                        <a:pt x="142369" y="64654"/>
                                                      </a:cubicBezTo>
                                                      <a:cubicBezTo>
                                                        <a:pt x="137121" y="63747"/>
                                                        <a:pt x="130902" y="59342"/>
                                                        <a:pt x="132975" y="54483"/>
                                                      </a:cubicBezTo>
                                                      <a:cubicBezTo>
                                                        <a:pt x="137510" y="56491"/>
                                                        <a:pt x="142628" y="51762"/>
                                                        <a:pt x="143470" y="46903"/>
                                                      </a:cubicBezTo>
                                                      <a:cubicBezTo>
                                                        <a:pt x="144313" y="41979"/>
                                                        <a:pt x="142628" y="37056"/>
                                                        <a:pt x="142240" y="32067"/>
                                                      </a:cubicBezTo>
                                                      <a:cubicBezTo>
                                                        <a:pt x="141851" y="27079"/>
                                                        <a:pt x="143470" y="21183"/>
                                                        <a:pt x="148200" y="19499"/>
                                                      </a:cubicBezTo>
                                                      <a:cubicBezTo>
                                                        <a:pt x="150402" y="18721"/>
                                                        <a:pt x="153123" y="18980"/>
                                                        <a:pt x="154873" y="17490"/>
                                                      </a:cubicBezTo>
                                                      <a:cubicBezTo>
                                                        <a:pt x="157011" y="15612"/>
                                                        <a:pt x="156687" y="12243"/>
                                                        <a:pt x="157723" y="9587"/>
                                                      </a:cubicBezTo>
                                                      <a:cubicBezTo>
                                                        <a:pt x="159602" y="4533"/>
                                                        <a:pt x="165238" y="3173"/>
                                                        <a:pt x="171004" y="2007"/>
                                                      </a:cubicBezTo>
                                                      <a:cubicBezTo>
                                                        <a:pt x="168089" y="322"/>
                                                        <a:pt x="164526" y="-196"/>
                                                        <a:pt x="161157" y="63"/>
                                                      </a:cubicBezTo>
                                                      <a:cubicBezTo>
                                                        <a:pt x="153253" y="581"/>
                                                        <a:pt x="145608" y="4339"/>
                                                        <a:pt x="140296" y="10234"/>
                                                      </a:cubicBezTo>
                                                      <a:cubicBezTo>
                                                        <a:pt x="138612" y="12178"/>
                                                        <a:pt x="137121" y="14316"/>
                                                        <a:pt x="135048" y="15871"/>
                                                      </a:cubicBezTo>
                                                      <a:cubicBezTo>
                                                        <a:pt x="130578" y="19175"/>
                                                        <a:pt x="124488" y="18851"/>
                                                        <a:pt x="118852" y="19110"/>
                                                      </a:cubicBezTo>
                                                      <a:cubicBezTo>
                                                        <a:pt x="113280" y="19434"/>
                                                        <a:pt x="106802" y="21313"/>
                                                        <a:pt x="104923" y="26560"/>
                                                      </a:cubicBezTo>
                                                      <a:cubicBezTo>
                                                        <a:pt x="103692" y="30059"/>
                                                        <a:pt x="104340" y="34918"/>
                                                        <a:pt x="101036" y="36538"/>
                                                      </a:cubicBezTo>
                                                      <a:cubicBezTo>
                                                        <a:pt x="99610" y="37185"/>
                                                        <a:pt x="97991" y="36991"/>
                                                        <a:pt x="96436" y="36991"/>
                                                      </a:cubicBezTo>
                                                      <a:cubicBezTo>
                                                        <a:pt x="91512" y="37121"/>
                                                        <a:pt x="86783" y="40619"/>
                                                        <a:pt x="85228" y="45283"/>
                                                      </a:cubicBezTo>
                                                      <a:cubicBezTo>
                                                        <a:pt x="84645" y="47097"/>
                                                        <a:pt x="84451" y="49041"/>
                                                        <a:pt x="83414" y="50596"/>
                                                      </a:cubicBezTo>
                                                      <a:cubicBezTo>
                                                        <a:pt x="82377" y="52151"/>
                                                        <a:pt x="79980" y="53058"/>
                                                        <a:pt x="78620" y="51827"/>
                                                      </a:cubicBezTo>
                                                      <a:cubicBezTo>
                                                        <a:pt x="78814" y="54872"/>
                                                        <a:pt x="76806" y="57982"/>
                                                        <a:pt x="73955" y="59083"/>
                                                      </a:cubicBezTo>
                                                      <a:cubicBezTo>
                                                        <a:pt x="70457" y="60379"/>
                                                        <a:pt x="65663" y="59342"/>
                                                        <a:pt x="63719" y="62452"/>
                                                      </a:cubicBezTo>
                                                      <a:cubicBezTo>
                                                        <a:pt x="61840" y="65497"/>
                                                        <a:pt x="64561" y="70096"/>
                                                        <a:pt x="62229" y="72882"/>
                                                      </a:cubicBezTo>
                                                      <a:cubicBezTo>
                                                        <a:pt x="59379" y="76251"/>
                                                        <a:pt x="52576" y="72817"/>
                                                        <a:pt x="50049" y="76445"/>
                                                      </a:cubicBezTo>
                                                      <a:cubicBezTo>
                                                        <a:pt x="48365" y="78843"/>
                                                        <a:pt x="50309" y="82211"/>
                                                        <a:pt x="49596" y="85062"/>
                                                      </a:cubicBezTo>
                                                      <a:cubicBezTo>
                                                        <a:pt x="48430" y="89727"/>
                                                        <a:pt x="41757" y="89662"/>
                                                        <a:pt x="37027" y="88560"/>
                                                      </a:cubicBezTo>
                                                      <a:lnTo>
                                                        <a:pt x="40202" y="80138"/>
                                                      </a:lnTo>
                                                      <a:cubicBezTo>
                                                        <a:pt x="38518" y="79944"/>
                                                        <a:pt x="36768" y="79685"/>
                                                        <a:pt x="35084" y="79490"/>
                                                      </a:cubicBezTo>
                                                      <a:cubicBezTo>
                                                        <a:pt x="36444" y="74761"/>
                                                        <a:pt x="29707" y="70161"/>
                                                        <a:pt x="25820" y="73206"/>
                                                      </a:cubicBezTo>
                                                      <a:cubicBezTo>
                                                        <a:pt x="26143" y="77935"/>
                                                        <a:pt x="20054" y="80073"/>
                                                        <a:pt x="15324" y="80462"/>
                                                      </a:cubicBezTo>
                                                      <a:cubicBezTo>
                                                        <a:pt x="10595" y="80851"/>
                                                        <a:pt x="4505" y="82276"/>
                                                        <a:pt x="4051" y="87005"/>
                                                      </a:cubicBezTo>
                                                      <a:cubicBezTo>
                                                        <a:pt x="3792" y="90050"/>
                                                        <a:pt x="6319" y="92642"/>
                                                        <a:pt x="8910" y="94261"/>
                                                      </a:cubicBezTo>
                                                      <a:cubicBezTo>
                                                        <a:pt x="10012" y="94909"/>
                                                        <a:pt x="11243" y="95557"/>
                                                        <a:pt x="11955" y="96723"/>
                                                      </a:cubicBezTo>
                                                      <a:cubicBezTo>
                                                        <a:pt x="12668" y="97825"/>
                                                        <a:pt x="12668" y="99185"/>
                                                        <a:pt x="12992" y="100416"/>
                                                      </a:cubicBezTo>
                                                      <a:cubicBezTo>
                                                        <a:pt x="15519" y="109875"/>
                                                        <a:pt x="32493" y="110328"/>
                                                        <a:pt x="33011" y="120111"/>
                                                      </a:cubicBezTo>
                                                      <a:cubicBezTo>
                                                        <a:pt x="37092" y="125229"/>
                                                        <a:pt x="40461" y="131902"/>
                                                        <a:pt x="39748" y="138380"/>
                                                      </a:cubicBezTo>
                                                      <a:cubicBezTo>
                                                        <a:pt x="39295" y="142851"/>
                                                        <a:pt x="37611" y="147191"/>
                                                        <a:pt x="37934" y="151662"/>
                                                      </a:cubicBezTo>
                                                      <a:cubicBezTo>
                                                        <a:pt x="38518" y="159889"/>
                                                        <a:pt x="45320" y="169154"/>
                                                        <a:pt x="39813" y="175244"/>
                                                      </a:cubicBezTo>
                                                      <a:cubicBezTo>
                                                        <a:pt x="38906" y="176280"/>
                                                        <a:pt x="37740" y="176993"/>
                                                        <a:pt x="36833" y="178029"/>
                                                      </a:cubicBezTo>
                                                      <a:cubicBezTo>
                                                        <a:pt x="33659" y="181593"/>
                                                        <a:pt x="34501" y="187359"/>
                                                        <a:pt x="37481" y="191116"/>
                                                      </a:cubicBezTo>
                                                      <a:cubicBezTo>
                                                        <a:pt x="40396" y="194874"/>
                                                        <a:pt x="44867" y="197012"/>
                                                        <a:pt x="49207" y="199020"/>
                                                      </a:cubicBezTo>
                                                      <a:cubicBezTo>
                                                        <a:pt x="49985" y="204527"/>
                                                        <a:pt x="50309" y="211264"/>
                                                        <a:pt x="45709" y="214439"/>
                                                      </a:cubicBezTo>
                                                      <a:cubicBezTo>
                                                        <a:pt x="41757" y="217160"/>
                                                        <a:pt x="35537" y="215864"/>
                                                        <a:pt x="32428" y="219557"/>
                                                      </a:cubicBezTo>
                                                      <a:cubicBezTo>
                                                        <a:pt x="31132" y="221177"/>
                                                        <a:pt x="30743" y="223250"/>
                                                        <a:pt x="30095" y="225258"/>
                                                      </a:cubicBezTo>
                                                      <a:cubicBezTo>
                                                        <a:pt x="27374" y="233292"/>
                                                        <a:pt x="18369" y="238604"/>
                                                        <a:pt x="10012" y="237179"/>
                                                      </a:cubicBezTo>
                                                      <a:cubicBezTo>
                                                        <a:pt x="14158" y="246378"/>
                                                        <a:pt x="-4435" y="255513"/>
                                                        <a:pt x="1007" y="263935"/>
                                                      </a:cubicBezTo>
                                                      <a:cubicBezTo>
                                                        <a:pt x="2302" y="265944"/>
                                                        <a:pt x="4829" y="267175"/>
                                                        <a:pt x="5671" y="269442"/>
                                                      </a:cubicBezTo>
                                                      <a:cubicBezTo>
                                                        <a:pt x="6254" y="270997"/>
                                                        <a:pt x="5865" y="272422"/>
                                                        <a:pt x="4959" y="273653"/>
                                                      </a:cubicBezTo>
                                                      <a:cubicBezTo>
                                                        <a:pt x="13121" y="279225"/>
                                                        <a:pt x="22386" y="283306"/>
                                                        <a:pt x="32104" y="285120"/>
                                                      </a:cubicBezTo>
                                                      <a:cubicBezTo>
                                                        <a:pt x="33464" y="289202"/>
                                                        <a:pt x="35278" y="293737"/>
                                                        <a:pt x="39360" y="29516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5" name="Freeform: Shape 39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B4A6908-5D1B-4401-BA4F-CC3915D37F6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90526" y="4055858"/>
                                                  <a:ext cx="339691" cy="31006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72221 w 339691"/>
                                                    <a:gd name="connsiteY0" fmla="*/ 296006 h 310064"/>
                                                    <a:gd name="connsiteX1" fmla="*/ 174877 w 339691"/>
                                                    <a:gd name="connsiteY1" fmla="*/ 304558 h 310064"/>
                                                    <a:gd name="connsiteX2" fmla="*/ 184271 w 339691"/>
                                                    <a:gd name="connsiteY2" fmla="*/ 307214 h 310064"/>
                                                    <a:gd name="connsiteX3" fmla="*/ 209861 w 339691"/>
                                                    <a:gd name="connsiteY3" fmla="*/ 310065 h 310064"/>
                                                    <a:gd name="connsiteX4" fmla="*/ 214850 w 339691"/>
                                                    <a:gd name="connsiteY4" fmla="*/ 296200 h 310064"/>
                                                    <a:gd name="connsiteX5" fmla="*/ 221393 w 339691"/>
                                                    <a:gd name="connsiteY5" fmla="*/ 296783 h 310064"/>
                                                    <a:gd name="connsiteX6" fmla="*/ 231629 w 339691"/>
                                                    <a:gd name="connsiteY6" fmla="*/ 293479 h 310064"/>
                                                    <a:gd name="connsiteX7" fmla="*/ 232342 w 339691"/>
                                                    <a:gd name="connsiteY7" fmla="*/ 283243 h 310064"/>
                                                    <a:gd name="connsiteX8" fmla="*/ 246012 w 339691"/>
                                                    <a:gd name="connsiteY8" fmla="*/ 277866 h 310064"/>
                                                    <a:gd name="connsiteX9" fmla="*/ 250611 w 339691"/>
                                                    <a:gd name="connsiteY9" fmla="*/ 263160 h 310064"/>
                                                    <a:gd name="connsiteX10" fmla="*/ 232601 w 339691"/>
                                                    <a:gd name="connsiteY10" fmla="*/ 239837 h 310064"/>
                                                    <a:gd name="connsiteX11" fmla="*/ 230333 w 339691"/>
                                                    <a:gd name="connsiteY11" fmla="*/ 230572 h 310064"/>
                                                    <a:gd name="connsiteX12" fmla="*/ 228908 w 339691"/>
                                                    <a:gd name="connsiteY12" fmla="*/ 214700 h 310064"/>
                                                    <a:gd name="connsiteX13" fmla="*/ 249510 w 339691"/>
                                                    <a:gd name="connsiteY13" fmla="*/ 219235 h 310064"/>
                                                    <a:gd name="connsiteX14" fmla="*/ 253786 w 339691"/>
                                                    <a:gd name="connsiteY14" fmla="*/ 224223 h 310064"/>
                                                    <a:gd name="connsiteX15" fmla="*/ 263763 w 339691"/>
                                                    <a:gd name="connsiteY15" fmla="*/ 226037 h 310064"/>
                                                    <a:gd name="connsiteX16" fmla="*/ 267520 w 339691"/>
                                                    <a:gd name="connsiteY16" fmla="*/ 233358 h 310064"/>
                                                    <a:gd name="connsiteX17" fmla="*/ 276137 w 339691"/>
                                                    <a:gd name="connsiteY17" fmla="*/ 228110 h 310064"/>
                                                    <a:gd name="connsiteX18" fmla="*/ 280478 w 339691"/>
                                                    <a:gd name="connsiteY18" fmla="*/ 216838 h 310064"/>
                                                    <a:gd name="connsiteX19" fmla="*/ 285790 w 339691"/>
                                                    <a:gd name="connsiteY19" fmla="*/ 215866 h 310064"/>
                                                    <a:gd name="connsiteX20" fmla="*/ 305420 w 339691"/>
                                                    <a:gd name="connsiteY20" fmla="*/ 215866 h 310064"/>
                                                    <a:gd name="connsiteX21" fmla="*/ 311704 w 339691"/>
                                                    <a:gd name="connsiteY21" fmla="*/ 205759 h 310064"/>
                                                    <a:gd name="connsiteX22" fmla="*/ 322783 w 339691"/>
                                                    <a:gd name="connsiteY22" fmla="*/ 198892 h 310064"/>
                                                    <a:gd name="connsiteX23" fmla="*/ 319738 w 339691"/>
                                                    <a:gd name="connsiteY23" fmla="*/ 185222 h 310064"/>
                                                    <a:gd name="connsiteX24" fmla="*/ 310992 w 339691"/>
                                                    <a:gd name="connsiteY24" fmla="*/ 173302 h 310064"/>
                                                    <a:gd name="connsiteX25" fmla="*/ 312806 w 339691"/>
                                                    <a:gd name="connsiteY25" fmla="*/ 145250 h 310064"/>
                                                    <a:gd name="connsiteX26" fmla="*/ 328030 w 339691"/>
                                                    <a:gd name="connsiteY26" fmla="*/ 116550 h 310064"/>
                                                    <a:gd name="connsiteX27" fmla="*/ 339692 w 339691"/>
                                                    <a:gd name="connsiteY27" fmla="*/ 99900 h 310064"/>
                                                    <a:gd name="connsiteX28" fmla="*/ 335286 w 339691"/>
                                                    <a:gd name="connsiteY28" fmla="*/ 97373 h 310064"/>
                                                    <a:gd name="connsiteX29" fmla="*/ 326281 w 339691"/>
                                                    <a:gd name="connsiteY29" fmla="*/ 101649 h 310064"/>
                                                    <a:gd name="connsiteX30" fmla="*/ 297128 w 339691"/>
                                                    <a:gd name="connsiteY30" fmla="*/ 92838 h 310064"/>
                                                    <a:gd name="connsiteX31" fmla="*/ 283587 w 339691"/>
                                                    <a:gd name="connsiteY31" fmla="*/ 81565 h 310064"/>
                                                    <a:gd name="connsiteX32" fmla="*/ 279765 w 339691"/>
                                                    <a:gd name="connsiteY32" fmla="*/ 76965 h 310064"/>
                                                    <a:gd name="connsiteX33" fmla="*/ 280802 w 339691"/>
                                                    <a:gd name="connsiteY33" fmla="*/ 62065 h 310064"/>
                                                    <a:gd name="connsiteX34" fmla="*/ 271019 w 339691"/>
                                                    <a:gd name="connsiteY34" fmla="*/ 56299 h 310064"/>
                                                    <a:gd name="connsiteX35" fmla="*/ 269658 w 339691"/>
                                                    <a:gd name="connsiteY35" fmla="*/ 47618 h 310064"/>
                                                    <a:gd name="connsiteX36" fmla="*/ 283134 w 339691"/>
                                                    <a:gd name="connsiteY36" fmla="*/ 39649 h 310064"/>
                                                    <a:gd name="connsiteX37" fmla="*/ 214072 w 339691"/>
                                                    <a:gd name="connsiteY37" fmla="*/ 62842 h 310064"/>
                                                    <a:gd name="connsiteX38" fmla="*/ 200791 w 339691"/>
                                                    <a:gd name="connsiteY38" fmla="*/ 60640 h 310064"/>
                                                    <a:gd name="connsiteX39" fmla="*/ 197681 w 339691"/>
                                                    <a:gd name="connsiteY39" fmla="*/ 45739 h 310064"/>
                                                    <a:gd name="connsiteX40" fmla="*/ 191656 w 339691"/>
                                                    <a:gd name="connsiteY40" fmla="*/ 50339 h 310064"/>
                                                    <a:gd name="connsiteX41" fmla="*/ 174747 w 339691"/>
                                                    <a:gd name="connsiteY41" fmla="*/ 61806 h 310064"/>
                                                    <a:gd name="connsiteX42" fmla="*/ 153174 w 339691"/>
                                                    <a:gd name="connsiteY42" fmla="*/ 59020 h 310064"/>
                                                    <a:gd name="connsiteX43" fmla="*/ 137819 w 339691"/>
                                                    <a:gd name="connsiteY43" fmla="*/ 54874 h 310064"/>
                                                    <a:gd name="connsiteX44" fmla="*/ 135811 w 339691"/>
                                                    <a:gd name="connsiteY44" fmla="*/ 50209 h 310064"/>
                                                    <a:gd name="connsiteX45" fmla="*/ 122919 w 339691"/>
                                                    <a:gd name="connsiteY45" fmla="*/ 44702 h 310064"/>
                                                    <a:gd name="connsiteX46" fmla="*/ 119291 w 339691"/>
                                                    <a:gd name="connsiteY46" fmla="*/ 37252 h 310064"/>
                                                    <a:gd name="connsiteX47" fmla="*/ 114238 w 339691"/>
                                                    <a:gd name="connsiteY47" fmla="*/ 36021 h 310064"/>
                                                    <a:gd name="connsiteX48" fmla="*/ 112100 w 339691"/>
                                                    <a:gd name="connsiteY48" fmla="*/ 24943 h 310064"/>
                                                    <a:gd name="connsiteX49" fmla="*/ 102900 w 339691"/>
                                                    <a:gd name="connsiteY49" fmla="*/ 19371 h 310064"/>
                                                    <a:gd name="connsiteX50" fmla="*/ 101669 w 339691"/>
                                                    <a:gd name="connsiteY50" fmla="*/ 15419 h 310064"/>
                                                    <a:gd name="connsiteX51" fmla="*/ 99596 w 339691"/>
                                                    <a:gd name="connsiteY51" fmla="*/ 0 h 310064"/>
                                                    <a:gd name="connsiteX52" fmla="*/ 91757 w 339691"/>
                                                    <a:gd name="connsiteY52" fmla="*/ 7774 h 310064"/>
                                                    <a:gd name="connsiteX53" fmla="*/ 91498 w 339691"/>
                                                    <a:gd name="connsiteY53" fmla="*/ 19371 h 310064"/>
                                                    <a:gd name="connsiteX54" fmla="*/ 77439 w 339691"/>
                                                    <a:gd name="connsiteY54" fmla="*/ 27145 h 310064"/>
                                                    <a:gd name="connsiteX55" fmla="*/ 67462 w 339691"/>
                                                    <a:gd name="connsiteY55" fmla="*/ 27404 h 310064"/>
                                                    <a:gd name="connsiteX56" fmla="*/ 58263 w 339691"/>
                                                    <a:gd name="connsiteY56" fmla="*/ 41463 h 310064"/>
                                                    <a:gd name="connsiteX57" fmla="*/ 52367 w 339691"/>
                                                    <a:gd name="connsiteY57" fmla="*/ 45998 h 310064"/>
                                                    <a:gd name="connsiteX58" fmla="*/ 55736 w 339691"/>
                                                    <a:gd name="connsiteY58" fmla="*/ 54809 h 310064"/>
                                                    <a:gd name="connsiteX59" fmla="*/ 63510 w 339691"/>
                                                    <a:gd name="connsiteY59" fmla="*/ 61482 h 310064"/>
                                                    <a:gd name="connsiteX60" fmla="*/ 64871 w 339691"/>
                                                    <a:gd name="connsiteY60" fmla="*/ 67831 h 310064"/>
                                                    <a:gd name="connsiteX61" fmla="*/ 58198 w 339691"/>
                                                    <a:gd name="connsiteY61" fmla="*/ 83509 h 310064"/>
                                                    <a:gd name="connsiteX62" fmla="*/ 45565 w 339691"/>
                                                    <a:gd name="connsiteY62" fmla="*/ 78196 h 310064"/>
                                                    <a:gd name="connsiteX63" fmla="*/ 33126 w 339691"/>
                                                    <a:gd name="connsiteY63" fmla="*/ 75087 h 310064"/>
                                                    <a:gd name="connsiteX64" fmla="*/ 30146 w 339691"/>
                                                    <a:gd name="connsiteY64" fmla="*/ 59732 h 310064"/>
                                                    <a:gd name="connsiteX65" fmla="*/ 35393 w 339691"/>
                                                    <a:gd name="connsiteY65" fmla="*/ 47358 h 310064"/>
                                                    <a:gd name="connsiteX66" fmla="*/ 35847 w 339691"/>
                                                    <a:gd name="connsiteY66" fmla="*/ 42629 h 310064"/>
                                                    <a:gd name="connsiteX67" fmla="*/ 41548 w 339691"/>
                                                    <a:gd name="connsiteY67" fmla="*/ 37640 h 310064"/>
                                                    <a:gd name="connsiteX68" fmla="*/ 40447 w 339691"/>
                                                    <a:gd name="connsiteY68" fmla="*/ 26368 h 310064"/>
                                                    <a:gd name="connsiteX69" fmla="*/ 38438 w 339691"/>
                                                    <a:gd name="connsiteY69" fmla="*/ 25007 h 310064"/>
                                                    <a:gd name="connsiteX70" fmla="*/ 25157 w 339691"/>
                                                    <a:gd name="connsiteY70" fmla="*/ 32587 h 310064"/>
                                                    <a:gd name="connsiteX71" fmla="*/ 22307 w 339691"/>
                                                    <a:gd name="connsiteY71" fmla="*/ 40491 h 310064"/>
                                                    <a:gd name="connsiteX72" fmla="*/ 15634 w 339691"/>
                                                    <a:gd name="connsiteY72" fmla="*/ 42499 h 310064"/>
                                                    <a:gd name="connsiteX73" fmla="*/ 9673 w 339691"/>
                                                    <a:gd name="connsiteY73" fmla="*/ 55068 h 310064"/>
                                                    <a:gd name="connsiteX74" fmla="*/ 10904 w 339691"/>
                                                    <a:gd name="connsiteY74" fmla="*/ 69904 h 310064"/>
                                                    <a:gd name="connsiteX75" fmla="*/ 409 w 339691"/>
                                                    <a:gd name="connsiteY75" fmla="*/ 77484 h 310064"/>
                                                    <a:gd name="connsiteX76" fmla="*/ 9803 w 339691"/>
                                                    <a:gd name="connsiteY76" fmla="*/ 87655 h 310064"/>
                                                    <a:gd name="connsiteX77" fmla="*/ 23732 w 339691"/>
                                                    <a:gd name="connsiteY77" fmla="*/ 94004 h 310064"/>
                                                    <a:gd name="connsiteX78" fmla="*/ 25222 w 339691"/>
                                                    <a:gd name="connsiteY78" fmla="*/ 102232 h 310064"/>
                                                    <a:gd name="connsiteX79" fmla="*/ 29822 w 339691"/>
                                                    <a:gd name="connsiteY79" fmla="*/ 109812 h 310064"/>
                                                    <a:gd name="connsiteX80" fmla="*/ 28915 w 339691"/>
                                                    <a:gd name="connsiteY80" fmla="*/ 126721 h 310064"/>
                                                    <a:gd name="connsiteX81" fmla="*/ 39928 w 339691"/>
                                                    <a:gd name="connsiteY81" fmla="*/ 145185 h 310064"/>
                                                    <a:gd name="connsiteX82" fmla="*/ 62733 w 339691"/>
                                                    <a:gd name="connsiteY82" fmla="*/ 143241 h 310064"/>
                                                    <a:gd name="connsiteX83" fmla="*/ 84695 w 339691"/>
                                                    <a:gd name="connsiteY83" fmla="*/ 145185 h 310064"/>
                                                    <a:gd name="connsiteX84" fmla="*/ 87092 w 339691"/>
                                                    <a:gd name="connsiteY84" fmla="*/ 149849 h 310064"/>
                                                    <a:gd name="connsiteX85" fmla="*/ 99985 w 339691"/>
                                                    <a:gd name="connsiteY85" fmla="*/ 156587 h 310064"/>
                                                    <a:gd name="connsiteX86" fmla="*/ 107370 w 339691"/>
                                                    <a:gd name="connsiteY86" fmla="*/ 167536 h 310064"/>
                                                    <a:gd name="connsiteX87" fmla="*/ 146501 w 339691"/>
                                                    <a:gd name="connsiteY87" fmla="*/ 163454 h 310064"/>
                                                    <a:gd name="connsiteX88" fmla="*/ 150129 w 339691"/>
                                                    <a:gd name="connsiteY88" fmla="*/ 163908 h 310064"/>
                                                    <a:gd name="connsiteX89" fmla="*/ 151684 w 339691"/>
                                                    <a:gd name="connsiteY89" fmla="*/ 167795 h 310064"/>
                                                    <a:gd name="connsiteX90" fmla="*/ 142484 w 339691"/>
                                                    <a:gd name="connsiteY90" fmla="*/ 189887 h 310064"/>
                                                    <a:gd name="connsiteX91" fmla="*/ 150258 w 339691"/>
                                                    <a:gd name="connsiteY91" fmla="*/ 222021 h 310064"/>
                                                    <a:gd name="connsiteX92" fmla="*/ 157320 w 339691"/>
                                                    <a:gd name="connsiteY92" fmla="*/ 228499 h 310064"/>
                                                    <a:gd name="connsiteX93" fmla="*/ 157126 w 339691"/>
                                                    <a:gd name="connsiteY93" fmla="*/ 237310 h 310064"/>
                                                    <a:gd name="connsiteX94" fmla="*/ 151878 w 339691"/>
                                                    <a:gd name="connsiteY94" fmla="*/ 239837 h 310064"/>
                                                    <a:gd name="connsiteX95" fmla="*/ 151619 w 339691"/>
                                                    <a:gd name="connsiteY95" fmla="*/ 256357 h 310064"/>
                                                    <a:gd name="connsiteX96" fmla="*/ 157903 w 339691"/>
                                                    <a:gd name="connsiteY96" fmla="*/ 273137 h 310064"/>
                                                    <a:gd name="connsiteX97" fmla="*/ 154664 w 339691"/>
                                                    <a:gd name="connsiteY97" fmla="*/ 277931 h 310064"/>
                                                    <a:gd name="connsiteX98" fmla="*/ 171961 w 339691"/>
                                                    <a:gd name="connsiteY98" fmla="*/ 295876 h 31006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39691" h="310064">
                                                      <a:moveTo>
                                                        <a:pt x="172221" y="296006"/>
                                                      </a:moveTo>
                                                      <a:cubicBezTo>
                                                        <a:pt x="170536" y="298857"/>
                                                        <a:pt x="172221" y="302679"/>
                                                        <a:pt x="174877" y="304558"/>
                                                      </a:cubicBezTo>
                                                      <a:cubicBezTo>
                                                        <a:pt x="177533" y="306437"/>
                                                        <a:pt x="180967" y="306825"/>
                                                        <a:pt x="184271" y="307214"/>
                                                      </a:cubicBezTo>
                                                      <a:cubicBezTo>
                                                        <a:pt x="192823" y="308186"/>
                                                        <a:pt x="201374" y="309093"/>
                                                        <a:pt x="209861" y="310065"/>
                                                      </a:cubicBezTo>
                                                      <a:cubicBezTo>
                                                        <a:pt x="209149" y="304687"/>
                                                        <a:pt x="209602" y="297496"/>
                                                        <a:pt x="214850" y="296200"/>
                                                      </a:cubicBezTo>
                                                      <a:cubicBezTo>
                                                        <a:pt x="216988" y="295682"/>
                                                        <a:pt x="219255" y="296460"/>
                                                        <a:pt x="221393" y="296783"/>
                                                      </a:cubicBezTo>
                                                      <a:cubicBezTo>
                                                        <a:pt x="225086" y="297302"/>
                                                        <a:pt x="229103" y="296265"/>
                                                        <a:pt x="231629" y="293479"/>
                                                      </a:cubicBezTo>
                                                      <a:cubicBezTo>
                                                        <a:pt x="234156" y="290693"/>
                                                        <a:pt x="234674" y="286159"/>
                                                        <a:pt x="232342" y="283243"/>
                                                      </a:cubicBezTo>
                                                      <a:cubicBezTo>
                                                        <a:pt x="237330" y="284668"/>
                                                        <a:pt x="242902" y="282012"/>
                                                        <a:pt x="246012" y="277866"/>
                                                      </a:cubicBezTo>
                                                      <a:cubicBezTo>
                                                        <a:pt x="249121" y="273720"/>
                                                        <a:pt x="250288" y="268343"/>
                                                        <a:pt x="250611" y="263160"/>
                                                      </a:cubicBezTo>
                                                      <a:cubicBezTo>
                                                        <a:pt x="240051" y="262577"/>
                                                        <a:pt x="235128" y="250073"/>
                                                        <a:pt x="232601" y="239837"/>
                                                      </a:cubicBezTo>
                                                      <a:lnTo>
                                                        <a:pt x="230333" y="230572"/>
                                                      </a:lnTo>
                                                      <a:cubicBezTo>
                                                        <a:pt x="229103" y="225390"/>
                                                        <a:pt x="227807" y="219948"/>
                                                        <a:pt x="228908" y="214700"/>
                                                      </a:cubicBezTo>
                                                      <a:cubicBezTo>
                                                        <a:pt x="235711" y="211266"/>
                                                        <a:pt x="244781" y="213275"/>
                                                        <a:pt x="249510" y="219235"/>
                                                      </a:cubicBezTo>
                                                      <a:cubicBezTo>
                                                        <a:pt x="250871" y="220984"/>
                                                        <a:pt x="251972" y="223057"/>
                                                        <a:pt x="253786" y="224223"/>
                                                      </a:cubicBezTo>
                                                      <a:cubicBezTo>
                                                        <a:pt x="256636" y="226102"/>
                                                        <a:pt x="260459" y="225325"/>
                                                        <a:pt x="263763" y="226037"/>
                                                      </a:cubicBezTo>
                                                      <a:cubicBezTo>
                                                        <a:pt x="267067" y="226815"/>
                                                        <a:pt x="270112" y="231155"/>
                                                        <a:pt x="267520" y="233358"/>
                                                      </a:cubicBezTo>
                                                      <a:cubicBezTo>
                                                        <a:pt x="270371" y="236403"/>
                                                        <a:pt x="275295" y="232192"/>
                                                        <a:pt x="276137" y="228110"/>
                                                      </a:cubicBezTo>
                                                      <a:cubicBezTo>
                                                        <a:pt x="276979" y="224029"/>
                                                        <a:pt x="276850" y="218911"/>
                                                        <a:pt x="280478" y="216838"/>
                                                      </a:cubicBezTo>
                                                      <a:cubicBezTo>
                                                        <a:pt x="282033" y="215931"/>
                                                        <a:pt x="283976" y="215931"/>
                                                        <a:pt x="285790" y="215866"/>
                                                      </a:cubicBezTo>
                                                      <a:cubicBezTo>
                                                        <a:pt x="292333" y="215866"/>
                                                        <a:pt x="298877" y="215866"/>
                                                        <a:pt x="305420" y="215866"/>
                                                      </a:cubicBezTo>
                                                      <a:cubicBezTo>
                                                        <a:pt x="303606" y="211849"/>
                                                        <a:pt x="307688" y="207573"/>
                                                        <a:pt x="311704" y="205759"/>
                                                      </a:cubicBezTo>
                                                      <a:cubicBezTo>
                                                        <a:pt x="315721" y="203946"/>
                                                        <a:pt x="320580" y="202779"/>
                                                        <a:pt x="322783" y="198892"/>
                                                      </a:cubicBezTo>
                                                      <a:cubicBezTo>
                                                        <a:pt x="325180" y="194551"/>
                                                        <a:pt x="322847" y="189110"/>
                                                        <a:pt x="319738" y="185222"/>
                                                      </a:cubicBezTo>
                                                      <a:cubicBezTo>
                                                        <a:pt x="316628" y="181400"/>
                                                        <a:pt x="312611" y="177966"/>
                                                        <a:pt x="310992" y="173302"/>
                                                      </a:cubicBezTo>
                                                      <a:cubicBezTo>
                                                        <a:pt x="308012" y="164297"/>
                                                        <a:pt x="315073" y="154449"/>
                                                        <a:pt x="312806" y="145250"/>
                                                      </a:cubicBezTo>
                                                      <a:cubicBezTo>
                                                        <a:pt x="325698" y="144343"/>
                                                        <a:pt x="334509" y="127757"/>
                                                        <a:pt x="328030" y="116550"/>
                                                      </a:cubicBezTo>
                                                      <a:cubicBezTo>
                                                        <a:pt x="332630" y="111561"/>
                                                        <a:pt x="336517" y="105925"/>
                                                        <a:pt x="339692" y="99900"/>
                                                      </a:cubicBezTo>
                                                      <a:cubicBezTo>
                                                        <a:pt x="338461" y="98539"/>
                                                        <a:pt x="337100" y="97567"/>
                                                        <a:pt x="335286" y="97373"/>
                                                      </a:cubicBezTo>
                                                      <a:cubicBezTo>
                                                        <a:pt x="331917" y="97049"/>
                                                        <a:pt x="329197" y="99964"/>
                                                        <a:pt x="326281" y="101649"/>
                                                      </a:cubicBezTo>
                                                      <a:cubicBezTo>
                                                        <a:pt x="316887" y="107026"/>
                                                        <a:pt x="305485" y="99770"/>
                                                        <a:pt x="297128" y="92838"/>
                                                      </a:cubicBezTo>
                                                      <a:cubicBezTo>
                                                        <a:pt x="292657" y="89080"/>
                                                        <a:pt x="288122" y="85323"/>
                                                        <a:pt x="283587" y="81565"/>
                                                      </a:cubicBezTo>
                                                      <a:cubicBezTo>
                                                        <a:pt x="282033" y="80270"/>
                                                        <a:pt x="280413" y="78909"/>
                                                        <a:pt x="279765" y="76965"/>
                                                      </a:cubicBezTo>
                                                      <a:cubicBezTo>
                                                        <a:pt x="278016" y="72171"/>
                                                        <a:pt x="283069" y="66600"/>
                                                        <a:pt x="280802" y="62065"/>
                                                      </a:cubicBezTo>
                                                      <a:cubicBezTo>
                                                        <a:pt x="279117" y="58566"/>
                                                        <a:pt x="274453" y="58048"/>
                                                        <a:pt x="271019" y="56299"/>
                                                      </a:cubicBezTo>
                                                      <a:cubicBezTo>
                                                        <a:pt x="267585" y="54550"/>
                                                        <a:pt x="265901" y="48330"/>
                                                        <a:pt x="269658" y="47618"/>
                                                      </a:cubicBezTo>
                                                      <a:cubicBezTo>
                                                        <a:pt x="275295" y="49561"/>
                                                        <a:pt x="282097" y="45480"/>
                                                        <a:pt x="283134" y="39649"/>
                                                      </a:cubicBezTo>
                                                      <a:cubicBezTo>
                                                        <a:pt x="258191" y="35373"/>
                                                        <a:pt x="231370" y="44378"/>
                                                        <a:pt x="214072" y="62842"/>
                                                      </a:cubicBezTo>
                                                      <a:cubicBezTo>
                                                        <a:pt x="210639" y="66729"/>
                                                        <a:pt x="203771" y="64851"/>
                                                        <a:pt x="200791" y="60640"/>
                                                      </a:cubicBezTo>
                                                      <a:cubicBezTo>
                                                        <a:pt x="197811" y="56428"/>
                                                        <a:pt x="197681" y="50857"/>
                                                        <a:pt x="197681" y="45739"/>
                                                      </a:cubicBezTo>
                                                      <a:cubicBezTo>
                                                        <a:pt x="196775" y="42305"/>
                                                        <a:pt x="192564" y="46970"/>
                                                        <a:pt x="191656" y="50339"/>
                                                      </a:cubicBezTo>
                                                      <a:cubicBezTo>
                                                        <a:pt x="189778" y="57400"/>
                                                        <a:pt x="182068" y="61611"/>
                                                        <a:pt x="174747" y="61806"/>
                                                      </a:cubicBezTo>
                                                      <a:cubicBezTo>
                                                        <a:pt x="167427" y="62000"/>
                                                        <a:pt x="160430" y="58242"/>
                                                        <a:pt x="153174" y="59020"/>
                                                      </a:cubicBezTo>
                                                      <a:cubicBezTo>
                                                        <a:pt x="147602" y="59668"/>
                                                        <a:pt x="140735" y="59668"/>
                                                        <a:pt x="137819" y="54874"/>
                                                      </a:cubicBezTo>
                                                      <a:cubicBezTo>
                                                        <a:pt x="136913" y="53448"/>
                                                        <a:pt x="136589" y="51764"/>
                                                        <a:pt x="135811" y="50209"/>
                                                      </a:cubicBezTo>
                                                      <a:cubicBezTo>
                                                        <a:pt x="133608" y="45609"/>
                                                        <a:pt x="127778" y="43147"/>
                                                        <a:pt x="122919" y="44702"/>
                                                      </a:cubicBezTo>
                                                      <a:cubicBezTo>
                                                        <a:pt x="122595" y="41787"/>
                                                        <a:pt x="121947" y="38418"/>
                                                        <a:pt x="119291" y="37252"/>
                                                      </a:cubicBezTo>
                                                      <a:cubicBezTo>
                                                        <a:pt x="117671" y="36604"/>
                                                        <a:pt x="115663" y="36993"/>
                                                        <a:pt x="114238" y="36021"/>
                                                      </a:cubicBezTo>
                                                      <a:cubicBezTo>
                                                        <a:pt x="110998" y="33818"/>
                                                        <a:pt x="114108" y="28311"/>
                                                        <a:pt x="112100" y="24943"/>
                                                      </a:cubicBezTo>
                                                      <a:cubicBezTo>
                                                        <a:pt x="110221" y="21833"/>
                                                        <a:pt x="105038" y="22351"/>
                                                        <a:pt x="102900" y="19371"/>
                                                      </a:cubicBezTo>
                                                      <a:cubicBezTo>
                                                        <a:pt x="102058" y="18270"/>
                                                        <a:pt x="101863" y="16779"/>
                                                        <a:pt x="101669" y="15419"/>
                                                      </a:cubicBezTo>
                                                      <a:cubicBezTo>
                                                        <a:pt x="100956" y="10301"/>
                                                        <a:pt x="100244" y="5118"/>
                                                        <a:pt x="99596" y="0"/>
                                                      </a:cubicBezTo>
                                                      <a:cubicBezTo>
                                                        <a:pt x="95774" y="518"/>
                                                        <a:pt x="92858" y="4017"/>
                                                        <a:pt x="91757" y="7774"/>
                                                      </a:cubicBezTo>
                                                      <a:cubicBezTo>
                                                        <a:pt x="90655" y="11532"/>
                                                        <a:pt x="91109" y="15484"/>
                                                        <a:pt x="91498" y="19371"/>
                                                      </a:cubicBezTo>
                                                      <a:cubicBezTo>
                                                        <a:pt x="86056" y="18593"/>
                                                        <a:pt x="82816" y="25914"/>
                                                        <a:pt x="77439" y="27145"/>
                                                      </a:cubicBezTo>
                                                      <a:cubicBezTo>
                                                        <a:pt x="74200" y="27858"/>
                                                        <a:pt x="70572" y="26238"/>
                                                        <a:pt x="67462" y="27404"/>
                                                      </a:cubicBezTo>
                                                      <a:cubicBezTo>
                                                        <a:pt x="62085" y="29478"/>
                                                        <a:pt x="62603" y="37705"/>
                                                        <a:pt x="58263" y="41463"/>
                                                      </a:cubicBezTo>
                                                      <a:cubicBezTo>
                                                        <a:pt x="56384" y="43082"/>
                                                        <a:pt x="53598" y="43860"/>
                                                        <a:pt x="52367" y="45998"/>
                                                      </a:cubicBezTo>
                                                      <a:cubicBezTo>
                                                        <a:pt x="50683" y="48978"/>
                                                        <a:pt x="53015" y="52736"/>
                                                        <a:pt x="55736" y="54809"/>
                                                      </a:cubicBezTo>
                                                      <a:cubicBezTo>
                                                        <a:pt x="58457" y="56882"/>
                                                        <a:pt x="61891" y="58437"/>
                                                        <a:pt x="63510" y="61482"/>
                                                      </a:cubicBezTo>
                                                      <a:cubicBezTo>
                                                        <a:pt x="64547" y="63425"/>
                                                        <a:pt x="64741" y="65693"/>
                                                        <a:pt x="64871" y="67831"/>
                                                      </a:cubicBezTo>
                                                      <a:cubicBezTo>
                                                        <a:pt x="65195" y="73985"/>
                                                        <a:pt x="64158" y="81889"/>
                                                        <a:pt x="58198" y="83509"/>
                                                      </a:cubicBezTo>
                                                      <a:cubicBezTo>
                                                        <a:pt x="53598" y="84740"/>
                                                        <a:pt x="49257" y="81241"/>
                                                        <a:pt x="45565" y="78196"/>
                                                      </a:cubicBezTo>
                                                      <a:cubicBezTo>
                                                        <a:pt x="42001" y="75216"/>
                                                        <a:pt x="36883" y="72430"/>
                                                        <a:pt x="33126" y="75087"/>
                                                      </a:cubicBezTo>
                                                      <a:cubicBezTo>
                                                        <a:pt x="29498" y="71005"/>
                                                        <a:pt x="28267" y="64851"/>
                                                        <a:pt x="30146" y="59732"/>
                                                      </a:cubicBezTo>
                                                      <a:cubicBezTo>
                                                        <a:pt x="31700" y="55457"/>
                                                        <a:pt x="35069" y="51829"/>
                                                        <a:pt x="35393" y="47358"/>
                                                      </a:cubicBezTo>
                                                      <a:cubicBezTo>
                                                        <a:pt x="35523" y="45804"/>
                                                        <a:pt x="35264" y="44119"/>
                                                        <a:pt x="35847" y="42629"/>
                                                      </a:cubicBezTo>
                                                      <a:cubicBezTo>
                                                        <a:pt x="36883" y="40297"/>
                                                        <a:pt x="39799" y="39454"/>
                                                        <a:pt x="41548" y="37640"/>
                                                      </a:cubicBezTo>
                                                      <a:cubicBezTo>
                                                        <a:pt x="44463" y="34596"/>
                                                        <a:pt x="43556" y="29218"/>
                                                        <a:pt x="40447" y="26368"/>
                                                      </a:cubicBezTo>
                                                      <a:cubicBezTo>
                                                        <a:pt x="39864" y="25785"/>
                                                        <a:pt x="39151" y="25396"/>
                                                        <a:pt x="38438" y="25007"/>
                                                      </a:cubicBezTo>
                                                      <a:cubicBezTo>
                                                        <a:pt x="32672" y="26173"/>
                                                        <a:pt x="27036" y="27534"/>
                                                        <a:pt x="25157" y="32587"/>
                                                      </a:cubicBezTo>
                                                      <a:cubicBezTo>
                                                        <a:pt x="24185" y="35243"/>
                                                        <a:pt x="24509" y="38612"/>
                                                        <a:pt x="22307" y="40491"/>
                                                      </a:cubicBezTo>
                                                      <a:cubicBezTo>
                                                        <a:pt x="20493" y="42046"/>
                                                        <a:pt x="17836" y="41722"/>
                                                        <a:pt x="15634" y="42499"/>
                                                      </a:cubicBezTo>
                                                      <a:cubicBezTo>
                                                        <a:pt x="10904" y="44184"/>
                                                        <a:pt x="9285" y="50079"/>
                                                        <a:pt x="9673" y="55068"/>
                                                      </a:cubicBezTo>
                                                      <a:cubicBezTo>
                                                        <a:pt x="10062" y="60056"/>
                                                        <a:pt x="11747" y="64980"/>
                                                        <a:pt x="10904" y="69904"/>
                                                      </a:cubicBezTo>
                                                      <a:cubicBezTo>
                                                        <a:pt x="10062" y="74828"/>
                                                        <a:pt x="4944" y="79557"/>
                                                        <a:pt x="409" y="77484"/>
                                                      </a:cubicBezTo>
                                                      <a:cubicBezTo>
                                                        <a:pt x="-1664" y="82407"/>
                                                        <a:pt x="4555" y="86748"/>
                                                        <a:pt x="9803" y="87655"/>
                                                      </a:cubicBezTo>
                                                      <a:cubicBezTo>
                                                        <a:pt x="15050" y="88562"/>
                                                        <a:pt x="21594" y="89145"/>
                                                        <a:pt x="23732" y="94004"/>
                                                      </a:cubicBezTo>
                                                      <a:cubicBezTo>
                                                        <a:pt x="24833" y="96596"/>
                                                        <a:pt x="24315" y="99576"/>
                                                        <a:pt x="25222" y="102232"/>
                                                      </a:cubicBezTo>
                                                      <a:cubicBezTo>
                                                        <a:pt x="26258" y="105018"/>
                                                        <a:pt x="28785" y="107026"/>
                                                        <a:pt x="29822" y="109812"/>
                                                      </a:cubicBezTo>
                                                      <a:cubicBezTo>
                                                        <a:pt x="31830" y="115189"/>
                                                        <a:pt x="27489" y="121149"/>
                                                        <a:pt x="28915" y="126721"/>
                                                      </a:cubicBezTo>
                                                      <a:cubicBezTo>
                                                        <a:pt x="30794" y="133912"/>
                                                        <a:pt x="41678" y="137994"/>
                                                        <a:pt x="39928" y="145185"/>
                                                      </a:cubicBezTo>
                                                      <a:cubicBezTo>
                                                        <a:pt x="46277" y="150109"/>
                                                        <a:pt x="55347" y="146416"/>
                                                        <a:pt x="62733" y="143241"/>
                                                      </a:cubicBezTo>
                                                      <a:cubicBezTo>
                                                        <a:pt x="70118" y="140067"/>
                                                        <a:pt x="80419" y="138318"/>
                                                        <a:pt x="84695" y="145185"/>
                                                      </a:cubicBezTo>
                                                      <a:cubicBezTo>
                                                        <a:pt x="85602" y="146675"/>
                                                        <a:pt x="86120" y="148424"/>
                                                        <a:pt x="87092" y="149849"/>
                                                      </a:cubicBezTo>
                                                      <a:cubicBezTo>
                                                        <a:pt x="89813" y="153996"/>
                                                        <a:pt x="95320" y="154903"/>
                                                        <a:pt x="99985" y="156587"/>
                                                      </a:cubicBezTo>
                                                      <a:cubicBezTo>
                                                        <a:pt x="104649" y="158271"/>
                                                        <a:pt x="109379" y="163001"/>
                                                        <a:pt x="107370" y="167536"/>
                                                      </a:cubicBezTo>
                                                      <a:cubicBezTo>
                                                        <a:pt x="120392" y="166175"/>
                                                        <a:pt x="133479" y="164815"/>
                                                        <a:pt x="146501" y="163454"/>
                                                      </a:cubicBezTo>
                                                      <a:cubicBezTo>
                                                        <a:pt x="147732" y="163325"/>
                                                        <a:pt x="149092" y="163195"/>
                                                        <a:pt x="150129" y="163908"/>
                                                      </a:cubicBezTo>
                                                      <a:cubicBezTo>
                                                        <a:pt x="151360" y="164750"/>
                                                        <a:pt x="151684" y="166370"/>
                                                        <a:pt x="151684" y="167795"/>
                                                      </a:cubicBezTo>
                                                      <a:cubicBezTo>
                                                        <a:pt x="151813" y="175893"/>
                                                        <a:pt x="145464" y="182437"/>
                                                        <a:pt x="142484" y="189887"/>
                                                      </a:cubicBezTo>
                                                      <a:cubicBezTo>
                                                        <a:pt x="138079" y="200771"/>
                                                        <a:pt x="141383" y="214311"/>
                                                        <a:pt x="150258" y="222021"/>
                                                      </a:cubicBezTo>
                                                      <a:cubicBezTo>
                                                        <a:pt x="152720" y="224094"/>
                                                        <a:pt x="155506" y="225843"/>
                                                        <a:pt x="157320" y="228499"/>
                                                      </a:cubicBezTo>
                                                      <a:cubicBezTo>
                                                        <a:pt x="159134" y="231155"/>
                                                        <a:pt x="159523" y="235172"/>
                                                        <a:pt x="157126" y="237310"/>
                                                      </a:cubicBezTo>
                                                      <a:cubicBezTo>
                                                        <a:pt x="155636" y="238606"/>
                                                        <a:pt x="153562" y="238800"/>
                                                        <a:pt x="151878" y="239837"/>
                                                      </a:cubicBezTo>
                                                      <a:cubicBezTo>
                                                        <a:pt x="146566" y="243011"/>
                                                        <a:pt x="148315" y="251174"/>
                                                        <a:pt x="151619" y="256357"/>
                                                      </a:cubicBezTo>
                                                      <a:cubicBezTo>
                                                        <a:pt x="154988" y="261540"/>
                                                        <a:pt x="159588" y="267176"/>
                                                        <a:pt x="157903" y="273137"/>
                                                      </a:cubicBezTo>
                                                      <a:cubicBezTo>
                                                        <a:pt x="157320" y="275145"/>
                                                        <a:pt x="156154" y="276700"/>
                                                        <a:pt x="154664" y="277931"/>
                                                      </a:cubicBezTo>
                                                      <a:cubicBezTo>
                                                        <a:pt x="158162" y="286418"/>
                                                        <a:pt x="163410" y="294127"/>
                                                        <a:pt x="171961" y="29587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6" name="Freeform: Shape 39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DC2FE49-FD13-4752-999A-9239EA91EE6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00777" y="4155887"/>
                                                  <a:ext cx="106778" cy="19561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7433 w 106778"/>
                                                    <a:gd name="connsiteY0" fmla="*/ 106702 h 195614"/>
                                                    <a:gd name="connsiteX1" fmla="*/ 32292 w 106778"/>
                                                    <a:gd name="connsiteY1" fmla="*/ 107479 h 195614"/>
                                                    <a:gd name="connsiteX2" fmla="*/ 34754 w 106778"/>
                                                    <a:gd name="connsiteY2" fmla="*/ 110201 h 195614"/>
                                                    <a:gd name="connsiteX3" fmla="*/ 30802 w 106778"/>
                                                    <a:gd name="connsiteY3" fmla="*/ 142723 h 195614"/>
                                                    <a:gd name="connsiteX4" fmla="*/ 29506 w 106778"/>
                                                    <a:gd name="connsiteY4" fmla="*/ 167989 h 195614"/>
                                                    <a:gd name="connsiteX5" fmla="*/ 40196 w 106778"/>
                                                    <a:gd name="connsiteY5" fmla="*/ 174662 h 195614"/>
                                                    <a:gd name="connsiteX6" fmla="*/ 44277 w 106778"/>
                                                    <a:gd name="connsiteY6" fmla="*/ 178096 h 195614"/>
                                                    <a:gd name="connsiteX7" fmla="*/ 46286 w 106778"/>
                                                    <a:gd name="connsiteY7" fmla="*/ 183214 h 195614"/>
                                                    <a:gd name="connsiteX8" fmla="*/ 73949 w 106778"/>
                                                    <a:gd name="connsiteY8" fmla="*/ 195588 h 195614"/>
                                                    <a:gd name="connsiteX9" fmla="*/ 81529 w 106778"/>
                                                    <a:gd name="connsiteY9" fmla="*/ 192608 h 195614"/>
                                                    <a:gd name="connsiteX10" fmla="*/ 82695 w 106778"/>
                                                    <a:gd name="connsiteY10" fmla="*/ 181530 h 195614"/>
                                                    <a:gd name="connsiteX11" fmla="*/ 96235 w 106778"/>
                                                    <a:gd name="connsiteY11" fmla="*/ 179716 h 195614"/>
                                                    <a:gd name="connsiteX12" fmla="*/ 106471 w 106778"/>
                                                    <a:gd name="connsiteY12" fmla="*/ 170127 h 195614"/>
                                                    <a:gd name="connsiteX13" fmla="*/ 102908 w 106778"/>
                                                    <a:gd name="connsiteY13" fmla="*/ 155939 h 195614"/>
                                                    <a:gd name="connsiteX14" fmla="*/ 98567 w 106778"/>
                                                    <a:gd name="connsiteY14" fmla="*/ 149137 h 195614"/>
                                                    <a:gd name="connsiteX15" fmla="*/ 97855 w 106778"/>
                                                    <a:gd name="connsiteY15" fmla="*/ 141816 h 195614"/>
                                                    <a:gd name="connsiteX16" fmla="*/ 84380 w 106778"/>
                                                    <a:gd name="connsiteY16" fmla="*/ 124065 h 195614"/>
                                                    <a:gd name="connsiteX17" fmla="*/ 86194 w 106778"/>
                                                    <a:gd name="connsiteY17" fmla="*/ 117327 h 195614"/>
                                                    <a:gd name="connsiteX18" fmla="*/ 85610 w 106778"/>
                                                    <a:gd name="connsiteY18" fmla="*/ 98150 h 195614"/>
                                                    <a:gd name="connsiteX19" fmla="*/ 101548 w 106778"/>
                                                    <a:gd name="connsiteY19" fmla="*/ 81306 h 195614"/>
                                                    <a:gd name="connsiteX20" fmla="*/ 103362 w 106778"/>
                                                    <a:gd name="connsiteY20" fmla="*/ 67960 h 195614"/>
                                                    <a:gd name="connsiteX21" fmla="*/ 96494 w 106778"/>
                                                    <a:gd name="connsiteY21" fmla="*/ 54809 h 195614"/>
                                                    <a:gd name="connsiteX22" fmla="*/ 73042 w 106778"/>
                                                    <a:gd name="connsiteY22" fmla="*/ 49950 h 195614"/>
                                                    <a:gd name="connsiteX23" fmla="*/ 67017 w 106778"/>
                                                    <a:gd name="connsiteY23" fmla="*/ 25655 h 195614"/>
                                                    <a:gd name="connsiteX24" fmla="*/ 33587 w 106778"/>
                                                    <a:gd name="connsiteY24" fmla="*/ 5572 h 195614"/>
                                                    <a:gd name="connsiteX25" fmla="*/ 29441 w 106778"/>
                                                    <a:gd name="connsiteY25" fmla="*/ 0 h 195614"/>
                                                    <a:gd name="connsiteX26" fmla="*/ 17780 w 106778"/>
                                                    <a:gd name="connsiteY26" fmla="*/ 16650 h 195614"/>
                                                    <a:gd name="connsiteX27" fmla="*/ 2555 w 106778"/>
                                                    <a:gd name="connsiteY27" fmla="*/ 45350 h 195614"/>
                                                    <a:gd name="connsiteX28" fmla="*/ 741 w 106778"/>
                                                    <a:gd name="connsiteY28" fmla="*/ 73402 h 195614"/>
                                                    <a:gd name="connsiteX29" fmla="*/ 9487 w 106778"/>
                                                    <a:gd name="connsiteY29" fmla="*/ 85323 h 195614"/>
                                                    <a:gd name="connsiteX30" fmla="*/ 13374 w 106778"/>
                                                    <a:gd name="connsiteY30" fmla="*/ 93356 h 195614"/>
                                                    <a:gd name="connsiteX31" fmla="*/ 18816 w 106778"/>
                                                    <a:gd name="connsiteY31" fmla="*/ 96660 h 195614"/>
                                                    <a:gd name="connsiteX32" fmla="*/ 27433 w 106778"/>
                                                    <a:gd name="connsiteY32" fmla="*/ 106832 h 19561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06778" h="195614">
                                                      <a:moveTo>
                                                        <a:pt x="27433" y="106702"/>
                                                      </a:moveTo>
                                                      <a:cubicBezTo>
                                                        <a:pt x="29052" y="107091"/>
                                                        <a:pt x="30802" y="106702"/>
                                                        <a:pt x="32292" y="107479"/>
                                                      </a:cubicBezTo>
                                                      <a:cubicBezTo>
                                                        <a:pt x="33393" y="107998"/>
                                                        <a:pt x="34171" y="109099"/>
                                                        <a:pt x="34754" y="110201"/>
                                                      </a:cubicBezTo>
                                                      <a:cubicBezTo>
                                                        <a:pt x="40066" y="120113"/>
                                                        <a:pt x="33458" y="131839"/>
                                                        <a:pt x="30802" y="142723"/>
                                                      </a:cubicBezTo>
                                                      <a:cubicBezTo>
                                                        <a:pt x="28793" y="150951"/>
                                                        <a:pt x="29117" y="159567"/>
                                                        <a:pt x="29506" y="167989"/>
                                                      </a:cubicBezTo>
                                                      <a:cubicBezTo>
                                                        <a:pt x="33069" y="170192"/>
                                                        <a:pt x="36632" y="172460"/>
                                                        <a:pt x="40196" y="174662"/>
                                                      </a:cubicBezTo>
                                                      <a:cubicBezTo>
                                                        <a:pt x="41750" y="175634"/>
                                                        <a:pt x="43305" y="176606"/>
                                                        <a:pt x="44277" y="178096"/>
                                                      </a:cubicBezTo>
                                                      <a:cubicBezTo>
                                                        <a:pt x="45314" y="179586"/>
                                                        <a:pt x="45638" y="181465"/>
                                                        <a:pt x="46286" y="183214"/>
                                                      </a:cubicBezTo>
                                                      <a:cubicBezTo>
                                                        <a:pt x="50043" y="193321"/>
                                                        <a:pt x="63130" y="195912"/>
                                                        <a:pt x="73949" y="195588"/>
                                                      </a:cubicBezTo>
                                                      <a:cubicBezTo>
                                                        <a:pt x="76800" y="195523"/>
                                                        <a:pt x="80104" y="195070"/>
                                                        <a:pt x="81529" y="192608"/>
                                                      </a:cubicBezTo>
                                                      <a:cubicBezTo>
                                                        <a:pt x="83472" y="189369"/>
                                                        <a:pt x="80687" y="184704"/>
                                                        <a:pt x="82695" y="181530"/>
                                                      </a:cubicBezTo>
                                                      <a:cubicBezTo>
                                                        <a:pt x="85222" y="177448"/>
                                                        <a:pt x="91441" y="180040"/>
                                                        <a:pt x="96235" y="179716"/>
                                                      </a:cubicBezTo>
                                                      <a:cubicBezTo>
                                                        <a:pt x="101224" y="179392"/>
                                                        <a:pt x="105435" y="175051"/>
                                                        <a:pt x="106471" y="170127"/>
                                                      </a:cubicBezTo>
                                                      <a:cubicBezTo>
                                                        <a:pt x="107508" y="165204"/>
                                                        <a:pt x="105824" y="160021"/>
                                                        <a:pt x="102908" y="155939"/>
                                                      </a:cubicBezTo>
                                                      <a:cubicBezTo>
                                                        <a:pt x="101289" y="153737"/>
                                                        <a:pt x="99280" y="151728"/>
                                                        <a:pt x="98567" y="149137"/>
                                                      </a:cubicBezTo>
                                                      <a:cubicBezTo>
                                                        <a:pt x="97920" y="146740"/>
                                                        <a:pt x="98438" y="144213"/>
                                                        <a:pt x="97855" y="141816"/>
                                                      </a:cubicBezTo>
                                                      <a:cubicBezTo>
                                                        <a:pt x="96041" y="134430"/>
                                                        <a:pt x="84574" y="131709"/>
                                                        <a:pt x="84380" y="124065"/>
                                                      </a:cubicBezTo>
                                                      <a:cubicBezTo>
                                                        <a:pt x="84380" y="121732"/>
                                                        <a:pt x="85416" y="119530"/>
                                                        <a:pt x="86194" y="117327"/>
                                                      </a:cubicBezTo>
                                                      <a:cubicBezTo>
                                                        <a:pt x="88396" y="111172"/>
                                                        <a:pt x="88202" y="104176"/>
                                                        <a:pt x="85610" y="98150"/>
                                                      </a:cubicBezTo>
                                                      <a:cubicBezTo>
                                                        <a:pt x="93644" y="96790"/>
                                                        <a:pt x="99345" y="89145"/>
                                                        <a:pt x="101548" y="81306"/>
                                                      </a:cubicBezTo>
                                                      <a:cubicBezTo>
                                                        <a:pt x="102779" y="76965"/>
                                                        <a:pt x="103167" y="72495"/>
                                                        <a:pt x="103362" y="67960"/>
                                                      </a:cubicBezTo>
                                                      <a:cubicBezTo>
                                                        <a:pt x="99475" y="65239"/>
                                                        <a:pt x="99928" y="58501"/>
                                                        <a:pt x="96494" y="54809"/>
                                                      </a:cubicBezTo>
                                                      <a:cubicBezTo>
                                                        <a:pt x="90923" y="48784"/>
                                                        <a:pt x="79650" y="54809"/>
                                                        <a:pt x="73042" y="49950"/>
                                                      </a:cubicBezTo>
                                                      <a:cubicBezTo>
                                                        <a:pt x="66110" y="44832"/>
                                                        <a:pt x="70450" y="33559"/>
                                                        <a:pt x="67017" y="25655"/>
                                                      </a:cubicBezTo>
                                                      <a:cubicBezTo>
                                                        <a:pt x="61705" y="13411"/>
                                                        <a:pt x="42010" y="15937"/>
                                                        <a:pt x="33587" y="5572"/>
                                                      </a:cubicBezTo>
                                                      <a:cubicBezTo>
                                                        <a:pt x="32162" y="3822"/>
                                                        <a:pt x="30931" y="1620"/>
                                                        <a:pt x="29441" y="0"/>
                                                      </a:cubicBezTo>
                                                      <a:cubicBezTo>
                                                        <a:pt x="26267" y="6025"/>
                                                        <a:pt x="22380" y="11597"/>
                                                        <a:pt x="17780" y="16650"/>
                                                      </a:cubicBezTo>
                                                      <a:cubicBezTo>
                                                        <a:pt x="24258" y="27858"/>
                                                        <a:pt x="15447" y="44443"/>
                                                        <a:pt x="2555" y="45350"/>
                                                      </a:cubicBezTo>
                                                      <a:cubicBezTo>
                                                        <a:pt x="4887" y="54550"/>
                                                        <a:pt x="-2239" y="64397"/>
                                                        <a:pt x="741" y="73402"/>
                                                      </a:cubicBezTo>
                                                      <a:cubicBezTo>
                                                        <a:pt x="2296" y="78132"/>
                                                        <a:pt x="6313" y="81501"/>
                                                        <a:pt x="9487" y="85323"/>
                                                      </a:cubicBezTo>
                                                      <a:cubicBezTo>
                                                        <a:pt x="11366" y="87590"/>
                                                        <a:pt x="12921" y="90506"/>
                                                        <a:pt x="13374" y="93356"/>
                                                      </a:cubicBezTo>
                                                      <a:cubicBezTo>
                                                        <a:pt x="15447" y="94004"/>
                                                        <a:pt x="17326" y="94976"/>
                                                        <a:pt x="18816" y="96660"/>
                                                      </a:cubicBezTo>
                                                      <a:cubicBezTo>
                                                        <a:pt x="21861" y="100029"/>
                                                        <a:pt x="22963" y="105795"/>
                                                        <a:pt x="27433" y="10683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7" name="Freeform: Shape 39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2C3878E-865C-4B00-9F64-56717880A839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85283" y="4221818"/>
                                                  <a:ext cx="99902" cy="11822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8161 w 99902"/>
                                                    <a:gd name="connsiteY0" fmla="*/ 117931 h 118224"/>
                                                    <a:gd name="connsiteX1" fmla="*/ 42761 w 99902"/>
                                                    <a:gd name="connsiteY1" fmla="*/ 117737 h 118224"/>
                                                    <a:gd name="connsiteX2" fmla="*/ 46454 w 99902"/>
                                                    <a:gd name="connsiteY2" fmla="*/ 108861 h 118224"/>
                                                    <a:gd name="connsiteX3" fmla="*/ 46195 w 99902"/>
                                                    <a:gd name="connsiteY3" fmla="*/ 98690 h 118224"/>
                                                    <a:gd name="connsiteX4" fmla="*/ 69388 w 99902"/>
                                                    <a:gd name="connsiteY4" fmla="*/ 97588 h 118224"/>
                                                    <a:gd name="connsiteX5" fmla="*/ 73923 w 99902"/>
                                                    <a:gd name="connsiteY5" fmla="*/ 96293 h 118224"/>
                                                    <a:gd name="connsiteX6" fmla="*/ 77486 w 99902"/>
                                                    <a:gd name="connsiteY6" fmla="*/ 90915 h 118224"/>
                                                    <a:gd name="connsiteX7" fmla="*/ 82151 w 99902"/>
                                                    <a:gd name="connsiteY7" fmla="*/ 90980 h 118224"/>
                                                    <a:gd name="connsiteX8" fmla="*/ 89407 w 99902"/>
                                                    <a:gd name="connsiteY8" fmla="*/ 79125 h 118224"/>
                                                    <a:gd name="connsiteX9" fmla="*/ 86168 w 99902"/>
                                                    <a:gd name="connsiteY9" fmla="*/ 52174 h 118224"/>
                                                    <a:gd name="connsiteX10" fmla="*/ 83382 w 99902"/>
                                                    <a:gd name="connsiteY10" fmla="*/ 44982 h 118224"/>
                                                    <a:gd name="connsiteX11" fmla="*/ 88435 w 99902"/>
                                                    <a:gd name="connsiteY11" fmla="*/ 34811 h 118224"/>
                                                    <a:gd name="connsiteX12" fmla="*/ 99902 w 99902"/>
                                                    <a:gd name="connsiteY12" fmla="*/ 13885 h 118224"/>
                                                    <a:gd name="connsiteX13" fmla="*/ 83965 w 99902"/>
                                                    <a:gd name="connsiteY13" fmla="*/ 3390 h 118224"/>
                                                    <a:gd name="connsiteX14" fmla="*/ 71267 w 99902"/>
                                                    <a:gd name="connsiteY14" fmla="*/ 993 h 118224"/>
                                                    <a:gd name="connsiteX15" fmla="*/ 66084 w 99902"/>
                                                    <a:gd name="connsiteY15" fmla="*/ 6759 h 118224"/>
                                                    <a:gd name="connsiteX16" fmla="*/ 30128 w 99902"/>
                                                    <a:gd name="connsiteY16" fmla="*/ 1770 h 118224"/>
                                                    <a:gd name="connsiteX17" fmla="*/ 19762 w 99902"/>
                                                    <a:gd name="connsiteY17" fmla="*/ 2483 h 118224"/>
                                                    <a:gd name="connsiteX18" fmla="*/ 18985 w 99902"/>
                                                    <a:gd name="connsiteY18" fmla="*/ 1900 h 118224"/>
                                                    <a:gd name="connsiteX19" fmla="*/ 17171 w 99902"/>
                                                    <a:gd name="connsiteY19" fmla="*/ 15246 h 118224"/>
                                                    <a:gd name="connsiteX20" fmla="*/ 1234 w 99902"/>
                                                    <a:gd name="connsiteY20" fmla="*/ 32090 h 118224"/>
                                                    <a:gd name="connsiteX21" fmla="*/ 1817 w 99902"/>
                                                    <a:gd name="connsiteY21" fmla="*/ 51267 h 118224"/>
                                                    <a:gd name="connsiteX22" fmla="*/ 3 w 99902"/>
                                                    <a:gd name="connsiteY22" fmla="*/ 58004 h 118224"/>
                                                    <a:gd name="connsiteX23" fmla="*/ 13478 w 99902"/>
                                                    <a:gd name="connsiteY23" fmla="*/ 75756 h 118224"/>
                                                    <a:gd name="connsiteX24" fmla="*/ 14191 w 99902"/>
                                                    <a:gd name="connsiteY24" fmla="*/ 83076 h 118224"/>
                                                    <a:gd name="connsiteX25" fmla="*/ 18531 w 99902"/>
                                                    <a:gd name="connsiteY25" fmla="*/ 89879 h 118224"/>
                                                    <a:gd name="connsiteX26" fmla="*/ 22419 w 99902"/>
                                                    <a:gd name="connsiteY26" fmla="*/ 100245 h 118224"/>
                                                    <a:gd name="connsiteX27" fmla="*/ 38356 w 99902"/>
                                                    <a:gd name="connsiteY27" fmla="*/ 117802 h 11822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9902" h="118224">
                                                      <a:moveTo>
                                                        <a:pt x="38161" y="117931"/>
                                                      </a:moveTo>
                                                      <a:cubicBezTo>
                                                        <a:pt x="39652" y="118320"/>
                                                        <a:pt x="41336" y="118385"/>
                                                        <a:pt x="42761" y="117737"/>
                                                      </a:cubicBezTo>
                                                      <a:cubicBezTo>
                                                        <a:pt x="45871" y="116376"/>
                                                        <a:pt x="46713" y="112295"/>
                                                        <a:pt x="46454" y="108861"/>
                                                      </a:cubicBezTo>
                                                      <a:cubicBezTo>
                                                        <a:pt x="46130" y="105428"/>
                                                        <a:pt x="45158" y="101929"/>
                                                        <a:pt x="46195" y="98690"/>
                                                      </a:cubicBezTo>
                                                      <a:cubicBezTo>
                                                        <a:pt x="53905" y="98301"/>
                                                        <a:pt x="61679" y="97977"/>
                                                        <a:pt x="69388" y="97588"/>
                                                      </a:cubicBezTo>
                                                      <a:cubicBezTo>
                                                        <a:pt x="71008" y="97524"/>
                                                        <a:pt x="72757" y="97394"/>
                                                        <a:pt x="73923" y="96293"/>
                                                      </a:cubicBezTo>
                                                      <a:cubicBezTo>
                                                        <a:pt x="75478" y="94803"/>
                                                        <a:pt x="75543" y="91887"/>
                                                        <a:pt x="77486" y="90915"/>
                                                      </a:cubicBezTo>
                                                      <a:cubicBezTo>
                                                        <a:pt x="78912" y="90203"/>
                                                        <a:pt x="80596" y="90980"/>
                                                        <a:pt x="82151" y="90980"/>
                                                      </a:cubicBezTo>
                                                      <a:cubicBezTo>
                                                        <a:pt x="87334" y="91045"/>
                                                        <a:pt x="89148" y="84242"/>
                                                        <a:pt x="89407" y="79125"/>
                                                      </a:cubicBezTo>
                                                      <a:cubicBezTo>
                                                        <a:pt x="89860" y="69990"/>
                                                        <a:pt x="90184" y="60401"/>
                                                        <a:pt x="86168" y="52174"/>
                                                      </a:cubicBezTo>
                                                      <a:cubicBezTo>
                                                        <a:pt x="85066" y="49841"/>
                                                        <a:pt x="83576" y="47574"/>
                                                        <a:pt x="83382" y="44982"/>
                                                      </a:cubicBezTo>
                                                      <a:cubicBezTo>
                                                        <a:pt x="83188" y="41095"/>
                                                        <a:pt x="85973" y="37856"/>
                                                        <a:pt x="88435" y="34811"/>
                                                      </a:cubicBezTo>
                                                      <a:cubicBezTo>
                                                        <a:pt x="93424" y="28527"/>
                                                        <a:pt x="97246" y="21400"/>
                                                        <a:pt x="99902" y="13885"/>
                                                      </a:cubicBezTo>
                                                      <a:cubicBezTo>
                                                        <a:pt x="94655" y="10322"/>
                                                        <a:pt x="89342" y="6759"/>
                                                        <a:pt x="83965" y="3390"/>
                                                      </a:cubicBezTo>
                                                      <a:cubicBezTo>
                                                        <a:pt x="80078" y="993"/>
                                                        <a:pt x="75089" y="-1404"/>
                                                        <a:pt x="71267" y="993"/>
                                                      </a:cubicBezTo>
                                                      <a:cubicBezTo>
                                                        <a:pt x="69064" y="2353"/>
                                                        <a:pt x="67963" y="4945"/>
                                                        <a:pt x="66084" y="6759"/>
                                                      </a:cubicBezTo>
                                                      <a:cubicBezTo>
                                                        <a:pt x="56949" y="15634"/>
                                                        <a:pt x="42761" y="86"/>
                                                        <a:pt x="30128" y="1770"/>
                                                      </a:cubicBezTo>
                                                      <a:cubicBezTo>
                                                        <a:pt x="26630" y="2224"/>
                                                        <a:pt x="22937" y="4038"/>
                                                        <a:pt x="19762" y="2483"/>
                                                      </a:cubicBezTo>
                                                      <a:cubicBezTo>
                                                        <a:pt x="19438" y="2353"/>
                                                        <a:pt x="19244" y="2094"/>
                                                        <a:pt x="18985" y="1900"/>
                                                      </a:cubicBezTo>
                                                      <a:cubicBezTo>
                                                        <a:pt x="18726" y="6435"/>
                                                        <a:pt x="18337" y="10905"/>
                                                        <a:pt x="17171" y="15246"/>
                                                      </a:cubicBezTo>
                                                      <a:cubicBezTo>
                                                        <a:pt x="14968" y="23085"/>
                                                        <a:pt x="9267" y="30730"/>
                                                        <a:pt x="1234" y="32090"/>
                                                      </a:cubicBezTo>
                                                      <a:cubicBezTo>
                                                        <a:pt x="3825" y="38115"/>
                                                        <a:pt x="4019" y="45112"/>
                                                        <a:pt x="1817" y="51267"/>
                                                      </a:cubicBezTo>
                                                      <a:cubicBezTo>
                                                        <a:pt x="1039" y="53469"/>
                                                        <a:pt x="-62" y="55672"/>
                                                        <a:pt x="3" y="58004"/>
                                                      </a:cubicBezTo>
                                                      <a:cubicBezTo>
                                                        <a:pt x="197" y="65649"/>
                                                        <a:pt x="11599" y="68370"/>
                                                        <a:pt x="13478" y="75756"/>
                                                      </a:cubicBezTo>
                                                      <a:cubicBezTo>
                                                        <a:pt x="14061" y="78153"/>
                                                        <a:pt x="13543" y="80744"/>
                                                        <a:pt x="14191" y="83076"/>
                                                      </a:cubicBezTo>
                                                      <a:cubicBezTo>
                                                        <a:pt x="14903" y="85668"/>
                                                        <a:pt x="16912" y="87741"/>
                                                        <a:pt x="18531" y="89879"/>
                                                      </a:cubicBezTo>
                                                      <a:cubicBezTo>
                                                        <a:pt x="20734" y="92924"/>
                                                        <a:pt x="22224" y="96552"/>
                                                        <a:pt x="22419" y="100245"/>
                                                      </a:cubicBezTo>
                                                      <a:cubicBezTo>
                                                        <a:pt x="27277" y="107112"/>
                                                        <a:pt x="30452" y="115793"/>
                                                        <a:pt x="38356" y="11780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8" name="Freeform: Shape 39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466DC99-ABB9-47FF-A1E7-BE8E32468FE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668017" y="4235639"/>
                                                  <a:ext cx="70098" cy="9879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290 w 70098"/>
                                                    <a:gd name="connsiteY0" fmla="*/ 98215 h 98798"/>
                                                    <a:gd name="connsiteX1" fmla="*/ 19501 w 70098"/>
                                                    <a:gd name="connsiteY1" fmla="*/ 94717 h 98798"/>
                                                    <a:gd name="connsiteX2" fmla="*/ 43990 w 70098"/>
                                                    <a:gd name="connsiteY2" fmla="*/ 95170 h 98798"/>
                                                    <a:gd name="connsiteX3" fmla="*/ 43082 w 70098"/>
                                                    <a:gd name="connsiteY3" fmla="*/ 84610 h 98798"/>
                                                    <a:gd name="connsiteX4" fmla="*/ 48913 w 70098"/>
                                                    <a:gd name="connsiteY4" fmla="*/ 76253 h 98798"/>
                                                    <a:gd name="connsiteX5" fmla="*/ 53643 w 70098"/>
                                                    <a:gd name="connsiteY5" fmla="*/ 75216 h 98798"/>
                                                    <a:gd name="connsiteX6" fmla="*/ 63296 w 70098"/>
                                                    <a:gd name="connsiteY6" fmla="*/ 71005 h 98798"/>
                                                    <a:gd name="connsiteX7" fmla="*/ 67766 w 70098"/>
                                                    <a:gd name="connsiteY7" fmla="*/ 68479 h 98798"/>
                                                    <a:gd name="connsiteX8" fmla="*/ 58955 w 70098"/>
                                                    <a:gd name="connsiteY8" fmla="*/ 68025 h 98798"/>
                                                    <a:gd name="connsiteX9" fmla="*/ 63101 w 70098"/>
                                                    <a:gd name="connsiteY9" fmla="*/ 60186 h 98798"/>
                                                    <a:gd name="connsiteX10" fmla="*/ 60640 w 70098"/>
                                                    <a:gd name="connsiteY10" fmla="*/ 51246 h 98798"/>
                                                    <a:gd name="connsiteX11" fmla="*/ 70098 w 70098"/>
                                                    <a:gd name="connsiteY11" fmla="*/ 48395 h 98798"/>
                                                    <a:gd name="connsiteX12" fmla="*/ 31227 w 70098"/>
                                                    <a:gd name="connsiteY12" fmla="*/ 9524 h 98798"/>
                                                    <a:gd name="connsiteX13" fmla="*/ 22740 w 70098"/>
                                                    <a:gd name="connsiteY13" fmla="*/ 3563 h 98798"/>
                                                    <a:gd name="connsiteX14" fmla="*/ 17298 w 70098"/>
                                                    <a:gd name="connsiteY14" fmla="*/ 0 h 98798"/>
                                                    <a:gd name="connsiteX15" fmla="*/ 5831 w 70098"/>
                                                    <a:gd name="connsiteY15" fmla="*/ 20926 h 98798"/>
                                                    <a:gd name="connsiteX16" fmla="*/ 777 w 70098"/>
                                                    <a:gd name="connsiteY16" fmla="*/ 31097 h 98798"/>
                                                    <a:gd name="connsiteX17" fmla="*/ 3563 w 70098"/>
                                                    <a:gd name="connsiteY17" fmla="*/ 38288 h 98798"/>
                                                    <a:gd name="connsiteX18" fmla="*/ 6803 w 70098"/>
                                                    <a:gd name="connsiteY18" fmla="*/ 65239 h 98798"/>
                                                    <a:gd name="connsiteX19" fmla="*/ 0 w 70098"/>
                                                    <a:gd name="connsiteY19" fmla="*/ 77030 h 98798"/>
                                                    <a:gd name="connsiteX20" fmla="*/ 3175 w 70098"/>
                                                    <a:gd name="connsiteY20" fmla="*/ 90571 h 98798"/>
                                                    <a:gd name="connsiteX21" fmla="*/ 15419 w 70098"/>
                                                    <a:gd name="connsiteY21" fmla="*/ 98086 h 9879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70098" h="98798">
                                                      <a:moveTo>
                                                        <a:pt x="15290" y="98215"/>
                                                      </a:moveTo>
                                                      <a:cubicBezTo>
                                                        <a:pt x="16909" y="97373"/>
                                                        <a:pt x="18010" y="95818"/>
                                                        <a:pt x="19501" y="94717"/>
                                                      </a:cubicBezTo>
                                                      <a:cubicBezTo>
                                                        <a:pt x="26303" y="89858"/>
                                                        <a:pt x="35762" y="96660"/>
                                                        <a:pt x="43990" y="95170"/>
                                                      </a:cubicBezTo>
                                                      <a:cubicBezTo>
                                                        <a:pt x="43277" y="91672"/>
                                                        <a:pt x="42564" y="88109"/>
                                                        <a:pt x="43082" y="84610"/>
                                                      </a:cubicBezTo>
                                                      <a:cubicBezTo>
                                                        <a:pt x="43601" y="81112"/>
                                                        <a:pt x="45609" y="77549"/>
                                                        <a:pt x="48913" y="76253"/>
                                                      </a:cubicBezTo>
                                                      <a:cubicBezTo>
                                                        <a:pt x="50403" y="75670"/>
                                                        <a:pt x="52088" y="75540"/>
                                                        <a:pt x="53643" y="75216"/>
                                                      </a:cubicBezTo>
                                                      <a:cubicBezTo>
                                                        <a:pt x="57076" y="74504"/>
                                                        <a:pt x="60186" y="72754"/>
                                                        <a:pt x="63296" y="71005"/>
                                                      </a:cubicBezTo>
                                                      <a:cubicBezTo>
                                                        <a:pt x="64786" y="70163"/>
                                                        <a:pt x="66276" y="69321"/>
                                                        <a:pt x="67766" y="68479"/>
                                                      </a:cubicBezTo>
                                                      <a:cubicBezTo>
                                                        <a:pt x="64851" y="68349"/>
                                                        <a:pt x="61870" y="68219"/>
                                                        <a:pt x="58955" y="68025"/>
                                                      </a:cubicBezTo>
                                                      <a:cubicBezTo>
                                                        <a:pt x="58566" y="64915"/>
                                                        <a:pt x="60251" y="61611"/>
                                                        <a:pt x="63101" y="60186"/>
                                                      </a:cubicBezTo>
                                                      <a:cubicBezTo>
                                                        <a:pt x="59797" y="58890"/>
                                                        <a:pt x="58696" y="54226"/>
                                                        <a:pt x="60640" y="51246"/>
                                                      </a:cubicBezTo>
                                                      <a:cubicBezTo>
                                                        <a:pt x="62583" y="48265"/>
                                                        <a:pt x="66729" y="47229"/>
                                                        <a:pt x="70098" y="48395"/>
                                                      </a:cubicBezTo>
                                                      <a:cubicBezTo>
                                                        <a:pt x="61352" y="32134"/>
                                                        <a:pt x="46322" y="20278"/>
                                                        <a:pt x="31227" y="9524"/>
                                                      </a:cubicBezTo>
                                                      <a:cubicBezTo>
                                                        <a:pt x="28376" y="7515"/>
                                                        <a:pt x="25590" y="5507"/>
                                                        <a:pt x="22740" y="3563"/>
                                                      </a:cubicBezTo>
                                                      <a:cubicBezTo>
                                                        <a:pt x="20926" y="2332"/>
                                                        <a:pt x="19112" y="1166"/>
                                                        <a:pt x="17298" y="0"/>
                                                      </a:cubicBezTo>
                                                      <a:cubicBezTo>
                                                        <a:pt x="14642" y="7515"/>
                                                        <a:pt x="10819" y="14642"/>
                                                        <a:pt x="5831" y="20926"/>
                                                      </a:cubicBezTo>
                                                      <a:cubicBezTo>
                                                        <a:pt x="3434" y="23971"/>
                                                        <a:pt x="583" y="27210"/>
                                                        <a:pt x="777" y="31097"/>
                                                      </a:cubicBezTo>
                                                      <a:cubicBezTo>
                                                        <a:pt x="907" y="33689"/>
                                                        <a:pt x="2397" y="35956"/>
                                                        <a:pt x="3563" y="38288"/>
                                                      </a:cubicBezTo>
                                                      <a:cubicBezTo>
                                                        <a:pt x="7580" y="46516"/>
                                                        <a:pt x="7191" y="56104"/>
                                                        <a:pt x="6803" y="65239"/>
                                                      </a:cubicBezTo>
                                                      <a:cubicBezTo>
                                                        <a:pt x="6543" y="70228"/>
                                                        <a:pt x="4794" y="76706"/>
                                                        <a:pt x="0" y="77030"/>
                                                      </a:cubicBezTo>
                                                      <a:cubicBezTo>
                                                        <a:pt x="1620" y="81306"/>
                                                        <a:pt x="1749" y="86165"/>
                                                        <a:pt x="3175" y="90571"/>
                                                      </a:cubicBezTo>
                                                      <a:cubicBezTo>
                                                        <a:pt x="4859" y="95753"/>
                                                        <a:pt x="10625" y="100677"/>
                                                        <a:pt x="15419" y="9808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399" name="Freeform: Shape 39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39C6D10-FCAB-4CE5-B2F1-899018502EE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001243" y="4352447"/>
                                                  <a:ext cx="146674" cy="16658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8917 w 146674"/>
                                                    <a:gd name="connsiteY0" fmla="*/ 141362 h 166583"/>
                                                    <a:gd name="connsiteX1" fmla="*/ 20213 w 146674"/>
                                                    <a:gd name="connsiteY1" fmla="*/ 153866 h 166583"/>
                                                    <a:gd name="connsiteX2" fmla="*/ 30838 w 146674"/>
                                                    <a:gd name="connsiteY2" fmla="*/ 157494 h 166583"/>
                                                    <a:gd name="connsiteX3" fmla="*/ 39584 w 146674"/>
                                                    <a:gd name="connsiteY3" fmla="*/ 152117 h 166583"/>
                                                    <a:gd name="connsiteX4" fmla="*/ 40815 w 146674"/>
                                                    <a:gd name="connsiteY4" fmla="*/ 162677 h 166583"/>
                                                    <a:gd name="connsiteX5" fmla="*/ 42046 w 146674"/>
                                                    <a:gd name="connsiteY5" fmla="*/ 165851 h 166583"/>
                                                    <a:gd name="connsiteX6" fmla="*/ 45220 w 146674"/>
                                                    <a:gd name="connsiteY6" fmla="*/ 166564 h 166583"/>
                                                    <a:gd name="connsiteX7" fmla="*/ 58372 w 146674"/>
                                                    <a:gd name="connsiteY7" fmla="*/ 166370 h 166583"/>
                                                    <a:gd name="connsiteX8" fmla="*/ 57465 w 146674"/>
                                                    <a:gd name="connsiteY8" fmla="*/ 149526 h 166583"/>
                                                    <a:gd name="connsiteX9" fmla="*/ 68025 w 146674"/>
                                                    <a:gd name="connsiteY9" fmla="*/ 144537 h 166583"/>
                                                    <a:gd name="connsiteX10" fmla="*/ 65045 w 146674"/>
                                                    <a:gd name="connsiteY10" fmla="*/ 130025 h 166583"/>
                                                    <a:gd name="connsiteX11" fmla="*/ 70552 w 146674"/>
                                                    <a:gd name="connsiteY11" fmla="*/ 125296 h 166583"/>
                                                    <a:gd name="connsiteX12" fmla="*/ 72819 w 146674"/>
                                                    <a:gd name="connsiteY12" fmla="*/ 118882 h 166583"/>
                                                    <a:gd name="connsiteX13" fmla="*/ 91866 w 146674"/>
                                                    <a:gd name="connsiteY13" fmla="*/ 113958 h 166583"/>
                                                    <a:gd name="connsiteX14" fmla="*/ 95688 w 146674"/>
                                                    <a:gd name="connsiteY14" fmla="*/ 110201 h 166583"/>
                                                    <a:gd name="connsiteX15" fmla="*/ 112727 w 146674"/>
                                                    <a:gd name="connsiteY15" fmla="*/ 105860 h 166583"/>
                                                    <a:gd name="connsiteX16" fmla="*/ 118428 w 146674"/>
                                                    <a:gd name="connsiteY16" fmla="*/ 88497 h 166583"/>
                                                    <a:gd name="connsiteX17" fmla="*/ 137605 w 146674"/>
                                                    <a:gd name="connsiteY17" fmla="*/ 74828 h 166583"/>
                                                    <a:gd name="connsiteX18" fmla="*/ 136827 w 146674"/>
                                                    <a:gd name="connsiteY18" fmla="*/ 64915 h 166583"/>
                                                    <a:gd name="connsiteX19" fmla="*/ 140974 w 146674"/>
                                                    <a:gd name="connsiteY19" fmla="*/ 55910 h 166583"/>
                                                    <a:gd name="connsiteX20" fmla="*/ 146675 w 146674"/>
                                                    <a:gd name="connsiteY20" fmla="*/ 42370 h 166583"/>
                                                    <a:gd name="connsiteX21" fmla="*/ 140520 w 146674"/>
                                                    <a:gd name="connsiteY21" fmla="*/ 38224 h 166583"/>
                                                    <a:gd name="connsiteX22" fmla="*/ 137346 w 146674"/>
                                                    <a:gd name="connsiteY22" fmla="*/ 33041 h 166583"/>
                                                    <a:gd name="connsiteX23" fmla="*/ 129701 w 146674"/>
                                                    <a:gd name="connsiteY23" fmla="*/ 32911 h 166583"/>
                                                    <a:gd name="connsiteX24" fmla="*/ 107933 w 146674"/>
                                                    <a:gd name="connsiteY24" fmla="*/ 21509 h 166583"/>
                                                    <a:gd name="connsiteX25" fmla="*/ 96271 w 146674"/>
                                                    <a:gd name="connsiteY25" fmla="*/ 21509 h 166583"/>
                                                    <a:gd name="connsiteX26" fmla="*/ 89016 w 146674"/>
                                                    <a:gd name="connsiteY26" fmla="*/ 11467 h 166583"/>
                                                    <a:gd name="connsiteX27" fmla="*/ 61870 w 146674"/>
                                                    <a:gd name="connsiteY27" fmla="*/ 0 h 166583"/>
                                                    <a:gd name="connsiteX28" fmla="*/ 54226 w 146674"/>
                                                    <a:gd name="connsiteY28" fmla="*/ 3434 h 166583"/>
                                                    <a:gd name="connsiteX29" fmla="*/ 40944 w 146674"/>
                                                    <a:gd name="connsiteY29" fmla="*/ 1425 h 166583"/>
                                                    <a:gd name="connsiteX30" fmla="*/ 28700 w 146674"/>
                                                    <a:gd name="connsiteY30" fmla="*/ 21055 h 166583"/>
                                                    <a:gd name="connsiteX31" fmla="*/ 24748 w 146674"/>
                                                    <a:gd name="connsiteY31" fmla="*/ 33494 h 166583"/>
                                                    <a:gd name="connsiteX32" fmla="*/ 19436 w 146674"/>
                                                    <a:gd name="connsiteY32" fmla="*/ 34725 h 166583"/>
                                                    <a:gd name="connsiteX33" fmla="*/ 14058 w 146674"/>
                                                    <a:gd name="connsiteY33" fmla="*/ 52736 h 166583"/>
                                                    <a:gd name="connsiteX34" fmla="*/ 2656 w 146674"/>
                                                    <a:gd name="connsiteY34" fmla="*/ 55586 h 166583"/>
                                                    <a:gd name="connsiteX35" fmla="*/ 0 w 146674"/>
                                                    <a:gd name="connsiteY35" fmla="*/ 69256 h 166583"/>
                                                    <a:gd name="connsiteX36" fmla="*/ 194 w 146674"/>
                                                    <a:gd name="connsiteY36" fmla="*/ 86359 h 166583"/>
                                                    <a:gd name="connsiteX37" fmla="*/ 13410 w 146674"/>
                                                    <a:gd name="connsiteY37" fmla="*/ 98410 h 166583"/>
                                                    <a:gd name="connsiteX38" fmla="*/ 35373 w 146674"/>
                                                    <a:gd name="connsiteY38" fmla="*/ 109618 h 166583"/>
                                                    <a:gd name="connsiteX39" fmla="*/ 19047 w 146674"/>
                                                    <a:gd name="connsiteY39" fmla="*/ 130997 h 166583"/>
                                                    <a:gd name="connsiteX40" fmla="*/ 18205 w 146674"/>
                                                    <a:gd name="connsiteY40" fmla="*/ 130997 h 166583"/>
                                                    <a:gd name="connsiteX41" fmla="*/ 18917 w 146674"/>
                                                    <a:gd name="connsiteY41" fmla="*/ 141168 h 16658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46674" h="166583">
                                                      <a:moveTo>
                                                        <a:pt x="18917" y="141362"/>
                                                      </a:moveTo>
                                                      <a:cubicBezTo>
                                                        <a:pt x="18593" y="145574"/>
                                                        <a:pt x="18269" y="150109"/>
                                                        <a:pt x="20213" y="153866"/>
                                                      </a:cubicBezTo>
                                                      <a:cubicBezTo>
                                                        <a:pt x="22157" y="157624"/>
                                                        <a:pt x="27404" y="160021"/>
                                                        <a:pt x="30838" y="157494"/>
                                                      </a:cubicBezTo>
                                                      <a:cubicBezTo>
                                                        <a:pt x="33883" y="155227"/>
                                                        <a:pt x="36669" y="149655"/>
                                                        <a:pt x="39584" y="152117"/>
                                                      </a:cubicBezTo>
                                                      <a:cubicBezTo>
                                                        <a:pt x="39973" y="155615"/>
                                                        <a:pt x="40426" y="159179"/>
                                                        <a:pt x="40815" y="162677"/>
                                                      </a:cubicBezTo>
                                                      <a:cubicBezTo>
                                                        <a:pt x="40944" y="163843"/>
                                                        <a:pt x="41139" y="165074"/>
                                                        <a:pt x="42046" y="165851"/>
                                                      </a:cubicBezTo>
                                                      <a:cubicBezTo>
                                                        <a:pt x="42888" y="166564"/>
                                                        <a:pt x="44119" y="166629"/>
                                                        <a:pt x="45220" y="166564"/>
                                                      </a:cubicBezTo>
                                                      <a:cubicBezTo>
                                                        <a:pt x="49626" y="166564"/>
                                                        <a:pt x="54031" y="166435"/>
                                                        <a:pt x="58372" y="166370"/>
                                                      </a:cubicBezTo>
                                                      <a:cubicBezTo>
                                                        <a:pt x="58048" y="160733"/>
                                                        <a:pt x="57789" y="155162"/>
                                                        <a:pt x="57465" y="149526"/>
                                                      </a:cubicBezTo>
                                                      <a:cubicBezTo>
                                                        <a:pt x="60963" y="147841"/>
                                                        <a:pt x="64527" y="146221"/>
                                                        <a:pt x="68025" y="144537"/>
                                                      </a:cubicBezTo>
                                                      <a:cubicBezTo>
                                                        <a:pt x="70098" y="139808"/>
                                                        <a:pt x="62583" y="134560"/>
                                                        <a:pt x="65045" y="130025"/>
                                                      </a:cubicBezTo>
                                                      <a:cubicBezTo>
                                                        <a:pt x="66211" y="127887"/>
                                                        <a:pt x="69126" y="127304"/>
                                                        <a:pt x="70552" y="125296"/>
                                                      </a:cubicBezTo>
                                                      <a:cubicBezTo>
                                                        <a:pt x="71912" y="123482"/>
                                                        <a:pt x="71653" y="120825"/>
                                                        <a:pt x="72819" y="118882"/>
                                                      </a:cubicBezTo>
                                                      <a:cubicBezTo>
                                                        <a:pt x="76188" y="112921"/>
                                                        <a:pt x="86294" y="117910"/>
                                                        <a:pt x="91866" y="113958"/>
                                                      </a:cubicBezTo>
                                                      <a:cubicBezTo>
                                                        <a:pt x="93356" y="112921"/>
                                                        <a:pt x="94328" y="111302"/>
                                                        <a:pt x="95688" y="110201"/>
                                                      </a:cubicBezTo>
                                                      <a:cubicBezTo>
                                                        <a:pt x="100224" y="106378"/>
                                                        <a:pt x="107220" y="108127"/>
                                                        <a:pt x="112727" y="105860"/>
                                                      </a:cubicBezTo>
                                                      <a:cubicBezTo>
                                                        <a:pt x="119076" y="103204"/>
                                                        <a:pt x="121991" y="94458"/>
                                                        <a:pt x="118428" y="88497"/>
                                                      </a:cubicBezTo>
                                                      <a:cubicBezTo>
                                                        <a:pt x="126721" y="86878"/>
                                                        <a:pt x="136827" y="83250"/>
                                                        <a:pt x="137605" y="74828"/>
                                                      </a:cubicBezTo>
                                                      <a:cubicBezTo>
                                                        <a:pt x="137864" y="71523"/>
                                                        <a:pt x="136503" y="68219"/>
                                                        <a:pt x="136827" y="64915"/>
                                                      </a:cubicBezTo>
                                                      <a:cubicBezTo>
                                                        <a:pt x="137216" y="61611"/>
                                                        <a:pt x="139289" y="58761"/>
                                                        <a:pt x="140974" y="55910"/>
                                                      </a:cubicBezTo>
                                                      <a:cubicBezTo>
                                                        <a:pt x="143500" y="51634"/>
                                                        <a:pt x="145314" y="47099"/>
                                                        <a:pt x="146675" y="42370"/>
                                                      </a:cubicBezTo>
                                                      <a:cubicBezTo>
                                                        <a:pt x="144148" y="41657"/>
                                                        <a:pt x="141881" y="40556"/>
                                                        <a:pt x="140520" y="38224"/>
                                                      </a:cubicBezTo>
                                                      <a:cubicBezTo>
                                                        <a:pt x="139484" y="36474"/>
                                                        <a:pt x="139030" y="34207"/>
                                                        <a:pt x="137346" y="33041"/>
                                                      </a:cubicBezTo>
                                                      <a:cubicBezTo>
                                                        <a:pt x="135143" y="31615"/>
                                                        <a:pt x="132292" y="32782"/>
                                                        <a:pt x="129701" y="32911"/>
                                                      </a:cubicBezTo>
                                                      <a:cubicBezTo>
                                                        <a:pt x="121344" y="33300"/>
                                                        <a:pt x="116226" y="22481"/>
                                                        <a:pt x="107933" y="21509"/>
                                                      </a:cubicBezTo>
                                                      <a:cubicBezTo>
                                                        <a:pt x="104046" y="21055"/>
                                                        <a:pt x="99964" y="22869"/>
                                                        <a:pt x="96271" y="21509"/>
                                                      </a:cubicBezTo>
                                                      <a:cubicBezTo>
                                                        <a:pt x="92255" y="20084"/>
                                                        <a:pt x="90441" y="15484"/>
                                                        <a:pt x="89016" y="11467"/>
                                                      </a:cubicBezTo>
                                                      <a:cubicBezTo>
                                                        <a:pt x="79233" y="9653"/>
                                                        <a:pt x="70033" y="5572"/>
                                                        <a:pt x="61870" y="0"/>
                                                      </a:cubicBezTo>
                                                      <a:cubicBezTo>
                                                        <a:pt x="60315" y="2138"/>
                                                        <a:pt x="57076" y="3628"/>
                                                        <a:pt x="54226" y="3434"/>
                                                      </a:cubicBezTo>
                                                      <a:cubicBezTo>
                                                        <a:pt x="49755" y="3175"/>
                                                        <a:pt x="45415" y="842"/>
                                                        <a:pt x="40944" y="1425"/>
                                                      </a:cubicBezTo>
                                                      <a:cubicBezTo>
                                                        <a:pt x="32522" y="2462"/>
                                                        <a:pt x="28506" y="12568"/>
                                                        <a:pt x="28700" y="21055"/>
                                                      </a:cubicBezTo>
                                                      <a:cubicBezTo>
                                                        <a:pt x="28765" y="25720"/>
                                                        <a:pt x="28959" y="31551"/>
                                                        <a:pt x="24748" y="33494"/>
                                                      </a:cubicBezTo>
                                                      <a:cubicBezTo>
                                                        <a:pt x="23064" y="34272"/>
                                                        <a:pt x="21185" y="34142"/>
                                                        <a:pt x="19436" y="34725"/>
                                                      </a:cubicBezTo>
                                                      <a:cubicBezTo>
                                                        <a:pt x="12957" y="36798"/>
                                                        <a:pt x="12763" y="46063"/>
                                                        <a:pt x="14058" y="52736"/>
                                                      </a:cubicBezTo>
                                                      <a:cubicBezTo>
                                                        <a:pt x="10236" y="53707"/>
                                                        <a:pt x="6479" y="54614"/>
                                                        <a:pt x="2656" y="55586"/>
                                                      </a:cubicBezTo>
                                                      <a:cubicBezTo>
                                                        <a:pt x="2656" y="60251"/>
                                                        <a:pt x="1749" y="64915"/>
                                                        <a:pt x="0" y="69256"/>
                                                      </a:cubicBezTo>
                                                      <a:cubicBezTo>
                                                        <a:pt x="7321" y="71329"/>
                                                        <a:pt x="7450" y="84157"/>
                                                        <a:pt x="194" y="86359"/>
                                                      </a:cubicBezTo>
                                                      <a:cubicBezTo>
                                                        <a:pt x="324" y="93032"/>
                                                        <a:pt x="6738" y="98863"/>
                                                        <a:pt x="13410" y="98410"/>
                                                      </a:cubicBezTo>
                                                      <a:cubicBezTo>
                                                        <a:pt x="13670" y="107609"/>
                                                        <a:pt x="26173" y="110071"/>
                                                        <a:pt x="35373" y="109618"/>
                                                      </a:cubicBezTo>
                                                      <a:cubicBezTo>
                                                        <a:pt x="33235" y="118947"/>
                                                        <a:pt x="28571" y="129895"/>
                                                        <a:pt x="19047" y="130997"/>
                                                      </a:cubicBezTo>
                                                      <a:cubicBezTo>
                                                        <a:pt x="18788" y="130997"/>
                                                        <a:pt x="18464" y="130997"/>
                                                        <a:pt x="18205" y="130997"/>
                                                      </a:cubicBezTo>
                                                      <a:cubicBezTo>
                                                        <a:pt x="19241" y="134171"/>
                                                        <a:pt x="19177" y="137734"/>
                                                        <a:pt x="18917" y="14116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1" name="Freeform: Shape 40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B95F0FD-F139-438A-9E0F-D0B778850F50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4995129" y="4394623"/>
                                                  <a:ext cx="314904" cy="49437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89098 w 314904"/>
                                                    <a:gd name="connsiteY0" fmla="*/ 480839 h 494379"/>
                                                    <a:gd name="connsiteX1" fmla="*/ 292531 w 314904"/>
                                                    <a:gd name="connsiteY1" fmla="*/ 469696 h 494379"/>
                                                    <a:gd name="connsiteX2" fmla="*/ 311449 w 314904"/>
                                                    <a:gd name="connsiteY2" fmla="*/ 446698 h 494379"/>
                                                    <a:gd name="connsiteX3" fmla="*/ 303609 w 314904"/>
                                                    <a:gd name="connsiteY3" fmla="*/ 431084 h 494379"/>
                                                    <a:gd name="connsiteX4" fmla="*/ 305035 w 314904"/>
                                                    <a:gd name="connsiteY4" fmla="*/ 420459 h 494379"/>
                                                    <a:gd name="connsiteX5" fmla="*/ 309051 w 314904"/>
                                                    <a:gd name="connsiteY5" fmla="*/ 382430 h 494379"/>
                                                    <a:gd name="connsiteX6" fmla="*/ 309829 w 314904"/>
                                                    <a:gd name="connsiteY6" fmla="*/ 344660 h 494379"/>
                                                    <a:gd name="connsiteX7" fmla="*/ 307497 w 314904"/>
                                                    <a:gd name="connsiteY7" fmla="*/ 339801 h 494379"/>
                                                    <a:gd name="connsiteX8" fmla="*/ 313975 w 314904"/>
                                                    <a:gd name="connsiteY8" fmla="*/ 329954 h 494379"/>
                                                    <a:gd name="connsiteX9" fmla="*/ 310282 w 314904"/>
                                                    <a:gd name="connsiteY9" fmla="*/ 308898 h 494379"/>
                                                    <a:gd name="connsiteX10" fmla="*/ 311254 w 314904"/>
                                                    <a:gd name="connsiteY10" fmla="*/ 300346 h 494379"/>
                                                    <a:gd name="connsiteX11" fmla="*/ 296483 w 314904"/>
                                                    <a:gd name="connsiteY11" fmla="*/ 290564 h 494379"/>
                                                    <a:gd name="connsiteX12" fmla="*/ 277112 w 314904"/>
                                                    <a:gd name="connsiteY12" fmla="*/ 292183 h 494379"/>
                                                    <a:gd name="connsiteX13" fmla="*/ 266682 w 314904"/>
                                                    <a:gd name="connsiteY13" fmla="*/ 253636 h 494379"/>
                                                    <a:gd name="connsiteX14" fmla="*/ 253595 w 314904"/>
                                                    <a:gd name="connsiteY14" fmla="*/ 263095 h 494379"/>
                                                    <a:gd name="connsiteX15" fmla="*/ 237398 w 314904"/>
                                                    <a:gd name="connsiteY15" fmla="*/ 261605 h 494379"/>
                                                    <a:gd name="connsiteX16" fmla="*/ 214076 w 314904"/>
                                                    <a:gd name="connsiteY16" fmla="*/ 242687 h 494379"/>
                                                    <a:gd name="connsiteX17" fmla="*/ 204293 w 314904"/>
                                                    <a:gd name="connsiteY17" fmla="*/ 229018 h 494379"/>
                                                    <a:gd name="connsiteX18" fmla="*/ 194057 w 314904"/>
                                                    <a:gd name="connsiteY18" fmla="*/ 204852 h 494379"/>
                                                    <a:gd name="connsiteX19" fmla="*/ 196713 w 314904"/>
                                                    <a:gd name="connsiteY19" fmla="*/ 186194 h 494379"/>
                                                    <a:gd name="connsiteX20" fmla="*/ 198657 w 314904"/>
                                                    <a:gd name="connsiteY20" fmla="*/ 179716 h 494379"/>
                                                    <a:gd name="connsiteX21" fmla="*/ 197167 w 314904"/>
                                                    <a:gd name="connsiteY21" fmla="*/ 172136 h 494379"/>
                                                    <a:gd name="connsiteX22" fmla="*/ 204617 w 314904"/>
                                                    <a:gd name="connsiteY22" fmla="*/ 164426 h 494379"/>
                                                    <a:gd name="connsiteX23" fmla="*/ 206949 w 314904"/>
                                                    <a:gd name="connsiteY23" fmla="*/ 146740 h 494379"/>
                                                    <a:gd name="connsiteX24" fmla="*/ 211290 w 314904"/>
                                                    <a:gd name="connsiteY24" fmla="*/ 139289 h 494379"/>
                                                    <a:gd name="connsiteX25" fmla="*/ 223599 w 314904"/>
                                                    <a:gd name="connsiteY25" fmla="*/ 125490 h 494379"/>
                                                    <a:gd name="connsiteX26" fmla="*/ 258454 w 314904"/>
                                                    <a:gd name="connsiteY26" fmla="*/ 102685 h 494379"/>
                                                    <a:gd name="connsiteX27" fmla="*/ 276011 w 314904"/>
                                                    <a:gd name="connsiteY27" fmla="*/ 96596 h 494379"/>
                                                    <a:gd name="connsiteX28" fmla="*/ 286700 w 314904"/>
                                                    <a:gd name="connsiteY28" fmla="*/ 66211 h 494379"/>
                                                    <a:gd name="connsiteX29" fmla="*/ 284174 w 314904"/>
                                                    <a:gd name="connsiteY29" fmla="*/ 69450 h 494379"/>
                                                    <a:gd name="connsiteX30" fmla="*/ 276918 w 314904"/>
                                                    <a:gd name="connsiteY30" fmla="*/ 69450 h 494379"/>
                                                    <a:gd name="connsiteX31" fmla="*/ 273873 w 314904"/>
                                                    <a:gd name="connsiteY31" fmla="*/ 61093 h 494379"/>
                                                    <a:gd name="connsiteX32" fmla="*/ 258259 w 314904"/>
                                                    <a:gd name="connsiteY32" fmla="*/ 52606 h 494379"/>
                                                    <a:gd name="connsiteX33" fmla="*/ 248671 w 314904"/>
                                                    <a:gd name="connsiteY33" fmla="*/ 55716 h 494379"/>
                                                    <a:gd name="connsiteX34" fmla="*/ 230467 w 314904"/>
                                                    <a:gd name="connsiteY34" fmla="*/ 53319 h 494379"/>
                                                    <a:gd name="connsiteX35" fmla="*/ 217704 w 314904"/>
                                                    <a:gd name="connsiteY35" fmla="*/ 57271 h 494379"/>
                                                    <a:gd name="connsiteX36" fmla="*/ 200665 w 314904"/>
                                                    <a:gd name="connsiteY36" fmla="*/ 42370 h 494379"/>
                                                    <a:gd name="connsiteX37" fmla="*/ 187837 w 314904"/>
                                                    <a:gd name="connsiteY37" fmla="*/ 22416 h 494379"/>
                                                    <a:gd name="connsiteX38" fmla="*/ 176176 w 314904"/>
                                                    <a:gd name="connsiteY38" fmla="*/ 16844 h 494379"/>
                                                    <a:gd name="connsiteX39" fmla="*/ 170151 w 314904"/>
                                                    <a:gd name="connsiteY39" fmla="*/ 5442 h 494379"/>
                                                    <a:gd name="connsiteX40" fmla="*/ 152918 w 314904"/>
                                                    <a:gd name="connsiteY40" fmla="*/ 0 h 494379"/>
                                                    <a:gd name="connsiteX41" fmla="*/ 147217 w 314904"/>
                                                    <a:gd name="connsiteY41" fmla="*/ 13540 h 494379"/>
                                                    <a:gd name="connsiteX42" fmla="*/ 143070 w 314904"/>
                                                    <a:gd name="connsiteY42" fmla="*/ 22546 h 494379"/>
                                                    <a:gd name="connsiteX43" fmla="*/ 143848 w 314904"/>
                                                    <a:gd name="connsiteY43" fmla="*/ 32458 h 494379"/>
                                                    <a:gd name="connsiteX44" fmla="*/ 124671 w 314904"/>
                                                    <a:gd name="connsiteY44" fmla="*/ 46127 h 494379"/>
                                                    <a:gd name="connsiteX45" fmla="*/ 118970 w 314904"/>
                                                    <a:gd name="connsiteY45" fmla="*/ 63490 h 494379"/>
                                                    <a:gd name="connsiteX46" fmla="*/ 101932 w 314904"/>
                                                    <a:gd name="connsiteY46" fmla="*/ 67831 h 494379"/>
                                                    <a:gd name="connsiteX47" fmla="*/ 98109 w 314904"/>
                                                    <a:gd name="connsiteY47" fmla="*/ 71588 h 494379"/>
                                                    <a:gd name="connsiteX48" fmla="*/ 79062 w 314904"/>
                                                    <a:gd name="connsiteY48" fmla="*/ 76512 h 494379"/>
                                                    <a:gd name="connsiteX49" fmla="*/ 76795 w 314904"/>
                                                    <a:gd name="connsiteY49" fmla="*/ 82926 h 494379"/>
                                                    <a:gd name="connsiteX50" fmla="*/ 71288 w 314904"/>
                                                    <a:gd name="connsiteY50" fmla="*/ 87655 h 494379"/>
                                                    <a:gd name="connsiteX51" fmla="*/ 74268 w 314904"/>
                                                    <a:gd name="connsiteY51" fmla="*/ 102167 h 494379"/>
                                                    <a:gd name="connsiteX52" fmla="*/ 63708 w 314904"/>
                                                    <a:gd name="connsiteY52" fmla="*/ 107156 h 494379"/>
                                                    <a:gd name="connsiteX53" fmla="*/ 64615 w 314904"/>
                                                    <a:gd name="connsiteY53" fmla="*/ 124000 h 494379"/>
                                                    <a:gd name="connsiteX54" fmla="*/ 51464 w 314904"/>
                                                    <a:gd name="connsiteY54" fmla="*/ 124194 h 494379"/>
                                                    <a:gd name="connsiteX55" fmla="*/ 48289 w 314904"/>
                                                    <a:gd name="connsiteY55" fmla="*/ 123482 h 494379"/>
                                                    <a:gd name="connsiteX56" fmla="*/ 47058 w 314904"/>
                                                    <a:gd name="connsiteY56" fmla="*/ 120307 h 494379"/>
                                                    <a:gd name="connsiteX57" fmla="*/ 45827 w 314904"/>
                                                    <a:gd name="connsiteY57" fmla="*/ 109747 h 494379"/>
                                                    <a:gd name="connsiteX58" fmla="*/ 37081 w 314904"/>
                                                    <a:gd name="connsiteY58" fmla="*/ 115124 h 494379"/>
                                                    <a:gd name="connsiteX59" fmla="*/ 26456 w 314904"/>
                                                    <a:gd name="connsiteY59" fmla="*/ 111496 h 494379"/>
                                                    <a:gd name="connsiteX60" fmla="*/ 25161 w 314904"/>
                                                    <a:gd name="connsiteY60" fmla="*/ 98993 h 494379"/>
                                                    <a:gd name="connsiteX61" fmla="*/ 24448 w 314904"/>
                                                    <a:gd name="connsiteY61" fmla="*/ 88821 h 494379"/>
                                                    <a:gd name="connsiteX62" fmla="*/ 14600 w 314904"/>
                                                    <a:gd name="connsiteY62" fmla="*/ 89080 h 494379"/>
                                                    <a:gd name="connsiteX63" fmla="*/ 5595 w 314904"/>
                                                    <a:gd name="connsiteY63" fmla="*/ 103009 h 494379"/>
                                                    <a:gd name="connsiteX64" fmla="*/ 15443 w 314904"/>
                                                    <a:gd name="connsiteY64" fmla="*/ 136763 h 494379"/>
                                                    <a:gd name="connsiteX65" fmla="*/ 348 w 314904"/>
                                                    <a:gd name="connsiteY65" fmla="*/ 141168 h 494379"/>
                                                    <a:gd name="connsiteX66" fmla="*/ 11620 w 314904"/>
                                                    <a:gd name="connsiteY66" fmla="*/ 158984 h 494379"/>
                                                    <a:gd name="connsiteX67" fmla="*/ 30214 w 314904"/>
                                                    <a:gd name="connsiteY67" fmla="*/ 171553 h 494379"/>
                                                    <a:gd name="connsiteX68" fmla="*/ 34295 w 314904"/>
                                                    <a:gd name="connsiteY68" fmla="*/ 179132 h 494379"/>
                                                    <a:gd name="connsiteX69" fmla="*/ 45438 w 314904"/>
                                                    <a:gd name="connsiteY69" fmla="*/ 188850 h 494379"/>
                                                    <a:gd name="connsiteX70" fmla="*/ 63514 w 314904"/>
                                                    <a:gd name="connsiteY70" fmla="*/ 222798 h 494379"/>
                                                    <a:gd name="connsiteX71" fmla="*/ 86318 w 314904"/>
                                                    <a:gd name="connsiteY71" fmla="*/ 252923 h 494379"/>
                                                    <a:gd name="connsiteX72" fmla="*/ 107633 w 314904"/>
                                                    <a:gd name="connsiteY72" fmla="*/ 263289 h 494379"/>
                                                    <a:gd name="connsiteX73" fmla="*/ 109447 w 314904"/>
                                                    <a:gd name="connsiteY73" fmla="*/ 271258 h 494379"/>
                                                    <a:gd name="connsiteX74" fmla="*/ 112492 w 314904"/>
                                                    <a:gd name="connsiteY74" fmla="*/ 312202 h 494379"/>
                                                    <a:gd name="connsiteX75" fmla="*/ 122145 w 314904"/>
                                                    <a:gd name="connsiteY75" fmla="*/ 326973 h 494379"/>
                                                    <a:gd name="connsiteX76" fmla="*/ 143070 w 314904"/>
                                                    <a:gd name="connsiteY76" fmla="*/ 380486 h 494379"/>
                                                    <a:gd name="connsiteX77" fmla="*/ 146180 w 314904"/>
                                                    <a:gd name="connsiteY77" fmla="*/ 391370 h 494379"/>
                                                    <a:gd name="connsiteX78" fmla="*/ 158230 w 314904"/>
                                                    <a:gd name="connsiteY78" fmla="*/ 400052 h 494379"/>
                                                    <a:gd name="connsiteX79" fmla="*/ 170216 w 314904"/>
                                                    <a:gd name="connsiteY79" fmla="*/ 417933 h 494379"/>
                                                    <a:gd name="connsiteX80" fmla="*/ 206172 w 314904"/>
                                                    <a:gd name="connsiteY80" fmla="*/ 438858 h 494379"/>
                                                    <a:gd name="connsiteX81" fmla="*/ 208051 w 314904"/>
                                                    <a:gd name="connsiteY81" fmla="*/ 445013 h 494379"/>
                                                    <a:gd name="connsiteX82" fmla="*/ 224571 w 314904"/>
                                                    <a:gd name="connsiteY82" fmla="*/ 450066 h 494379"/>
                                                    <a:gd name="connsiteX83" fmla="*/ 247635 w 314904"/>
                                                    <a:gd name="connsiteY83" fmla="*/ 469826 h 494379"/>
                                                    <a:gd name="connsiteX84" fmla="*/ 256705 w 314904"/>
                                                    <a:gd name="connsiteY84" fmla="*/ 480192 h 494379"/>
                                                    <a:gd name="connsiteX85" fmla="*/ 271735 w 314904"/>
                                                    <a:gd name="connsiteY85" fmla="*/ 488031 h 494379"/>
                                                    <a:gd name="connsiteX86" fmla="*/ 275817 w 314904"/>
                                                    <a:gd name="connsiteY86" fmla="*/ 494380 h 494379"/>
                                                    <a:gd name="connsiteX87" fmla="*/ 289162 w 314904"/>
                                                    <a:gd name="connsiteY87" fmla="*/ 480645 h 49437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14904" h="494379">
                                                      <a:moveTo>
                                                        <a:pt x="289098" y="480839"/>
                                                      </a:moveTo>
                                                      <a:cubicBezTo>
                                                        <a:pt x="290717" y="477341"/>
                                                        <a:pt x="291365" y="473454"/>
                                                        <a:pt x="292531" y="469696"/>
                                                      </a:cubicBezTo>
                                                      <a:cubicBezTo>
                                                        <a:pt x="295576" y="459979"/>
                                                        <a:pt x="302508" y="451557"/>
                                                        <a:pt x="311449" y="446698"/>
                                                      </a:cubicBezTo>
                                                      <a:cubicBezTo>
                                                        <a:pt x="310736" y="440802"/>
                                                        <a:pt x="307885" y="435230"/>
                                                        <a:pt x="303609" y="431084"/>
                                                      </a:cubicBezTo>
                                                      <a:cubicBezTo>
                                                        <a:pt x="307885" y="431084"/>
                                                        <a:pt x="306719" y="424411"/>
                                                        <a:pt x="305035" y="420459"/>
                                                      </a:cubicBezTo>
                                                      <a:cubicBezTo>
                                                        <a:pt x="299852" y="408474"/>
                                                        <a:pt x="304711" y="394804"/>
                                                        <a:pt x="309051" y="382430"/>
                                                      </a:cubicBezTo>
                                                      <a:cubicBezTo>
                                                        <a:pt x="313392" y="370121"/>
                                                        <a:pt x="317020" y="355609"/>
                                                        <a:pt x="309829" y="344660"/>
                                                      </a:cubicBezTo>
                                                      <a:cubicBezTo>
                                                        <a:pt x="308857" y="343170"/>
                                                        <a:pt x="307626" y="341615"/>
                                                        <a:pt x="307497" y="339801"/>
                                                      </a:cubicBezTo>
                                                      <a:cubicBezTo>
                                                        <a:pt x="307173" y="335784"/>
                                                        <a:pt x="312096" y="333517"/>
                                                        <a:pt x="313975" y="329954"/>
                                                      </a:cubicBezTo>
                                                      <a:cubicBezTo>
                                                        <a:pt x="317409" y="323475"/>
                                                        <a:pt x="310218" y="316219"/>
                                                        <a:pt x="310282" y="308898"/>
                                                      </a:cubicBezTo>
                                                      <a:cubicBezTo>
                                                        <a:pt x="310282" y="306048"/>
                                                        <a:pt x="311513" y="303197"/>
                                                        <a:pt x="311254" y="300346"/>
                                                      </a:cubicBezTo>
                                                      <a:cubicBezTo>
                                                        <a:pt x="310671" y="293868"/>
                                                        <a:pt x="302962" y="290434"/>
                                                        <a:pt x="296483" y="290564"/>
                                                      </a:cubicBezTo>
                                                      <a:cubicBezTo>
                                                        <a:pt x="290004" y="290693"/>
                                                        <a:pt x="283526" y="293026"/>
                                                        <a:pt x="277112" y="292183"/>
                                                      </a:cubicBezTo>
                                                      <a:cubicBezTo>
                                                        <a:pt x="273614" y="279356"/>
                                                        <a:pt x="270180" y="266464"/>
                                                        <a:pt x="266682" y="253636"/>
                                                      </a:cubicBezTo>
                                                      <a:cubicBezTo>
                                                        <a:pt x="266682" y="259532"/>
                                                        <a:pt x="259490" y="262512"/>
                                                        <a:pt x="253595" y="263095"/>
                                                      </a:cubicBezTo>
                                                      <a:cubicBezTo>
                                                        <a:pt x="248153" y="263613"/>
                                                        <a:pt x="242581" y="263354"/>
                                                        <a:pt x="237398" y="261605"/>
                                                      </a:cubicBezTo>
                                                      <a:cubicBezTo>
                                                        <a:pt x="227745" y="258430"/>
                                                        <a:pt x="220360" y="250721"/>
                                                        <a:pt x="214076" y="242687"/>
                                                      </a:cubicBezTo>
                                                      <a:cubicBezTo>
                                                        <a:pt x="210577" y="238282"/>
                                                        <a:pt x="207338" y="233747"/>
                                                        <a:pt x="204293" y="229018"/>
                                                      </a:cubicBezTo>
                                                      <a:cubicBezTo>
                                                        <a:pt x="199499" y="221632"/>
                                                        <a:pt x="195158" y="213599"/>
                                                        <a:pt x="194057" y="204852"/>
                                                      </a:cubicBezTo>
                                                      <a:cubicBezTo>
                                                        <a:pt x="193279" y="198568"/>
                                                        <a:pt x="194186" y="192025"/>
                                                        <a:pt x="196713" y="186194"/>
                                                      </a:cubicBezTo>
                                                      <a:cubicBezTo>
                                                        <a:pt x="197620" y="184121"/>
                                                        <a:pt x="198786" y="181983"/>
                                                        <a:pt x="198657" y="179716"/>
                                                      </a:cubicBezTo>
                                                      <a:cubicBezTo>
                                                        <a:pt x="198527" y="177124"/>
                                                        <a:pt x="196648" y="174662"/>
                                                        <a:pt x="197167" y="172136"/>
                                                      </a:cubicBezTo>
                                                      <a:cubicBezTo>
                                                        <a:pt x="197814" y="168572"/>
                                                        <a:pt x="202285" y="167212"/>
                                                        <a:pt x="204617" y="164426"/>
                                                      </a:cubicBezTo>
                                                      <a:cubicBezTo>
                                                        <a:pt x="208439" y="159762"/>
                                                        <a:pt x="205394" y="152635"/>
                                                        <a:pt x="206949" y="146740"/>
                                                      </a:cubicBezTo>
                                                      <a:cubicBezTo>
                                                        <a:pt x="207727" y="143954"/>
                                                        <a:pt x="209476" y="141557"/>
                                                        <a:pt x="211290" y="139289"/>
                                                      </a:cubicBezTo>
                                                      <a:cubicBezTo>
                                                        <a:pt x="215112" y="134430"/>
                                                        <a:pt x="219259" y="129831"/>
                                                        <a:pt x="223599" y="125490"/>
                                                      </a:cubicBezTo>
                                                      <a:cubicBezTo>
                                                        <a:pt x="233511" y="115578"/>
                                                        <a:pt x="245043" y="106767"/>
                                                        <a:pt x="258454" y="102685"/>
                                                      </a:cubicBezTo>
                                                      <a:cubicBezTo>
                                                        <a:pt x="264414" y="100871"/>
                                                        <a:pt x="270763" y="99964"/>
                                                        <a:pt x="276011" y="96596"/>
                                                      </a:cubicBezTo>
                                                      <a:cubicBezTo>
                                                        <a:pt x="285599" y="90311"/>
                                                        <a:pt x="287996" y="78132"/>
                                                        <a:pt x="286700" y="66211"/>
                                                      </a:cubicBezTo>
                                                      <a:cubicBezTo>
                                                        <a:pt x="285858" y="67312"/>
                                                        <a:pt x="285081" y="68414"/>
                                                        <a:pt x="284174" y="69450"/>
                                                      </a:cubicBezTo>
                                                      <a:cubicBezTo>
                                                        <a:pt x="283267" y="72301"/>
                                                        <a:pt x="278732" y="71782"/>
                                                        <a:pt x="276918" y="69450"/>
                                                      </a:cubicBezTo>
                                                      <a:cubicBezTo>
                                                        <a:pt x="275104" y="67118"/>
                                                        <a:pt x="274909" y="63879"/>
                                                        <a:pt x="273873" y="61093"/>
                                                      </a:cubicBezTo>
                                                      <a:cubicBezTo>
                                                        <a:pt x="271541" y="55068"/>
                                                        <a:pt x="264544" y="51246"/>
                                                        <a:pt x="258259" y="52606"/>
                                                      </a:cubicBezTo>
                                                      <a:cubicBezTo>
                                                        <a:pt x="254956" y="53319"/>
                                                        <a:pt x="252040" y="55197"/>
                                                        <a:pt x="248671" y="55716"/>
                                                      </a:cubicBezTo>
                                                      <a:cubicBezTo>
                                                        <a:pt x="242581" y="56558"/>
                                                        <a:pt x="236556" y="52541"/>
                                                        <a:pt x="230467" y="53319"/>
                                                      </a:cubicBezTo>
                                                      <a:cubicBezTo>
                                                        <a:pt x="226061" y="53902"/>
                                                        <a:pt x="222174" y="56947"/>
                                                        <a:pt x="217704" y="57271"/>
                                                      </a:cubicBezTo>
                                                      <a:cubicBezTo>
                                                        <a:pt x="209670" y="57918"/>
                                                        <a:pt x="203710" y="49885"/>
                                                        <a:pt x="200665" y="42370"/>
                                                      </a:cubicBezTo>
                                                      <a:cubicBezTo>
                                                        <a:pt x="197620" y="34919"/>
                                                        <a:pt x="194964" y="26238"/>
                                                        <a:pt x="187837" y="22416"/>
                                                      </a:cubicBezTo>
                                                      <a:cubicBezTo>
                                                        <a:pt x="184015" y="20407"/>
                                                        <a:pt x="179156" y="20019"/>
                                                        <a:pt x="176176" y="16844"/>
                                                      </a:cubicBezTo>
                                                      <a:cubicBezTo>
                                                        <a:pt x="173196" y="13670"/>
                                                        <a:pt x="173066" y="8681"/>
                                                        <a:pt x="170151" y="5442"/>
                                                      </a:cubicBezTo>
                                                      <a:cubicBezTo>
                                                        <a:pt x="166134" y="972"/>
                                                        <a:pt x="158619" y="1620"/>
                                                        <a:pt x="152918" y="0"/>
                                                      </a:cubicBezTo>
                                                      <a:cubicBezTo>
                                                        <a:pt x="151557" y="4729"/>
                                                        <a:pt x="149808" y="9329"/>
                                                        <a:pt x="147217" y="13540"/>
                                                      </a:cubicBezTo>
                                                      <a:cubicBezTo>
                                                        <a:pt x="145532" y="16391"/>
                                                        <a:pt x="143395" y="19241"/>
                                                        <a:pt x="143070" y="22546"/>
                                                      </a:cubicBezTo>
                                                      <a:cubicBezTo>
                                                        <a:pt x="142682" y="25849"/>
                                                        <a:pt x="144107" y="29154"/>
                                                        <a:pt x="143848" y="32458"/>
                                                      </a:cubicBezTo>
                                                      <a:cubicBezTo>
                                                        <a:pt x="143135" y="40880"/>
                                                        <a:pt x="132964" y="44443"/>
                                                        <a:pt x="124671" y="46127"/>
                                                      </a:cubicBezTo>
                                                      <a:cubicBezTo>
                                                        <a:pt x="128235" y="52023"/>
                                                        <a:pt x="125319" y="60834"/>
                                                        <a:pt x="118970" y="63490"/>
                                                      </a:cubicBezTo>
                                                      <a:cubicBezTo>
                                                        <a:pt x="113528" y="65757"/>
                                                        <a:pt x="106467" y="64008"/>
                                                        <a:pt x="101932" y="67831"/>
                                                      </a:cubicBezTo>
                                                      <a:cubicBezTo>
                                                        <a:pt x="100571" y="68997"/>
                                                        <a:pt x="99534" y="70552"/>
                                                        <a:pt x="98109" y="71588"/>
                                                      </a:cubicBezTo>
                                                      <a:cubicBezTo>
                                                        <a:pt x="92538" y="75540"/>
                                                        <a:pt x="82431" y="70552"/>
                                                        <a:pt x="79062" y="76512"/>
                                                      </a:cubicBezTo>
                                                      <a:cubicBezTo>
                                                        <a:pt x="77961" y="78520"/>
                                                        <a:pt x="78155" y="81112"/>
                                                        <a:pt x="76795" y="82926"/>
                                                      </a:cubicBezTo>
                                                      <a:cubicBezTo>
                                                        <a:pt x="75370" y="84869"/>
                                                        <a:pt x="72454" y="85517"/>
                                                        <a:pt x="71288" y="87655"/>
                                                      </a:cubicBezTo>
                                                      <a:cubicBezTo>
                                                        <a:pt x="68826" y="92190"/>
                                                        <a:pt x="76276" y="97438"/>
                                                        <a:pt x="74268" y="102167"/>
                                                      </a:cubicBezTo>
                                                      <a:cubicBezTo>
                                                        <a:pt x="70770" y="103851"/>
                                                        <a:pt x="67206" y="105471"/>
                                                        <a:pt x="63708" y="107156"/>
                                                      </a:cubicBezTo>
                                                      <a:cubicBezTo>
                                                        <a:pt x="64032" y="112727"/>
                                                        <a:pt x="64291" y="118363"/>
                                                        <a:pt x="64615" y="124000"/>
                                                      </a:cubicBezTo>
                                                      <a:cubicBezTo>
                                                        <a:pt x="60210" y="124000"/>
                                                        <a:pt x="55804" y="124129"/>
                                                        <a:pt x="51464" y="124194"/>
                                                      </a:cubicBezTo>
                                                      <a:cubicBezTo>
                                                        <a:pt x="50362" y="124194"/>
                                                        <a:pt x="49131" y="124194"/>
                                                        <a:pt x="48289" y="123482"/>
                                                      </a:cubicBezTo>
                                                      <a:cubicBezTo>
                                                        <a:pt x="47382" y="122704"/>
                                                        <a:pt x="47188" y="121473"/>
                                                        <a:pt x="47058" y="120307"/>
                                                      </a:cubicBezTo>
                                                      <a:cubicBezTo>
                                                        <a:pt x="46669" y="116809"/>
                                                        <a:pt x="46216" y="113246"/>
                                                        <a:pt x="45827" y="109747"/>
                                                      </a:cubicBezTo>
                                                      <a:cubicBezTo>
                                                        <a:pt x="42912" y="107285"/>
                                                        <a:pt x="40126" y="112857"/>
                                                        <a:pt x="37081" y="115124"/>
                                                      </a:cubicBezTo>
                                                      <a:cubicBezTo>
                                                        <a:pt x="33647" y="117651"/>
                                                        <a:pt x="28465" y="115254"/>
                                                        <a:pt x="26456" y="111496"/>
                                                      </a:cubicBezTo>
                                                      <a:cubicBezTo>
                                                        <a:pt x="24513" y="107739"/>
                                                        <a:pt x="24837" y="103268"/>
                                                        <a:pt x="25161" y="98993"/>
                                                      </a:cubicBezTo>
                                                      <a:cubicBezTo>
                                                        <a:pt x="25420" y="95559"/>
                                                        <a:pt x="25549" y="91996"/>
                                                        <a:pt x="24448" y="88821"/>
                                                      </a:cubicBezTo>
                                                      <a:cubicBezTo>
                                                        <a:pt x="21144" y="89016"/>
                                                        <a:pt x="17775" y="88173"/>
                                                        <a:pt x="14600" y="89080"/>
                                                      </a:cubicBezTo>
                                                      <a:cubicBezTo>
                                                        <a:pt x="8964" y="90700"/>
                                                        <a:pt x="6308" y="97179"/>
                                                        <a:pt x="5595" y="103009"/>
                                                      </a:cubicBezTo>
                                                      <a:cubicBezTo>
                                                        <a:pt x="4105" y="114995"/>
                                                        <a:pt x="7733" y="127498"/>
                                                        <a:pt x="15443" y="136763"/>
                                                      </a:cubicBezTo>
                                                      <a:cubicBezTo>
                                                        <a:pt x="11102" y="139872"/>
                                                        <a:pt x="5660" y="141427"/>
                                                        <a:pt x="348" y="141168"/>
                                                      </a:cubicBezTo>
                                                      <a:cubicBezTo>
                                                        <a:pt x="-1596" y="148489"/>
                                                        <a:pt x="4947" y="155356"/>
                                                        <a:pt x="11620" y="158984"/>
                                                      </a:cubicBezTo>
                                                      <a:cubicBezTo>
                                                        <a:pt x="18293" y="162612"/>
                                                        <a:pt x="26132" y="165204"/>
                                                        <a:pt x="30214" y="171553"/>
                                                      </a:cubicBezTo>
                                                      <a:cubicBezTo>
                                                        <a:pt x="31769" y="173950"/>
                                                        <a:pt x="32676" y="176800"/>
                                                        <a:pt x="34295" y="179132"/>
                                                      </a:cubicBezTo>
                                                      <a:cubicBezTo>
                                                        <a:pt x="37081" y="183214"/>
                                                        <a:pt x="41681" y="185676"/>
                                                        <a:pt x="45438" y="188850"/>
                                                      </a:cubicBezTo>
                                                      <a:cubicBezTo>
                                                        <a:pt x="55351" y="197273"/>
                                                        <a:pt x="59173" y="210554"/>
                                                        <a:pt x="63514" y="222798"/>
                                                      </a:cubicBezTo>
                                                      <a:cubicBezTo>
                                                        <a:pt x="67854" y="235042"/>
                                                        <a:pt x="74268" y="248064"/>
                                                        <a:pt x="86318" y="252923"/>
                                                      </a:cubicBezTo>
                                                      <a:cubicBezTo>
                                                        <a:pt x="93833" y="255968"/>
                                                        <a:pt x="103681" y="256163"/>
                                                        <a:pt x="107633" y="263289"/>
                                                      </a:cubicBezTo>
                                                      <a:cubicBezTo>
                                                        <a:pt x="108993" y="265686"/>
                                                        <a:pt x="109317" y="268537"/>
                                                        <a:pt x="109447" y="271258"/>
                                                      </a:cubicBezTo>
                                                      <a:cubicBezTo>
                                                        <a:pt x="110224" y="285057"/>
                                                        <a:pt x="106920" y="299569"/>
                                                        <a:pt x="112492" y="312202"/>
                                                      </a:cubicBezTo>
                                                      <a:cubicBezTo>
                                                        <a:pt x="114889" y="317580"/>
                                                        <a:pt x="118711" y="322179"/>
                                                        <a:pt x="122145" y="326973"/>
                                                      </a:cubicBezTo>
                                                      <a:cubicBezTo>
                                                        <a:pt x="133417" y="342717"/>
                                                        <a:pt x="140673" y="361310"/>
                                                        <a:pt x="143070" y="380486"/>
                                                      </a:cubicBezTo>
                                                      <a:cubicBezTo>
                                                        <a:pt x="143524" y="384309"/>
                                                        <a:pt x="143913" y="388326"/>
                                                        <a:pt x="146180" y="391370"/>
                                                      </a:cubicBezTo>
                                                      <a:cubicBezTo>
                                                        <a:pt x="149095" y="395387"/>
                                                        <a:pt x="154473" y="396748"/>
                                                        <a:pt x="158230" y="400052"/>
                                                      </a:cubicBezTo>
                                                      <a:cubicBezTo>
                                                        <a:pt x="163672" y="404781"/>
                                                        <a:pt x="165162" y="412750"/>
                                                        <a:pt x="170216" y="417933"/>
                                                      </a:cubicBezTo>
                                                      <a:cubicBezTo>
                                                        <a:pt x="180258" y="428169"/>
                                                        <a:pt x="201896" y="425189"/>
                                                        <a:pt x="206172" y="438858"/>
                                                      </a:cubicBezTo>
                                                      <a:cubicBezTo>
                                                        <a:pt x="206820" y="440932"/>
                                                        <a:pt x="206949" y="443199"/>
                                                        <a:pt x="208051" y="445013"/>
                                                      </a:cubicBezTo>
                                                      <a:cubicBezTo>
                                                        <a:pt x="211095" y="450196"/>
                                                        <a:pt x="218611" y="449095"/>
                                                        <a:pt x="224571" y="450066"/>
                                                      </a:cubicBezTo>
                                                      <a:cubicBezTo>
                                                        <a:pt x="234872" y="451751"/>
                                                        <a:pt x="241804" y="461145"/>
                                                        <a:pt x="247635" y="469826"/>
                                                      </a:cubicBezTo>
                                                      <a:cubicBezTo>
                                                        <a:pt x="249643" y="472871"/>
                                                        <a:pt x="254372" y="477406"/>
                                                        <a:pt x="256705" y="480192"/>
                                                      </a:cubicBezTo>
                                                      <a:cubicBezTo>
                                                        <a:pt x="260398" y="484532"/>
                                                        <a:pt x="267329" y="484403"/>
                                                        <a:pt x="271735" y="488031"/>
                                                      </a:cubicBezTo>
                                                      <a:cubicBezTo>
                                                        <a:pt x="273743" y="489651"/>
                                                        <a:pt x="275039" y="491918"/>
                                                        <a:pt x="275817" y="494380"/>
                                                      </a:cubicBezTo>
                                                      <a:cubicBezTo>
                                                        <a:pt x="281194" y="490752"/>
                                                        <a:pt x="286441" y="486476"/>
                                                        <a:pt x="289162" y="48064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2" name="Freeform: Shape 40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A69D9B1-7737-4B54-B7D6-D20CB4CA73C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88760" y="4249244"/>
                                                  <a:ext cx="962736" cy="107758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961458 w 962736"/>
                                                    <a:gd name="connsiteY0" fmla="*/ 302485 h 1077580"/>
                                                    <a:gd name="connsiteX1" fmla="*/ 954784 w 962736"/>
                                                    <a:gd name="connsiteY1" fmla="*/ 299180 h 1077580"/>
                                                    <a:gd name="connsiteX2" fmla="*/ 950833 w 962736"/>
                                                    <a:gd name="connsiteY2" fmla="*/ 291665 h 1077580"/>
                                                    <a:gd name="connsiteX3" fmla="*/ 939754 w 962736"/>
                                                    <a:gd name="connsiteY3" fmla="*/ 289139 h 1077580"/>
                                                    <a:gd name="connsiteX4" fmla="*/ 935738 w 962736"/>
                                                    <a:gd name="connsiteY4" fmla="*/ 280393 h 1077580"/>
                                                    <a:gd name="connsiteX5" fmla="*/ 906843 w 962736"/>
                                                    <a:gd name="connsiteY5" fmla="*/ 269509 h 1077580"/>
                                                    <a:gd name="connsiteX6" fmla="*/ 904835 w 962736"/>
                                                    <a:gd name="connsiteY6" fmla="*/ 255256 h 1077580"/>
                                                    <a:gd name="connsiteX7" fmla="*/ 890517 w 962736"/>
                                                    <a:gd name="connsiteY7" fmla="*/ 255256 h 1077580"/>
                                                    <a:gd name="connsiteX8" fmla="*/ 879698 w 962736"/>
                                                    <a:gd name="connsiteY8" fmla="*/ 241132 h 1077580"/>
                                                    <a:gd name="connsiteX9" fmla="*/ 877106 w 962736"/>
                                                    <a:gd name="connsiteY9" fmla="*/ 235820 h 1077580"/>
                                                    <a:gd name="connsiteX10" fmla="*/ 861364 w 962736"/>
                                                    <a:gd name="connsiteY10" fmla="*/ 226944 h 1077580"/>
                                                    <a:gd name="connsiteX11" fmla="*/ 849897 w 962736"/>
                                                    <a:gd name="connsiteY11" fmla="*/ 213210 h 1077580"/>
                                                    <a:gd name="connsiteX12" fmla="*/ 791006 w 962736"/>
                                                    <a:gd name="connsiteY12" fmla="*/ 223122 h 1077580"/>
                                                    <a:gd name="connsiteX13" fmla="*/ 780900 w 962736"/>
                                                    <a:gd name="connsiteY13" fmla="*/ 210748 h 1077580"/>
                                                    <a:gd name="connsiteX14" fmla="*/ 759067 w 962736"/>
                                                    <a:gd name="connsiteY14" fmla="*/ 223835 h 1077580"/>
                                                    <a:gd name="connsiteX15" fmla="*/ 737105 w 962736"/>
                                                    <a:gd name="connsiteY15" fmla="*/ 217421 h 1077580"/>
                                                    <a:gd name="connsiteX16" fmla="*/ 725508 w 962736"/>
                                                    <a:gd name="connsiteY16" fmla="*/ 224936 h 1077580"/>
                                                    <a:gd name="connsiteX17" fmla="*/ 729978 w 962736"/>
                                                    <a:gd name="connsiteY17" fmla="*/ 200771 h 1077580"/>
                                                    <a:gd name="connsiteX18" fmla="*/ 725054 w 962736"/>
                                                    <a:gd name="connsiteY18" fmla="*/ 198504 h 1077580"/>
                                                    <a:gd name="connsiteX19" fmla="*/ 666812 w 962736"/>
                                                    <a:gd name="connsiteY19" fmla="*/ 182760 h 1077580"/>
                                                    <a:gd name="connsiteX20" fmla="*/ 654762 w 962736"/>
                                                    <a:gd name="connsiteY20" fmla="*/ 175245 h 1077580"/>
                                                    <a:gd name="connsiteX21" fmla="*/ 622563 w 962736"/>
                                                    <a:gd name="connsiteY21" fmla="*/ 180687 h 1077580"/>
                                                    <a:gd name="connsiteX22" fmla="*/ 620490 w 962736"/>
                                                    <a:gd name="connsiteY22" fmla="*/ 191247 h 1077580"/>
                                                    <a:gd name="connsiteX23" fmla="*/ 608699 w 962736"/>
                                                    <a:gd name="connsiteY23" fmla="*/ 193968 h 1077580"/>
                                                    <a:gd name="connsiteX24" fmla="*/ 599888 w 962736"/>
                                                    <a:gd name="connsiteY24" fmla="*/ 191636 h 1077580"/>
                                                    <a:gd name="connsiteX25" fmla="*/ 607922 w 962736"/>
                                                    <a:gd name="connsiteY25" fmla="*/ 177707 h 1077580"/>
                                                    <a:gd name="connsiteX26" fmla="*/ 618352 w 962736"/>
                                                    <a:gd name="connsiteY26" fmla="*/ 164491 h 1077580"/>
                                                    <a:gd name="connsiteX27" fmla="*/ 628783 w 962736"/>
                                                    <a:gd name="connsiteY27" fmla="*/ 164232 h 1077580"/>
                                                    <a:gd name="connsiteX28" fmla="*/ 624831 w 962736"/>
                                                    <a:gd name="connsiteY28" fmla="*/ 156457 h 1077580"/>
                                                    <a:gd name="connsiteX29" fmla="*/ 600731 w 962736"/>
                                                    <a:gd name="connsiteY29" fmla="*/ 139807 h 1077580"/>
                                                    <a:gd name="connsiteX30" fmla="*/ 573002 w 962736"/>
                                                    <a:gd name="connsiteY30" fmla="*/ 143565 h 1077580"/>
                                                    <a:gd name="connsiteX31" fmla="*/ 572225 w 962736"/>
                                                    <a:gd name="connsiteY31" fmla="*/ 160863 h 1077580"/>
                                                    <a:gd name="connsiteX32" fmla="*/ 554862 w 962736"/>
                                                    <a:gd name="connsiteY32" fmla="*/ 155874 h 1077580"/>
                                                    <a:gd name="connsiteX33" fmla="*/ 555640 w 962736"/>
                                                    <a:gd name="connsiteY33" fmla="*/ 141946 h 1077580"/>
                                                    <a:gd name="connsiteX34" fmla="*/ 569115 w 962736"/>
                                                    <a:gd name="connsiteY34" fmla="*/ 134042 h 1077580"/>
                                                    <a:gd name="connsiteX35" fmla="*/ 592438 w 962736"/>
                                                    <a:gd name="connsiteY35" fmla="*/ 107415 h 1077580"/>
                                                    <a:gd name="connsiteX36" fmla="*/ 576112 w 962736"/>
                                                    <a:gd name="connsiteY36" fmla="*/ 100483 h 1077580"/>
                                                    <a:gd name="connsiteX37" fmla="*/ 575270 w 962736"/>
                                                    <a:gd name="connsiteY37" fmla="*/ 85906 h 1077580"/>
                                                    <a:gd name="connsiteX38" fmla="*/ 561211 w 962736"/>
                                                    <a:gd name="connsiteY38" fmla="*/ 81371 h 1077580"/>
                                                    <a:gd name="connsiteX39" fmla="*/ 549356 w 962736"/>
                                                    <a:gd name="connsiteY39" fmla="*/ 55133 h 1077580"/>
                                                    <a:gd name="connsiteX40" fmla="*/ 546894 w 962736"/>
                                                    <a:gd name="connsiteY40" fmla="*/ 55003 h 1077580"/>
                                                    <a:gd name="connsiteX41" fmla="*/ 542423 w 962736"/>
                                                    <a:gd name="connsiteY41" fmla="*/ 57530 h 1077580"/>
                                                    <a:gd name="connsiteX42" fmla="*/ 532770 w 962736"/>
                                                    <a:gd name="connsiteY42" fmla="*/ 61741 h 1077580"/>
                                                    <a:gd name="connsiteX43" fmla="*/ 528041 w 962736"/>
                                                    <a:gd name="connsiteY43" fmla="*/ 62777 h 1077580"/>
                                                    <a:gd name="connsiteX44" fmla="*/ 522210 w 962736"/>
                                                    <a:gd name="connsiteY44" fmla="*/ 71135 h 1077580"/>
                                                    <a:gd name="connsiteX45" fmla="*/ 523117 w 962736"/>
                                                    <a:gd name="connsiteY45" fmla="*/ 81695 h 1077580"/>
                                                    <a:gd name="connsiteX46" fmla="*/ 498628 w 962736"/>
                                                    <a:gd name="connsiteY46" fmla="*/ 81241 h 1077580"/>
                                                    <a:gd name="connsiteX47" fmla="*/ 494417 w 962736"/>
                                                    <a:gd name="connsiteY47" fmla="*/ 84740 h 1077580"/>
                                                    <a:gd name="connsiteX48" fmla="*/ 482173 w 962736"/>
                                                    <a:gd name="connsiteY48" fmla="*/ 77225 h 1077580"/>
                                                    <a:gd name="connsiteX49" fmla="*/ 478998 w 962736"/>
                                                    <a:gd name="connsiteY49" fmla="*/ 63684 h 1077580"/>
                                                    <a:gd name="connsiteX50" fmla="*/ 478545 w 962736"/>
                                                    <a:gd name="connsiteY50" fmla="*/ 63749 h 1077580"/>
                                                    <a:gd name="connsiteX51" fmla="*/ 473880 w 962736"/>
                                                    <a:gd name="connsiteY51" fmla="*/ 63684 h 1077580"/>
                                                    <a:gd name="connsiteX52" fmla="*/ 470317 w 962736"/>
                                                    <a:gd name="connsiteY52" fmla="*/ 69062 h 1077580"/>
                                                    <a:gd name="connsiteX53" fmla="*/ 465782 w 962736"/>
                                                    <a:gd name="connsiteY53" fmla="*/ 70357 h 1077580"/>
                                                    <a:gd name="connsiteX54" fmla="*/ 442589 w 962736"/>
                                                    <a:gd name="connsiteY54" fmla="*/ 71459 h 1077580"/>
                                                    <a:gd name="connsiteX55" fmla="*/ 442848 w 962736"/>
                                                    <a:gd name="connsiteY55" fmla="*/ 81630 h 1077580"/>
                                                    <a:gd name="connsiteX56" fmla="*/ 439155 w 962736"/>
                                                    <a:gd name="connsiteY56" fmla="*/ 90506 h 1077580"/>
                                                    <a:gd name="connsiteX57" fmla="*/ 434555 w 962736"/>
                                                    <a:gd name="connsiteY57" fmla="*/ 90700 h 1077580"/>
                                                    <a:gd name="connsiteX58" fmla="*/ 418618 w 962736"/>
                                                    <a:gd name="connsiteY58" fmla="*/ 73143 h 1077580"/>
                                                    <a:gd name="connsiteX59" fmla="*/ 418359 w 962736"/>
                                                    <a:gd name="connsiteY59" fmla="*/ 76901 h 1077580"/>
                                                    <a:gd name="connsiteX60" fmla="*/ 408123 w 962736"/>
                                                    <a:gd name="connsiteY60" fmla="*/ 86489 h 1077580"/>
                                                    <a:gd name="connsiteX61" fmla="*/ 394583 w 962736"/>
                                                    <a:gd name="connsiteY61" fmla="*/ 88303 h 1077580"/>
                                                    <a:gd name="connsiteX62" fmla="*/ 393416 w 962736"/>
                                                    <a:gd name="connsiteY62" fmla="*/ 99381 h 1077580"/>
                                                    <a:gd name="connsiteX63" fmla="*/ 385836 w 962736"/>
                                                    <a:gd name="connsiteY63" fmla="*/ 102361 h 1077580"/>
                                                    <a:gd name="connsiteX64" fmla="*/ 358173 w 962736"/>
                                                    <a:gd name="connsiteY64" fmla="*/ 89987 h 1077580"/>
                                                    <a:gd name="connsiteX65" fmla="*/ 356165 w 962736"/>
                                                    <a:gd name="connsiteY65" fmla="*/ 84869 h 1077580"/>
                                                    <a:gd name="connsiteX66" fmla="*/ 352083 w 962736"/>
                                                    <a:gd name="connsiteY66" fmla="*/ 81436 h 1077580"/>
                                                    <a:gd name="connsiteX67" fmla="*/ 341393 w 962736"/>
                                                    <a:gd name="connsiteY67" fmla="*/ 74763 h 1077580"/>
                                                    <a:gd name="connsiteX68" fmla="*/ 342689 w 962736"/>
                                                    <a:gd name="connsiteY68" fmla="*/ 49496 h 1077580"/>
                                                    <a:gd name="connsiteX69" fmla="*/ 346641 w 962736"/>
                                                    <a:gd name="connsiteY69" fmla="*/ 16974 h 1077580"/>
                                                    <a:gd name="connsiteX70" fmla="*/ 344179 w 962736"/>
                                                    <a:gd name="connsiteY70" fmla="*/ 14253 h 1077580"/>
                                                    <a:gd name="connsiteX71" fmla="*/ 339320 w 962736"/>
                                                    <a:gd name="connsiteY71" fmla="*/ 13475 h 1077580"/>
                                                    <a:gd name="connsiteX72" fmla="*/ 330704 w 962736"/>
                                                    <a:gd name="connsiteY72" fmla="*/ 3304 h 1077580"/>
                                                    <a:gd name="connsiteX73" fmla="*/ 325262 w 962736"/>
                                                    <a:gd name="connsiteY73" fmla="*/ 0 h 1077580"/>
                                                    <a:gd name="connsiteX74" fmla="*/ 324420 w 962736"/>
                                                    <a:gd name="connsiteY74" fmla="*/ 5636 h 1077580"/>
                                                    <a:gd name="connsiteX75" fmla="*/ 313341 w 962736"/>
                                                    <a:gd name="connsiteY75" fmla="*/ 12504 h 1077580"/>
                                                    <a:gd name="connsiteX76" fmla="*/ 307057 w 962736"/>
                                                    <a:gd name="connsiteY76" fmla="*/ 22610 h 1077580"/>
                                                    <a:gd name="connsiteX77" fmla="*/ 287427 w 962736"/>
                                                    <a:gd name="connsiteY77" fmla="*/ 22610 h 1077580"/>
                                                    <a:gd name="connsiteX78" fmla="*/ 282114 w 962736"/>
                                                    <a:gd name="connsiteY78" fmla="*/ 23582 h 1077580"/>
                                                    <a:gd name="connsiteX79" fmla="*/ 277774 w 962736"/>
                                                    <a:gd name="connsiteY79" fmla="*/ 34855 h 1077580"/>
                                                    <a:gd name="connsiteX80" fmla="*/ 269157 w 962736"/>
                                                    <a:gd name="connsiteY80" fmla="*/ 40102 h 1077580"/>
                                                    <a:gd name="connsiteX81" fmla="*/ 265400 w 962736"/>
                                                    <a:gd name="connsiteY81" fmla="*/ 32782 h 1077580"/>
                                                    <a:gd name="connsiteX82" fmla="*/ 255423 w 962736"/>
                                                    <a:gd name="connsiteY82" fmla="*/ 30968 h 1077580"/>
                                                    <a:gd name="connsiteX83" fmla="*/ 251147 w 962736"/>
                                                    <a:gd name="connsiteY83" fmla="*/ 25979 h 1077580"/>
                                                    <a:gd name="connsiteX84" fmla="*/ 230545 w 962736"/>
                                                    <a:gd name="connsiteY84" fmla="*/ 21444 h 1077580"/>
                                                    <a:gd name="connsiteX85" fmla="*/ 231970 w 962736"/>
                                                    <a:gd name="connsiteY85" fmla="*/ 37317 h 1077580"/>
                                                    <a:gd name="connsiteX86" fmla="*/ 234238 w 962736"/>
                                                    <a:gd name="connsiteY86" fmla="*/ 46581 h 1077580"/>
                                                    <a:gd name="connsiteX87" fmla="*/ 252248 w 962736"/>
                                                    <a:gd name="connsiteY87" fmla="*/ 69904 h 1077580"/>
                                                    <a:gd name="connsiteX88" fmla="*/ 247648 w 962736"/>
                                                    <a:gd name="connsiteY88" fmla="*/ 84610 h 1077580"/>
                                                    <a:gd name="connsiteX89" fmla="*/ 233979 w 962736"/>
                                                    <a:gd name="connsiteY89" fmla="*/ 89987 h 1077580"/>
                                                    <a:gd name="connsiteX90" fmla="*/ 233266 w 962736"/>
                                                    <a:gd name="connsiteY90" fmla="*/ 100224 h 1077580"/>
                                                    <a:gd name="connsiteX91" fmla="*/ 223030 w 962736"/>
                                                    <a:gd name="connsiteY91" fmla="*/ 103528 h 1077580"/>
                                                    <a:gd name="connsiteX92" fmla="*/ 216487 w 962736"/>
                                                    <a:gd name="connsiteY92" fmla="*/ 102945 h 1077580"/>
                                                    <a:gd name="connsiteX93" fmla="*/ 211498 w 962736"/>
                                                    <a:gd name="connsiteY93" fmla="*/ 116809 h 1077580"/>
                                                    <a:gd name="connsiteX94" fmla="*/ 185908 w 962736"/>
                                                    <a:gd name="connsiteY94" fmla="*/ 113958 h 1077580"/>
                                                    <a:gd name="connsiteX95" fmla="*/ 176514 w 962736"/>
                                                    <a:gd name="connsiteY95" fmla="*/ 111302 h 1077580"/>
                                                    <a:gd name="connsiteX96" fmla="*/ 173858 w 962736"/>
                                                    <a:gd name="connsiteY96" fmla="*/ 102750 h 1077580"/>
                                                    <a:gd name="connsiteX97" fmla="*/ 156560 w 962736"/>
                                                    <a:gd name="connsiteY97" fmla="*/ 84804 h 1077580"/>
                                                    <a:gd name="connsiteX98" fmla="*/ 139975 w 962736"/>
                                                    <a:gd name="connsiteY98" fmla="*/ 88692 h 1077580"/>
                                                    <a:gd name="connsiteX99" fmla="*/ 112181 w 962736"/>
                                                    <a:gd name="connsiteY99" fmla="*/ 88173 h 1077580"/>
                                                    <a:gd name="connsiteX100" fmla="*/ 94236 w 962736"/>
                                                    <a:gd name="connsiteY100" fmla="*/ 95170 h 1077580"/>
                                                    <a:gd name="connsiteX101" fmla="*/ 98706 w 962736"/>
                                                    <a:gd name="connsiteY101" fmla="*/ 108322 h 1077580"/>
                                                    <a:gd name="connsiteX102" fmla="*/ 112441 w 962736"/>
                                                    <a:gd name="connsiteY102" fmla="*/ 113829 h 1077580"/>
                                                    <a:gd name="connsiteX103" fmla="*/ 111210 w 962736"/>
                                                    <a:gd name="connsiteY103" fmla="*/ 121344 h 1077580"/>
                                                    <a:gd name="connsiteX104" fmla="*/ 95208 w 962736"/>
                                                    <a:gd name="connsiteY104" fmla="*/ 124129 h 1077580"/>
                                                    <a:gd name="connsiteX105" fmla="*/ 91709 w 962736"/>
                                                    <a:gd name="connsiteY105" fmla="*/ 139937 h 1077580"/>
                                                    <a:gd name="connsiteX106" fmla="*/ 97086 w 962736"/>
                                                    <a:gd name="connsiteY106" fmla="*/ 158336 h 1077580"/>
                                                    <a:gd name="connsiteX107" fmla="*/ 104537 w 962736"/>
                                                    <a:gd name="connsiteY107" fmla="*/ 185546 h 1077580"/>
                                                    <a:gd name="connsiteX108" fmla="*/ 92940 w 962736"/>
                                                    <a:gd name="connsiteY108" fmla="*/ 211785 h 1077580"/>
                                                    <a:gd name="connsiteX109" fmla="*/ 82251 w 962736"/>
                                                    <a:gd name="connsiteY109" fmla="*/ 242169 h 1077580"/>
                                                    <a:gd name="connsiteX110" fmla="*/ 64694 w 962736"/>
                                                    <a:gd name="connsiteY110" fmla="*/ 248259 h 1077580"/>
                                                    <a:gd name="connsiteX111" fmla="*/ 29839 w 962736"/>
                                                    <a:gd name="connsiteY111" fmla="*/ 271063 h 1077580"/>
                                                    <a:gd name="connsiteX112" fmla="*/ 17530 w 962736"/>
                                                    <a:gd name="connsiteY112" fmla="*/ 284863 h 1077580"/>
                                                    <a:gd name="connsiteX113" fmla="*/ 13189 w 962736"/>
                                                    <a:gd name="connsiteY113" fmla="*/ 292313 h 1077580"/>
                                                    <a:gd name="connsiteX114" fmla="*/ 10857 w 962736"/>
                                                    <a:gd name="connsiteY114" fmla="*/ 310000 h 1077580"/>
                                                    <a:gd name="connsiteX115" fmla="*/ 3406 w 962736"/>
                                                    <a:gd name="connsiteY115" fmla="*/ 317709 h 1077580"/>
                                                    <a:gd name="connsiteX116" fmla="*/ 4896 w 962736"/>
                                                    <a:gd name="connsiteY116" fmla="*/ 325289 h 1077580"/>
                                                    <a:gd name="connsiteX117" fmla="*/ 2953 w 962736"/>
                                                    <a:gd name="connsiteY117" fmla="*/ 331768 h 1077580"/>
                                                    <a:gd name="connsiteX118" fmla="*/ 297 w 962736"/>
                                                    <a:gd name="connsiteY118" fmla="*/ 350426 h 1077580"/>
                                                    <a:gd name="connsiteX119" fmla="*/ 10533 w 962736"/>
                                                    <a:gd name="connsiteY119" fmla="*/ 374591 h 1077580"/>
                                                    <a:gd name="connsiteX120" fmla="*/ 20315 w 962736"/>
                                                    <a:gd name="connsiteY120" fmla="*/ 388261 h 1077580"/>
                                                    <a:gd name="connsiteX121" fmla="*/ 43638 w 962736"/>
                                                    <a:gd name="connsiteY121" fmla="*/ 407178 h 1077580"/>
                                                    <a:gd name="connsiteX122" fmla="*/ 59835 w 962736"/>
                                                    <a:gd name="connsiteY122" fmla="*/ 408668 h 1077580"/>
                                                    <a:gd name="connsiteX123" fmla="*/ 72921 w 962736"/>
                                                    <a:gd name="connsiteY123" fmla="*/ 399210 h 1077580"/>
                                                    <a:gd name="connsiteX124" fmla="*/ 83352 w 962736"/>
                                                    <a:gd name="connsiteY124" fmla="*/ 437757 h 1077580"/>
                                                    <a:gd name="connsiteX125" fmla="*/ 102723 w 962736"/>
                                                    <a:gd name="connsiteY125" fmla="*/ 436137 h 1077580"/>
                                                    <a:gd name="connsiteX126" fmla="*/ 117040 w 962736"/>
                                                    <a:gd name="connsiteY126" fmla="*/ 443977 h 1077580"/>
                                                    <a:gd name="connsiteX127" fmla="*/ 125463 w 962736"/>
                                                    <a:gd name="connsiteY127" fmla="*/ 437692 h 1077580"/>
                                                    <a:gd name="connsiteX128" fmla="*/ 135764 w 962736"/>
                                                    <a:gd name="connsiteY128" fmla="*/ 430177 h 1077580"/>
                                                    <a:gd name="connsiteX129" fmla="*/ 141270 w 962736"/>
                                                    <a:gd name="connsiteY129" fmla="*/ 421561 h 1077580"/>
                                                    <a:gd name="connsiteX130" fmla="*/ 155329 w 962736"/>
                                                    <a:gd name="connsiteY130" fmla="*/ 421561 h 1077580"/>
                                                    <a:gd name="connsiteX131" fmla="*/ 160771 w 962736"/>
                                                    <a:gd name="connsiteY131" fmla="*/ 407567 h 1077580"/>
                                                    <a:gd name="connsiteX132" fmla="*/ 174506 w 962736"/>
                                                    <a:gd name="connsiteY132" fmla="*/ 407437 h 1077580"/>
                                                    <a:gd name="connsiteX133" fmla="*/ 198023 w 962736"/>
                                                    <a:gd name="connsiteY133" fmla="*/ 399274 h 1077580"/>
                                                    <a:gd name="connsiteX134" fmla="*/ 204372 w 962736"/>
                                                    <a:gd name="connsiteY134" fmla="*/ 400635 h 1077580"/>
                                                    <a:gd name="connsiteX135" fmla="*/ 208712 w 962736"/>
                                                    <a:gd name="connsiteY135" fmla="*/ 409575 h 1077580"/>
                                                    <a:gd name="connsiteX136" fmla="*/ 203076 w 962736"/>
                                                    <a:gd name="connsiteY136" fmla="*/ 433805 h 1077580"/>
                                                    <a:gd name="connsiteX137" fmla="*/ 216357 w 962736"/>
                                                    <a:gd name="connsiteY137" fmla="*/ 450002 h 1077580"/>
                                                    <a:gd name="connsiteX138" fmla="*/ 217264 w 962736"/>
                                                    <a:gd name="connsiteY138" fmla="*/ 466198 h 1077580"/>
                                                    <a:gd name="connsiteX139" fmla="*/ 227435 w 962736"/>
                                                    <a:gd name="connsiteY139" fmla="*/ 467753 h 1077580"/>
                                                    <a:gd name="connsiteX140" fmla="*/ 236376 w 962736"/>
                                                    <a:gd name="connsiteY140" fmla="*/ 474491 h 1077580"/>
                                                    <a:gd name="connsiteX141" fmla="*/ 244668 w 962736"/>
                                                    <a:gd name="connsiteY141" fmla="*/ 473389 h 1077580"/>
                                                    <a:gd name="connsiteX142" fmla="*/ 276025 w 962736"/>
                                                    <a:gd name="connsiteY142" fmla="*/ 497230 h 1077580"/>
                                                    <a:gd name="connsiteX143" fmla="*/ 292934 w 962736"/>
                                                    <a:gd name="connsiteY143" fmla="*/ 496258 h 1077580"/>
                                                    <a:gd name="connsiteX144" fmla="*/ 301032 w 962736"/>
                                                    <a:gd name="connsiteY144" fmla="*/ 504940 h 1077580"/>
                                                    <a:gd name="connsiteX145" fmla="*/ 314637 w 962736"/>
                                                    <a:gd name="connsiteY145" fmla="*/ 504033 h 1077580"/>
                                                    <a:gd name="connsiteX146" fmla="*/ 322670 w 962736"/>
                                                    <a:gd name="connsiteY146" fmla="*/ 512779 h 1077580"/>
                                                    <a:gd name="connsiteX147" fmla="*/ 335692 w 962736"/>
                                                    <a:gd name="connsiteY147" fmla="*/ 512455 h 1077580"/>
                                                    <a:gd name="connsiteX148" fmla="*/ 337053 w 962736"/>
                                                    <a:gd name="connsiteY148" fmla="*/ 567976 h 1077580"/>
                                                    <a:gd name="connsiteX149" fmla="*/ 344633 w 962736"/>
                                                    <a:gd name="connsiteY149" fmla="*/ 579249 h 1077580"/>
                                                    <a:gd name="connsiteX150" fmla="*/ 365753 w 962736"/>
                                                    <a:gd name="connsiteY150" fmla="*/ 579832 h 1077580"/>
                                                    <a:gd name="connsiteX151" fmla="*/ 385189 w 962736"/>
                                                    <a:gd name="connsiteY151" fmla="*/ 585468 h 1077580"/>
                                                    <a:gd name="connsiteX152" fmla="*/ 385966 w 962736"/>
                                                    <a:gd name="connsiteY152" fmla="*/ 599009 h 1077580"/>
                                                    <a:gd name="connsiteX153" fmla="*/ 391473 w 962736"/>
                                                    <a:gd name="connsiteY153" fmla="*/ 610476 h 1077580"/>
                                                    <a:gd name="connsiteX154" fmla="*/ 399247 w 962736"/>
                                                    <a:gd name="connsiteY154" fmla="*/ 612160 h 1077580"/>
                                                    <a:gd name="connsiteX155" fmla="*/ 400802 w 962736"/>
                                                    <a:gd name="connsiteY155" fmla="*/ 619481 h 1077580"/>
                                                    <a:gd name="connsiteX156" fmla="*/ 392509 w 962736"/>
                                                    <a:gd name="connsiteY156" fmla="*/ 686081 h 1077580"/>
                                                    <a:gd name="connsiteX157" fmla="*/ 388039 w 962736"/>
                                                    <a:gd name="connsiteY157" fmla="*/ 688607 h 1077580"/>
                                                    <a:gd name="connsiteX158" fmla="*/ 395166 w 962736"/>
                                                    <a:gd name="connsiteY158" fmla="*/ 743351 h 1077580"/>
                                                    <a:gd name="connsiteX159" fmla="*/ 438248 w 962736"/>
                                                    <a:gd name="connsiteY159" fmla="*/ 750478 h 1077580"/>
                                                    <a:gd name="connsiteX160" fmla="*/ 444079 w 962736"/>
                                                    <a:gd name="connsiteY160" fmla="*/ 765897 h 1077580"/>
                                                    <a:gd name="connsiteX161" fmla="*/ 449586 w 962736"/>
                                                    <a:gd name="connsiteY161" fmla="*/ 795115 h 1077580"/>
                                                    <a:gd name="connsiteX162" fmla="*/ 475176 w 962736"/>
                                                    <a:gd name="connsiteY162" fmla="*/ 798743 h 1077580"/>
                                                    <a:gd name="connsiteX163" fmla="*/ 484246 w 962736"/>
                                                    <a:gd name="connsiteY163" fmla="*/ 814680 h 1077580"/>
                                                    <a:gd name="connsiteX164" fmla="*/ 480229 w 962736"/>
                                                    <a:gd name="connsiteY164" fmla="*/ 833468 h 1077580"/>
                                                    <a:gd name="connsiteX165" fmla="*/ 480359 w 962736"/>
                                                    <a:gd name="connsiteY165" fmla="*/ 851932 h 1077580"/>
                                                    <a:gd name="connsiteX166" fmla="*/ 489947 w 962736"/>
                                                    <a:gd name="connsiteY166" fmla="*/ 860160 h 1077580"/>
                                                    <a:gd name="connsiteX167" fmla="*/ 494676 w 962736"/>
                                                    <a:gd name="connsiteY167" fmla="*/ 875061 h 1077580"/>
                                                    <a:gd name="connsiteX168" fmla="*/ 484894 w 962736"/>
                                                    <a:gd name="connsiteY168" fmla="*/ 880567 h 1077580"/>
                                                    <a:gd name="connsiteX169" fmla="*/ 479387 w 962736"/>
                                                    <a:gd name="connsiteY169" fmla="*/ 894108 h 1077580"/>
                                                    <a:gd name="connsiteX170" fmla="*/ 465393 w 962736"/>
                                                    <a:gd name="connsiteY170" fmla="*/ 902206 h 1077580"/>
                                                    <a:gd name="connsiteX171" fmla="*/ 453084 w 962736"/>
                                                    <a:gd name="connsiteY171" fmla="*/ 922743 h 1077580"/>
                                                    <a:gd name="connsiteX172" fmla="*/ 441941 w 962736"/>
                                                    <a:gd name="connsiteY172" fmla="*/ 927861 h 1077580"/>
                                                    <a:gd name="connsiteX173" fmla="*/ 419978 w 962736"/>
                                                    <a:gd name="connsiteY173" fmla="*/ 955719 h 1077580"/>
                                                    <a:gd name="connsiteX174" fmla="*/ 409807 w 962736"/>
                                                    <a:gd name="connsiteY174" fmla="*/ 977681 h 1077580"/>
                                                    <a:gd name="connsiteX175" fmla="*/ 435981 w 962736"/>
                                                    <a:gd name="connsiteY175" fmla="*/ 984289 h 1077580"/>
                                                    <a:gd name="connsiteX176" fmla="*/ 442070 w 962736"/>
                                                    <a:gd name="connsiteY176" fmla="*/ 1000680 h 1077580"/>
                                                    <a:gd name="connsiteX177" fmla="*/ 455222 w 962736"/>
                                                    <a:gd name="connsiteY177" fmla="*/ 1003660 h 1077580"/>
                                                    <a:gd name="connsiteX178" fmla="*/ 462931 w 962736"/>
                                                    <a:gd name="connsiteY178" fmla="*/ 1014350 h 1077580"/>
                                                    <a:gd name="connsiteX179" fmla="*/ 484440 w 962736"/>
                                                    <a:gd name="connsiteY179" fmla="*/ 1020570 h 1077580"/>
                                                    <a:gd name="connsiteX180" fmla="*/ 492215 w 962736"/>
                                                    <a:gd name="connsiteY180" fmla="*/ 1030805 h 1077580"/>
                                                    <a:gd name="connsiteX181" fmla="*/ 499795 w 962736"/>
                                                    <a:gd name="connsiteY181" fmla="*/ 1074277 h 1077580"/>
                                                    <a:gd name="connsiteX182" fmla="*/ 499535 w 962736"/>
                                                    <a:gd name="connsiteY182" fmla="*/ 1077581 h 1077580"/>
                                                    <a:gd name="connsiteX183" fmla="*/ 502580 w 962736"/>
                                                    <a:gd name="connsiteY183" fmla="*/ 1074795 h 1077580"/>
                                                    <a:gd name="connsiteX184" fmla="*/ 519684 w 962736"/>
                                                    <a:gd name="connsiteY184" fmla="*/ 1059830 h 1077580"/>
                                                    <a:gd name="connsiteX185" fmla="*/ 521886 w 962736"/>
                                                    <a:gd name="connsiteY185" fmla="*/ 1049723 h 1077580"/>
                                                    <a:gd name="connsiteX186" fmla="*/ 529985 w 962736"/>
                                                    <a:gd name="connsiteY186" fmla="*/ 1044216 h 1077580"/>
                                                    <a:gd name="connsiteX187" fmla="*/ 544043 w 962736"/>
                                                    <a:gd name="connsiteY187" fmla="*/ 1005863 h 1077580"/>
                                                    <a:gd name="connsiteX188" fmla="*/ 544043 w 962736"/>
                                                    <a:gd name="connsiteY188" fmla="*/ 987723 h 1077580"/>
                                                    <a:gd name="connsiteX189" fmla="*/ 557583 w 962736"/>
                                                    <a:gd name="connsiteY189" fmla="*/ 977681 h 1077580"/>
                                                    <a:gd name="connsiteX190" fmla="*/ 562183 w 962736"/>
                                                    <a:gd name="connsiteY190" fmla="*/ 977552 h 1077580"/>
                                                    <a:gd name="connsiteX191" fmla="*/ 563220 w 962736"/>
                                                    <a:gd name="connsiteY191" fmla="*/ 972498 h 1077580"/>
                                                    <a:gd name="connsiteX192" fmla="*/ 586219 w 962736"/>
                                                    <a:gd name="connsiteY192" fmla="*/ 950860 h 1077580"/>
                                                    <a:gd name="connsiteX193" fmla="*/ 592179 w 962736"/>
                                                    <a:gd name="connsiteY193" fmla="*/ 937385 h 1077580"/>
                                                    <a:gd name="connsiteX194" fmla="*/ 605136 w 962736"/>
                                                    <a:gd name="connsiteY194" fmla="*/ 927472 h 1077580"/>
                                                    <a:gd name="connsiteX195" fmla="*/ 607274 w 962736"/>
                                                    <a:gd name="connsiteY195" fmla="*/ 921318 h 1077580"/>
                                                    <a:gd name="connsiteX196" fmla="*/ 615048 w 962736"/>
                                                    <a:gd name="connsiteY196" fmla="*/ 916394 h 1077580"/>
                                                    <a:gd name="connsiteX197" fmla="*/ 624766 w 962736"/>
                                                    <a:gd name="connsiteY197" fmla="*/ 882446 h 1077580"/>
                                                    <a:gd name="connsiteX198" fmla="*/ 618935 w 962736"/>
                                                    <a:gd name="connsiteY198" fmla="*/ 873635 h 1077580"/>
                                                    <a:gd name="connsiteX199" fmla="*/ 619389 w 962736"/>
                                                    <a:gd name="connsiteY199" fmla="*/ 856856 h 1077580"/>
                                                    <a:gd name="connsiteX200" fmla="*/ 644267 w 962736"/>
                                                    <a:gd name="connsiteY200" fmla="*/ 817920 h 1077580"/>
                                                    <a:gd name="connsiteX201" fmla="*/ 667849 w 962736"/>
                                                    <a:gd name="connsiteY201" fmla="*/ 809951 h 1077580"/>
                                                    <a:gd name="connsiteX202" fmla="*/ 672837 w 962736"/>
                                                    <a:gd name="connsiteY202" fmla="*/ 803148 h 1077580"/>
                                                    <a:gd name="connsiteX203" fmla="*/ 681000 w 962736"/>
                                                    <a:gd name="connsiteY203" fmla="*/ 798030 h 1077580"/>
                                                    <a:gd name="connsiteX204" fmla="*/ 704582 w 962736"/>
                                                    <a:gd name="connsiteY204" fmla="*/ 787341 h 1077580"/>
                                                    <a:gd name="connsiteX205" fmla="*/ 713847 w 962736"/>
                                                    <a:gd name="connsiteY205" fmla="*/ 780603 h 1077580"/>
                                                    <a:gd name="connsiteX206" fmla="*/ 717151 w 962736"/>
                                                    <a:gd name="connsiteY206" fmla="*/ 771404 h 1077580"/>
                                                    <a:gd name="connsiteX207" fmla="*/ 731987 w 962736"/>
                                                    <a:gd name="connsiteY207" fmla="*/ 764342 h 1077580"/>
                                                    <a:gd name="connsiteX208" fmla="*/ 748312 w 962736"/>
                                                    <a:gd name="connsiteY208" fmla="*/ 770173 h 1077580"/>
                                                    <a:gd name="connsiteX209" fmla="*/ 779669 w 962736"/>
                                                    <a:gd name="connsiteY209" fmla="*/ 752939 h 1077580"/>
                                                    <a:gd name="connsiteX210" fmla="*/ 789322 w 962736"/>
                                                    <a:gd name="connsiteY210" fmla="*/ 752292 h 1077580"/>
                                                    <a:gd name="connsiteX211" fmla="*/ 799558 w 962736"/>
                                                    <a:gd name="connsiteY211" fmla="*/ 741343 h 1077580"/>
                                                    <a:gd name="connsiteX212" fmla="*/ 811349 w 962736"/>
                                                    <a:gd name="connsiteY212" fmla="*/ 738168 h 1077580"/>
                                                    <a:gd name="connsiteX213" fmla="*/ 820289 w 962736"/>
                                                    <a:gd name="connsiteY213" fmla="*/ 722037 h 1077580"/>
                                                    <a:gd name="connsiteX214" fmla="*/ 829942 w 962736"/>
                                                    <a:gd name="connsiteY214" fmla="*/ 671633 h 1077580"/>
                                                    <a:gd name="connsiteX215" fmla="*/ 833895 w 962736"/>
                                                    <a:gd name="connsiteY215" fmla="*/ 658223 h 1077580"/>
                                                    <a:gd name="connsiteX216" fmla="*/ 848666 w 962736"/>
                                                    <a:gd name="connsiteY216" fmla="*/ 628486 h 1077580"/>
                                                    <a:gd name="connsiteX217" fmla="*/ 860262 w 962736"/>
                                                    <a:gd name="connsiteY217" fmla="*/ 622785 h 1077580"/>
                                                    <a:gd name="connsiteX218" fmla="*/ 862335 w 962736"/>
                                                    <a:gd name="connsiteY218" fmla="*/ 608921 h 1077580"/>
                                                    <a:gd name="connsiteX219" fmla="*/ 862335 w 962736"/>
                                                    <a:gd name="connsiteY219" fmla="*/ 551521 h 1077580"/>
                                                    <a:gd name="connsiteX220" fmla="*/ 854043 w 962736"/>
                                                    <a:gd name="connsiteY220" fmla="*/ 522691 h 1077580"/>
                                                    <a:gd name="connsiteX221" fmla="*/ 853848 w 962736"/>
                                                    <a:gd name="connsiteY221" fmla="*/ 499304 h 1077580"/>
                                                    <a:gd name="connsiteX222" fmla="*/ 862400 w 962736"/>
                                                    <a:gd name="connsiteY222" fmla="*/ 495546 h 1077580"/>
                                                    <a:gd name="connsiteX223" fmla="*/ 867713 w 962736"/>
                                                    <a:gd name="connsiteY223" fmla="*/ 475462 h 1077580"/>
                                                    <a:gd name="connsiteX224" fmla="*/ 883456 w 962736"/>
                                                    <a:gd name="connsiteY224" fmla="*/ 459460 h 1077580"/>
                                                    <a:gd name="connsiteX225" fmla="*/ 885853 w 962736"/>
                                                    <a:gd name="connsiteY225" fmla="*/ 455055 h 1077580"/>
                                                    <a:gd name="connsiteX226" fmla="*/ 893368 w 962736"/>
                                                    <a:gd name="connsiteY226" fmla="*/ 450973 h 1077580"/>
                                                    <a:gd name="connsiteX227" fmla="*/ 901077 w 962736"/>
                                                    <a:gd name="connsiteY227" fmla="*/ 436591 h 1077580"/>
                                                    <a:gd name="connsiteX228" fmla="*/ 915913 w 962736"/>
                                                    <a:gd name="connsiteY228" fmla="*/ 432186 h 1077580"/>
                                                    <a:gd name="connsiteX229" fmla="*/ 922716 w 962736"/>
                                                    <a:gd name="connsiteY229" fmla="*/ 417220 h 1077580"/>
                                                    <a:gd name="connsiteX230" fmla="*/ 936580 w 962736"/>
                                                    <a:gd name="connsiteY230" fmla="*/ 416313 h 1077580"/>
                                                    <a:gd name="connsiteX231" fmla="*/ 942605 w 962736"/>
                                                    <a:gd name="connsiteY231" fmla="*/ 375109 h 1077580"/>
                                                    <a:gd name="connsiteX232" fmla="*/ 952064 w 962736"/>
                                                    <a:gd name="connsiteY232" fmla="*/ 372971 h 1077580"/>
                                                    <a:gd name="connsiteX233" fmla="*/ 952064 w 962736"/>
                                                    <a:gd name="connsiteY233" fmla="*/ 357941 h 1077580"/>
                                                    <a:gd name="connsiteX234" fmla="*/ 959643 w 962736"/>
                                                    <a:gd name="connsiteY234" fmla="*/ 357617 h 1077580"/>
                                                    <a:gd name="connsiteX235" fmla="*/ 961263 w 962736"/>
                                                    <a:gd name="connsiteY235" fmla="*/ 302485 h 107758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62736" h="1077580">
                                                      <a:moveTo>
                                                        <a:pt x="961458" y="302485"/>
                                                      </a:moveTo>
                                                      <a:cubicBezTo>
                                                        <a:pt x="959190" y="304234"/>
                                                        <a:pt x="955951" y="301837"/>
                                                        <a:pt x="954784" y="299180"/>
                                                      </a:cubicBezTo>
                                                      <a:cubicBezTo>
                                                        <a:pt x="953618" y="296524"/>
                                                        <a:pt x="953165" y="293350"/>
                                                        <a:pt x="950833" y="291665"/>
                                                      </a:cubicBezTo>
                                                      <a:cubicBezTo>
                                                        <a:pt x="947658" y="289463"/>
                                                        <a:pt x="942864" y="291341"/>
                                                        <a:pt x="939754" y="289139"/>
                                                      </a:cubicBezTo>
                                                      <a:cubicBezTo>
                                                        <a:pt x="937098" y="287260"/>
                                                        <a:pt x="936904" y="283438"/>
                                                        <a:pt x="935738" y="280393"/>
                                                      </a:cubicBezTo>
                                                      <a:cubicBezTo>
                                                        <a:pt x="931915" y="270027"/>
                                                        <a:pt x="917922" y="268861"/>
                                                        <a:pt x="906843" y="269509"/>
                                                      </a:cubicBezTo>
                                                      <a:cubicBezTo>
                                                        <a:pt x="906195" y="264779"/>
                                                        <a:pt x="905483" y="259985"/>
                                                        <a:pt x="904835" y="255256"/>
                                                      </a:cubicBezTo>
                                                      <a:cubicBezTo>
                                                        <a:pt x="900041" y="255256"/>
                                                        <a:pt x="895311" y="255256"/>
                                                        <a:pt x="890517" y="255256"/>
                                                      </a:cubicBezTo>
                                                      <a:cubicBezTo>
                                                        <a:pt x="892720" y="249296"/>
                                                        <a:pt x="883326" y="246315"/>
                                                        <a:pt x="879698" y="241132"/>
                                                      </a:cubicBezTo>
                                                      <a:cubicBezTo>
                                                        <a:pt x="878597" y="239513"/>
                                                        <a:pt x="878014" y="237569"/>
                                                        <a:pt x="877106" y="235820"/>
                                                      </a:cubicBezTo>
                                                      <a:cubicBezTo>
                                                        <a:pt x="874256" y="230119"/>
                                                        <a:pt x="867777" y="226426"/>
                                                        <a:pt x="861364" y="226944"/>
                                                      </a:cubicBezTo>
                                                      <a:cubicBezTo>
                                                        <a:pt x="864992" y="220919"/>
                                                        <a:pt x="856829" y="214441"/>
                                                        <a:pt x="849897" y="213210"/>
                                                      </a:cubicBezTo>
                                                      <a:cubicBezTo>
                                                        <a:pt x="830137" y="209646"/>
                                                        <a:pt x="810442" y="217939"/>
                                                        <a:pt x="791006" y="223122"/>
                                                      </a:cubicBezTo>
                                                      <a:cubicBezTo>
                                                        <a:pt x="792820" y="217097"/>
                                                        <a:pt x="787184" y="210230"/>
                                                        <a:pt x="780900" y="210748"/>
                                                      </a:cubicBezTo>
                                                      <a:cubicBezTo>
                                                        <a:pt x="772283" y="211525"/>
                                                        <a:pt x="767684" y="222993"/>
                                                        <a:pt x="759067" y="223835"/>
                                                      </a:cubicBezTo>
                                                      <a:cubicBezTo>
                                                        <a:pt x="751357" y="224547"/>
                                                        <a:pt x="744749" y="216125"/>
                                                        <a:pt x="737105" y="217421"/>
                                                      </a:cubicBezTo>
                                                      <a:cubicBezTo>
                                                        <a:pt x="736586" y="222733"/>
                                                        <a:pt x="730496" y="226621"/>
                                                        <a:pt x="725508" y="224936"/>
                                                      </a:cubicBezTo>
                                                      <a:cubicBezTo>
                                                        <a:pt x="726998" y="216903"/>
                                                        <a:pt x="728488" y="208804"/>
                                                        <a:pt x="729978" y="200771"/>
                                                      </a:cubicBezTo>
                                                      <a:cubicBezTo>
                                                        <a:pt x="730496" y="198050"/>
                                                        <a:pt x="726220" y="195977"/>
                                                        <a:pt x="725054" y="198504"/>
                                                      </a:cubicBezTo>
                                                      <a:cubicBezTo>
                                                        <a:pt x="704906" y="196236"/>
                                                        <a:pt x="683915" y="193709"/>
                                                        <a:pt x="666812" y="182760"/>
                                                      </a:cubicBezTo>
                                                      <a:cubicBezTo>
                                                        <a:pt x="662795" y="180234"/>
                                                        <a:pt x="659038" y="177189"/>
                                                        <a:pt x="654762" y="175245"/>
                                                      </a:cubicBezTo>
                                                      <a:cubicBezTo>
                                                        <a:pt x="644267" y="170451"/>
                                                        <a:pt x="630856" y="172719"/>
                                                        <a:pt x="622563" y="180687"/>
                                                      </a:cubicBezTo>
                                                      <a:cubicBezTo>
                                                        <a:pt x="625414" y="183603"/>
                                                        <a:pt x="623859" y="188915"/>
                                                        <a:pt x="620490" y="191247"/>
                                                      </a:cubicBezTo>
                                                      <a:cubicBezTo>
                                                        <a:pt x="617121" y="193580"/>
                                                        <a:pt x="612781" y="193839"/>
                                                        <a:pt x="608699" y="193968"/>
                                                      </a:cubicBezTo>
                                                      <a:cubicBezTo>
                                                        <a:pt x="605590" y="194098"/>
                                                        <a:pt x="601962" y="193968"/>
                                                        <a:pt x="599888" y="191636"/>
                                                      </a:cubicBezTo>
                                                      <a:cubicBezTo>
                                                        <a:pt x="595807" y="186907"/>
                                                        <a:pt x="602156" y="180234"/>
                                                        <a:pt x="607922" y="177707"/>
                                                      </a:cubicBezTo>
                                                      <a:cubicBezTo>
                                                        <a:pt x="613623" y="175116"/>
                                                        <a:pt x="620814" y="170257"/>
                                                        <a:pt x="618352" y="164491"/>
                                                      </a:cubicBezTo>
                                                      <a:cubicBezTo>
                                                        <a:pt x="621851" y="164426"/>
                                                        <a:pt x="625284" y="164296"/>
                                                        <a:pt x="628783" y="164232"/>
                                                      </a:cubicBezTo>
                                                      <a:cubicBezTo>
                                                        <a:pt x="629625" y="161252"/>
                                                        <a:pt x="627098" y="158531"/>
                                                        <a:pt x="624831" y="156457"/>
                                                      </a:cubicBezTo>
                                                      <a:cubicBezTo>
                                                        <a:pt x="617510" y="149914"/>
                                                        <a:pt x="609930" y="143241"/>
                                                        <a:pt x="600731" y="139807"/>
                                                      </a:cubicBezTo>
                                                      <a:cubicBezTo>
                                                        <a:pt x="591531" y="136374"/>
                                                        <a:pt x="580194" y="136827"/>
                                                        <a:pt x="573002" y="143565"/>
                                                      </a:cubicBezTo>
                                                      <a:cubicBezTo>
                                                        <a:pt x="573585" y="149331"/>
                                                        <a:pt x="573326" y="155162"/>
                                                        <a:pt x="572225" y="160863"/>
                                                      </a:cubicBezTo>
                                                      <a:cubicBezTo>
                                                        <a:pt x="566459" y="159179"/>
                                                        <a:pt x="560628" y="157559"/>
                                                        <a:pt x="554862" y="155874"/>
                                                      </a:cubicBezTo>
                                                      <a:cubicBezTo>
                                                        <a:pt x="550781" y="152570"/>
                                                        <a:pt x="552012" y="145703"/>
                                                        <a:pt x="555640" y="141946"/>
                                                      </a:cubicBezTo>
                                                      <a:cubicBezTo>
                                                        <a:pt x="559268" y="138188"/>
                                                        <a:pt x="564451" y="136439"/>
                                                        <a:pt x="569115" y="134042"/>
                                                      </a:cubicBezTo>
                                                      <a:cubicBezTo>
                                                        <a:pt x="579870" y="128535"/>
                                                        <a:pt x="588357" y="118817"/>
                                                        <a:pt x="592438" y="107415"/>
                                                      </a:cubicBezTo>
                                                      <a:cubicBezTo>
                                                        <a:pt x="587773" y="103398"/>
                                                        <a:pt x="582072" y="99122"/>
                                                        <a:pt x="576112" y="100483"/>
                                                      </a:cubicBezTo>
                                                      <a:cubicBezTo>
                                                        <a:pt x="575853" y="95624"/>
                                                        <a:pt x="575529" y="90765"/>
                                                        <a:pt x="575270" y="85906"/>
                                                      </a:cubicBezTo>
                                                      <a:lnTo>
                                                        <a:pt x="561211" y="81371"/>
                                                      </a:lnTo>
                                                      <a:cubicBezTo>
                                                        <a:pt x="555186" y="73791"/>
                                                        <a:pt x="551105" y="64656"/>
                                                        <a:pt x="549356" y="55133"/>
                                                      </a:cubicBezTo>
                                                      <a:cubicBezTo>
                                                        <a:pt x="548513" y="55133"/>
                                                        <a:pt x="547736" y="55068"/>
                                                        <a:pt x="546894" y="55003"/>
                                                      </a:cubicBezTo>
                                                      <a:cubicBezTo>
                                                        <a:pt x="545404" y="55845"/>
                                                        <a:pt x="543914" y="56688"/>
                                                        <a:pt x="542423" y="57530"/>
                                                      </a:cubicBezTo>
                                                      <a:cubicBezTo>
                                                        <a:pt x="539379" y="59279"/>
                                                        <a:pt x="536269" y="61028"/>
                                                        <a:pt x="532770" y="61741"/>
                                                      </a:cubicBezTo>
                                                      <a:cubicBezTo>
                                                        <a:pt x="531216" y="62065"/>
                                                        <a:pt x="529531" y="62194"/>
                                                        <a:pt x="528041" y="62777"/>
                                                      </a:cubicBezTo>
                                                      <a:cubicBezTo>
                                                        <a:pt x="524737" y="64073"/>
                                                        <a:pt x="522729" y="67571"/>
                                                        <a:pt x="522210" y="71135"/>
                                                      </a:cubicBezTo>
                                                      <a:cubicBezTo>
                                                        <a:pt x="521692" y="74633"/>
                                                        <a:pt x="522405" y="78196"/>
                                                        <a:pt x="523117" y="81695"/>
                                                      </a:cubicBezTo>
                                                      <a:cubicBezTo>
                                                        <a:pt x="514890" y="83185"/>
                                                        <a:pt x="505431" y="76318"/>
                                                        <a:pt x="498628" y="81241"/>
                                                      </a:cubicBezTo>
                                                      <a:cubicBezTo>
                                                        <a:pt x="497138" y="82278"/>
                                                        <a:pt x="495972" y="83833"/>
                                                        <a:pt x="494417" y="84740"/>
                                                      </a:cubicBezTo>
                                                      <a:cubicBezTo>
                                                        <a:pt x="489558" y="87331"/>
                                                        <a:pt x="483857" y="82407"/>
                                                        <a:pt x="482173" y="77225"/>
                                                      </a:cubicBezTo>
                                                      <a:cubicBezTo>
                                                        <a:pt x="480748" y="72819"/>
                                                        <a:pt x="480618" y="67960"/>
                                                        <a:pt x="478998" y="63684"/>
                                                      </a:cubicBezTo>
                                                      <a:cubicBezTo>
                                                        <a:pt x="478869" y="63684"/>
                                                        <a:pt x="478739" y="63749"/>
                                                        <a:pt x="478545" y="63749"/>
                                                      </a:cubicBezTo>
                                                      <a:cubicBezTo>
                                                        <a:pt x="476990" y="63749"/>
                                                        <a:pt x="475306" y="62972"/>
                                                        <a:pt x="473880" y="63684"/>
                                                      </a:cubicBezTo>
                                                      <a:cubicBezTo>
                                                        <a:pt x="471937" y="64656"/>
                                                        <a:pt x="471872" y="67507"/>
                                                        <a:pt x="470317" y="69062"/>
                                                      </a:cubicBezTo>
                                                      <a:cubicBezTo>
                                                        <a:pt x="469151" y="70163"/>
                                                        <a:pt x="467402" y="70293"/>
                                                        <a:pt x="465782" y="70357"/>
                                                      </a:cubicBezTo>
                                                      <a:cubicBezTo>
                                                        <a:pt x="458073" y="70746"/>
                                                        <a:pt x="450298" y="71070"/>
                                                        <a:pt x="442589" y="71459"/>
                                                      </a:cubicBezTo>
                                                      <a:cubicBezTo>
                                                        <a:pt x="441552" y="74698"/>
                                                        <a:pt x="442589" y="78261"/>
                                                        <a:pt x="442848" y="81630"/>
                                                      </a:cubicBezTo>
                                                      <a:cubicBezTo>
                                                        <a:pt x="443172" y="85064"/>
                                                        <a:pt x="442330" y="89145"/>
                                                        <a:pt x="439155" y="90506"/>
                                                      </a:cubicBezTo>
                                                      <a:cubicBezTo>
                                                        <a:pt x="437730" y="91154"/>
                                                        <a:pt x="436045" y="91089"/>
                                                        <a:pt x="434555" y="90700"/>
                                                      </a:cubicBezTo>
                                                      <a:cubicBezTo>
                                                        <a:pt x="426651" y="88692"/>
                                                        <a:pt x="423477" y="80010"/>
                                                        <a:pt x="418618" y="73143"/>
                                                      </a:cubicBezTo>
                                                      <a:cubicBezTo>
                                                        <a:pt x="418618" y="74439"/>
                                                        <a:pt x="418618" y="75670"/>
                                                        <a:pt x="418359" y="76901"/>
                                                      </a:cubicBezTo>
                                                      <a:cubicBezTo>
                                                        <a:pt x="417322" y="81824"/>
                                                        <a:pt x="413111" y="86165"/>
                                                        <a:pt x="408123" y="86489"/>
                                                      </a:cubicBezTo>
                                                      <a:cubicBezTo>
                                                        <a:pt x="403329" y="86813"/>
                                                        <a:pt x="397109" y="84221"/>
                                                        <a:pt x="394583" y="88303"/>
                                                      </a:cubicBezTo>
                                                      <a:cubicBezTo>
                                                        <a:pt x="392574" y="91542"/>
                                                        <a:pt x="395360" y="96142"/>
                                                        <a:pt x="393416" y="99381"/>
                                                      </a:cubicBezTo>
                                                      <a:cubicBezTo>
                                                        <a:pt x="391991" y="101843"/>
                                                        <a:pt x="388687" y="102297"/>
                                                        <a:pt x="385836" y="102361"/>
                                                      </a:cubicBezTo>
                                                      <a:cubicBezTo>
                                                        <a:pt x="375017" y="102685"/>
                                                        <a:pt x="361995" y="100094"/>
                                                        <a:pt x="358173" y="89987"/>
                                                      </a:cubicBezTo>
                                                      <a:cubicBezTo>
                                                        <a:pt x="357525" y="88303"/>
                                                        <a:pt x="357201" y="86424"/>
                                                        <a:pt x="356165" y="84869"/>
                                                      </a:cubicBezTo>
                                                      <a:cubicBezTo>
                                                        <a:pt x="355128" y="83379"/>
                                                        <a:pt x="353573" y="82407"/>
                                                        <a:pt x="352083" y="81436"/>
                                                      </a:cubicBezTo>
                                                      <a:cubicBezTo>
                                                        <a:pt x="348520" y="79233"/>
                                                        <a:pt x="344957" y="76965"/>
                                                        <a:pt x="341393" y="74763"/>
                                                      </a:cubicBezTo>
                                                      <a:cubicBezTo>
                                                        <a:pt x="341070" y="66276"/>
                                                        <a:pt x="340745" y="57724"/>
                                                        <a:pt x="342689" y="49496"/>
                                                      </a:cubicBezTo>
                                                      <a:cubicBezTo>
                                                        <a:pt x="345345" y="38548"/>
                                                        <a:pt x="351953" y="26886"/>
                                                        <a:pt x="346641" y="16974"/>
                                                      </a:cubicBezTo>
                                                      <a:cubicBezTo>
                                                        <a:pt x="346058" y="15873"/>
                                                        <a:pt x="345281" y="14836"/>
                                                        <a:pt x="344179" y="14253"/>
                                                      </a:cubicBezTo>
                                                      <a:cubicBezTo>
                                                        <a:pt x="342689" y="13540"/>
                                                        <a:pt x="340875" y="13929"/>
                                                        <a:pt x="339320" y="13475"/>
                                                      </a:cubicBezTo>
                                                      <a:cubicBezTo>
                                                        <a:pt x="334915" y="12374"/>
                                                        <a:pt x="333749" y="6673"/>
                                                        <a:pt x="330704" y="3304"/>
                                                      </a:cubicBezTo>
                                                      <a:cubicBezTo>
                                                        <a:pt x="329214" y="1684"/>
                                                        <a:pt x="327335" y="648"/>
                                                        <a:pt x="325262" y="0"/>
                                                      </a:cubicBezTo>
                                                      <a:cubicBezTo>
                                                        <a:pt x="325586" y="1943"/>
                                                        <a:pt x="325391" y="3887"/>
                                                        <a:pt x="324420" y="5636"/>
                                                      </a:cubicBezTo>
                                                      <a:cubicBezTo>
                                                        <a:pt x="322282" y="9524"/>
                                                        <a:pt x="317423" y="10690"/>
                                                        <a:pt x="313341" y="12504"/>
                                                      </a:cubicBezTo>
                                                      <a:cubicBezTo>
                                                        <a:pt x="309325" y="14318"/>
                                                        <a:pt x="305243" y="18593"/>
                                                        <a:pt x="307057" y="22610"/>
                                                      </a:cubicBezTo>
                                                      <a:cubicBezTo>
                                                        <a:pt x="300514" y="22610"/>
                                                        <a:pt x="293970" y="22610"/>
                                                        <a:pt x="287427" y="22610"/>
                                                      </a:cubicBezTo>
                                                      <a:cubicBezTo>
                                                        <a:pt x="285613" y="22610"/>
                                                        <a:pt x="283669" y="22610"/>
                                                        <a:pt x="282114" y="23582"/>
                                                      </a:cubicBezTo>
                                                      <a:cubicBezTo>
                                                        <a:pt x="278487" y="25655"/>
                                                        <a:pt x="278616" y="30773"/>
                                                        <a:pt x="277774" y="34855"/>
                                                      </a:cubicBezTo>
                                                      <a:cubicBezTo>
                                                        <a:pt x="276932" y="38936"/>
                                                        <a:pt x="272008" y="43212"/>
                                                        <a:pt x="269157" y="40102"/>
                                                      </a:cubicBezTo>
                                                      <a:cubicBezTo>
                                                        <a:pt x="271749" y="37900"/>
                                                        <a:pt x="268704" y="33559"/>
                                                        <a:pt x="265400" y="32782"/>
                                                      </a:cubicBezTo>
                                                      <a:cubicBezTo>
                                                        <a:pt x="262096" y="32004"/>
                                                        <a:pt x="258273" y="32782"/>
                                                        <a:pt x="255423" y="30968"/>
                                                      </a:cubicBezTo>
                                                      <a:cubicBezTo>
                                                        <a:pt x="253544" y="29801"/>
                                                        <a:pt x="252507" y="27728"/>
                                                        <a:pt x="251147" y="25979"/>
                                                      </a:cubicBezTo>
                                                      <a:cubicBezTo>
                                                        <a:pt x="246417" y="20019"/>
                                                        <a:pt x="237348" y="18010"/>
                                                        <a:pt x="230545" y="21444"/>
                                                      </a:cubicBezTo>
                                                      <a:cubicBezTo>
                                                        <a:pt x="229444" y="26692"/>
                                                        <a:pt x="230675" y="32069"/>
                                                        <a:pt x="231970" y="37317"/>
                                                      </a:cubicBezTo>
                                                      <a:lnTo>
                                                        <a:pt x="234238" y="46581"/>
                                                      </a:lnTo>
                                                      <a:cubicBezTo>
                                                        <a:pt x="236764" y="56882"/>
                                                        <a:pt x="241688" y="69321"/>
                                                        <a:pt x="252248" y="69904"/>
                                                      </a:cubicBezTo>
                                                      <a:cubicBezTo>
                                                        <a:pt x="251924" y="75087"/>
                                                        <a:pt x="250758" y="80464"/>
                                                        <a:pt x="247648" y="84610"/>
                                                      </a:cubicBezTo>
                                                      <a:cubicBezTo>
                                                        <a:pt x="244539" y="88757"/>
                                                        <a:pt x="238967" y="91413"/>
                                                        <a:pt x="233979" y="89987"/>
                                                      </a:cubicBezTo>
                                                      <a:cubicBezTo>
                                                        <a:pt x="236311" y="92903"/>
                                                        <a:pt x="235793" y="97502"/>
                                                        <a:pt x="233266" y="100224"/>
                                                      </a:cubicBezTo>
                                                      <a:cubicBezTo>
                                                        <a:pt x="230739" y="103009"/>
                                                        <a:pt x="226723" y="104046"/>
                                                        <a:pt x="223030" y="103528"/>
                                                      </a:cubicBezTo>
                                                      <a:cubicBezTo>
                                                        <a:pt x="220827" y="103204"/>
                                                        <a:pt x="218625" y="102426"/>
                                                        <a:pt x="216487" y="102945"/>
                                                      </a:cubicBezTo>
                                                      <a:cubicBezTo>
                                                        <a:pt x="211239" y="104240"/>
                                                        <a:pt x="210785" y="111432"/>
                                                        <a:pt x="211498" y="116809"/>
                                                      </a:cubicBezTo>
                                                      <a:cubicBezTo>
                                                        <a:pt x="202946" y="115837"/>
                                                        <a:pt x="194395" y="114930"/>
                                                        <a:pt x="185908" y="113958"/>
                                                      </a:cubicBezTo>
                                                      <a:cubicBezTo>
                                                        <a:pt x="182668" y="113569"/>
                                                        <a:pt x="179235" y="113181"/>
                                                        <a:pt x="176514" y="111302"/>
                                                      </a:cubicBezTo>
                                                      <a:cubicBezTo>
                                                        <a:pt x="173793" y="109423"/>
                                                        <a:pt x="172173" y="105601"/>
                                                        <a:pt x="173858" y="102750"/>
                                                      </a:cubicBezTo>
                                                      <a:cubicBezTo>
                                                        <a:pt x="165241" y="101001"/>
                                                        <a:pt x="160058" y="93291"/>
                                                        <a:pt x="156560" y="84804"/>
                                                      </a:cubicBezTo>
                                                      <a:cubicBezTo>
                                                        <a:pt x="152478" y="88109"/>
                                                        <a:pt x="145676" y="88821"/>
                                                        <a:pt x="139975" y="88692"/>
                                                      </a:cubicBezTo>
                                                      <a:cubicBezTo>
                                                        <a:pt x="130710" y="88497"/>
                                                        <a:pt x="121446" y="88368"/>
                                                        <a:pt x="112181" y="88173"/>
                                                      </a:cubicBezTo>
                                                      <a:cubicBezTo>
                                                        <a:pt x="105314" y="88044"/>
                                                        <a:pt x="96892" y="88886"/>
                                                        <a:pt x="94236" y="95170"/>
                                                      </a:cubicBezTo>
                                                      <a:cubicBezTo>
                                                        <a:pt x="92292" y="99770"/>
                                                        <a:pt x="94754" y="105277"/>
                                                        <a:pt x="98706" y="108322"/>
                                                      </a:cubicBezTo>
                                                      <a:cubicBezTo>
                                                        <a:pt x="102593" y="111432"/>
                                                        <a:pt x="107647" y="112662"/>
                                                        <a:pt x="112441" y="113829"/>
                                                      </a:cubicBezTo>
                                                      <a:cubicBezTo>
                                                        <a:pt x="112052" y="116355"/>
                                                        <a:pt x="111598" y="118817"/>
                                                        <a:pt x="111210" y="121344"/>
                                                      </a:cubicBezTo>
                                                      <a:cubicBezTo>
                                                        <a:pt x="105962" y="119011"/>
                                                        <a:pt x="99354" y="120113"/>
                                                        <a:pt x="95208" y="124129"/>
                                                      </a:cubicBezTo>
                                                      <a:cubicBezTo>
                                                        <a:pt x="91061" y="128081"/>
                                                        <a:pt x="89636" y="134625"/>
                                                        <a:pt x="91709" y="139937"/>
                                                      </a:cubicBezTo>
                                                      <a:cubicBezTo>
                                                        <a:pt x="94171" y="146221"/>
                                                        <a:pt x="100974" y="152829"/>
                                                        <a:pt x="97086" y="158336"/>
                                                      </a:cubicBezTo>
                                                      <a:cubicBezTo>
                                                        <a:pt x="104472" y="164815"/>
                                                        <a:pt x="106027" y="175829"/>
                                                        <a:pt x="104537" y="185546"/>
                                                      </a:cubicBezTo>
                                                      <a:cubicBezTo>
                                                        <a:pt x="103047" y="195135"/>
                                                        <a:pt x="98900" y="204205"/>
                                                        <a:pt x="92940" y="211785"/>
                                                      </a:cubicBezTo>
                                                      <a:cubicBezTo>
                                                        <a:pt x="94236" y="223640"/>
                                                        <a:pt x="91904" y="235885"/>
                                                        <a:pt x="82251" y="242169"/>
                                                      </a:cubicBezTo>
                                                      <a:cubicBezTo>
                                                        <a:pt x="77068" y="245538"/>
                                                        <a:pt x="70654" y="246445"/>
                                                        <a:pt x="64694" y="248259"/>
                                                      </a:cubicBezTo>
                                                      <a:cubicBezTo>
                                                        <a:pt x="51283" y="252340"/>
                                                        <a:pt x="39751" y="261151"/>
                                                        <a:pt x="29839" y="271063"/>
                                                      </a:cubicBezTo>
                                                      <a:cubicBezTo>
                                                        <a:pt x="25498" y="275404"/>
                                                        <a:pt x="21352" y="280069"/>
                                                        <a:pt x="17530" y="284863"/>
                                                      </a:cubicBezTo>
                                                      <a:cubicBezTo>
                                                        <a:pt x="15716" y="287130"/>
                                                        <a:pt x="13967" y="289527"/>
                                                        <a:pt x="13189" y="292313"/>
                                                      </a:cubicBezTo>
                                                      <a:cubicBezTo>
                                                        <a:pt x="11634" y="298144"/>
                                                        <a:pt x="14679" y="305270"/>
                                                        <a:pt x="10857" y="310000"/>
                                                      </a:cubicBezTo>
                                                      <a:cubicBezTo>
                                                        <a:pt x="8524" y="312850"/>
                                                        <a:pt x="4054" y="314146"/>
                                                        <a:pt x="3406" y="317709"/>
                                                      </a:cubicBezTo>
                                                      <a:cubicBezTo>
                                                        <a:pt x="2953" y="320301"/>
                                                        <a:pt x="4767" y="322698"/>
                                                        <a:pt x="4896" y="325289"/>
                                                      </a:cubicBezTo>
                                                      <a:cubicBezTo>
                                                        <a:pt x="5026" y="327557"/>
                                                        <a:pt x="3860" y="329695"/>
                                                        <a:pt x="2953" y="331768"/>
                                                      </a:cubicBezTo>
                                                      <a:cubicBezTo>
                                                        <a:pt x="426" y="337598"/>
                                                        <a:pt x="-546" y="344142"/>
                                                        <a:pt x="297" y="350426"/>
                                                      </a:cubicBezTo>
                                                      <a:cubicBezTo>
                                                        <a:pt x="1398" y="359172"/>
                                                        <a:pt x="5739" y="367205"/>
                                                        <a:pt x="10533" y="374591"/>
                                                      </a:cubicBezTo>
                                                      <a:cubicBezTo>
                                                        <a:pt x="13578" y="379320"/>
                                                        <a:pt x="16817" y="383855"/>
                                                        <a:pt x="20315" y="388261"/>
                                                      </a:cubicBezTo>
                                                      <a:cubicBezTo>
                                                        <a:pt x="26600" y="396229"/>
                                                        <a:pt x="33985" y="404004"/>
                                                        <a:pt x="43638" y="407178"/>
                                                      </a:cubicBezTo>
                                                      <a:cubicBezTo>
                                                        <a:pt x="48821" y="408863"/>
                                                        <a:pt x="54393" y="409122"/>
                                                        <a:pt x="59835" y="408668"/>
                                                      </a:cubicBezTo>
                                                      <a:cubicBezTo>
                                                        <a:pt x="65730" y="408150"/>
                                                        <a:pt x="72857" y="405170"/>
                                                        <a:pt x="72921" y="399210"/>
                                                      </a:cubicBezTo>
                                                      <a:cubicBezTo>
                                                        <a:pt x="76420" y="412037"/>
                                                        <a:pt x="79853" y="424865"/>
                                                        <a:pt x="83352" y="437757"/>
                                                      </a:cubicBezTo>
                                                      <a:cubicBezTo>
                                                        <a:pt x="89831" y="438599"/>
                                                        <a:pt x="96244" y="436267"/>
                                                        <a:pt x="102723" y="436137"/>
                                                      </a:cubicBezTo>
                                                      <a:cubicBezTo>
                                                        <a:pt x="108553" y="436008"/>
                                                        <a:pt x="115291" y="438794"/>
                                                        <a:pt x="117040" y="443977"/>
                                                      </a:cubicBezTo>
                                                      <a:cubicBezTo>
                                                        <a:pt x="119826" y="441839"/>
                                                        <a:pt x="122612" y="439765"/>
                                                        <a:pt x="125463" y="437692"/>
                                                      </a:cubicBezTo>
                                                      <a:cubicBezTo>
                                                        <a:pt x="128896" y="435166"/>
                                                        <a:pt x="132330" y="432704"/>
                                                        <a:pt x="135764" y="430177"/>
                                                      </a:cubicBezTo>
                                                      <a:cubicBezTo>
                                                        <a:pt x="138679" y="428039"/>
                                                        <a:pt x="141918" y="425124"/>
                                                        <a:pt x="141270" y="421561"/>
                                                      </a:cubicBezTo>
                                                      <a:cubicBezTo>
                                                        <a:pt x="145935" y="421561"/>
                                                        <a:pt x="150664" y="421561"/>
                                                        <a:pt x="155329" y="421561"/>
                                                      </a:cubicBezTo>
                                                      <a:cubicBezTo>
                                                        <a:pt x="155394" y="416443"/>
                                                        <a:pt x="157402" y="411389"/>
                                                        <a:pt x="160771" y="407567"/>
                                                      </a:cubicBezTo>
                                                      <a:cubicBezTo>
                                                        <a:pt x="165371" y="407567"/>
                                                        <a:pt x="169906" y="407437"/>
                                                        <a:pt x="174506" y="407437"/>
                                                      </a:cubicBezTo>
                                                      <a:cubicBezTo>
                                                        <a:pt x="178328" y="399469"/>
                                                        <a:pt x="189212" y="398821"/>
                                                        <a:pt x="198023" y="399274"/>
                                                      </a:cubicBezTo>
                                                      <a:cubicBezTo>
                                                        <a:pt x="200225" y="399404"/>
                                                        <a:pt x="202493" y="399533"/>
                                                        <a:pt x="204372" y="400635"/>
                                                      </a:cubicBezTo>
                                                      <a:cubicBezTo>
                                                        <a:pt x="207352" y="402384"/>
                                                        <a:pt x="208583" y="406142"/>
                                                        <a:pt x="208712" y="409575"/>
                                                      </a:cubicBezTo>
                                                      <a:cubicBezTo>
                                                        <a:pt x="208971" y="417933"/>
                                                        <a:pt x="204112" y="425577"/>
                                                        <a:pt x="203076" y="433805"/>
                                                      </a:cubicBezTo>
                                                      <a:cubicBezTo>
                                                        <a:pt x="202039" y="442098"/>
                                                        <a:pt x="208388" y="452593"/>
                                                        <a:pt x="216357" y="450002"/>
                                                      </a:cubicBezTo>
                                                      <a:cubicBezTo>
                                                        <a:pt x="216681" y="455379"/>
                                                        <a:pt x="216940" y="460821"/>
                                                        <a:pt x="217264" y="466198"/>
                                                      </a:cubicBezTo>
                                                      <a:cubicBezTo>
                                                        <a:pt x="219920" y="463477"/>
                                                        <a:pt x="224585" y="465226"/>
                                                        <a:pt x="227435" y="467753"/>
                                                      </a:cubicBezTo>
                                                      <a:cubicBezTo>
                                                        <a:pt x="230221" y="470280"/>
                                                        <a:pt x="232683" y="473713"/>
                                                        <a:pt x="236376" y="474491"/>
                                                      </a:cubicBezTo>
                                                      <a:cubicBezTo>
                                                        <a:pt x="239097" y="475074"/>
                                                        <a:pt x="241947" y="474037"/>
                                                        <a:pt x="244668" y="473389"/>
                                                      </a:cubicBezTo>
                                                      <a:cubicBezTo>
                                                        <a:pt x="259569" y="469955"/>
                                                        <a:pt x="277061" y="482006"/>
                                                        <a:pt x="276025" y="497230"/>
                                                      </a:cubicBezTo>
                                                      <a:cubicBezTo>
                                                        <a:pt x="281661" y="496907"/>
                                                        <a:pt x="287297" y="496583"/>
                                                        <a:pt x="292934" y="496258"/>
                                                      </a:cubicBezTo>
                                                      <a:cubicBezTo>
                                                        <a:pt x="291573" y="500599"/>
                                                        <a:pt x="296497" y="504551"/>
                                                        <a:pt x="301032" y="504940"/>
                                                      </a:cubicBezTo>
                                                      <a:cubicBezTo>
                                                        <a:pt x="305567" y="505329"/>
                                                        <a:pt x="310102" y="503644"/>
                                                        <a:pt x="314637" y="504033"/>
                                                      </a:cubicBezTo>
                                                      <a:cubicBezTo>
                                                        <a:pt x="319172" y="504421"/>
                                                        <a:pt x="324096" y="508438"/>
                                                        <a:pt x="322670" y="512779"/>
                                                      </a:cubicBezTo>
                                                      <a:cubicBezTo>
                                                        <a:pt x="327011" y="512649"/>
                                                        <a:pt x="331352" y="512520"/>
                                                        <a:pt x="335692" y="512455"/>
                                                      </a:cubicBezTo>
                                                      <a:cubicBezTo>
                                                        <a:pt x="330056" y="530465"/>
                                                        <a:pt x="330509" y="550290"/>
                                                        <a:pt x="337053" y="567976"/>
                                                      </a:cubicBezTo>
                                                      <a:cubicBezTo>
                                                        <a:pt x="338672" y="572317"/>
                                                        <a:pt x="340745" y="576723"/>
                                                        <a:pt x="344633" y="579249"/>
                                                      </a:cubicBezTo>
                                                      <a:cubicBezTo>
                                                        <a:pt x="350723" y="583201"/>
                                                        <a:pt x="358626" y="581128"/>
                                                        <a:pt x="365753" y="579832"/>
                                                      </a:cubicBezTo>
                                                      <a:cubicBezTo>
                                                        <a:pt x="372879" y="578536"/>
                                                        <a:pt x="381820" y="579055"/>
                                                        <a:pt x="385189" y="585468"/>
                                                      </a:cubicBezTo>
                                                      <a:cubicBezTo>
                                                        <a:pt x="387262" y="589550"/>
                                                        <a:pt x="386225" y="594409"/>
                                                        <a:pt x="385966" y="599009"/>
                                                      </a:cubicBezTo>
                                                      <a:cubicBezTo>
                                                        <a:pt x="385707" y="603608"/>
                                                        <a:pt x="387132" y="609115"/>
                                                        <a:pt x="391473" y="610476"/>
                                                      </a:cubicBezTo>
                                                      <a:cubicBezTo>
                                                        <a:pt x="394064" y="611318"/>
                                                        <a:pt x="397174" y="610476"/>
                                                        <a:pt x="399247" y="612160"/>
                                                      </a:cubicBezTo>
                                                      <a:cubicBezTo>
                                                        <a:pt x="401256" y="613845"/>
                                                        <a:pt x="401126" y="616889"/>
                                                        <a:pt x="400802" y="619481"/>
                                                      </a:cubicBezTo>
                                                      <a:cubicBezTo>
                                                        <a:pt x="398016" y="641702"/>
                                                        <a:pt x="395295" y="663924"/>
                                                        <a:pt x="392509" y="686081"/>
                                                      </a:cubicBezTo>
                                                      <a:cubicBezTo>
                                                        <a:pt x="391019" y="686923"/>
                                                        <a:pt x="389529" y="687765"/>
                                                        <a:pt x="388039" y="688607"/>
                                                      </a:cubicBezTo>
                                                      <a:cubicBezTo>
                                                        <a:pt x="396785" y="705257"/>
                                                        <a:pt x="399377" y="725017"/>
                                                        <a:pt x="395166" y="743351"/>
                                                      </a:cubicBezTo>
                                                      <a:cubicBezTo>
                                                        <a:pt x="409807" y="746655"/>
                                                        <a:pt x="428401" y="739140"/>
                                                        <a:pt x="438248" y="750478"/>
                                                      </a:cubicBezTo>
                                                      <a:cubicBezTo>
                                                        <a:pt x="441876" y="754689"/>
                                                        <a:pt x="443042" y="760390"/>
                                                        <a:pt x="444079" y="765897"/>
                                                      </a:cubicBezTo>
                                                      <a:cubicBezTo>
                                                        <a:pt x="445893" y="775614"/>
                                                        <a:pt x="447772" y="785397"/>
                                                        <a:pt x="449586" y="795115"/>
                                                      </a:cubicBezTo>
                                                      <a:cubicBezTo>
                                                        <a:pt x="457101" y="799520"/>
                                                        <a:pt x="467272" y="794986"/>
                                                        <a:pt x="475176" y="798743"/>
                                                      </a:cubicBezTo>
                                                      <a:cubicBezTo>
                                                        <a:pt x="481007" y="801529"/>
                                                        <a:pt x="484052" y="808267"/>
                                                        <a:pt x="484246" y="814680"/>
                                                      </a:cubicBezTo>
                                                      <a:cubicBezTo>
                                                        <a:pt x="484440" y="821094"/>
                                                        <a:pt x="482302" y="827379"/>
                                                        <a:pt x="480229" y="833468"/>
                                                      </a:cubicBezTo>
                                                      <a:cubicBezTo>
                                                        <a:pt x="484311" y="838262"/>
                                                        <a:pt x="477767" y="846231"/>
                                                        <a:pt x="480359" y="851932"/>
                                                      </a:cubicBezTo>
                                                      <a:cubicBezTo>
                                                        <a:pt x="482173" y="855819"/>
                                                        <a:pt x="486708" y="857374"/>
                                                        <a:pt x="489947" y="860160"/>
                                                      </a:cubicBezTo>
                                                      <a:cubicBezTo>
                                                        <a:pt x="494093" y="863723"/>
                                                        <a:pt x="495972" y="869748"/>
                                                        <a:pt x="494676" y="875061"/>
                                                      </a:cubicBezTo>
                                                      <a:cubicBezTo>
                                                        <a:pt x="491437" y="876875"/>
                                                        <a:pt x="488133" y="878754"/>
                                                        <a:pt x="484894" y="880567"/>
                                                      </a:cubicBezTo>
                                                      <a:cubicBezTo>
                                                        <a:pt x="487744" y="885167"/>
                                                        <a:pt x="483987" y="891257"/>
                                                        <a:pt x="479387" y="894108"/>
                                                      </a:cubicBezTo>
                                                      <a:cubicBezTo>
                                                        <a:pt x="474787" y="897023"/>
                                                        <a:pt x="469216" y="898383"/>
                                                        <a:pt x="465393" y="902206"/>
                                                      </a:cubicBezTo>
                                                      <a:cubicBezTo>
                                                        <a:pt x="459692" y="907907"/>
                                                        <a:pt x="459368" y="917690"/>
                                                        <a:pt x="453084" y="922743"/>
                                                      </a:cubicBezTo>
                                                      <a:cubicBezTo>
                                                        <a:pt x="449845" y="925334"/>
                                                        <a:pt x="445698" y="926177"/>
                                                        <a:pt x="441941" y="927861"/>
                                                      </a:cubicBezTo>
                                                      <a:cubicBezTo>
                                                        <a:pt x="430992" y="932914"/>
                                                        <a:pt x="425032" y="944705"/>
                                                        <a:pt x="419978" y="955719"/>
                                                      </a:cubicBezTo>
                                                      <a:cubicBezTo>
                                                        <a:pt x="416610" y="963040"/>
                                                        <a:pt x="413176" y="970361"/>
                                                        <a:pt x="409807" y="977681"/>
                                                      </a:cubicBezTo>
                                                      <a:cubicBezTo>
                                                        <a:pt x="417581" y="982476"/>
                                                        <a:pt x="426846" y="984808"/>
                                                        <a:pt x="435981" y="984289"/>
                                                      </a:cubicBezTo>
                                                      <a:cubicBezTo>
                                                        <a:pt x="441099" y="987464"/>
                                                        <a:pt x="437471" y="996728"/>
                                                        <a:pt x="442070" y="1000680"/>
                                                      </a:cubicBezTo>
                                                      <a:cubicBezTo>
                                                        <a:pt x="445504" y="1003660"/>
                                                        <a:pt x="451205" y="1001458"/>
                                                        <a:pt x="455222" y="1003660"/>
                                                      </a:cubicBezTo>
                                                      <a:cubicBezTo>
                                                        <a:pt x="459109" y="1005798"/>
                                                        <a:pt x="459822" y="1011176"/>
                                                        <a:pt x="462931" y="1014350"/>
                                                      </a:cubicBezTo>
                                                      <a:cubicBezTo>
                                                        <a:pt x="468244" y="1019792"/>
                                                        <a:pt x="477897" y="1016812"/>
                                                        <a:pt x="484440" y="1020570"/>
                                                      </a:cubicBezTo>
                                                      <a:cubicBezTo>
                                                        <a:pt x="488198" y="1022772"/>
                                                        <a:pt x="490465" y="1026854"/>
                                                        <a:pt x="492215" y="1030805"/>
                                                      </a:cubicBezTo>
                                                      <a:cubicBezTo>
                                                        <a:pt x="498175" y="1044411"/>
                                                        <a:pt x="500766" y="1059441"/>
                                                        <a:pt x="499795" y="1074277"/>
                                                      </a:cubicBezTo>
                                                      <a:cubicBezTo>
                                                        <a:pt x="499730" y="1075378"/>
                                                        <a:pt x="499600" y="1076479"/>
                                                        <a:pt x="499535" y="1077581"/>
                                                      </a:cubicBezTo>
                                                      <a:cubicBezTo>
                                                        <a:pt x="500507" y="1076609"/>
                                                        <a:pt x="501479" y="1075637"/>
                                                        <a:pt x="502580" y="1074795"/>
                                                      </a:cubicBezTo>
                                                      <a:cubicBezTo>
                                                        <a:pt x="508670" y="1070001"/>
                                                        <a:pt x="517611" y="1067280"/>
                                                        <a:pt x="519684" y="1059830"/>
                                                      </a:cubicBezTo>
                                                      <a:cubicBezTo>
                                                        <a:pt x="520591" y="1056461"/>
                                                        <a:pt x="519943" y="1052638"/>
                                                        <a:pt x="521886" y="1049723"/>
                                                      </a:cubicBezTo>
                                                      <a:cubicBezTo>
                                                        <a:pt x="523765" y="1047002"/>
                                                        <a:pt x="527328" y="1046095"/>
                                                        <a:pt x="529985" y="1044216"/>
                                                      </a:cubicBezTo>
                                                      <a:cubicBezTo>
                                                        <a:pt x="542294" y="1035664"/>
                                                        <a:pt x="531021" y="1013184"/>
                                                        <a:pt x="544043" y="1005863"/>
                                                      </a:cubicBezTo>
                                                      <a:cubicBezTo>
                                                        <a:pt x="543071" y="999838"/>
                                                        <a:pt x="542164" y="993554"/>
                                                        <a:pt x="544043" y="987723"/>
                                                      </a:cubicBezTo>
                                                      <a:cubicBezTo>
                                                        <a:pt x="545922" y="981892"/>
                                                        <a:pt x="551558" y="976839"/>
                                                        <a:pt x="557583" y="977681"/>
                                                      </a:cubicBezTo>
                                                      <a:cubicBezTo>
                                                        <a:pt x="559138" y="977876"/>
                                                        <a:pt x="560887" y="978459"/>
                                                        <a:pt x="562183" y="977552"/>
                                                      </a:cubicBezTo>
                                                      <a:cubicBezTo>
                                                        <a:pt x="563609" y="976515"/>
                                                        <a:pt x="563414" y="974312"/>
                                                        <a:pt x="563220" y="972498"/>
                                                      </a:cubicBezTo>
                                                      <a:cubicBezTo>
                                                        <a:pt x="562118" y="960448"/>
                                                        <a:pt x="574233" y="949046"/>
                                                        <a:pt x="586219" y="950860"/>
                                                      </a:cubicBezTo>
                                                      <a:cubicBezTo>
                                                        <a:pt x="582915" y="946390"/>
                                                        <a:pt x="587320" y="940105"/>
                                                        <a:pt x="592179" y="937385"/>
                                                      </a:cubicBezTo>
                                                      <a:cubicBezTo>
                                                        <a:pt x="597038" y="934599"/>
                                                        <a:pt x="603063" y="932590"/>
                                                        <a:pt x="605136" y="927472"/>
                                                      </a:cubicBezTo>
                                                      <a:cubicBezTo>
                                                        <a:pt x="605978" y="925464"/>
                                                        <a:pt x="606108" y="923132"/>
                                                        <a:pt x="607274" y="921318"/>
                                                      </a:cubicBezTo>
                                                      <a:cubicBezTo>
                                                        <a:pt x="608959" y="918661"/>
                                                        <a:pt x="612262" y="917754"/>
                                                        <a:pt x="615048" y="916394"/>
                                                      </a:cubicBezTo>
                                                      <a:cubicBezTo>
                                                        <a:pt x="627098" y="910693"/>
                                                        <a:pt x="631957" y="893654"/>
                                                        <a:pt x="624766" y="882446"/>
                                                      </a:cubicBezTo>
                                                      <a:cubicBezTo>
                                                        <a:pt x="622887" y="879466"/>
                                                        <a:pt x="620296" y="876875"/>
                                                        <a:pt x="618935" y="873635"/>
                                                      </a:cubicBezTo>
                                                      <a:cubicBezTo>
                                                        <a:pt x="616733" y="868388"/>
                                                        <a:pt x="618028" y="862363"/>
                                                        <a:pt x="619389" y="856856"/>
                                                      </a:cubicBezTo>
                                                      <a:cubicBezTo>
                                                        <a:pt x="623211" y="841242"/>
                                                        <a:pt x="629107" y="823232"/>
                                                        <a:pt x="644267" y="817920"/>
                                                      </a:cubicBezTo>
                                                      <a:cubicBezTo>
                                                        <a:pt x="652235" y="815134"/>
                                                        <a:pt x="662148" y="816170"/>
                                                        <a:pt x="667849" y="809951"/>
                                                      </a:cubicBezTo>
                                                      <a:cubicBezTo>
                                                        <a:pt x="669727" y="807878"/>
                                                        <a:pt x="670894" y="805222"/>
                                                        <a:pt x="672837" y="803148"/>
                                                      </a:cubicBezTo>
                                                      <a:cubicBezTo>
                                                        <a:pt x="675040" y="800751"/>
                                                        <a:pt x="678020" y="799391"/>
                                                        <a:pt x="681000" y="798030"/>
                                                      </a:cubicBezTo>
                                                      <a:cubicBezTo>
                                                        <a:pt x="688839" y="794467"/>
                                                        <a:pt x="696678" y="790904"/>
                                                        <a:pt x="704582" y="787341"/>
                                                      </a:cubicBezTo>
                                                      <a:cubicBezTo>
                                                        <a:pt x="708145" y="785721"/>
                                                        <a:pt x="711838" y="783972"/>
                                                        <a:pt x="713847" y="780603"/>
                                                      </a:cubicBezTo>
                                                      <a:cubicBezTo>
                                                        <a:pt x="715531" y="777817"/>
                                                        <a:pt x="715661" y="774319"/>
                                                        <a:pt x="717151" y="771404"/>
                                                      </a:cubicBezTo>
                                                      <a:cubicBezTo>
                                                        <a:pt x="719807" y="766221"/>
                                                        <a:pt x="726220" y="763888"/>
                                                        <a:pt x="731987" y="764342"/>
                                                      </a:cubicBezTo>
                                                      <a:cubicBezTo>
                                                        <a:pt x="737817" y="764795"/>
                                                        <a:pt x="743130" y="767516"/>
                                                        <a:pt x="748312" y="770173"/>
                                                      </a:cubicBezTo>
                                                      <a:cubicBezTo>
                                                        <a:pt x="754467" y="759224"/>
                                                        <a:pt x="767100" y="752292"/>
                                                        <a:pt x="779669" y="752939"/>
                                                      </a:cubicBezTo>
                                                      <a:cubicBezTo>
                                                        <a:pt x="782908" y="753134"/>
                                                        <a:pt x="786406" y="753717"/>
                                                        <a:pt x="789322" y="752292"/>
                                                      </a:cubicBezTo>
                                                      <a:cubicBezTo>
                                                        <a:pt x="793857" y="750089"/>
                                                        <a:pt x="795217" y="743999"/>
                                                        <a:pt x="799558" y="741343"/>
                                                      </a:cubicBezTo>
                                                      <a:cubicBezTo>
                                                        <a:pt x="803056" y="739205"/>
                                                        <a:pt x="807592" y="739853"/>
                                                        <a:pt x="811349" y="738168"/>
                                                      </a:cubicBezTo>
                                                      <a:cubicBezTo>
                                                        <a:pt x="817180" y="735512"/>
                                                        <a:pt x="819059" y="728321"/>
                                                        <a:pt x="820289" y="722037"/>
                                                      </a:cubicBezTo>
                                                      <a:cubicBezTo>
                                                        <a:pt x="823529" y="705257"/>
                                                        <a:pt x="826768" y="688413"/>
                                                        <a:pt x="829942" y="671633"/>
                                                      </a:cubicBezTo>
                                                      <a:cubicBezTo>
                                                        <a:pt x="830850" y="667034"/>
                                                        <a:pt x="831756" y="662369"/>
                                                        <a:pt x="833895" y="658223"/>
                                                      </a:cubicBezTo>
                                                      <a:cubicBezTo>
                                                        <a:pt x="839207" y="648052"/>
                                                        <a:pt x="851970" y="639500"/>
                                                        <a:pt x="848666" y="628486"/>
                                                      </a:cubicBezTo>
                                                      <a:cubicBezTo>
                                                        <a:pt x="853071" y="630106"/>
                                                        <a:pt x="858124" y="626996"/>
                                                        <a:pt x="860262" y="622785"/>
                                                      </a:cubicBezTo>
                                                      <a:cubicBezTo>
                                                        <a:pt x="862400" y="618574"/>
                                                        <a:pt x="862400" y="613650"/>
                                                        <a:pt x="862335" y="608921"/>
                                                      </a:cubicBezTo>
                                                      <a:cubicBezTo>
                                                        <a:pt x="862076" y="590263"/>
                                                        <a:pt x="853589" y="568041"/>
                                                        <a:pt x="862335" y="551521"/>
                                                      </a:cubicBezTo>
                                                      <a:cubicBezTo>
                                                        <a:pt x="867453" y="541738"/>
                                                        <a:pt x="863631" y="528198"/>
                                                        <a:pt x="854043" y="522691"/>
                                                      </a:cubicBezTo>
                                                      <a:cubicBezTo>
                                                        <a:pt x="853978" y="514917"/>
                                                        <a:pt x="853913" y="507078"/>
                                                        <a:pt x="853848" y="499304"/>
                                                      </a:cubicBezTo>
                                                      <a:cubicBezTo>
                                                        <a:pt x="856699" y="498073"/>
                                                        <a:pt x="859550" y="496777"/>
                                                        <a:pt x="862400" y="495546"/>
                                                      </a:cubicBezTo>
                                                      <a:cubicBezTo>
                                                        <a:pt x="858189" y="489262"/>
                                                        <a:pt x="862270" y="480645"/>
                                                        <a:pt x="867713" y="475462"/>
                                                      </a:cubicBezTo>
                                                      <a:cubicBezTo>
                                                        <a:pt x="873155" y="470215"/>
                                                        <a:pt x="880087" y="466198"/>
                                                        <a:pt x="883456" y="459460"/>
                                                      </a:cubicBezTo>
                                                      <a:cubicBezTo>
                                                        <a:pt x="884233" y="457970"/>
                                                        <a:pt x="884751" y="456286"/>
                                                        <a:pt x="885853" y="455055"/>
                                                      </a:cubicBezTo>
                                                      <a:cubicBezTo>
                                                        <a:pt x="887731" y="452917"/>
                                                        <a:pt x="890841" y="452269"/>
                                                        <a:pt x="893368" y="450973"/>
                                                      </a:cubicBezTo>
                                                      <a:cubicBezTo>
                                                        <a:pt x="898551" y="448317"/>
                                                        <a:pt x="901725" y="442357"/>
                                                        <a:pt x="901077" y="436591"/>
                                                      </a:cubicBezTo>
                                                      <a:cubicBezTo>
                                                        <a:pt x="906131" y="438923"/>
                                                        <a:pt x="912285" y="436396"/>
                                                        <a:pt x="915913" y="432186"/>
                                                      </a:cubicBezTo>
                                                      <a:cubicBezTo>
                                                        <a:pt x="919541" y="427974"/>
                                                        <a:pt x="921161" y="422532"/>
                                                        <a:pt x="922716" y="417220"/>
                                                      </a:cubicBezTo>
                                                      <a:cubicBezTo>
                                                        <a:pt x="927380" y="417803"/>
                                                        <a:pt x="932109" y="417479"/>
                                                        <a:pt x="936580" y="416313"/>
                                                      </a:cubicBezTo>
                                                      <a:cubicBezTo>
                                                        <a:pt x="938588" y="402579"/>
                                                        <a:pt x="940597" y="388844"/>
                                                        <a:pt x="942605" y="375109"/>
                                                      </a:cubicBezTo>
                                                      <a:cubicBezTo>
                                                        <a:pt x="945779" y="374397"/>
                                                        <a:pt x="948889" y="373684"/>
                                                        <a:pt x="952064" y="372971"/>
                                                      </a:cubicBezTo>
                                                      <a:cubicBezTo>
                                                        <a:pt x="952064" y="367983"/>
                                                        <a:pt x="952064" y="362930"/>
                                                        <a:pt x="952064" y="357941"/>
                                                      </a:cubicBezTo>
                                                      <a:cubicBezTo>
                                                        <a:pt x="954590" y="357812"/>
                                                        <a:pt x="957117" y="357747"/>
                                                        <a:pt x="959643" y="357617"/>
                                                      </a:cubicBezTo>
                                                      <a:cubicBezTo>
                                                        <a:pt x="963142" y="339477"/>
                                                        <a:pt x="963660" y="320819"/>
                                                        <a:pt x="961263" y="30248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3" name="Freeform: Shape 40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A5103EE-FD62-4D18-844C-81A7752D32B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89215" y="4648582"/>
                                                  <a:ext cx="300534" cy="37474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597 w 300534"/>
                                                    <a:gd name="connsiteY0" fmla="*/ 231933 h 374743"/>
                                                    <a:gd name="connsiteX1" fmla="*/ 14318 w 300534"/>
                                                    <a:gd name="connsiteY1" fmla="*/ 255062 h 374743"/>
                                                    <a:gd name="connsiteX2" fmla="*/ 19695 w 300534"/>
                                                    <a:gd name="connsiteY2" fmla="*/ 258431 h 374743"/>
                                                    <a:gd name="connsiteX3" fmla="*/ 21185 w 300534"/>
                                                    <a:gd name="connsiteY3" fmla="*/ 263484 h 374743"/>
                                                    <a:gd name="connsiteX4" fmla="*/ 18464 w 300534"/>
                                                    <a:gd name="connsiteY4" fmla="*/ 291212 h 374743"/>
                                                    <a:gd name="connsiteX5" fmla="*/ 16196 w 300534"/>
                                                    <a:gd name="connsiteY5" fmla="*/ 296654 h 374743"/>
                                                    <a:gd name="connsiteX6" fmla="*/ 29866 w 300534"/>
                                                    <a:gd name="connsiteY6" fmla="*/ 308186 h 374743"/>
                                                    <a:gd name="connsiteX7" fmla="*/ 35438 w 300534"/>
                                                    <a:gd name="connsiteY7" fmla="*/ 326585 h 374743"/>
                                                    <a:gd name="connsiteX8" fmla="*/ 38677 w 300534"/>
                                                    <a:gd name="connsiteY8" fmla="*/ 329760 h 374743"/>
                                                    <a:gd name="connsiteX9" fmla="*/ 36734 w 300534"/>
                                                    <a:gd name="connsiteY9" fmla="*/ 340125 h 374743"/>
                                                    <a:gd name="connsiteX10" fmla="*/ 45285 w 300534"/>
                                                    <a:gd name="connsiteY10" fmla="*/ 343365 h 374743"/>
                                                    <a:gd name="connsiteX11" fmla="*/ 44832 w 300534"/>
                                                    <a:gd name="connsiteY11" fmla="*/ 363318 h 374743"/>
                                                    <a:gd name="connsiteX12" fmla="*/ 48848 w 300534"/>
                                                    <a:gd name="connsiteY12" fmla="*/ 372518 h 374743"/>
                                                    <a:gd name="connsiteX13" fmla="*/ 58178 w 300534"/>
                                                    <a:gd name="connsiteY13" fmla="*/ 373490 h 374743"/>
                                                    <a:gd name="connsiteX14" fmla="*/ 54809 w 300534"/>
                                                    <a:gd name="connsiteY14" fmla="*/ 359237 h 374743"/>
                                                    <a:gd name="connsiteX15" fmla="*/ 64073 w 300534"/>
                                                    <a:gd name="connsiteY15" fmla="*/ 359496 h 374743"/>
                                                    <a:gd name="connsiteX16" fmla="*/ 73402 w 300534"/>
                                                    <a:gd name="connsiteY16" fmla="*/ 344531 h 374743"/>
                                                    <a:gd name="connsiteX17" fmla="*/ 107998 w 300534"/>
                                                    <a:gd name="connsiteY17" fmla="*/ 347640 h 374743"/>
                                                    <a:gd name="connsiteX18" fmla="*/ 114217 w 300534"/>
                                                    <a:gd name="connsiteY18" fmla="*/ 347770 h 374743"/>
                                                    <a:gd name="connsiteX19" fmla="*/ 127045 w 300534"/>
                                                    <a:gd name="connsiteY19" fmla="*/ 359302 h 374743"/>
                                                    <a:gd name="connsiteX20" fmla="*/ 137087 w 300534"/>
                                                    <a:gd name="connsiteY20" fmla="*/ 353083 h 374743"/>
                                                    <a:gd name="connsiteX21" fmla="*/ 137346 w 300534"/>
                                                    <a:gd name="connsiteY21" fmla="*/ 340190 h 374743"/>
                                                    <a:gd name="connsiteX22" fmla="*/ 175051 w 300534"/>
                                                    <a:gd name="connsiteY22" fmla="*/ 338895 h 374743"/>
                                                    <a:gd name="connsiteX23" fmla="*/ 183408 w 300534"/>
                                                    <a:gd name="connsiteY23" fmla="*/ 301708 h 374743"/>
                                                    <a:gd name="connsiteX24" fmla="*/ 195847 w 300534"/>
                                                    <a:gd name="connsiteY24" fmla="*/ 276311 h 374743"/>
                                                    <a:gd name="connsiteX25" fmla="*/ 205954 w 300534"/>
                                                    <a:gd name="connsiteY25" fmla="*/ 268408 h 374743"/>
                                                    <a:gd name="connsiteX26" fmla="*/ 223316 w 300534"/>
                                                    <a:gd name="connsiteY26" fmla="*/ 271841 h 374743"/>
                                                    <a:gd name="connsiteX27" fmla="*/ 250332 w 300534"/>
                                                    <a:gd name="connsiteY27" fmla="*/ 271517 h 374743"/>
                                                    <a:gd name="connsiteX28" fmla="*/ 266204 w 300534"/>
                                                    <a:gd name="connsiteY28" fmla="*/ 276506 h 374743"/>
                                                    <a:gd name="connsiteX29" fmla="*/ 280717 w 300534"/>
                                                    <a:gd name="connsiteY29" fmla="*/ 275405 h 374743"/>
                                                    <a:gd name="connsiteX30" fmla="*/ 288232 w 300534"/>
                                                    <a:gd name="connsiteY30" fmla="*/ 279162 h 374743"/>
                                                    <a:gd name="connsiteX31" fmla="*/ 292702 w 300534"/>
                                                    <a:gd name="connsiteY31" fmla="*/ 281753 h 374743"/>
                                                    <a:gd name="connsiteX32" fmla="*/ 300347 w 300534"/>
                                                    <a:gd name="connsiteY32" fmla="*/ 220337 h 374743"/>
                                                    <a:gd name="connsiteX33" fmla="*/ 298792 w 300534"/>
                                                    <a:gd name="connsiteY33" fmla="*/ 213016 h 374743"/>
                                                    <a:gd name="connsiteX34" fmla="*/ 291018 w 300534"/>
                                                    <a:gd name="connsiteY34" fmla="*/ 211331 h 374743"/>
                                                    <a:gd name="connsiteX35" fmla="*/ 285511 w 300534"/>
                                                    <a:gd name="connsiteY35" fmla="*/ 199864 h 374743"/>
                                                    <a:gd name="connsiteX36" fmla="*/ 284733 w 300534"/>
                                                    <a:gd name="connsiteY36" fmla="*/ 186324 h 374743"/>
                                                    <a:gd name="connsiteX37" fmla="*/ 265298 w 300534"/>
                                                    <a:gd name="connsiteY37" fmla="*/ 180688 h 374743"/>
                                                    <a:gd name="connsiteX38" fmla="*/ 244177 w 300534"/>
                                                    <a:gd name="connsiteY38" fmla="*/ 180105 h 374743"/>
                                                    <a:gd name="connsiteX39" fmla="*/ 236598 w 300534"/>
                                                    <a:gd name="connsiteY39" fmla="*/ 168832 h 374743"/>
                                                    <a:gd name="connsiteX40" fmla="*/ 235237 w 300534"/>
                                                    <a:gd name="connsiteY40" fmla="*/ 113311 h 374743"/>
                                                    <a:gd name="connsiteX41" fmla="*/ 222215 w 300534"/>
                                                    <a:gd name="connsiteY41" fmla="*/ 113634 h 374743"/>
                                                    <a:gd name="connsiteX42" fmla="*/ 214182 w 300534"/>
                                                    <a:gd name="connsiteY42" fmla="*/ 104889 h 374743"/>
                                                    <a:gd name="connsiteX43" fmla="*/ 200577 w 300534"/>
                                                    <a:gd name="connsiteY43" fmla="*/ 105795 h 374743"/>
                                                    <a:gd name="connsiteX44" fmla="*/ 192479 w 300534"/>
                                                    <a:gd name="connsiteY44" fmla="*/ 97114 h 374743"/>
                                                    <a:gd name="connsiteX45" fmla="*/ 175569 w 300534"/>
                                                    <a:gd name="connsiteY45" fmla="*/ 98086 h 374743"/>
                                                    <a:gd name="connsiteX46" fmla="*/ 144213 w 300534"/>
                                                    <a:gd name="connsiteY46" fmla="*/ 74245 h 374743"/>
                                                    <a:gd name="connsiteX47" fmla="*/ 135921 w 300534"/>
                                                    <a:gd name="connsiteY47" fmla="*/ 75346 h 374743"/>
                                                    <a:gd name="connsiteX48" fmla="*/ 126980 w 300534"/>
                                                    <a:gd name="connsiteY48" fmla="*/ 68608 h 374743"/>
                                                    <a:gd name="connsiteX49" fmla="*/ 116809 w 300534"/>
                                                    <a:gd name="connsiteY49" fmla="*/ 67054 h 374743"/>
                                                    <a:gd name="connsiteX50" fmla="*/ 115902 w 300534"/>
                                                    <a:gd name="connsiteY50" fmla="*/ 50857 h 374743"/>
                                                    <a:gd name="connsiteX51" fmla="*/ 102621 w 300534"/>
                                                    <a:gd name="connsiteY51" fmla="*/ 34661 h 374743"/>
                                                    <a:gd name="connsiteX52" fmla="*/ 108257 w 300534"/>
                                                    <a:gd name="connsiteY52" fmla="*/ 10431 h 374743"/>
                                                    <a:gd name="connsiteX53" fmla="*/ 103916 w 300534"/>
                                                    <a:gd name="connsiteY53" fmla="*/ 1490 h 374743"/>
                                                    <a:gd name="connsiteX54" fmla="*/ 97567 w 300534"/>
                                                    <a:gd name="connsiteY54" fmla="*/ 130 h 374743"/>
                                                    <a:gd name="connsiteX55" fmla="*/ 74050 w 300534"/>
                                                    <a:gd name="connsiteY55" fmla="*/ 8293 h 374743"/>
                                                    <a:gd name="connsiteX56" fmla="*/ 60315 w 300534"/>
                                                    <a:gd name="connsiteY56" fmla="*/ 8423 h 374743"/>
                                                    <a:gd name="connsiteX57" fmla="*/ 54874 w 300534"/>
                                                    <a:gd name="connsiteY57" fmla="*/ 22416 h 374743"/>
                                                    <a:gd name="connsiteX58" fmla="*/ 40815 w 300534"/>
                                                    <a:gd name="connsiteY58" fmla="*/ 22416 h 374743"/>
                                                    <a:gd name="connsiteX59" fmla="*/ 35308 w 300534"/>
                                                    <a:gd name="connsiteY59" fmla="*/ 31033 h 374743"/>
                                                    <a:gd name="connsiteX60" fmla="*/ 25007 w 300534"/>
                                                    <a:gd name="connsiteY60" fmla="*/ 38548 h 374743"/>
                                                    <a:gd name="connsiteX61" fmla="*/ 16585 w 300534"/>
                                                    <a:gd name="connsiteY61" fmla="*/ 44832 h 374743"/>
                                                    <a:gd name="connsiteX62" fmla="*/ 17039 w 300534"/>
                                                    <a:gd name="connsiteY62" fmla="*/ 46711 h 374743"/>
                                                    <a:gd name="connsiteX63" fmla="*/ 16067 w 300534"/>
                                                    <a:gd name="connsiteY63" fmla="*/ 55262 h 374743"/>
                                                    <a:gd name="connsiteX64" fmla="*/ 19760 w 300534"/>
                                                    <a:gd name="connsiteY64" fmla="*/ 76318 h 374743"/>
                                                    <a:gd name="connsiteX65" fmla="*/ 13281 w 300534"/>
                                                    <a:gd name="connsiteY65" fmla="*/ 86165 h 374743"/>
                                                    <a:gd name="connsiteX66" fmla="*/ 15613 w 300534"/>
                                                    <a:gd name="connsiteY66" fmla="*/ 91024 h 374743"/>
                                                    <a:gd name="connsiteX67" fmla="*/ 14836 w 300534"/>
                                                    <a:gd name="connsiteY67" fmla="*/ 128794 h 374743"/>
                                                    <a:gd name="connsiteX68" fmla="*/ 10819 w 300534"/>
                                                    <a:gd name="connsiteY68" fmla="*/ 166824 h 374743"/>
                                                    <a:gd name="connsiteX69" fmla="*/ 9394 w 300534"/>
                                                    <a:gd name="connsiteY69" fmla="*/ 177449 h 374743"/>
                                                    <a:gd name="connsiteX70" fmla="*/ 17233 w 300534"/>
                                                    <a:gd name="connsiteY70" fmla="*/ 193062 h 374743"/>
                                                    <a:gd name="connsiteX71" fmla="*/ 0 w 300534"/>
                                                    <a:gd name="connsiteY71" fmla="*/ 212174 h 374743"/>
                                                    <a:gd name="connsiteX72" fmla="*/ 5572 w 300534"/>
                                                    <a:gd name="connsiteY72" fmla="*/ 227139 h 374743"/>
                                                    <a:gd name="connsiteX73" fmla="*/ 11597 w 300534"/>
                                                    <a:gd name="connsiteY73" fmla="*/ 232192 h 37474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00534" h="374743">
                                                      <a:moveTo>
                                                        <a:pt x="11597" y="231933"/>
                                                      </a:moveTo>
                                                      <a:cubicBezTo>
                                                        <a:pt x="16196" y="238606"/>
                                                        <a:pt x="7969" y="250073"/>
                                                        <a:pt x="14318" y="255062"/>
                                                      </a:cubicBezTo>
                                                      <a:cubicBezTo>
                                                        <a:pt x="16002" y="256358"/>
                                                        <a:pt x="18334" y="256811"/>
                                                        <a:pt x="19695" y="258431"/>
                                                      </a:cubicBezTo>
                                                      <a:cubicBezTo>
                                                        <a:pt x="20861" y="259791"/>
                                                        <a:pt x="21055" y="261670"/>
                                                        <a:pt x="21185" y="263484"/>
                                                      </a:cubicBezTo>
                                                      <a:cubicBezTo>
                                                        <a:pt x="21962" y="272878"/>
                                                        <a:pt x="22675" y="282790"/>
                                                        <a:pt x="18464" y="291212"/>
                                                      </a:cubicBezTo>
                                                      <a:cubicBezTo>
                                                        <a:pt x="17557" y="292961"/>
                                                        <a:pt x="16456" y="294711"/>
                                                        <a:pt x="16196" y="296654"/>
                                                      </a:cubicBezTo>
                                                      <a:cubicBezTo>
                                                        <a:pt x="15290" y="303198"/>
                                                        <a:pt x="23388" y="306761"/>
                                                        <a:pt x="29866" y="308186"/>
                                                      </a:cubicBezTo>
                                                      <a:cubicBezTo>
                                                        <a:pt x="27664" y="314665"/>
                                                        <a:pt x="29996" y="322374"/>
                                                        <a:pt x="35438" y="326585"/>
                                                      </a:cubicBezTo>
                                                      <a:cubicBezTo>
                                                        <a:pt x="36669" y="327492"/>
                                                        <a:pt x="38029" y="328334"/>
                                                        <a:pt x="38677" y="329760"/>
                                                      </a:cubicBezTo>
                                                      <a:cubicBezTo>
                                                        <a:pt x="40167" y="332999"/>
                                                        <a:pt x="36604" y="336497"/>
                                                        <a:pt x="36734" y="340125"/>
                                                      </a:cubicBezTo>
                                                      <a:cubicBezTo>
                                                        <a:pt x="39325" y="341810"/>
                                                        <a:pt x="42240" y="342911"/>
                                                        <a:pt x="45285" y="343365"/>
                                                      </a:cubicBezTo>
                                                      <a:cubicBezTo>
                                                        <a:pt x="44573" y="349973"/>
                                                        <a:pt x="43860" y="356711"/>
                                                        <a:pt x="44832" y="363318"/>
                                                      </a:cubicBezTo>
                                                      <a:cubicBezTo>
                                                        <a:pt x="45350" y="366687"/>
                                                        <a:pt x="46387" y="370186"/>
                                                        <a:pt x="48848" y="372518"/>
                                                      </a:cubicBezTo>
                                                      <a:cubicBezTo>
                                                        <a:pt x="51310" y="374851"/>
                                                        <a:pt x="55521" y="375628"/>
                                                        <a:pt x="58178" y="373490"/>
                                                      </a:cubicBezTo>
                                                      <a:cubicBezTo>
                                                        <a:pt x="59214" y="368567"/>
                                                        <a:pt x="57918" y="363189"/>
                                                        <a:pt x="54809" y="359237"/>
                                                      </a:cubicBezTo>
                                                      <a:cubicBezTo>
                                                        <a:pt x="56688" y="356516"/>
                                                        <a:pt x="60769" y="359172"/>
                                                        <a:pt x="64073" y="359496"/>
                                                      </a:cubicBezTo>
                                                      <a:cubicBezTo>
                                                        <a:pt x="70681" y="360144"/>
                                                        <a:pt x="73273" y="351139"/>
                                                        <a:pt x="73402" y="344531"/>
                                                      </a:cubicBezTo>
                                                      <a:cubicBezTo>
                                                        <a:pt x="83120" y="337534"/>
                                                        <a:pt x="96077" y="347964"/>
                                                        <a:pt x="107998" y="347640"/>
                                                      </a:cubicBezTo>
                                                      <a:cubicBezTo>
                                                        <a:pt x="110071" y="347640"/>
                                                        <a:pt x="112209" y="347187"/>
                                                        <a:pt x="114217" y="347770"/>
                                                      </a:cubicBezTo>
                                                      <a:cubicBezTo>
                                                        <a:pt x="119854" y="349390"/>
                                                        <a:pt x="121409" y="357682"/>
                                                        <a:pt x="127045" y="359302"/>
                                                      </a:cubicBezTo>
                                                      <a:cubicBezTo>
                                                        <a:pt x="131191" y="360468"/>
                                                        <a:pt x="135597" y="357164"/>
                                                        <a:pt x="137087" y="353083"/>
                                                      </a:cubicBezTo>
                                                      <a:cubicBezTo>
                                                        <a:pt x="138577" y="349001"/>
                                                        <a:pt x="137994" y="344531"/>
                                                        <a:pt x="137346" y="340190"/>
                                                      </a:cubicBezTo>
                                                      <a:cubicBezTo>
                                                        <a:pt x="149914" y="341615"/>
                                                        <a:pt x="162677" y="341227"/>
                                                        <a:pt x="175051" y="338895"/>
                                                      </a:cubicBezTo>
                                                      <a:cubicBezTo>
                                                        <a:pt x="176476" y="326261"/>
                                                        <a:pt x="179327" y="313758"/>
                                                        <a:pt x="183408" y="301708"/>
                                                      </a:cubicBezTo>
                                                      <a:cubicBezTo>
                                                        <a:pt x="186453" y="292767"/>
                                                        <a:pt x="190211" y="283956"/>
                                                        <a:pt x="195847" y="276311"/>
                                                      </a:cubicBezTo>
                                                      <a:cubicBezTo>
                                                        <a:pt x="198439" y="272813"/>
                                                        <a:pt x="201678" y="269379"/>
                                                        <a:pt x="205954" y="268408"/>
                                                      </a:cubicBezTo>
                                                      <a:cubicBezTo>
                                                        <a:pt x="211785" y="267112"/>
                                                        <a:pt x="217486" y="270740"/>
                                                        <a:pt x="223316" y="271841"/>
                                                      </a:cubicBezTo>
                                                      <a:cubicBezTo>
                                                        <a:pt x="232192" y="273590"/>
                                                        <a:pt x="241521" y="269509"/>
                                                        <a:pt x="250332" y="271517"/>
                                                      </a:cubicBezTo>
                                                      <a:cubicBezTo>
                                                        <a:pt x="255774" y="272748"/>
                                                        <a:pt x="260633" y="276247"/>
                                                        <a:pt x="266204" y="276506"/>
                                                      </a:cubicBezTo>
                                                      <a:cubicBezTo>
                                                        <a:pt x="271063" y="276700"/>
                                                        <a:pt x="275987" y="274433"/>
                                                        <a:pt x="280717" y="275405"/>
                                                      </a:cubicBezTo>
                                                      <a:cubicBezTo>
                                                        <a:pt x="283438" y="275987"/>
                                                        <a:pt x="285835" y="277607"/>
                                                        <a:pt x="288232" y="279162"/>
                                                      </a:cubicBezTo>
                                                      <a:cubicBezTo>
                                                        <a:pt x="289657" y="280069"/>
                                                        <a:pt x="291212" y="280846"/>
                                                        <a:pt x="292702" y="281753"/>
                                                      </a:cubicBezTo>
                                                      <a:cubicBezTo>
                                                        <a:pt x="295229" y="261281"/>
                                                        <a:pt x="297820" y="240809"/>
                                                        <a:pt x="300347" y="220337"/>
                                                      </a:cubicBezTo>
                                                      <a:cubicBezTo>
                                                        <a:pt x="300671" y="217745"/>
                                                        <a:pt x="300800" y="214700"/>
                                                        <a:pt x="298792" y="213016"/>
                                                      </a:cubicBezTo>
                                                      <a:cubicBezTo>
                                                        <a:pt x="296719" y="211331"/>
                                                        <a:pt x="293609" y="212109"/>
                                                        <a:pt x="291018" y="211331"/>
                                                      </a:cubicBezTo>
                                                      <a:cubicBezTo>
                                                        <a:pt x="286677" y="209906"/>
                                                        <a:pt x="285252" y="204399"/>
                                                        <a:pt x="285511" y="199864"/>
                                                      </a:cubicBezTo>
                                                      <a:cubicBezTo>
                                                        <a:pt x="285770" y="195329"/>
                                                        <a:pt x="286806" y="190406"/>
                                                        <a:pt x="284733" y="186324"/>
                                                      </a:cubicBezTo>
                                                      <a:cubicBezTo>
                                                        <a:pt x="281429" y="179910"/>
                                                        <a:pt x="272424" y="179392"/>
                                                        <a:pt x="265298" y="180688"/>
                                                      </a:cubicBezTo>
                                                      <a:cubicBezTo>
                                                        <a:pt x="258171" y="181983"/>
                                                        <a:pt x="250267" y="184057"/>
                                                        <a:pt x="244177" y="180105"/>
                                                      </a:cubicBezTo>
                                                      <a:cubicBezTo>
                                                        <a:pt x="240290" y="177578"/>
                                                        <a:pt x="238217" y="173173"/>
                                                        <a:pt x="236598" y="168832"/>
                                                      </a:cubicBezTo>
                                                      <a:cubicBezTo>
                                                        <a:pt x="230119" y="151145"/>
                                                        <a:pt x="229601" y="131321"/>
                                                        <a:pt x="235237" y="113311"/>
                                                      </a:cubicBezTo>
                                                      <a:cubicBezTo>
                                                        <a:pt x="230896" y="113440"/>
                                                        <a:pt x="226556" y="113570"/>
                                                        <a:pt x="222215" y="113634"/>
                                                      </a:cubicBezTo>
                                                      <a:cubicBezTo>
                                                        <a:pt x="223640" y="109294"/>
                                                        <a:pt x="218717" y="105277"/>
                                                        <a:pt x="214182" y="104889"/>
                                                      </a:cubicBezTo>
                                                      <a:cubicBezTo>
                                                        <a:pt x="209647" y="104500"/>
                                                        <a:pt x="205112" y="106184"/>
                                                        <a:pt x="200577" y="105795"/>
                                                      </a:cubicBezTo>
                                                      <a:cubicBezTo>
                                                        <a:pt x="196042" y="105407"/>
                                                        <a:pt x="191118" y="101455"/>
                                                        <a:pt x="192479" y="97114"/>
                                                      </a:cubicBezTo>
                                                      <a:cubicBezTo>
                                                        <a:pt x="186842" y="97438"/>
                                                        <a:pt x="181206" y="97762"/>
                                                        <a:pt x="175569" y="98086"/>
                                                      </a:cubicBezTo>
                                                      <a:cubicBezTo>
                                                        <a:pt x="176606" y="82861"/>
                                                        <a:pt x="159049" y="70746"/>
                                                        <a:pt x="144213" y="74245"/>
                                                      </a:cubicBezTo>
                                                      <a:cubicBezTo>
                                                        <a:pt x="141492" y="74893"/>
                                                        <a:pt x="138706" y="75929"/>
                                                        <a:pt x="135921" y="75346"/>
                                                      </a:cubicBezTo>
                                                      <a:cubicBezTo>
                                                        <a:pt x="132228" y="74569"/>
                                                        <a:pt x="129766" y="71135"/>
                                                        <a:pt x="126980" y="68608"/>
                                                      </a:cubicBezTo>
                                                      <a:cubicBezTo>
                                                        <a:pt x="124194" y="66082"/>
                                                        <a:pt x="119465" y="64333"/>
                                                        <a:pt x="116809" y="67054"/>
                                                      </a:cubicBezTo>
                                                      <a:cubicBezTo>
                                                        <a:pt x="116485" y="61676"/>
                                                        <a:pt x="116226" y="56234"/>
                                                        <a:pt x="115902" y="50857"/>
                                                      </a:cubicBezTo>
                                                      <a:cubicBezTo>
                                                        <a:pt x="107998" y="53449"/>
                                                        <a:pt x="101584" y="42953"/>
                                                        <a:pt x="102621" y="34661"/>
                                                      </a:cubicBezTo>
                                                      <a:cubicBezTo>
                                                        <a:pt x="103657" y="26368"/>
                                                        <a:pt x="108516" y="18724"/>
                                                        <a:pt x="108257" y="10431"/>
                                                      </a:cubicBezTo>
                                                      <a:cubicBezTo>
                                                        <a:pt x="108127" y="6997"/>
                                                        <a:pt x="106896" y="3240"/>
                                                        <a:pt x="103916" y="1490"/>
                                                      </a:cubicBezTo>
                                                      <a:cubicBezTo>
                                                        <a:pt x="102038" y="389"/>
                                                        <a:pt x="99705" y="259"/>
                                                        <a:pt x="97567" y="130"/>
                                                      </a:cubicBezTo>
                                                      <a:cubicBezTo>
                                                        <a:pt x="88757" y="-388"/>
                                                        <a:pt x="77808" y="324"/>
                                                        <a:pt x="74050" y="8293"/>
                                                      </a:cubicBezTo>
                                                      <a:cubicBezTo>
                                                        <a:pt x="69450" y="8293"/>
                                                        <a:pt x="64915" y="8423"/>
                                                        <a:pt x="60315" y="8423"/>
                                                      </a:cubicBezTo>
                                                      <a:cubicBezTo>
                                                        <a:pt x="56947" y="12245"/>
                                                        <a:pt x="55003" y="17298"/>
                                                        <a:pt x="54874" y="22416"/>
                                                      </a:cubicBezTo>
                                                      <a:cubicBezTo>
                                                        <a:pt x="50209" y="22416"/>
                                                        <a:pt x="45480" y="22416"/>
                                                        <a:pt x="40815" y="22416"/>
                                                      </a:cubicBezTo>
                                                      <a:cubicBezTo>
                                                        <a:pt x="41463" y="25980"/>
                                                        <a:pt x="38224" y="28895"/>
                                                        <a:pt x="35308" y="31033"/>
                                                      </a:cubicBezTo>
                                                      <a:cubicBezTo>
                                                        <a:pt x="31875" y="33559"/>
                                                        <a:pt x="28441" y="36021"/>
                                                        <a:pt x="25007" y="38548"/>
                                                      </a:cubicBezTo>
                                                      <a:cubicBezTo>
                                                        <a:pt x="22222" y="40556"/>
                                                        <a:pt x="19436" y="42694"/>
                                                        <a:pt x="16585" y="44832"/>
                                                      </a:cubicBezTo>
                                                      <a:cubicBezTo>
                                                        <a:pt x="16779" y="45415"/>
                                                        <a:pt x="16974" y="46063"/>
                                                        <a:pt x="17039" y="46711"/>
                                                      </a:cubicBezTo>
                                                      <a:cubicBezTo>
                                                        <a:pt x="17298" y="49561"/>
                                                        <a:pt x="16132" y="52412"/>
                                                        <a:pt x="16067" y="55262"/>
                                                      </a:cubicBezTo>
                                                      <a:cubicBezTo>
                                                        <a:pt x="15937" y="62583"/>
                                                        <a:pt x="23193" y="69839"/>
                                                        <a:pt x="19760" y="76318"/>
                                                      </a:cubicBezTo>
                                                      <a:cubicBezTo>
                                                        <a:pt x="17881" y="79881"/>
                                                        <a:pt x="12957" y="82149"/>
                                                        <a:pt x="13281" y="86165"/>
                                                      </a:cubicBezTo>
                                                      <a:cubicBezTo>
                                                        <a:pt x="13411" y="87979"/>
                                                        <a:pt x="14642" y="89470"/>
                                                        <a:pt x="15613" y="91024"/>
                                                      </a:cubicBezTo>
                                                      <a:cubicBezTo>
                                                        <a:pt x="22740" y="101973"/>
                                                        <a:pt x="19177" y="116485"/>
                                                        <a:pt x="14836" y="128794"/>
                                                      </a:cubicBezTo>
                                                      <a:cubicBezTo>
                                                        <a:pt x="10495" y="141104"/>
                                                        <a:pt x="5636" y="154774"/>
                                                        <a:pt x="10819" y="166824"/>
                                                      </a:cubicBezTo>
                                                      <a:cubicBezTo>
                                                        <a:pt x="12504" y="170776"/>
                                                        <a:pt x="13670" y="177449"/>
                                                        <a:pt x="9394" y="177449"/>
                                                      </a:cubicBezTo>
                                                      <a:cubicBezTo>
                                                        <a:pt x="13670" y="181530"/>
                                                        <a:pt x="16520" y="187166"/>
                                                        <a:pt x="17233" y="193062"/>
                                                      </a:cubicBezTo>
                                                      <a:cubicBezTo>
                                                        <a:pt x="9524" y="197208"/>
                                                        <a:pt x="3498" y="204140"/>
                                                        <a:pt x="0" y="212174"/>
                                                      </a:cubicBezTo>
                                                      <a:cubicBezTo>
                                                        <a:pt x="389" y="218004"/>
                                                        <a:pt x="1296" y="223446"/>
                                                        <a:pt x="5572" y="227139"/>
                                                      </a:cubicBezTo>
                                                      <a:cubicBezTo>
                                                        <a:pt x="7580" y="228888"/>
                                                        <a:pt x="10107" y="229990"/>
                                                        <a:pt x="11597" y="23219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4" name="Freeform: Shape 40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041A116-9566-4DDE-9CD2-BCEB48D9601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565461" y="5224398"/>
                                                  <a:ext cx="123551" cy="14374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290 w 123551"/>
                                                    <a:gd name="connsiteY0" fmla="*/ 114865 h 143742"/>
                                                    <a:gd name="connsiteX1" fmla="*/ 26303 w 123551"/>
                                                    <a:gd name="connsiteY1" fmla="*/ 130349 h 143742"/>
                                                    <a:gd name="connsiteX2" fmla="*/ 45415 w 123551"/>
                                                    <a:gd name="connsiteY2" fmla="*/ 134171 h 143742"/>
                                                    <a:gd name="connsiteX3" fmla="*/ 58048 w 123551"/>
                                                    <a:gd name="connsiteY3" fmla="*/ 143306 h 143742"/>
                                                    <a:gd name="connsiteX4" fmla="*/ 63750 w 123551"/>
                                                    <a:gd name="connsiteY4" fmla="*/ 130025 h 143742"/>
                                                    <a:gd name="connsiteX5" fmla="*/ 73273 w 123551"/>
                                                    <a:gd name="connsiteY5" fmla="*/ 128664 h 143742"/>
                                                    <a:gd name="connsiteX6" fmla="*/ 114671 w 123551"/>
                                                    <a:gd name="connsiteY6" fmla="*/ 112857 h 143742"/>
                                                    <a:gd name="connsiteX7" fmla="*/ 123093 w 123551"/>
                                                    <a:gd name="connsiteY7" fmla="*/ 102685 h 143742"/>
                                                    <a:gd name="connsiteX8" fmla="*/ 123352 w 123551"/>
                                                    <a:gd name="connsiteY8" fmla="*/ 99381 h 143742"/>
                                                    <a:gd name="connsiteX9" fmla="*/ 115772 w 123551"/>
                                                    <a:gd name="connsiteY9" fmla="*/ 55910 h 143742"/>
                                                    <a:gd name="connsiteX10" fmla="*/ 107998 w 123551"/>
                                                    <a:gd name="connsiteY10" fmla="*/ 45674 h 143742"/>
                                                    <a:gd name="connsiteX11" fmla="*/ 86489 w 123551"/>
                                                    <a:gd name="connsiteY11" fmla="*/ 39454 h 143742"/>
                                                    <a:gd name="connsiteX12" fmla="*/ 78780 w 123551"/>
                                                    <a:gd name="connsiteY12" fmla="*/ 28765 h 143742"/>
                                                    <a:gd name="connsiteX13" fmla="*/ 65628 w 123551"/>
                                                    <a:gd name="connsiteY13" fmla="*/ 25785 h 143742"/>
                                                    <a:gd name="connsiteX14" fmla="*/ 59539 w 123551"/>
                                                    <a:gd name="connsiteY14" fmla="*/ 9394 h 143742"/>
                                                    <a:gd name="connsiteX15" fmla="*/ 33365 w 123551"/>
                                                    <a:gd name="connsiteY15" fmla="*/ 2786 h 143742"/>
                                                    <a:gd name="connsiteX16" fmla="*/ 34661 w 123551"/>
                                                    <a:gd name="connsiteY16" fmla="*/ 0 h 143742"/>
                                                    <a:gd name="connsiteX17" fmla="*/ 28700 w 123551"/>
                                                    <a:gd name="connsiteY17" fmla="*/ 2656 h 143742"/>
                                                    <a:gd name="connsiteX18" fmla="*/ 15938 w 123551"/>
                                                    <a:gd name="connsiteY18" fmla="*/ 13475 h 143742"/>
                                                    <a:gd name="connsiteX19" fmla="*/ 14577 w 123551"/>
                                                    <a:gd name="connsiteY19" fmla="*/ 24554 h 143742"/>
                                                    <a:gd name="connsiteX20" fmla="*/ 13670 w 123551"/>
                                                    <a:gd name="connsiteY20" fmla="*/ 35826 h 143742"/>
                                                    <a:gd name="connsiteX21" fmla="*/ 9330 w 123551"/>
                                                    <a:gd name="connsiteY21" fmla="*/ 76382 h 143742"/>
                                                    <a:gd name="connsiteX22" fmla="*/ 7192 w 123551"/>
                                                    <a:gd name="connsiteY22" fmla="*/ 83444 h 143742"/>
                                                    <a:gd name="connsiteX23" fmla="*/ 2333 w 123551"/>
                                                    <a:gd name="connsiteY23" fmla="*/ 87720 h 143742"/>
                                                    <a:gd name="connsiteX24" fmla="*/ 1167 w 123551"/>
                                                    <a:gd name="connsiteY24" fmla="*/ 102361 h 143742"/>
                                                    <a:gd name="connsiteX25" fmla="*/ 1490 w 123551"/>
                                                    <a:gd name="connsiteY25" fmla="*/ 103527 h 143742"/>
                                                    <a:gd name="connsiteX26" fmla="*/ 15225 w 123551"/>
                                                    <a:gd name="connsiteY26" fmla="*/ 115124 h 14374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23551" h="143742">
                                                      <a:moveTo>
                                                        <a:pt x="15290" y="114865"/>
                                                      </a:moveTo>
                                                      <a:cubicBezTo>
                                                        <a:pt x="17946" y="120825"/>
                                                        <a:pt x="20343" y="127757"/>
                                                        <a:pt x="26303" y="130349"/>
                                                      </a:cubicBezTo>
                                                      <a:cubicBezTo>
                                                        <a:pt x="32328" y="132940"/>
                                                        <a:pt x="40167" y="130154"/>
                                                        <a:pt x="45415" y="134171"/>
                                                      </a:cubicBezTo>
                                                      <a:cubicBezTo>
                                                        <a:pt x="49885" y="137605"/>
                                                        <a:pt x="52995" y="145703"/>
                                                        <a:pt x="58048" y="143306"/>
                                                      </a:cubicBezTo>
                                                      <a:cubicBezTo>
                                                        <a:pt x="62583" y="141168"/>
                                                        <a:pt x="60186" y="133523"/>
                                                        <a:pt x="63750" y="130025"/>
                                                      </a:cubicBezTo>
                                                      <a:cubicBezTo>
                                                        <a:pt x="66147" y="127692"/>
                                                        <a:pt x="69969" y="128276"/>
                                                        <a:pt x="73273" y="128664"/>
                                                      </a:cubicBezTo>
                                                      <a:cubicBezTo>
                                                        <a:pt x="88562" y="130414"/>
                                                        <a:pt x="104500" y="124324"/>
                                                        <a:pt x="114671" y="112857"/>
                                                      </a:cubicBezTo>
                                                      <a:cubicBezTo>
                                                        <a:pt x="117586" y="109552"/>
                                                        <a:pt x="120048" y="105860"/>
                                                        <a:pt x="123093" y="102685"/>
                                                      </a:cubicBezTo>
                                                      <a:cubicBezTo>
                                                        <a:pt x="123223" y="101584"/>
                                                        <a:pt x="123288" y="100483"/>
                                                        <a:pt x="123352" y="99381"/>
                                                      </a:cubicBezTo>
                                                      <a:cubicBezTo>
                                                        <a:pt x="124324" y="84545"/>
                                                        <a:pt x="121733" y="69515"/>
                                                        <a:pt x="115772" y="55910"/>
                                                      </a:cubicBezTo>
                                                      <a:cubicBezTo>
                                                        <a:pt x="114023" y="51893"/>
                                                        <a:pt x="111821" y="47812"/>
                                                        <a:pt x="107998" y="45674"/>
                                                      </a:cubicBezTo>
                                                      <a:cubicBezTo>
                                                        <a:pt x="101390" y="41916"/>
                                                        <a:pt x="91802" y="44832"/>
                                                        <a:pt x="86489" y="39454"/>
                                                      </a:cubicBezTo>
                                                      <a:cubicBezTo>
                                                        <a:pt x="83380" y="36280"/>
                                                        <a:pt x="82667" y="30903"/>
                                                        <a:pt x="78780" y="28765"/>
                                                      </a:cubicBezTo>
                                                      <a:cubicBezTo>
                                                        <a:pt x="74763" y="26562"/>
                                                        <a:pt x="69062" y="28765"/>
                                                        <a:pt x="65628" y="25785"/>
                                                      </a:cubicBezTo>
                                                      <a:cubicBezTo>
                                                        <a:pt x="61028" y="21833"/>
                                                        <a:pt x="64656" y="12568"/>
                                                        <a:pt x="59539" y="9394"/>
                                                      </a:cubicBezTo>
                                                      <a:cubicBezTo>
                                                        <a:pt x="50404" y="9912"/>
                                                        <a:pt x="41139" y="7580"/>
                                                        <a:pt x="33365" y="2786"/>
                                                      </a:cubicBezTo>
                                                      <a:cubicBezTo>
                                                        <a:pt x="33819" y="1879"/>
                                                        <a:pt x="34207" y="907"/>
                                                        <a:pt x="34661" y="0"/>
                                                      </a:cubicBezTo>
                                                      <a:cubicBezTo>
                                                        <a:pt x="32652" y="907"/>
                                                        <a:pt x="30644" y="1684"/>
                                                        <a:pt x="28700" y="2656"/>
                                                      </a:cubicBezTo>
                                                      <a:cubicBezTo>
                                                        <a:pt x="23582" y="5118"/>
                                                        <a:pt x="18140" y="8228"/>
                                                        <a:pt x="15938" y="13475"/>
                                                      </a:cubicBezTo>
                                                      <a:cubicBezTo>
                                                        <a:pt x="14512" y="16909"/>
                                                        <a:pt x="14707" y="20796"/>
                                                        <a:pt x="14577" y="24554"/>
                                                      </a:cubicBezTo>
                                                      <a:cubicBezTo>
                                                        <a:pt x="14512" y="28311"/>
                                                        <a:pt x="14059" y="32069"/>
                                                        <a:pt x="13670" y="35826"/>
                                                      </a:cubicBezTo>
                                                      <a:cubicBezTo>
                                                        <a:pt x="12245" y="49367"/>
                                                        <a:pt x="10755" y="62842"/>
                                                        <a:pt x="9330" y="76382"/>
                                                      </a:cubicBezTo>
                                                      <a:cubicBezTo>
                                                        <a:pt x="9070" y="78844"/>
                                                        <a:pt x="8747" y="81500"/>
                                                        <a:pt x="7192" y="83444"/>
                                                      </a:cubicBezTo>
                                                      <a:cubicBezTo>
                                                        <a:pt x="5831" y="85128"/>
                                                        <a:pt x="3758" y="86100"/>
                                                        <a:pt x="2333" y="87720"/>
                                                      </a:cubicBezTo>
                                                      <a:cubicBezTo>
                                                        <a:pt x="-1101" y="91477"/>
                                                        <a:pt x="-64" y="97438"/>
                                                        <a:pt x="1167" y="102361"/>
                                                      </a:cubicBezTo>
                                                      <a:cubicBezTo>
                                                        <a:pt x="1231" y="102750"/>
                                                        <a:pt x="1361" y="103139"/>
                                                        <a:pt x="1490" y="103527"/>
                                                      </a:cubicBezTo>
                                                      <a:cubicBezTo>
                                                        <a:pt x="7839" y="102944"/>
                                                        <a:pt x="12634" y="109229"/>
                                                        <a:pt x="15225" y="11512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5" name="Freeform: Shape 40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DDBB423-170B-4BC2-9450-05F22FF0F1A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85531" y="4987930"/>
                                                  <a:ext cx="454044" cy="95396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82262 w 454044"/>
                                                    <a:gd name="connsiteY0" fmla="*/ 323929 h 953969"/>
                                                    <a:gd name="connsiteX1" fmla="*/ 387121 w 454044"/>
                                                    <a:gd name="connsiteY1" fmla="*/ 319653 h 953969"/>
                                                    <a:gd name="connsiteX2" fmla="*/ 389259 w 454044"/>
                                                    <a:gd name="connsiteY2" fmla="*/ 312591 h 953969"/>
                                                    <a:gd name="connsiteX3" fmla="*/ 393600 w 454044"/>
                                                    <a:gd name="connsiteY3" fmla="*/ 272035 h 953969"/>
                                                    <a:gd name="connsiteX4" fmla="*/ 394507 w 454044"/>
                                                    <a:gd name="connsiteY4" fmla="*/ 260763 h 953969"/>
                                                    <a:gd name="connsiteX5" fmla="*/ 395867 w 454044"/>
                                                    <a:gd name="connsiteY5" fmla="*/ 249684 h 953969"/>
                                                    <a:gd name="connsiteX6" fmla="*/ 408630 w 454044"/>
                                                    <a:gd name="connsiteY6" fmla="*/ 238865 h 953969"/>
                                                    <a:gd name="connsiteX7" fmla="*/ 414590 w 454044"/>
                                                    <a:gd name="connsiteY7" fmla="*/ 236208 h 953969"/>
                                                    <a:gd name="connsiteX8" fmla="*/ 423466 w 454044"/>
                                                    <a:gd name="connsiteY8" fmla="*/ 217032 h 953969"/>
                                                    <a:gd name="connsiteX9" fmla="*/ 445428 w 454044"/>
                                                    <a:gd name="connsiteY9" fmla="*/ 189174 h 953969"/>
                                                    <a:gd name="connsiteX10" fmla="*/ 454045 w 454044"/>
                                                    <a:gd name="connsiteY10" fmla="*/ 185611 h 953969"/>
                                                    <a:gd name="connsiteX11" fmla="*/ 447825 w 454044"/>
                                                    <a:gd name="connsiteY11" fmla="*/ 181141 h 953969"/>
                                                    <a:gd name="connsiteX12" fmla="*/ 443938 w 454044"/>
                                                    <a:gd name="connsiteY12" fmla="*/ 177059 h 953969"/>
                                                    <a:gd name="connsiteX13" fmla="*/ 444716 w 454044"/>
                                                    <a:gd name="connsiteY13" fmla="*/ 167017 h 953969"/>
                                                    <a:gd name="connsiteX14" fmla="*/ 434026 w 454044"/>
                                                    <a:gd name="connsiteY14" fmla="*/ 156198 h 953969"/>
                                                    <a:gd name="connsiteX15" fmla="*/ 417635 w 454044"/>
                                                    <a:gd name="connsiteY15" fmla="*/ 156263 h 953969"/>
                                                    <a:gd name="connsiteX16" fmla="*/ 386084 w 454044"/>
                                                    <a:gd name="connsiteY16" fmla="*/ 144796 h 953969"/>
                                                    <a:gd name="connsiteX17" fmla="*/ 393146 w 454044"/>
                                                    <a:gd name="connsiteY17" fmla="*/ 138253 h 953969"/>
                                                    <a:gd name="connsiteX18" fmla="*/ 393988 w 454044"/>
                                                    <a:gd name="connsiteY18" fmla="*/ 114217 h 953969"/>
                                                    <a:gd name="connsiteX19" fmla="*/ 403512 w 454044"/>
                                                    <a:gd name="connsiteY19" fmla="*/ 107414 h 953969"/>
                                                    <a:gd name="connsiteX20" fmla="*/ 404743 w 454044"/>
                                                    <a:gd name="connsiteY20" fmla="*/ 97049 h 953969"/>
                                                    <a:gd name="connsiteX21" fmla="*/ 388482 w 454044"/>
                                                    <a:gd name="connsiteY21" fmla="*/ 88303 h 953969"/>
                                                    <a:gd name="connsiteX22" fmla="*/ 379606 w 454044"/>
                                                    <a:gd name="connsiteY22" fmla="*/ 85388 h 953969"/>
                                                    <a:gd name="connsiteX23" fmla="*/ 372933 w 454044"/>
                                                    <a:gd name="connsiteY23" fmla="*/ 77354 h 953969"/>
                                                    <a:gd name="connsiteX24" fmla="*/ 363798 w 454044"/>
                                                    <a:gd name="connsiteY24" fmla="*/ 76058 h 953969"/>
                                                    <a:gd name="connsiteX25" fmla="*/ 354469 w 454044"/>
                                                    <a:gd name="connsiteY25" fmla="*/ 67312 h 953969"/>
                                                    <a:gd name="connsiteX26" fmla="*/ 344622 w 454044"/>
                                                    <a:gd name="connsiteY26" fmla="*/ 66729 h 953969"/>
                                                    <a:gd name="connsiteX27" fmla="*/ 339115 w 454044"/>
                                                    <a:gd name="connsiteY27" fmla="*/ 60639 h 953969"/>
                                                    <a:gd name="connsiteX28" fmla="*/ 332895 w 454044"/>
                                                    <a:gd name="connsiteY28" fmla="*/ 59992 h 953969"/>
                                                    <a:gd name="connsiteX29" fmla="*/ 320262 w 454044"/>
                                                    <a:gd name="connsiteY29" fmla="*/ 50338 h 953969"/>
                                                    <a:gd name="connsiteX30" fmla="*/ 306074 w 454044"/>
                                                    <a:gd name="connsiteY30" fmla="*/ 46645 h 953969"/>
                                                    <a:gd name="connsiteX31" fmla="*/ 300243 w 454044"/>
                                                    <a:gd name="connsiteY31" fmla="*/ 35179 h 953969"/>
                                                    <a:gd name="connsiteX32" fmla="*/ 288452 w 454044"/>
                                                    <a:gd name="connsiteY32" fmla="*/ 27080 h 953969"/>
                                                    <a:gd name="connsiteX33" fmla="*/ 288388 w 454044"/>
                                                    <a:gd name="connsiteY33" fmla="*/ 19824 h 953969"/>
                                                    <a:gd name="connsiteX34" fmla="*/ 276273 w 454044"/>
                                                    <a:gd name="connsiteY34" fmla="*/ 15483 h 953969"/>
                                                    <a:gd name="connsiteX35" fmla="*/ 274329 w 454044"/>
                                                    <a:gd name="connsiteY35" fmla="*/ 0 h 953969"/>
                                                    <a:gd name="connsiteX36" fmla="*/ 241288 w 454044"/>
                                                    <a:gd name="connsiteY36" fmla="*/ 583 h 953969"/>
                                                    <a:gd name="connsiteX37" fmla="*/ 241029 w 454044"/>
                                                    <a:gd name="connsiteY37" fmla="*/ 13475 h 953969"/>
                                                    <a:gd name="connsiteX38" fmla="*/ 230988 w 454044"/>
                                                    <a:gd name="connsiteY38" fmla="*/ 19695 h 953969"/>
                                                    <a:gd name="connsiteX39" fmla="*/ 218160 w 454044"/>
                                                    <a:gd name="connsiteY39" fmla="*/ 8163 h 953969"/>
                                                    <a:gd name="connsiteX40" fmla="*/ 211941 w 454044"/>
                                                    <a:gd name="connsiteY40" fmla="*/ 8033 h 953969"/>
                                                    <a:gd name="connsiteX41" fmla="*/ 177345 w 454044"/>
                                                    <a:gd name="connsiteY41" fmla="*/ 4924 h 953969"/>
                                                    <a:gd name="connsiteX42" fmla="*/ 168016 w 454044"/>
                                                    <a:gd name="connsiteY42" fmla="*/ 19889 h 953969"/>
                                                    <a:gd name="connsiteX43" fmla="*/ 158751 w 454044"/>
                                                    <a:gd name="connsiteY43" fmla="*/ 19630 h 953969"/>
                                                    <a:gd name="connsiteX44" fmla="*/ 162120 w 454044"/>
                                                    <a:gd name="connsiteY44" fmla="*/ 33883 h 953969"/>
                                                    <a:gd name="connsiteX45" fmla="*/ 160112 w 454044"/>
                                                    <a:gd name="connsiteY45" fmla="*/ 34855 h 953969"/>
                                                    <a:gd name="connsiteX46" fmla="*/ 162963 w 454044"/>
                                                    <a:gd name="connsiteY46" fmla="*/ 38288 h 953969"/>
                                                    <a:gd name="connsiteX47" fmla="*/ 161343 w 454044"/>
                                                    <a:gd name="connsiteY47" fmla="*/ 51764 h 953969"/>
                                                    <a:gd name="connsiteX48" fmla="*/ 134262 w 454044"/>
                                                    <a:gd name="connsiteY48" fmla="*/ 64202 h 953969"/>
                                                    <a:gd name="connsiteX49" fmla="*/ 132643 w 454044"/>
                                                    <a:gd name="connsiteY49" fmla="*/ 71912 h 953969"/>
                                                    <a:gd name="connsiteX50" fmla="*/ 126812 w 454044"/>
                                                    <a:gd name="connsiteY50" fmla="*/ 86424 h 953969"/>
                                                    <a:gd name="connsiteX51" fmla="*/ 132902 w 454044"/>
                                                    <a:gd name="connsiteY51" fmla="*/ 97502 h 953969"/>
                                                    <a:gd name="connsiteX52" fmla="*/ 130116 w 454044"/>
                                                    <a:gd name="connsiteY52" fmla="*/ 129766 h 953969"/>
                                                    <a:gd name="connsiteX53" fmla="*/ 132643 w 454044"/>
                                                    <a:gd name="connsiteY53" fmla="*/ 136439 h 953969"/>
                                                    <a:gd name="connsiteX54" fmla="*/ 120852 w 454044"/>
                                                    <a:gd name="connsiteY54" fmla="*/ 151080 h 953969"/>
                                                    <a:gd name="connsiteX55" fmla="*/ 119427 w 454044"/>
                                                    <a:gd name="connsiteY55" fmla="*/ 157429 h 953969"/>
                                                    <a:gd name="connsiteX56" fmla="*/ 105757 w 454044"/>
                                                    <a:gd name="connsiteY56" fmla="*/ 170840 h 953969"/>
                                                    <a:gd name="connsiteX57" fmla="*/ 106664 w 454044"/>
                                                    <a:gd name="connsiteY57" fmla="*/ 185870 h 953969"/>
                                                    <a:gd name="connsiteX58" fmla="*/ 99149 w 454044"/>
                                                    <a:gd name="connsiteY58" fmla="*/ 205435 h 953969"/>
                                                    <a:gd name="connsiteX59" fmla="*/ 99084 w 454044"/>
                                                    <a:gd name="connsiteY59" fmla="*/ 210683 h 953969"/>
                                                    <a:gd name="connsiteX60" fmla="*/ 95974 w 454044"/>
                                                    <a:gd name="connsiteY60" fmla="*/ 214570 h 953969"/>
                                                    <a:gd name="connsiteX61" fmla="*/ 94419 w 454044"/>
                                                    <a:gd name="connsiteY61" fmla="*/ 229601 h 953969"/>
                                                    <a:gd name="connsiteX62" fmla="*/ 83989 w 454044"/>
                                                    <a:gd name="connsiteY62" fmla="*/ 259985 h 953969"/>
                                                    <a:gd name="connsiteX63" fmla="*/ 74012 w 454044"/>
                                                    <a:gd name="connsiteY63" fmla="*/ 277607 h 953969"/>
                                                    <a:gd name="connsiteX64" fmla="*/ 81980 w 454044"/>
                                                    <a:gd name="connsiteY64" fmla="*/ 292054 h 953969"/>
                                                    <a:gd name="connsiteX65" fmla="*/ 81203 w 454044"/>
                                                    <a:gd name="connsiteY65" fmla="*/ 305335 h 953969"/>
                                                    <a:gd name="connsiteX66" fmla="*/ 88588 w 454044"/>
                                                    <a:gd name="connsiteY66" fmla="*/ 312073 h 953969"/>
                                                    <a:gd name="connsiteX67" fmla="*/ 92281 w 454044"/>
                                                    <a:gd name="connsiteY67" fmla="*/ 340319 h 953969"/>
                                                    <a:gd name="connsiteX68" fmla="*/ 90921 w 454044"/>
                                                    <a:gd name="connsiteY68" fmla="*/ 365715 h 953969"/>
                                                    <a:gd name="connsiteX69" fmla="*/ 80231 w 454044"/>
                                                    <a:gd name="connsiteY69" fmla="*/ 386511 h 953969"/>
                                                    <a:gd name="connsiteX70" fmla="*/ 81203 w 454044"/>
                                                    <a:gd name="connsiteY70" fmla="*/ 412102 h 953969"/>
                                                    <a:gd name="connsiteX71" fmla="*/ 67274 w 454044"/>
                                                    <a:gd name="connsiteY71" fmla="*/ 432574 h 953969"/>
                                                    <a:gd name="connsiteX72" fmla="*/ 61897 w 454044"/>
                                                    <a:gd name="connsiteY72" fmla="*/ 435813 h 953969"/>
                                                    <a:gd name="connsiteX73" fmla="*/ 60342 w 454044"/>
                                                    <a:gd name="connsiteY73" fmla="*/ 441774 h 953969"/>
                                                    <a:gd name="connsiteX74" fmla="*/ 65849 w 454044"/>
                                                    <a:gd name="connsiteY74" fmla="*/ 470344 h 953969"/>
                                                    <a:gd name="connsiteX75" fmla="*/ 69930 w 454044"/>
                                                    <a:gd name="connsiteY75" fmla="*/ 484791 h 953969"/>
                                                    <a:gd name="connsiteX76" fmla="*/ 66626 w 454044"/>
                                                    <a:gd name="connsiteY76" fmla="*/ 495092 h 953969"/>
                                                    <a:gd name="connsiteX77" fmla="*/ 64877 w 454044"/>
                                                    <a:gd name="connsiteY77" fmla="*/ 515564 h 953969"/>
                                                    <a:gd name="connsiteX78" fmla="*/ 49847 w 454044"/>
                                                    <a:gd name="connsiteY78" fmla="*/ 534806 h 953969"/>
                                                    <a:gd name="connsiteX79" fmla="*/ 42979 w 454044"/>
                                                    <a:gd name="connsiteY79" fmla="*/ 559295 h 953969"/>
                                                    <a:gd name="connsiteX80" fmla="*/ 39740 w 454044"/>
                                                    <a:gd name="connsiteY80" fmla="*/ 567911 h 953969"/>
                                                    <a:gd name="connsiteX81" fmla="*/ 44210 w 454044"/>
                                                    <a:gd name="connsiteY81" fmla="*/ 576010 h 953969"/>
                                                    <a:gd name="connsiteX82" fmla="*/ 42850 w 454044"/>
                                                    <a:gd name="connsiteY82" fmla="*/ 629134 h 953969"/>
                                                    <a:gd name="connsiteX83" fmla="*/ 41489 w 454044"/>
                                                    <a:gd name="connsiteY83" fmla="*/ 636195 h 953969"/>
                                                    <a:gd name="connsiteX84" fmla="*/ 46478 w 454044"/>
                                                    <a:gd name="connsiteY84" fmla="*/ 644229 h 953969"/>
                                                    <a:gd name="connsiteX85" fmla="*/ 49458 w 454044"/>
                                                    <a:gd name="connsiteY85" fmla="*/ 683101 h 953969"/>
                                                    <a:gd name="connsiteX86" fmla="*/ 57232 w 454044"/>
                                                    <a:gd name="connsiteY86" fmla="*/ 689126 h 953969"/>
                                                    <a:gd name="connsiteX87" fmla="*/ 59953 w 454044"/>
                                                    <a:gd name="connsiteY87" fmla="*/ 697807 h 953969"/>
                                                    <a:gd name="connsiteX88" fmla="*/ 54317 w 454044"/>
                                                    <a:gd name="connsiteY88" fmla="*/ 702471 h 953969"/>
                                                    <a:gd name="connsiteX89" fmla="*/ 51466 w 454044"/>
                                                    <a:gd name="connsiteY89" fmla="*/ 721454 h 953969"/>
                                                    <a:gd name="connsiteX90" fmla="*/ 49199 w 454044"/>
                                                    <a:gd name="connsiteY90" fmla="*/ 737909 h 953969"/>
                                                    <a:gd name="connsiteX91" fmla="*/ 39675 w 454044"/>
                                                    <a:gd name="connsiteY91" fmla="*/ 779502 h 953969"/>
                                                    <a:gd name="connsiteX92" fmla="*/ 25487 w 454044"/>
                                                    <a:gd name="connsiteY92" fmla="*/ 814680 h 953969"/>
                                                    <a:gd name="connsiteX93" fmla="*/ 26524 w 454044"/>
                                                    <a:gd name="connsiteY93" fmla="*/ 827638 h 953969"/>
                                                    <a:gd name="connsiteX94" fmla="*/ 17389 w 454044"/>
                                                    <a:gd name="connsiteY94" fmla="*/ 833727 h 953969"/>
                                                    <a:gd name="connsiteX95" fmla="*/ 16482 w 454044"/>
                                                    <a:gd name="connsiteY95" fmla="*/ 842603 h 953969"/>
                                                    <a:gd name="connsiteX96" fmla="*/ 156 w 454044"/>
                                                    <a:gd name="connsiteY96" fmla="*/ 864112 h 953969"/>
                                                    <a:gd name="connsiteX97" fmla="*/ 8837 w 454044"/>
                                                    <a:gd name="connsiteY97" fmla="*/ 879401 h 953969"/>
                                                    <a:gd name="connsiteX98" fmla="*/ 20952 w 454044"/>
                                                    <a:gd name="connsiteY98" fmla="*/ 892941 h 953969"/>
                                                    <a:gd name="connsiteX99" fmla="*/ 22442 w 454044"/>
                                                    <a:gd name="connsiteY99" fmla="*/ 900392 h 953969"/>
                                                    <a:gd name="connsiteX100" fmla="*/ 36566 w 454044"/>
                                                    <a:gd name="connsiteY100" fmla="*/ 912248 h 953969"/>
                                                    <a:gd name="connsiteX101" fmla="*/ 40517 w 454044"/>
                                                    <a:gd name="connsiteY101" fmla="*/ 931878 h 953969"/>
                                                    <a:gd name="connsiteX102" fmla="*/ 42785 w 454044"/>
                                                    <a:gd name="connsiteY102" fmla="*/ 937514 h 953969"/>
                                                    <a:gd name="connsiteX103" fmla="*/ 53475 w 454044"/>
                                                    <a:gd name="connsiteY103" fmla="*/ 940688 h 953969"/>
                                                    <a:gd name="connsiteX104" fmla="*/ 59888 w 454044"/>
                                                    <a:gd name="connsiteY104" fmla="*/ 945159 h 953969"/>
                                                    <a:gd name="connsiteX105" fmla="*/ 69477 w 454044"/>
                                                    <a:gd name="connsiteY105" fmla="*/ 944770 h 953969"/>
                                                    <a:gd name="connsiteX106" fmla="*/ 94095 w 454044"/>
                                                    <a:gd name="connsiteY106" fmla="*/ 947880 h 953969"/>
                                                    <a:gd name="connsiteX107" fmla="*/ 96168 w 454044"/>
                                                    <a:gd name="connsiteY107" fmla="*/ 944705 h 953969"/>
                                                    <a:gd name="connsiteX108" fmla="*/ 104461 w 454044"/>
                                                    <a:gd name="connsiteY108" fmla="*/ 945353 h 953969"/>
                                                    <a:gd name="connsiteX109" fmla="*/ 111134 w 454044"/>
                                                    <a:gd name="connsiteY109" fmla="*/ 951054 h 953969"/>
                                                    <a:gd name="connsiteX110" fmla="*/ 125970 w 454044"/>
                                                    <a:gd name="connsiteY110" fmla="*/ 953775 h 953969"/>
                                                    <a:gd name="connsiteX111" fmla="*/ 116252 w 454044"/>
                                                    <a:gd name="connsiteY111" fmla="*/ 943410 h 953969"/>
                                                    <a:gd name="connsiteX112" fmla="*/ 109579 w 454044"/>
                                                    <a:gd name="connsiteY112" fmla="*/ 933821 h 953969"/>
                                                    <a:gd name="connsiteX113" fmla="*/ 111652 w 454044"/>
                                                    <a:gd name="connsiteY113" fmla="*/ 903890 h 953969"/>
                                                    <a:gd name="connsiteX114" fmla="*/ 107959 w 454044"/>
                                                    <a:gd name="connsiteY114" fmla="*/ 895857 h 953969"/>
                                                    <a:gd name="connsiteX115" fmla="*/ 113401 w 454044"/>
                                                    <a:gd name="connsiteY115" fmla="*/ 881345 h 953969"/>
                                                    <a:gd name="connsiteX116" fmla="*/ 126877 w 454044"/>
                                                    <a:gd name="connsiteY116" fmla="*/ 873894 h 953969"/>
                                                    <a:gd name="connsiteX117" fmla="*/ 128626 w 454044"/>
                                                    <a:gd name="connsiteY117" fmla="*/ 868582 h 953969"/>
                                                    <a:gd name="connsiteX118" fmla="*/ 135234 w 454044"/>
                                                    <a:gd name="connsiteY118" fmla="*/ 861326 h 953969"/>
                                                    <a:gd name="connsiteX119" fmla="*/ 139510 w 454044"/>
                                                    <a:gd name="connsiteY119" fmla="*/ 859058 h 953969"/>
                                                    <a:gd name="connsiteX120" fmla="*/ 140611 w 454044"/>
                                                    <a:gd name="connsiteY120" fmla="*/ 848693 h 953969"/>
                                                    <a:gd name="connsiteX121" fmla="*/ 156484 w 454044"/>
                                                    <a:gd name="connsiteY121" fmla="*/ 835930 h 953969"/>
                                                    <a:gd name="connsiteX122" fmla="*/ 159270 w 454044"/>
                                                    <a:gd name="connsiteY122" fmla="*/ 822519 h 953969"/>
                                                    <a:gd name="connsiteX123" fmla="*/ 163675 w 454044"/>
                                                    <a:gd name="connsiteY123" fmla="*/ 818308 h 953969"/>
                                                    <a:gd name="connsiteX124" fmla="*/ 167692 w 454044"/>
                                                    <a:gd name="connsiteY124" fmla="*/ 809303 h 953969"/>
                                                    <a:gd name="connsiteX125" fmla="*/ 175790 w 454044"/>
                                                    <a:gd name="connsiteY125" fmla="*/ 806388 h 953969"/>
                                                    <a:gd name="connsiteX126" fmla="*/ 183111 w 454044"/>
                                                    <a:gd name="connsiteY126" fmla="*/ 791746 h 953969"/>
                                                    <a:gd name="connsiteX127" fmla="*/ 187516 w 454044"/>
                                                    <a:gd name="connsiteY127" fmla="*/ 790774 h 953969"/>
                                                    <a:gd name="connsiteX128" fmla="*/ 193995 w 454044"/>
                                                    <a:gd name="connsiteY128" fmla="*/ 771986 h 953969"/>
                                                    <a:gd name="connsiteX129" fmla="*/ 167044 w 454044"/>
                                                    <a:gd name="connsiteY129" fmla="*/ 762657 h 953969"/>
                                                    <a:gd name="connsiteX130" fmla="*/ 159205 w 454044"/>
                                                    <a:gd name="connsiteY130" fmla="*/ 754689 h 953969"/>
                                                    <a:gd name="connsiteX131" fmla="*/ 149163 w 454044"/>
                                                    <a:gd name="connsiteY131" fmla="*/ 751255 h 953969"/>
                                                    <a:gd name="connsiteX132" fmla="*/ 150847 w 454044"/>
                                                    <a:gd name="connsiteY132" fmla="*/ 726572 h 953969"/>
                                                    <a:gd name="connsiteX133" fmla="*/ 163610 w 454044"/>
                                                    <a:gd name="connsiteY133" fmla="*/ 707201 h 953969"/>
                                                    <a:gd name="connsiteX134" fmla="*/ 170737 w 454044"/>
                                                    <a:gd name="connsiteY134" fmla="*/ 705516 h 953969"/>
                                                    <a:gd name="connsiteX135" fmla="*/ 174494 w 454044"/>
                                                    <a:gd name="connsiteY135" fmla="*/ 701500 h 953969"/>
                                                    <a:gd name="connsiteX136" fmla="*/ 199372 w 454044"/>
                                                    <a:gd name="connsiteY136" fmla="*/ 686016 h 953969"/>
                                                    <a:gd name="connsiteX137" fmla="*/ 205008 w 454044"/>
                                                    <a:gd name="connsiteY137" fmla="*/ 684267 h 953969"/>
                                                    <a:gd name="connsiteX138" fmla="*/ 208960 w 454044"/>
                                                    <a:gd name="connsiteY138" fmla="*/ 673642 h 953969"/>
                                                    <a:gd name="connsiteX139" fmla="*/ 210191 w 454044"/>
                                                    <a:gd name="connsiteY139" fmla="*/ 647922 h 953969"/>
                                                    <a:gd name="connsiteX140" fmla="*/ 212588 w 454044"/>
                                                    <a:gd name="connsiteY140" fmla="*/ 638204 h 953969"/>
                                                    <a:gd name="connsiteX141" fmla="*/ 221399 w 454044"/>
                                                    <a:gd name="connsiteY141" fmla="*/ 636585 h 953969"/>
                                                    <a:gd name="connsiteX142" fmla="*/ 217771 w 454044"/>
                                                    <a:gd name="connsiteY142" fmla="*/ 621360 h 953969"/>
                                                    <a:gd name="connsiteX143" fmla="*/ 234680 w 454044"/>
                                                    <a:gd name="connsiteY143" fmla="*/ 627320 h 953969"/>
                                                    <a:gd name="connsiteX144" fmla="*/ 249192 w 454044"/>
                                                    <a:gd name="connsiteY144" fmla="*/ 622914 h 953969"/>
                                                    <a:gd name="connsiteX145" fmla="*/ 249451 w 454044"/>
                                                    <a:gd name="connsiteY145" fmla="*/ 607755 h 953969"/>
                                                    <a:gd name="connsiteX146" fmla="*/ 236559 w 454044"/>
                                                    <a:gd name="connsiteY146" fmla="*/ 613974 h 953969"/>
                                                    <a:gd name="connsiteX147" fmla="*/ 220946 w 454044"/>
                                                    <a:gd name="connsiteY147" fmla="*/ 609310 h 953969"/>
                                                    <a:gd name="connsiteX148" fmla="*/ 206952 w 454044"/>
                                                    <a:gd name="connsiteY148" fmla="*/ 598426 h 953969"/>
                                                    <a:gd name="connsiteX149" fmla="*/ 213884 w 454044"/>
                                                    <a:gd name="connsiteY149" fmla="*/ 561498 h 953969"/>
                                                    <a:gd name="connsiteX150" fmla="*/ 230664 w 454044"/>
                                                    <a:gd name="connsiteY150" fmla="*/ 560655 h 953969"/>
                                                    <a:gd name="connsiteX151" fmla="*/ 233190 w 454044"/>
                                                    <a:gd name="connsiteY151" fmla="*/ 568170 h 953969"/>
                                                    <a:gd name="connsiteX152" fmla="*/ 252561 w 454044"/>
                                                    <a:gd name="connsiteY152" fmla="*/ 573613 h 953969"/>
                                                    <a:gd name="connsiteX153" fmla="*/ 271867 w 454044"/>
                                                    <a:gd name="connsiteY153" fmla="*/ 574001 h 953969"/>
                                                    <a:gd name="connsiteX154" fmla="*/ 284241 w 454044"/>
                                                    <a:gd name="connsiteY154" fmla="*/ 560979 h 953969"/>
                                                    <a:gd name="connsiteX155" fmla="*/ 278929 w 454044"/>
                                                    <a:gd name="connsiteY155" fmla="*/ 534093 h 953969"/>
                                                    <a:gd name="connsiteX156" fmla="*/ 286055 w 454044"/>
                                                    <a:gd name="connsiteY156" fmla="*/ 520748 h 953969"/>
                                                    <a:gd name="connsiteX157" fmla="*/ 277828 w 454044"/>
                                                    <a:gd name="connsiteY157" fmla="*/ 507920 h 953969"/>
                                                    <a:gd name="connsiteX158" fmla="*/ 280678 w 454044"/>
                                                    <a:gd name="connsiteY158" fmla="*/ 495611 h 953969"/>
                                                    <a:gd name="connsiteX159" fmla="*/ 297976 w 454044"/>
                                                    <a:gd name="connsiteY159" fmla="*/ 498785 h 953969"/>
                                                    <a:gd name="connsiteX160" fmla="*/ 301474 w 454044"/>
                                                    <a:gd name="connsiteY160" fmla="*/ 503255 h 953969"/>
                                                    <a:gd name="connsiteX161" fmla="*/ 307370 w 454044"/>
                                                    <a:gd name="connsiteY161" fmla="*/ 505134 h 953969"/>
                                                    <a:gd name="connsiteX162" fmla="*/ 350711 w 454044"/>
                                                    <a:gd name="connsiteY162" fmla="*/ 493343 h 953969"/>
                                                    <a:gd name="connsiteX163" fmla="*/ 357449 w 454044"/>
                                                    <a:gd name="connsiteY163" fmla="*/ 490169 h 953969"/>
                                                    <a:gd name="connsiteX164" fmla="*/ 375654 w 454044"/>
                                                    <a:gd name="connsiteY164" fmla="*/ 481228 h 953969"/>
                                                    <a:gd name="connsiteX165" fmla="*/ 403253 w 454044"/>
                                                    <a:gd name="connsiteY165" fmla="*/ 464254 h 953969"/>
                                                    <a:gd name="connsiteX166" fmla="*/ 414720 w 454044"/>
                                                    <a:gd name="connsiteY166" fmla="*/ 445920 h 953969"/>
                                                    <a:gd name="connsiteX167" fmla="*/ 428519 w 454044"/>
                                                    <a:gd name="connsiteY167" fmla="*/ 428492 h 953969"/>
                                                    <a:gd name="connsiteX168" fmla="*/ 414202 w 454044"/>
                                                    <a:gd name="connsiteY168" fmla="*/ 415017 h 953969"/>
                                                    <a:gd name="connsiteX169" fmla="*/ 406881 w 454044"/>
                                                    <a:gd name="connsiteY169" fmla="*/ 398626 h 953969"/>
                                                    <a:gd name="connsiteX170" fmla="*/ 411092 w 454044"/>
                                                    <a:gd name="connsiteY170" fmla="*/ 394545 h 953969"/>
                                                    <a:gd name="connsiteX171" fmla="*/ 400726 w 454044"/>
                                                    <a:gd name="connsiteY171" fmla="*/ 378219 h 953969"/>
                                                    <a:gd name="connsiteX172" fmla="*/ 377662 w 454044"/>
                                                    <a:gd name="connsiteY172" fmla="*/ 376016 h 953969"/>
                                                    <a:gd name="connsiteX173" fmla="*/ 381420 w 454044"/>
                                                    <a:gd name="connsiteY173" fmla="*/ 363189 h 953969"/>
                                                    <a:gd name="connsiteX174" fmla="*/ 384335 w 454044"/>
                                                    <a:gd name="connsiteY174" fmla="*/ 359366 h 953969"/>
                                                    <a:gd name="connsiteX175" fmla="*/ 382133 w 454044"/>
                                                    <a:gd name="connsiteY175" fmla="*/ 352564 h 953969"/>
                                                    <a:gd name="connsiteX176" fmla="*/ 381744 w 454044"/>
                                                    <a:gd name="connsiteY176" fmla="*/ 339412 h 953969"/>
                                                    <a:gd name="connsiteX177" fmla="*/ 381938 w 454044"/>
                                                    <a:gd name="connsiteY177" fmla="*/ 339412 h 953969"/>
                                                    <a:gd name="connsiteX178" fmla="*/ 381614 w 454044"/>
                                                    <a:gd name="connsiteY178" fmla="*/ 338246 h 953969"/>
                                                    <a:gd name="connsiteX179" fmla="*/ 382780 w 454044"/>
                                                    <a:gd name="connsiteY179" fmla="*/ 323604 h 95396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54044" h="953969">
                                                      <a:moveTo>
                                                        <a:pt x="382262" y="323929"/>
                                                      </a:moveTo>
                                                      <a:cubicBezTo>
                                                        <a:pt x="383687" y="322309"/>
                                                        <a:pt x="385761" y="321402"/>
                                                        <a:pt x="387121" y="319653"/>
                                                      </a:cubicBezTo>
                                                      <a:cubicBezTo>
                                                        <a:pt x="388676" y="317709"/>
                                                        <a:pt x="389000" y="315053"/>
                                                        <a:pt x="389259" y="312591"/>
                                                      </a:cubicBezTo>
                                                      <a:cubicBezTo>
                                                        <a:pt x="390684" y="299051"/>
                                                        <a:pt x="392174" y="285575"/>
                                                        <a:pt x="393600" y="272035"/>
                                                      </a:cubicBezTo>
                                                      <a:cubicBezTo>
                                                        <a:pt x="393988" y="268277"/>
                                                        <a:pt x="394377" y="264520"/>
                                                        <a:pt x="394507" y="260763"/>
                                                      </a:cubicBezTo>
                                                      <a:cubicBezTo>
                                                        <a:pt x="394571" y="257005"/>
                                                        <a:pt x="394377" y="253118"/>
                                                        <a:pt x="395867" y="249684"/>
                                                      </a:cubicBezTo>
                                                      <a:cubicBezTo>
                                                        <a:pt x="398070" y="244436"/>
                                                        <a:pt x="403512" y="241327"/>
                                                        <a:pt x="408630" y="238865"/>
                                                      </a:cubicBezTo>
                                                      <a:cubicBezTo>
                                                        <a:pt x="410573" y="237893"/>
                                                        <a:pt x="412647" y="237116"/>
                                                        <a:pt x="414590" y="236208"/>
                                                      </a:cubicBezTo>
                                                      <a:cubicBezTo>
                                                        <a:pt x="417570" y="229795"/>
                                                        <a:pt x="420486" y="223446"/>
                                                        <a:pt x="423466" y="217032"/>
                                                      </a:cubicBezTo>
                                                      <a:cubicBezTo>
                                                        <a:pt x="428519" y="206083"/>
                                                        <a:pt x="434415" y="194227"/>
                                                        <a:pt x="445428" y="189174"/>
                                                      </a:cubicBezTo>
                                                      <a:cubicBezTo>
                                                        <a:pt x="448279" y="187879"/>
                                                        <a:pt x="451324" y="187036"/>
                                                        <a:pt x="454045" y="185611"/>
                                                      </a:cubicBezTo>
                                                      <a:lnTo>
                                                        <a:pt x="447825" y="181141"/>
                                                      </a:lnTo>
                                                      <a:cubicBezTo>
                                                        <a:pt x="446270" y="180039"/>
                                                        <a:pt x="444651" y="178808"/>
                                                        <a:pt x="443938" y="177059"/>
                                                      </a:cubicBezTo>
                                                      <a:cubicBezTo>
                                                        <a:pt x="442642" y="173949"/>
                                                        <a:pt x="444651" y="170451"/>
                                                        <a:pt x="444716" y="167017"/>
                                                      </a:cubicBezTo>
                                                      <a:cubicBezTo>
                                                        <a:pt x="444716" y="161511"/>
                                                        <a:pt x="439403" y="157300"/>
                                                        <a:pt x="434026" y="156198"/>
                                                      </a:cubicBezTo>
                                                      <a:cubicBezTo>
                                                        <a:pt x="428649" y="155097"/>
                                                        <a:pt x="423077" y="156198"/>
                                                        <a:pt x="417635" y="156263"/>
                                                      </a:cubicBezTo>
                                                      <a:cubicBezTo>
                                                        <a:pt x="406168" y="156457"/>
                                                        <a:pt x="394701" y="152311"/>
                                                        <a:pt x="386084" y="144796"/>
                                                      </a:cubicBezTo>
                                                      <a:cubicBezTo>
                                                        <a:pt x="387380" y="141751"/>
                                                        <a:pt x="390036" y="139354"/>
                                                        <a:pt x="393146" y="138253"/>
                                                      </a:cubicBezTo>
                                                      <a:cubicBezTo>
                                                        <a:pt x="386797" y="131839"/>
                                                        <a:pt x="387251" y="120113"/>
                                                        <a:pt x="393988" y="114217"/>
                                                      </a:cubicBezTo>
                                                      <a:cubicBezTo>
                                                        <a:pt x="396904" y="111626"/>
                                                        <a:pt x="400726" y="110201"/>
                                                        <a:pt x="403512" y="107414"/>
                                                      </a:cubicBezTo>
                                                      <a:cubicBezTo>
                                                        <a:pt x="406298" y="104694"/>
                                                        <a:pt x="407593" y="99705"/>
                                                        <a:pt x="404743" y="97049"/>
                                                      </a:cubicBezTo>
                                                      <a:cubicBezTo>
                                                        <a:pt x="398199" y="99381"/>
                                                        <a:pt x="390166" y="95041"/>
                                                        <a:pt x="388482" y="88303"/>
                                                      </a:cubicBezTo>
                                                      <a:cubicBezTo>
                                                        <a:pt x="385890" y="90700"/>
                                                        <a:pt x="381614" y="88303"/>
                                                        <a:pt x="379606" y="85388"/>
                                                      </a:cubicBezTo>
                                                      <a:cubicBezTo>
                                                        <a:pt x="377597" y="82472"/>
                                                        <a:pt x="376172" y="78650"/>
                                                        <a:pt x="372933" y="77354"/>
                                                      </a:cubicBezTo>
                                                      <a:cubicBezTo>
                                                        <a:pt x="370082" y="76188"/>
                                                        <a:pt x="366649" y="77354"/>
                                                        <a:pt x="363798" y="76058"/>
                                                      </a:cubicBezTo>
                                                      <a:cubicBezTo>
                                                        <a:pt x="359846" y="74309"/>
                                                        <a:pt x="358615" y="68608"/>
                                                        <a:pt x="354469" y="67312"/>
                                                      </a:cubicBezTo>
                                                      <a:cubicBezTo>
                                                        <a:pt x="351294" y="66341"/>
                                                        <a:pt x="347472" y="68414"/>
                                                        <a:pt x="344622" y="66729"/>
                                                      </a:cubicBezTo>
                                                      <a:cubicBezTo>
                                                        <a:pt x="342225" y="65369"/>
                                                        <a:pt x="341577" y="61935"/>
                                                        <a:pt x="339115" y="60639"/>
                                                      </a:cubicBezTo>
                                                      <a:cubicBezTo>
                                                        <a:pt x="337236" y="59667"/>
                                                        <a:pt x="334969" y="60186"/>
                                                        <a:pt x="332895" y="59992"/>
                                                      </a:cubicBezTo>
                                                      <a:cubicBezTo>
                                                        <a:pt x="327453" y="59473"/>
                                                        <a:pt x="323955" y="54355"/>
                                                        <a:pt x="320262" y="50338"/>
                                                      </a:cubicBezTo>
                                                      <a:cubicBezTo>
                                                        <a:pt x="316569" y="46322"/>
                                                        <a:pt x="310156" y="43017"/>
                                                        <a:pt x="306074" y="46645"/>
                                                      </a:cubicBezTo>
                                                      <a:cubicBezTo>
                                                        <a:pt x="308860" y="42629"/>
                                                        <a:pt x="304649" y="37317"/>
                                                        <a:pt x="300243" y="35179"/>
                                                      </a:cubicBezTo>
                                                      <a:cubicBezTo>
                                                        <a:pt x="295838" y="33041"/>
                                                        <a:pt x="290396" y="31615"/>
                                                        <a:pt x="288452" y="27080"/>
                                                      </a:cubicBezTo>
                                                      <a:cubicBezTo>
                                                        <a:pt x="287481" y="24813"/>
                                                        <a:pt x="287675" y="22221"/>
                                                        <a:pt x="288388" y="19824"/>
                                                      </a:cubicBezTo>
                                                      <a:lnTo>
                                                        <a:pt x="276273" y="15483"/>
                                                      </a:lnTo>
                                                      <a:cubicBezTo>
                                                        <a:pt x="276856" y="10171"/>
                                                        <a:pt x="277180" y="4276"/>
                                                        <a:pt x="274329" y="0"/>
                                                      </a:cubicBezTo>
                                                      <a:cubicBezTo>
                                                        <a:pt x="263380" y="1620"/>
                                                        <a:pt x="252237" y="1879"/>
                                                        <a:pt x="241288" y="583"/>
                                                      </a:cubicBezTo>
                                                      <a:cubicBezTo>
                                                        <a:pt x="241936" y="4859"/>
                                                        <a:pt x="242519" y="9394"/>
                                                        <a:pt x="241029" y="13475"/>
                                                      </a:cubicBezTo>
                                                      <a:cubicBezTo>
                                                        <a:pt x="239539" y="17557"/>
                                                        <a:pt x="235134" y="20926"/>
                                                        <a:pt x="230988" y="19695"/>
                                                      </a:cubicBezTo>
                                                      <a:cubicBezTo>
                                                        <a:pt x="225351" y="18075"/>
                                                        <a:pt x="223796" y="9783"/>
                                                        <a:pt x="218160" y="8163"/>
                                                      </a:cubicBezTo>
                                                      <a:cubicBezTo>
                                                        <a:pt x="216152" y="7580"/>
                                                        <a:pt x="214014" y="7969"/>
                                                        <a:pt x="211941" y="8033"/>
                                                      </a:cubicBezTo>
                                                      <a:cubicBezTo>
                                                        <a:pt x="200020" y="8357"/>
                                                        <a:pt x="187063" y="-2008"/>
                                                        <a:pt x="177345" y="4924"/>
                                                      </a:cubicBezTo>
                                                      <a:cubicBezTo>
                                                        <a:pt x="177215" y="11597"/>
                                                        <a:pt x="174624" y="20602"/>
                                                        <a:pt x="168016" y="19889"/>
                                                      </a:cubicBezTo>
                                                      <a:cubicBezTo>
                                                        <a:pt x="164712" y="19565"/>
                                                        <a:pt x="160630" y="16909"/>
                                                        <a:pt x="158751" y="19630"/>
                                                      </a:cubicBezTo>
                                                      <a:cubicBezTo>
                                                        <a:pt x="161861" y="23582"/>
                                                        <a:pt x="163092" y="28959"/>
                                                        <a:pt x="162120" y="33883"/>
                                                      </a:cubicBezTo>
                                                      <a:cubicBezTo>
                                                        <a:pt x="161537" y="34401"/>
                                                        <a:pt x="160825" y="34660"/>
                                                        <a:pt x="160112" y="34855"/>
                                                      </a:cubicBezTo>
                                                      <a:cubicBezTo>
                                                        <a:pt x="161148" y="35956"/>
                                                        <a:pt x="162185" y="37057"/>
                                                        <a:pt x="162963" y="38288"/>
                                                      </a:cubicBezTo>
                                                      <a:cubicBezTo>
                                                        <a:pt x="165554" y="42435"/>
                                                        <a:pt x="164841" y="48330"/>
                                                        <a:pt x="161343" y="51764"/>
                                                      </a:cubicBezTo>
                                                      <a:cubicBezTo>
                                                        <a:pt x="154022" y="58955"/>
                                                        <a:pt x="138344" y="54744"/>
                                                        <a:pt x="134262" y="64202"/>
                                                      </a:cubicBezTo>
                                                      <a:cubicBezTo>
                                                        <a:pt x="133226" y="66600"/>
                                                        <a:pt x="133355" y="69385"/>
                                                        <a:pt x="132643" y="71912"/>
                                                      </a:cubicBezTo>
                                                      <a:cubicBezTo>
                                                        <a:pt x="131153" y="76965"/>
                                                        <a:pt x="126229" y="81176"/>
                                                        <a:pt x="126812" y="86424"/>
                                                      </a:cubicBezTo>
                                                      <a:cubicBezTo>
                                                        <a:pt x="127266" y="90635"/>
                                                        <a:pt x="131153" y="93615"/>
                                                        <a:pt x="132902" y="97502"/>
                                                      </a:cubicBezTo>
                                                      <a:cubicBezTo>
                                                        <a:pt x="137372" y="107609"/>
                                                        <a:pt x="126099" y="119465"/>
                                                        <a:pt x="130116" y="129766"/>
                                                      </a:cubicBezTo>
                                                      <a:cubicBezTo>
                                                        <a:pt x="130958" y="131968"/>
                                                        <a:pt x="132513" y="134042"/>
                                                        <a:pt x="132643" y="136439"/>
                                                      </a:cubicBezTo>
                                                      <a:cubicBezTo>
                                                        <a:pt x="132967" y="142917"/>
                                                        <a:pt x="123508" y="145185"/>
                                                        <a:pt x="120852" y="151080"/>
                                                      </a:cubicBezTo>
                                                      <a:cubicBezTo>
                                                        <a:pt x="120010" y="153089"/>
                                                        <a:pt x="119945" y="155291"/>
                                                        <a:pt x="119427" y="157429"/>
                                                      </a:cubicBezTo>
                                                      <a:cubicBezTo>
                                                        <a:pt x="117742" y="163778"/>
                                                        <a:pt x="111458" y="167601"/>
                                                        <a:pt x="105757" y="170840"/>
                                                      </a:cubicBezTo>
                                                      <a:cubicBezTo>
                                                        <a:pt x="106858" y="175764"/>
                                                        <a:pt x="107182" y="180882"/>
                                                        <a:pt x="106664" y="185870"/>
                                                      </a:cubicBezTo>
                                                      <a:cubicBezTo>
                                                        <a:pt x="99084" y="187425"/>
                                                        <a:pt x="97918" y="197791"/>
                                                        <a:pt x="99149" y="205435"/>
                                                      </a:cubicBezTo>
                                                      <a:cubicBezTo>
                                                        <a:pt x="99472" y="207185"/>
                                                        <a:pt x="99796" y="209063"/>
                                                        <a:pt x="99084" y="210683"/>
                                                      </a:cubicBezTo>
                                                      <a:cubicBezTo>
                                                        <a:pt x="98436" y="212238"/>
                                                        <a:pt x="96946" y="213274"/>
                                                        <a:pt x="95974" y="214570"/>
                                                      </a:cubicBezTo>
                                                      <a:cubicBezTo>
                                                        <a:pt x="92800" y="218652"/>
                                                        <a:pt x="94030" y="224482"/>
                                                        <a:pt x="94419" y="229601"/>
                                                      </a:cubicBezTo>
                                                      <a:cubicBezTo>
                                                        <a:pt x="95261" y="240614"/>
                                                        <a:pt x="91374" y="251887"/>
                                                        <a:pt x="83989" y="259985"/>
                                                      </a:cubicBezTo>
                                                      <a:cubicBezTo>
                                                        <a:pt x="79194" y="265168"/>
                                                        <a:pt x="72522" y="270739"/>
                                                        <a:pt x="74012" y="277607"/>
                                                      </a:cubicBezTo>
                                                      <a:cubicBezTo>
                                                        <a:pt x="75178" y="283049"/>
                                                        <a:pt x="81203" y="286547"/>
                                                        <a:pt x="81980" y="292054"/>
                                                      </a:cubicBezTo>
                                                      <a:cubicBezTo>
                                                        <a:pt x="82563" y="296524"/>
                                                        <a:pt x="79454" y="301189"/>
                                                        <a:pt x="81203" y="305335"/>
                                                      </a:cubicBezTo>
                                                      <a:cubicBezTo>
                                                        <a:pt x="82499" y="308445"/>
                                                        <a:pt x="85997" y="309870"/>
                                                        <a:pt x="88588" y="312073"/>
                                                      </a:cubicBezTo>
                                                      <a:cubicBezTo>
                                                        <a:pt x="96168" y="318616"/>
                                                        <a:pt x="94549" y="330536"/>
                                                        <a:pt x="92281" y="340319"/>
                                                      </a:cubicBezTo>
                                                      <a:cubicBezTo>
                                                        <a:pt x="90338" y="348482"/>
                                                        <a:pt x="90467" y="357293"/>
                                                        <a:pt x="90921" y="365715"/>
                                                      </a:cubicBezTo>
                                                      <a:cubicBezTo>
                                                        <a:pt x="91374" y="374138"/>
                                                        <a:pt x="88264" y="384050"/>
                                                        <a:pt x="80231" y="386511"/>
                                                      </a:cubicBezTo>
                                                      <a:cubicBezTo>
                                                        <a:pt x="81462" y="394998"/>
                                                        <a:pt x="82693" y="403680"/>
                                                        <a:pt x="81203" y="412102"/>
                                                      </a:cubicBezTo>
                                                      <a:cubicBezTo>
                                                        <a:pt x="79713" y="420524"/>
                                                        <a:pt x="75048" y="428881"/>
                                                        <a:pt x="67274" y="432574"/>
                                                      </a:cubicBezTo>
                                                      <a:cubicBezTo>
                                                        <a:pt x="65395" y="433481"/>
                                                        <a:pt x="63257" y="434129"/>
                                                        <a:pt x="61897" y="435813"/>
                                                      </a:cubicBezTo>
                                                      <a:cubicBezTo>
                                                        <a:pt x="60536" y="437498"/>
                                                        <a:pt x="60407" y="439701"/>
                                                        <a:pt x="60342" y="441774"/>
                                                      </a:cubicBezTo>
                                                      <a:cubicBezTo>
                                                        <a:pt x="60147" y="451556"/>
                                                        <a:pt x="62026" y="461339"/>
                                                        <a:pt x="65849" y="470344"/>
                                                      </a:cubicBezTo>
                                                      <a:cubicBezTo>
                                                        <a:pt x="67792" y="475009"/>
                                                        <a:pt x="70319" y="479738"/>
                                                        <a:pt x="69930" y="484791"/>
                                                      </a:cubicBezTo>
                                                      <a:cubicBezTo>
                                                        <a:pt x="69671" y="488419"/>
                                                        <a:pt x="67922" y="491659"/>
                                                        <a:pt x="66626" y="495092"/>
                                                      </a:cubicBezTo>
                                                      <a:cubicBezTo>
                                                        <a:pt x="64229" y="501571"/>
                                                        <a:pt x="63581" y="508762"/>
                                                        <a:pt x="64877" y="515564"/>
                                                      </a:cubicBezTo>
                                                      <a:cubicBezTo>
                                                        <a:pt x="56714" y="518026"/>
                                                        <a:pt x="52049" y="526578"/>
                                                        <a:pt x="49847" y="534806"/>
                                                      </a:cubicBezTo>
                                                      <a:cubicBezTo>
                                                        <a:pt x="47644" y="543034"/>
                                                        <a:pt x="46996" y="551845"/>
                                                        <a:pt x="42979" y="559295"/>
                                                      </a:cubicBezTo>
                                                      <a:cubicBezTo>
                                                        <a:pt x="41489" y="562016"/>
                                                        <a:pt x="39546" y="564802"/>
                                                        <a:pt x="39740" y="567911"/>
                                                      </a:cubicBezTo>
                                                      <a:cubicBezTo>
                                                        <a:pt x="39934" y="571021"/>
                                                        <a:pt x="42331" y="573483"/>
                                                        <a:pt x="44210" y="576010"/>
                                                      </a:cubicBezTo>
                                                      <a:cubicBezTo>
                                                        <a:pt x="55224" y="590910"/>
                                                        <a:pt x="49652" y="611901"/>
                                                        <a:pt x="42850" y="629134"/>
                                                      </a:cubicBezTo>
                                                      <a:cubicBezTo>
                                                        <a:pt x="41943" y="631401"/>
                                                        <a:pt x="41036" y="633798"/>
                                                        <a:pt x="41489" y="636195"/>
                                                      </a:cubicBezTo>
                                                      <a:cubicBezTo>
                                                        <a:pt x="42072" y="639305"/>
                                                        <a:pt x="44793" y="641508"/>
                                                        <a:pt x="46478" y="644229"/>
                                                      </a:cubicBezTo>
                                                      <a:cubicBezTo>
                                                        <a:pt x="53475" y="655696"/>
                                                        <a:pt x="40517" y="673059"/>
                                                        <a:pt x="49458" y="683101"/>
                                                      </a:cubicBezTo>
                                                      <a:cubicBezTo>
                                                        <a:pt x="51661" y="685563"/>
                                                        <a:pt x="54770" y="686923"/>
                                                        <a:pt x="57232" y="689126"/>
                                                      </a:cubicBezTo>
                                                      <a:cubicBezTo>
                                                        <a:pt x="59694" y="691328"/>
                                                        <a:pt x="61508" y="694892"/>
                                                        <a:pt x="59953" y="697807"/>
                                                      </a:cubicBezTo>
                                                      <a:cubicBezTo>
                                                        <a:pt x="58787" y="699945"/>
                                                        <a:pt x="56196" y="700852"/>
                                                        <a:pt x="54317" y="702471"/>
                                                      </a:cubicBezTo>
                                                      <a:cubicBezTo>
                                                        <a:pt x="49328" y="706877"/>
                                                        <a:pt x="51207" y="714781"/>
                                                        <a:pt x="51466" y="721454"/>
                                                      </a:cubicBezTo>
                                                      <a:cubicBezTo>
                                                        <a:pt x="51661" y="727025"/>
                                                        <a:pt x="50430" y="732467"/>
                                                        <a:pt x="49199" y="737909"/>
                                                      </a:cubicBezTo>
                                                      <a:cubicBezTo>
                                                        <a:pt x="46024" y="751773"/>
                                                        <a:pt x="42850" y="765638"/>
                                                        <a:pt x="39675" y="779502"/>
                                                      </a:cubicBezTo>
                                                      <a:cubicBezTo>
                                                        <a:pt x="36695" y="792394"/>
                                                        <a:pt x="22961" y="801723"/>
                                                        <a:pt x="25487" y="814680"/>
                                                      </a:cubicBezTo>
                                                      <a:cubicBezTo>
                                                        <a:pt x="26329" y="819086"/>
                                                        <a:pt x="29180" y="824074"/>
                                                        <a:pt x="26524" y="827638"/>
                                                      </a:cubicBezTo>
                                                      <a:cubicBezTo>
                                                        <a:pt x="24321" y="830617"/>
                                                        <a:pt x="19397" y="830617"/>
                                                        <a:pt x="17389" y="833727"/>
                                                      </a:cubicBezTo>
                                                      <a:cubicBezTo>
                                                        <a:pt x="15769" y="836254"/>
                                                        <a:pt x="16871" y="839623"/>
                                                        <a:pt x="16482" y="842603"/>
                                                      </a:cubicBezTo>
                                                      <a:cubicBezTo>
                                                        <a:pt x="15381" y="851738"/>
                                                        <a:pt x="1776" y="855042"/>
                                                        <a:pt x="156" y="864112"/>
                                                      </a:cubicBezTo>
                                                      <a:cubicBezTo>
                                                        <a:pt x="-945" y="870202"/>
                                                        <a:pt x="3978" y="875644"/>
                                                        <a:pt x="8837" y="879401"/>
                                                      </a:cubicBezTo>
                                                      <a:cubicBezTo>
                                                        <a:pt x="13696" y="883159"/>
                                                        <a:pt x="19397" y="886981"/>
                                                        <a:pt x="20952" y="892941"/>
                                                      </a:cubicBezTo>
                                                      <a:cubicBezTo>
                                                        <a:pt x="21600" y="895403"/>
                                                        <a:pt x="21470" y="898060"/>
                                                        <a:pt x="22442" y="900392"/>
                                                      </a:cubicBezTo>
                                                      <a:cubicBezTo>
                                                        <a:pt x="24839" y="906158"/>
                                                        <a:pt x="32549" y="907454"/>
                                                        <a:pt x="36566" y="912248"/>
                                                      </a:cubicBezTo>
                                                      <a:cubicBezTo>
                                                        <a:pt x="40906" y="917495"/>
                                                        <a:pt x="39675" y="925140"/>
                                                        <a:pt x="40517" y="931878"/>
                                                      </a:cubicBezTo>
                                                      <a:cubicBezTo>
                                                        <a:pt x="40777" y="933951"/>
                                                        <a:pt x="41295" y="936089"/>
                                                        <a:pt x="42785" y="937514"/>
                                                      </a:cubicBezTo>
                                                      <a:cubicBezTo>
                                                        <a:pt x="45506" y="940105"/>
                                                        <a:pt x="50041" y="939069"/>
                                                        <a:pt x="53475" y="940688"/>
                                                      </a:cubicBezTo>
                                                      <a:cubicBezTo>
                                                        <a:pt x="55807" y="941790"/>
                                                        <a:pt x="57427" y="944122"/>
                                                        <a:pt x="59888" y="945159"/>
                                                      </a:cubicBezTo>
                                                      <a:cubicBezTo>
                                                        <a:pt x="62869" y="946454"/>
                                                        <a:pt x="66302" y="945353"/>
                                                        <a:pt x="69477" y="944770"/>
                                                      </a:cubicBezTo>
                                                      <a:cubicBezTo>
                                                        <a:pt x="77834" y="943215"/>
                                                        <a:pt x="86127" y="944770"/>
                                                        <a:pt x="94095" y="947880"/>
                                                      </a:cubicBezTo>
                                                      <a:cubicBezTo>
                                                        <a:pt x="94484" y="946649"/>
                                                        <a:pt x="95067" y="945483"/>
                                                        <a:pt x="96168" y="944705"/>
                                                      </a:cubicBezTo>
                                                      <a:cubicBezTo>
                                                        <a:pt x="98566" y="943021"/>
                                                        <a:pt x="101999" y="943733"/>
                                                        <a:pt x="104461" y="945353"/>
                                                      </a:cubicBezTo>
                                                      <a:cubicBezTo>
                                                        <a:pt x="106923" y="946973"/>
                                                        <a:pt x="108802" y="949240"/>
                                                        <a:pt x="111134" y="951054"/>
                                                      </a:cubicBezTo>
                                                      <a:cubicBezTo>
                                                        <a:pt x="115021" y="954099"/>
                                                        <a:pt x="121046" y="954229"/>
                                                        <a:pt x="125970" y="953775"/>
                                                      </a:cubicBezTo>
                                                      <a:cubicBezTo>
                                                        <a:pt x="122730" y="950342"/>
                                                        <a:pt x="119491" y="946843"/>
                                                        <a:pt x="116252" y="943410"/>
                                                      </a:cubicBezTo>
                                                      <a:cubicBezTo>
                                                        <a:pt x="113596" y="940559"/>
                                                        <a:pt x="110810" y="937514"/>
                                                        <a:pt x="109579" y="933821"/>
                                                      </a:cubicBezTo>
                                                      <a:cubicBezTo>
                                                        <a:pt x="106469" y="924168"/>
                                                        <a:pt x="114891" y="913479"/>
                                                        <a:pt x="111652" y="903890"/>
                                                      </a:cubicBezTo>
                                                      <a:cubicBezTo>
                                                        <a:pt x="110680" y="901104"/>
                                                        <a:pt x="108866" y="898707"/>
                                                        <a:pt x="107959" y="895857"/>
                                                      </a:cubicBezTo>
                                                      <a:cubicBezTo>
                                                        <a:pt x="106275" y="890544"/>
                                                        <a:pt x="108607" y="884260"/>
                                                        <a:pt x="113401" y="881345"/>
                                                      </a:cubicBezTo>
                                                      <a:cubicBezTo>
                                                        <a:pt x="117872" y="878624"/>
                                                        <a:pt x="124285" y="878429"/>
                                                        <a:pt x="126877" y="873894"/>
                                                      </a:cubicBezTo>
                                                      <a:cubicBezTo>
                                                        <a:pt x="127784" y="872275"/>
                                                        <a:pt x="128043" y="870396"/>
                                                        <a:pt x="128626" y="868582"/>
                                                      </a:cubicBezTo>
                                                      <a:cubicBezTo>
                                                        <a:pt x="129727" y="865407"/>
                                                        <a:pt x="132189" y="862751"/>
                                                        <a:pt x="135234" y="861326"/>
                                                      </a:cubicBezTo>
                                                      <a:cubicBezTo>
                                                        <a:pt x="136724" y="860678"/>
                                                        <a:pt x="138344" y="860225"/>
                                                        <a:pt x="139510" y="859058"/>
                                                      </a:cubicBezTo>
                                                      <a:cubicBezTo>
                                                        <a:pt x="142037" y="856532"/>
                                                        <a:pt x="140676" y="852256"/>
                                                        <a:pt x="140611" y="848693"/>
                                                      </a:cubicBezTo>
                                                      <a:cubicBezTo>
                                                        <a:pt x="140482" y="840854"/>
                                                        <a:pt x="148904" y="834116"/>
                                                        <a:pt x="156484" y="835930"/>
                                                      </a:cubicBezTo>
                                                      <a:cubicBezTo>
                                                        <a:pt x="154735" y="831460"/>
                                                        <a:pt x="155901" y="825953"/>
                                                        <a:pt x="159270" y="822519"/>
                                                      </a:cubicBezTo>
                                                      <a:cubicBezTo>
                                                        <a:pt x="160695" y="821029"/>
                                                        <a:pt x="162444" y="819928"/>
                                                        <a:pt x="163675" y="818308"/>
                                                      </a:cubicBezTo>
                                                      <a:cubicBezTo>
                                                        <a:pt x="165683" y="815717"/>
                                                        <a:pt x="166072" y="812154"/>
                                                        <a:pt x="167692" y="809303"/>
                                                      </a:cubicBezTo>
                                                      <a:cubicBezTo>
                                                        <a:pt x="169311" y="806388"/>
                                                        <a:pt x="173328" y="804185"/>
                                                        <a:pt x="175790" y="806388"/>
                                                      </a:cubicBezTo>
                                                      <a:cubicBezTo>
                                                        <a:pt x="181167" y="804444"/>
                                                        <a:pt x="178058" y="794467"/>
                                                        <a:pt x="183111" y="791746"/>
                                                      </a:cubicBezTo>
                                                      <a:cubicBezTo>
                                                        <a:pt x="184471" y="791033"/>
                                                        <a:pt x="186026" y="791033"/>
                                                        <a:pt x="187516" y="790774"/>
                                                      </a:cubicBezTo>
                                                      <a:cubicBezTo>
                                                        <a:pt x="195485" y="789349"/>
                                                        <a:pt x="199372" y="777947"/>
                                                        <a:pt x="193995" y="771986"/>
                                                      </a:cubicBezTo>
                                                      <a:cubicBezTo>
                                                        <a:pt x="187516" y="764795"/>
                                                        <a:pt x="174948" y="768164"/>
                                                        <a:pt x="167044" y="762657"/>
                                                      </a:cubicBezTo>
                                                      <a:cubicBezTo>
                                                        <a:pt x="163999" y="760519"/>
                                                        <a:pt x="161926" y="757280"/>
                                                        <a:pt x="159205" y="754689"/>
                                                      </a:cubicBezTo>
                                                      <a:cubicBezTo>
                                                        <a:pt x="156549" y="752097"/>
                                                        <a:pt x="152661" y="750024"/>
                                                        <a:pt x="149163" y="751255"/>
                                                      </a:cubicBezTo>
                                                      <a:cubicBezTo>
                                                        <a:pt x="151625" y="743351"/>
                                                        <a:pt x="150200" y="734799"/>
                                                        <a:pt x="150847" y="726572"/>
                                                      </a:cubicBezTo>
                                                      <a:cubicBezTo>
                                                        <a:pt x="151495" y="718344"/>
                                                        <a:pt x="155577" y="709079"/>
                                                        <a:pt x="163610" y="707201"/>
                                                      </a:cubicBezTo>
                                                      <a:cubicBezTo>
                                                        <a:pt x="166007" y="706618"/>
                                                        <a:pt x="168599" y="706812"/>
                                                        <a:pt x="170737" y="705516"/>
                                                      </a:cubicBezTo>
                                                      <a:cubicBezTo>
                                                        <a:pt x="172356" y="704610"/>
                                                        <a:pt x="173393" y="702990"/>
                                                        <a:pt x="174494" y="701500"/>
                                                      </a:cubicBezTo>
                                                      <a:cubicBezTo>
                                                        <a:pt x="180519" y="693531"/>
                                                        <a:pt x="189589" y="687895"/>
                                                        <a:pt x="199372" y="686016"/>
                                                      </a:cubicBezTo>
                                                      <a:cubicBezTo>
                                                        <a:pt x="201316" y="685627"/>
                                                        <a:pt x="203389" y="685368"/>
                                                        <a:pt x="205008" y="684267"/>
                                                      </a:cubicBezTo>
                                                      <a:cubicBezTo>
                                                        <a:pt x="208248" y="682064"/>
                                                        <a:pt x="208766" y="677594"/>
                                                        <a:pt x="208960" y="673642"/>
                                                      </a:cubicBezTo>
                                                      <a:cubicBezTo>
                                                        <a:pt x="209349" y="665090"/>
                                                        <a:pt x="209803" y="656473"/>
                                                        <a:pt x="210191" y="647922"/>
                                                      </a:cubicBezTo>
                                                      <a:cubicBezTo>
                                                        <a:pt x="210386" y="644553"/>
                                                        <a:pt x="210580" y="640925"/>
                                                        <a:pt x="212588" y="638204"/>
                                                      </a:cubicBezTo>
                                                      <a:cubicBezTo>
                                                        <a:pt x="214597" y="635483"/>
                                                        <a:pt x="219002" y="634187"/>
                                                        <a:pt x="221399" y="636585"/>
                                                      </a:cubicBezTo>
                                                      <a:cubicBezTo>
                                                        <a:pt x="219326" y="631726"/>
                                                        <a:pt x="218095" y="626607"/>
                                                        <a:pt x="217771" y="621360"/>
                                                      </a:cubicBezTo>
                                                      <a:cubicBezTo>
                                                        <a:pt x="223472" y="619027"/>
                                                        <a:pt x="228850" y="625247"/>
                                                        <a:pt x="234680" y="627320"/>
                                                      </a:cubicBezTo>
                                                      <a:cubicBezTo>
                                                        <a:pt x="239798" y="629134"/>
                                                        <a:pt x="245953" y="627255"/>
                                                        <a:pt x="249192" y="622914"/>
                                                      </a:cubicBezTo>
                                                      <a:cubicBezTo>
                                                        <a:pt x="252432" y="618574"/>
                                                        <a:pt x="252561" y="612160"/>
                                                        <a:pt x="249451" y="607755"/>
                                                      </a:cubicBezTo>
                                                      <a:cubicBezTo>
                                                        <a:pt x="244787" y="606005"/>
                                                        <a:pt x="241094" y="611901"/>
                                                        <a:pt x="236559" y="613974"/>
                                                      </a:cubicBezTo>
                                                      <a:cubicBezTo>
                                                        <a:pt x="231311" y="616371"/>
                                                        <a:pt x="225222" y="613197"/>
                                                        <a:pt x="220946" y="609310"/>
                                                      </a:cubicBezTo>
                                                      <a:cubicBezTo>
                                                        <a:pt x="216670" y="605487"/>
                                                        <a:pt x="212459" y="600110"/>
                                                        <a:pt x="206952" y="598426"/>
                                                      </a:cubicBezTo>
                                                      <a:cubicBezTo>
                                                        <a:pt x="210580" y="586440"/>
                                                        <a:pt x="212847" y="574001"/>
                                                        <a:pt x="213884" y="561498"/>
                                                      </a:cubicBezTo>
                                                      <a:cubicBezTo>
                                                        <a:pt x="219391" y="560396"/>
                                                        <a:pt x="225092" y="560137"/>
                                                        <a:pt x="230664" y="560655"/>
                                                      </a:cubicBezTo>
                                                      <a:cubicBezTo>
                                                        <a:pt x="231506" y="563182"/>
                                                        <a:pt x="232348" y="565644"/>
                                                        <a:pt x="233190" y="568170"/>
                                                      </a:cubicBezTo>
                                                      <a:cubicBezTo>
                                                        <a:pt x="239863" y="566486"/>
                                                        <a:pt x="246471" y="570503"/>
                                                        <a:pt x="252561" y="573613"/>
                                                      </a:cubicBezTo>
                                                      <a:cubicBezTo>
                                                        <a:pt x="258716" y="576722"/>
                                                        <a:pt x="266879" y="578731"/>
                                                        <a:pt x="271867" y="574001"/>
                                                      </a:cubicBezTo>
                                                      <a:cubicBezTo>
                                                        <a:pt x="276467" y="569726"/>
                                                        <a:pt x="277957" y="560396"/>
                                                        <a:pt x="284241" y="560979"/>
                                                      </a:cubicBezTo>
                                                      <a:cubicBezTo>
                                                        <a:pt x="289230" y="552881"/>
                                                        <a:pt x="277050" y="543423"/>
                                                        <a:pt x="278929" y="534093"/>
                                                      </a:cubicBezTo>
                                                      <a:cubicBezTo>
                                                        <a:pt x="279901" y="529105"/>
                                                        <a:pt x="284695" y="525671"/>
                                                        <a:pt x="286055" y="520748"/>
                                                      </a:cubicBezTo>
                                                      <a:cubicBezTo>
                                                        <a:pt x="287545" y="515241"/>
                                                        <a:pt x="283464" y="508827"/>
                                                        <a:pt x="277828" y="507920"/>
                                                      </a:cubicBezTo>
                                                      <a:cubicBezTo>
                                                        <a:pt x="277180" y="503644"/>
                                                        <a:pt x="278281" y="499174"/>
                                                        <a:pt x="280678" y="495611"/>
                                                      </a:cubicBezTo>
                                                      <a:cubicBezTo>
                                                        <a:pt x="286120" y="492242"/>
                                                        <a:pt x="294024" y="493667"/>
                                                        <a:pt x="297976" y="498785"/>
                                                      </a:cubicBezTo>
                                                      <a:cubicBezTo>
                                                        <a:pt x="299142" y="500275"/>
                                                        <a:pt x="299984" y="502089"/>
                                                        <a:pt x="301474" y="503255"/>
                                                      </a:cubicBezTo>
                                                      <a:cubicBezTo>
                                                        <a:pt x="303094" y="504551"/>
                                                        <a:pt x="305297" y="504940"/>
                                                        <a:pt x="307370" y="505134"/>
                                                      </a:cubicBezTo>
                                                      <a:cubicBezTo>
                                                        <a:pt x="322465" y="506495"/>
                                                        <a:pt x="337042" y="499822"/>
                                                        <a:pt x="350711" y="493343"/>
                                                      </a:cubicBezTo>
                                                      <a:cubicBezTo>
                                                        <a:pt x="352979" y="492307"/>
                                                        <a:pt x="355182" y="491205"/>
                                                        <a:pt x="357449" y="490169"/>
                                                      </a:cubicBezTo>
                                                      <a:cubicBezTo>
                                                        <a:pt x="363539" y="487253"/>
                                                        <a:pt x="369694" y="484403"/>
                                                        <a:pt x="375654" y="481228"/>
                                                      </a:cubicBezTo>
                                                      <a:cubicBezTo>
                                                        <a:pt x="385242" y="476175"/>
                                                        <a:pt x="394442" y="470539"/>
                                                        <a:pt x="403253" y="464254"/>
                                                      </a:cubicBezTo>
                                                      <a:cubicBezTo>
                                                        <a:pt x="400272" y="456933"/>
                                                        <a:pt x="407917" y="449872"/>
                                                        <a:pt x="414720" y="445920"/>
                                                      </a:cubicBezTo>
                                                      <a:cubicBezTo>
                                                        <a:pt x="421587" y="441968"/>
                                                        <a:pt x="429750" y="436332"/>
                                                        <a:pt x="428519" y="428492"/>
                                                      </a:cubicBezTo>
                                                      <a:cubicBezTo>
                                                        <a:pt x="427483" y="421755"/>
                                                        <a:pt x="420097" y="418451"/>
                                                        <a:pt x="414202" y="415017"/>
                                                      </a:cubicBezTo>
                                                      <a:cubicBezTo>
                                                        <a:pt x="408371" y="411583"/>
                                                        <a:pt x="402734" y="404068"/>
                                                        <a:pt x="406881" y="398626"/>
                                                      </a:cubicBezTo>
                                                      <a:cubicBezTo>
                                                        <a:pt x="408047" y="397072"/>
                                                        <a:pt x="409861" y="396100"/>
                                                        <a:pt x="411092" y="394545"/>
                                                      </a:cubicBezTo>
                                                      <a:cubicBezTo>
                                                        <a:pt x="415951" y="388455"/>
                                                        <a:pt x="408371" y="379579"/>
                                                        <a:pt x="400726" y="378219"/>
                                                      </a:cubicBezTo>
                                                      <a:cubicBezTo>
                                                        <a:pt x="393081" y="376858"/>
                                                        <a:pt x="384789" y="378996"/>
                                                        <a:pt x="377662" y="376016"/>
                                                      </a:cubicBezTo>
                                                      <a:cubicBezTo>
                                                        <a:pt x="376755" y="371481"/>
                                                        <a:pt x="378181" y="366493"/>
                                                        <a:pt x="381420" y="363189"/>
                                                      </a:cubicBezTo>
                                                      <a:cubicBezTo>
                                                        <a:pt x="382521" y="362023"/>
                                                        <a:pt x="383947" y="360921"/>
                                                        <a:pt x="384335" y="359366"/>
                                                      </a:cubicBezTo>
                                                      <a:cubicBezTo>
                                                        <a:pt x="384983" y="357034"/>
                                                        <a:pt x="383234" y="354767"/>
                                                        <a:pt x="382133" y="352564"/>
                                                      </a:cubicBezTo>
                                                      <a:cubicBezTo>
                                                        <a:pt x="379995" y="348547"/>
                                                        <a:pt x="379865" y="343558"/>
                                                        <a:pt x="381744" y="339412"/>
                                                      </a:cubicBezTo>
                                                      <a:cubicBezTo>
                                                        <a:pt x="381809" y="339412"/>
                                                        <a:pt x="381873" y="339412"/>
                                                        <a:pt x="381938" y="339412"/>
                                                      </a:cubicBezTo>
                                                      <a:cubicBezTo>
                                                        <a:pt x="381873" y="339023"/>
                                                        <a:pt x="381744" y="338635"/>
                                                        <a:pt x="381614" y="338246"/>
                                                      </a:cubicBezTo>
                                                      <a:cubicBezTo>
                                                        <a:pt x="380383" y="333258"/>
                                                        <a:pt x="379347" y="327362"/>
                                                        <a:pt x="382780" y="32360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6" name="Freeform: Shape 40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94AB72C-94B6-437D-BA9E-6F72C2CEB16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99229" y="5954469"/>
                                                  <a:ext cx="93684" cy="10220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91311 w 93684"/>
                                                    <a:gd name="connsiteY0" fmla="*/ 73855 h 102206"/>
                                                    <a:gd name="connsiteX1" fmla="*/ 89173 w 93684"/>
                                                    <a:gd name="connsiteY1" fmla="*/ 73402 h 102206"/>
                                                    <a:gd name="connsiteX2" fmla="*/ 73301 w 93684"/>
                                                    <a:gd name="connsiteY2" fmla="*/ 71264 h 102206"/>
                                                    <a:gd name="connsiteX3" fmla="*/ 67535 w 93684"/>
                                                    <a:gd name="connsiteY3" fmla="*/ 71070 h 102206"/>
                                                    <a:gd name="connsiteX4" fmla="*/ 57623 w 93684"/>
                                                    <a:gd name="connsiteY4" fmla="*/ 73337 h 102206"/>
                                                    <a:gd name="connsiteX5" fmla="*/ 53930 w 93684"/>
                                                    <a:gd name="connsiteY5" fmla="*/ 69968 h 102206"/>
                                                    <a:gd name="connsiteX6" fmla="*/ 47905 w 93684"/>
                                                    <a:gd name="connsiteY6" fmla="*/ 70033 h 102206"/>
                                                    <a:gd name="connsiteX7" fmla="*/ 44601 w 93684"/>
                                                    <a:gd name="connsiteY7" fmla="*/ 65239 h 102206"/>
                                                    <a:gd name="connsiteX8" fmla="*/ 37798 w 93684"/>
                                                    <a:gd name="connsiteY8" fmla="*/ 63749 h 102206"/>
                                                    <a:gd name="connsiteX9" fmla="*/ 33846 w 93684"/>
                                                    <a:gd name="connsiteY9" fmla="*/ 53189 h 102206"/>
                                                    <a:gd name="connsiteX10" fmla="*/ 29311 w 93684"/>
                                                    <a:gd name="connsiteY10" fmla="*/ 50403 h 102206"/>
                                                    <a:gd name="connsiteX11" fmla="*/ 29052 w 93684"/>
                                                    <a:gd name="connsiteY11" fmla="*/ 48460 h 102206"/>
                                                    <a:gd name="connsiteX12" fmla="*/ 29246 w 93684"/>
                                                    <a:gd name="connsiteY12" fmla="*/ 33559 h 102206"/>
                                                    <a:gd name="connsiteX13" fmla="*/ 17585 w 93684"/>
                                                    <a:gd name="connsiteY13" fmla="*/ 27793 h 102206"/>
                                                    <a:gd name="connsiteX14" fmla="*/ 10329 w 93684"/>
                                                    <a:gd name="connsiteY14" fmla="*/ 25979 h 102206"/>
                                                    <a:gd name="connsiteX15" fmla="*/ 9487 w 93684"/>
                                                    <a:gd name="connsiteY15" fmla="*/ 23711 h 102206"/>
                                                    <a:gd name="connsiteX16" fmla="*/ 8321 w 93684"/>
                                                    <a:gd name="connsiteY16" fmla="*/ 10495 h 102206"/>
                                                    <a:gd name="connsiteX17" fmla="*/ 7802 w 93684"/>
                                                    <a:gd name="connsiteY17" fmla="*/ 4535 h 102206"/>
                                                    <a:gd name="connsiteX18" fmla="*/ 93 w 93684"/>
                                                    <a:gd name="connsiteY18" fmla="*/ 0 h 102206"/>
                                                    <a:gd name="connsiteX19" fmla="*/ 28 w 93684"/>
                                                    <a:gd name="connsiteY19" fmla="*/ 0 h 102206"/>
                                                    <a:gd name="connsiteX20" fmla="*/ 1648 w 93684"/>
                                                    <a:gd name="connsiteY20" fmla="*/ 29801 h 102206"/>
                                                    <a:gd name="connsiteX21" fmla="*/ 3915 w 93684"/>
                                                    <a:gd name="connsiteY21" fmla="*/ 54161 h 102206"/>
                                                    <a:gd name="connsiteX22" fmla="*/ 5405 w 93684"/>
                                                    <a:gd name="connsiteY22" fmla="*/ 65239 h 102206"/>
                                                    <a:gd name="connsiteX23" fmla="*/ 20047 w 93684"/>
                                                    <a:gd name="connsiteY23" fmla="*/ 94004 h 102206"/>
                                                    <a:gd name="connsiteX24" fmla="*/ 15253 w 93684"/>
                                                    <a:gd name="connsiteY24" fmla="*/ 85841 h 102206"/>
                                                    <a:gd name="connsiteX25" fmla="*/ 22379 w 93684"/>
                                                    <a:gd name="connsiteY25" fmla="*/ 85517 h 102206"/>
                                                    <a:gd name="connsiteX26" fmla="*/ 24452 w 93684"/>
                                                    <a:gd name="connsiteY26" fmla="*/ 92320 h 102206"/>
                                                    <a:gd name="connsiteX27" fmla="*/ 32227 w 93684"/>
                                                    <a:gd name="connsiteY27" fmla="*/ 93810 h 102206"/>
                                                    <a:gd name="connsiteX28" fmla="*/ 34041 w 93684"/>
                                                    <a:gd name="connsiteY28" fmla="*/ 100677 h 102206"/>
                                                    <a:gd name="connsiteX29" fmla="*/ 45572 w 93684"/>
                                                    <a:gd name="connsiteY29" fmla="*/ 102167 h 102206"/>
                                                    <a:gd name="connsiteX30" fmla="*/ 46868 w 93684"/>
                                                    <a:gd name="connsiteY30" fmla="*/ 92190 h 102206"/>
                                                    <a:gd name="connsiteX31" fmla="*/ 52245 w 93684"/>
                                                    <a:gd name="connsiteY31" fmla="*/ 94717 h 102206"/>
                                                    <a:gd name="connsiteX32" fmla="*/ 57623 w 93684"/>
                                                    <a:gd name="connsiteY32" fmla="*/ 97373 h 102206"/>
                                                    <a:gd name="connsiteX33" fmla="*/ 61510 w 93684"/>
                                                    <a:gd name="connsiteY33" fmla="*/ 93810 h 102206"/>
                                                    <a:gd name="connsiteX34" fmla="*/ 65462 w 93684"/>
                                                    <a:gd name="connsiteY34" fmla="*/ 93810 h 102206"/>
                                                    <a:gd name="connsiteX35" fmla="*/ 66498 w 93684"/>
                                                    <a:gd name="connsiteY35" fmla="*/ 86165 h 102206"/>
                                                    <a:gd name="connsiteX36" fmla="*/ 81010 w 93684"/>
                                                    <a:gd name="connsiteY36" fmla="*/ 85776 h 102206"/>
                                                    <a:gd name="connsiteX37" fmla="*/ 91506 w 93684"/>
                                                    <a:gd name="connsiteY37" fmla="*/ 83055 h 102206"/>
                                                    <a:gd name="connsiteX38" fmla="*/ 91246 w 93684"/>
                                                    <a:gd name="connsiteY38" fmla="*/ 73791 h 10220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3684" h="102206">
                                                      <a:moveTo>
                                                        <a:pt x="91311" y="73855"/>
                                                      </a:moveTo>
                                                      <a:cubicBezTo>
                                                        <a:pt x="90663" y="73596"/>
                                                        <a:pt x="89886" y="73467"/>
                                                        <a:pt x="89173" y="73402"/>
                                                      </a:cubicBezTo>
                                                      <a:cubicBezTo>
                                                        <a:pt x="83861" y="72689"/>
                                                        <a:pt x="78548" y="71977"/>
                                                        <a:pt x="73301" y="71264"/>
                                                      </a:cubicBezTo>
                                                      <a:cubicBezTo>
                                                        <a:pt x="71357" y="71005"/>
                                                        <a:pt x="69414" y="70746"/>
                                                        <a:pt x="67535" y="71070"/>
                                                      </a:cubicBezTo>
                                                      <a:cubicBezTo>
                                                        <a:pt x="64166" y="71653"/>
                                                        <a:pt x="60992" y="73920"/>
                                                        <a:pt x="57623" y="73337"/>
                                                      </a:cubicBezTo>
                                                      <a:cubicBezTo>
                                                        <a:pt x="58659" y="71523"/>
                                                        <a:pt x="56003" y="69774"/>
                                                        <a:pt x="53930" y="69968"/>
                                                      </a:cubicBezTo>
                                                      <a:cubicBezTo>
                                                        <a:pt x="51857" y="70163"/>
                                                        <a:pt x="49654" y="71135"/>
                                                        <a:pt x="47905" y="70033"/>
                                                      </a:cubicBezTo>
                                                      <a:cubicBezTo>
                                                        <a:pt x="49395" y="68219"/>
                                                        <a:pt x="46933" y="65628"/>
                                                        <a:pt x="44601" y="65239"/>
                                                      </a:cubicBezTo>
                                                      <a:cubicBezTo>
                                                        <a:pt x="42268" y="64850"/>
                                                        <a:pt x="39547" y="65304"/>
                                                        <a:pt x="37798" y="63749"/>
                                                      </a:cubicBezTo>
                                                      <a:cubicBezTo>
                                                        <a:pt x="34883" y="61222"/>
                                                        <a:pt x="36956" y="55521"/>
                                                        <a:pt x="33846" y="53189"/>
                                                      </a:cubicBezTo>
                                                      <a:cubicBezTo>
                                                        <a:pt x="32421" y="52088"/>
                                                        <a:pt x="30089" y="52023"/>
                                                        <a:pt x="29311" y="50403"/>
                                                      </a:cubicBezTo>
                                                      <a:cubicBezTo>
                                                        <a:pt x="29052" y="49820"/>
                                                        <a:pt x="29052" y="49107"/>
                                                        <a:pt x="29052" y="48460"/>
                                                      </a:cubicBezTo>
                                                      <a:cubicBezTo>
                                                        <a:pt x="29117" y="43471"/>
                                                        <a:pt x="29182" y="38483"/>
                                                        <a:pt x="29246" y="33559"/>
                                                      </a:cubicBezTo>
                                                      <a:cubicBezTo>
                                                        <a:pt x="26461" y="30060"/>
                                                        <a:pt x="22055" y="27858"/>
                                                        <a:pt x="17585" y="27793"/>
                                                      </a:cubicBezTo>
                                                      <a:cubicBezTo>
                                                        <a:pt x="14994" y="27793"/>
                                                        <a:pt x="11819" y="28117"/>
                                                        <a:pt x="10329" y="25979"/>
                                                      </a:cubicBezTo>
                                                      <a:cubicBezTo>
                                                        <a:pt x="9875" y="25331"/>
                                                        <a:pt x="9616" y="24489"/>
                                                        <a:pt x="9487" y="23711"/>
                                                      </a:cubicBezTo>
                                                      <a:cubicBezTo>
                                                        <a:pt x="8515" y="19371"/>
                                                        <a:pt x="8126" y="14965"/>
                                                        <a:pt x="8321" y="10495"/>
                                                      </a:cubicBezTo>
                                                      <a:cubicBezTo>
                                                        <a:pt x="8450" y="8487"/>
                                                        <a:pt x="8645" y="6414"/>
                                                        <a:pt x="7802" y="4535"/>
                                                      </a:cubicBezTo>
                                                      <a:cubicBezTo>
                                                        <a:pt x="6571" y="1684"/>
                                                        <a:pt x="3203" y="324"/>
                                                        <a:pt x="93" y="0"/>
                                                      </a:cubicBezTo>
                                                      <a:cubicBezTo>
                                                        <a:pt x="93" y="0"/>
                                                        <a:pt x="93" y="0"/>
                                                        <a:pt x="28" y="0"/>
                                                      </a:cubicBezTo>
                                                      <a:cubicBezTo>
                                                        <a:pt x="-166" y="9977"/>
                                                        <a:pt x="676" y="19889"/>
                                                        <a:pt x="1648" y="29801"/>
                                                      </a:cubicBezTo>
                                                      <a:cubicBezTo>
                                                        <a:pt x="2425" y="37899"/>
                                                        <a:pt x="3138" y="45998"/>
                                                        <a:pt x="3915" y="54161"/>
                                                      </a:cubicBezTo>
                                                      <a:cubicBezTo>
                                                        <a:pt x="4239" y="57854"/>
                                                        <a:pt x="4628" y="61611"/>
                                                        <a:pt x="5405" y="65239"/>
                                                      </a:cubicBezTo>
                                                      <a:cubicBezTo>
                                                        <a:pt x="7802" y="75864"/>
                                                        <a:pt x="13828" y="84934"/>
                                                        <a:pt x="20047" y="94004"/>
                                                      </a:cubicBezTo>
                                                      <a:cubicBezTo>
                                                        <a:pt x="18816" y="91089"/>
                                                        <a:pt x="17261" y="88303"/>
                                                        <a:pt x="15253" y="85841"/>
                                                      </a:cubicBezTo>
                                                      <a:cubicBezTo>
                                                        <a:pt x="17196" y="84157"/>
                                                        <a:pt x="20306" y="84027"/>
                                                        <a:pt x="22379" y="85517"/>
                                                      </a:cubicBezTo>
                                                      <a:cubicBezTo>
                                                        <a:pt x="24452" y="87007"/>
                                                        <a:pt x="25359" y="89923"/>
                                                        <a:pt x="24452" y="92320"/>
                                                      </a:cubicBezTo>
                                                      <a:cubicBezTo>
                                                        <a:pt x="27109" y="92320"/>
                                                        <a:pt x="29959" y="92320"/>
                                                        <a:pt x="32227" y="93810"/>
                                                      </a:cubicBezTo>
                                                      <a:cubicBezTo>
                                                        <a:pt x="34494" y="95235"/>
                                                        <a:pt x="35725" y="98669"/>
                                                        <a:pt x="34041" y="100677"/>
                                                      </a:cubicBezTo>
                                                      <a:cubicBezTo>
                                                        <a:pt x="37733" y="101843"/>
                                                        <a:pt x="41685" y="102361"/>
                                                        <a:pt x="45572" y="102167"/>
                                                      </a:cubicBezTo>
                                                      <a:cubicBezTo>
                                                        <a:pt x="45508" y="98798"/>
                                                        <a:pt x="45961" y="95429"/>
                                                        <a:pt x="46868" y="92190"/>
                                                      </a:cubicBezTo>
                                                      <a:cubicBezTo>
                                                        <a:pt x="48876" y="92190"/>
                                                        <a:pt x="50690" y="93486"/>
                                                        <a:pt x="52245" y="94717"/>
                                                      </a:cubicBezTo>
                                                      <a:cubicBezTo>
                                                        <a:pt x="53800" y="95948"/>
                                                        <a:pt x="55614" y="97243"/>
                                                        <a:pt x="57623" y="97373"/>
                                                      </a:cubicBezTo>
                                                      <a:cubicBezTo>
                                                        <a:pt x="59631" y="97502"/>
                                                        <a:pt x="61898" y="95818"/>
                                                        <a:pt x="61510" y="93810"/>
                                                      </a:cubicBezTo>
                                                      <a:cubicBezTo>
                                                        <a:pt x="62870" y="93810"/>
                                                        <a:pt x="64166" y="93810"/>
                                                        <a:pt x="65462" y="93810"/>
                                                      </a:cubicBezTo>
                                                      <a:cubicBezTo>
                                                        <a:pt x="66498" y="91413"/>
                                                        <a:pt x="66887" y="88756"/>
                                                        <a:pt x="66498" y="86165"/>
                                                      </a:cubicBezTo>
                                                      <a:cubicBezTo>
                                                        <a:pt x="71357" y="86035"/>
                                                        <a:pt x="76216" y="85906"/>
                                                        <a:pt x="81010" y="85776"/>
                                                      </a:cubicBezTo>
                                                      <a:cubicBezTo>
                                                        <a:pt x="84703" y="85711"/>
                                                        <a:pt x="88720" y="85452"/>
                                                        <a:pt x="91506" y="83055"/>
                                                      </a:cubicBezTo>
                                                      <a:cubicBezTo>
                                                        <a:pt x="94291" y="80658"/>
                                                        <a:pt x="94615" y="75216"/>
                                                        <a:pt x="91246" y="7379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7" name="Freeform: Shape 40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1A63FA0-8430-477B-8A64-28D248E5D18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52281" y="5990574"/>
                                                  <a:ext cx="14989" cy="1116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023 w 14989"/>
                                                    <a:gd name="connsiteY0" fmla="*/ 1600 h 11168"/>
                                                    <a:gd name="connsiteX1" fmla="*/ 3829 w 14989"/>
                                                    <a:gd name="connsiteY1" fmla="*/ 2636 h 11168"/>
                                                    <a:gd name="connsiteX2" fmla="*/ 6 w 14989"/>
                                                    <a:gd name="connsiteY2" fmla="*/ 7301 h 11168"/>
                                                    <a:gd name="connsiteX3" fmla="*/ 3310 w 14989"/>
                                                    <a:gd name="connsiteY3" fmla="*/ 10216 h 11168"/>
                                                    <a:gd name="connsiteX4" fmla="*/ 14518 w 14989"/>
                                                    <a:gd name="connsiteY4" fmla="*/ 10994 h 11168"/>
                                                    <a:gd name="connsiteX5" fmla="*/ 14972 w 14989"/>
                                                    <a:gd name="connsiteY5" fmla="*/ 4969 h 11168"/>
                                                    <a:gd name="connsiteX6" fmla="*/ 13935 w 14989"/>
                                                    <a:gd name="connsiteY6" fmla="*/ 2312 h 11168"/>
                                                    <a:gd name="connsiteX7" fmla="*/ 12964 w 14989"/>
                                                    <a:gd name="connsiteY7" fmla="*/ 2183 h 11168"/>
                                                    <a:gd name="connsiteX8" fmla="*/ 11279 w 14989"/>
                                                    <a:gd name="connsiteY8" fmla="*/ 1211 h 11168"/>
                                                    <a:gd name="connsiteX9" fmla="*/ 5708 w 14989"/>
                                                    <a:gd name="connsiteY9" fmla="*/ 239 h 11168"/>
                                                    <a:gd name="connsiteX10" fmla="*/ 4023 w 14989"/>
                                                    <a:gd name="connsiteY10" fmla="*/ 1535 h 1116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4989" h="11168">
                                                      <a:moveTo>
                                                        <a:pt x="4023" y="1600"/>
                                                      </a:moveTo>
                                                      <a:cubicBezTo>
                                                        <a:pt x="3894" y="1924"/>
                                                        <a:pt x="3894" y="2312"/>
                                                        <a:pt x="3829" y="2636"/>
                                                      </a:cubicBezTo>
                                                      <a:cubicBezTo>
                                                        <a:pt x="3375" y="4645"/>
                                                        <a:pt x="201" y="5228"/>
                                                        <a:pt x="6" y="7301"/>
                                                      </a:cubicBezTo>
                                                      <a:cubicBezTo>
                                                        <a:pt x="-123" y="8920"/>
                                                        <a:pt x="1756" y="9827"/>
                                                        <a:pt x="3310" y="10216"/>
                                                      </a:cubicBezTo>
                                                      <a:cubicBezTo>
                                                        <a:pt x="6938" y="11123"/>
                                                        <a:pt x="10761" y="11382"/>
                                                        <a:pt x="14518" y="10994"/>
                                                      </a:cubicBezTo>
                                                      <a:cubicBezTo>
                                                        <a:pt x="14648" y="8985"/>
                                                        <a:pt x="14842" y="6977"/>
                                                        <a:pt x="14972" y="4969"/>
                                                      </a:cubicBezTo>
                                                      <a:cubicBezTo>
                                                        <a:pt x="15036" y="3932"/>
                                                        <a:pt x="14972" y="2636"/>
                                                        <a:pt x="13935" y="2312"/>
                                                      </a:cubicBezTo>
                                                      <a:cubicBezTo>
                                                        <a:pt x="13611" y="2183"/>
                                                        <a:pt x="13287" y="2312"/>
                                                        <a:pt x="12964" y="2183"/>
                                                      </a:cubicBezTo>
                                                      <a:cubicBezTo>
                                                        <a:pt x="12316" y="2053"/>
                                                        <a:pt x="11797" y="1600"/>
                                                        <a:pt x="11279" y="1211"/>
                                                      </a:cubicBezTo>
                                                      <a:cubicBezTo>
                                                        <a:pt x="9659" y="45"/>
                                                        <a:pt x="7586" y="-279"/>
                                                        <a:pt x="5708" y="239"/>
                                                      </a:cubicBezTo>
                                                      <a:cubicBezTo>
                                                        <a:pt x="4995" y="433"/>
                                                        <a:pt x="4282" y="822"/>
                                                        <a:pt x="4023" y="153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8" name="Freeform: Shape 40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8C91D68-1C30-4C83-8AF6-F0C36E13534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61832" y="5678160"/>
                                                  <a:ext cx="21234" cy="1995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0228 w 21234"/>
                                                    <a:gd name="connsiteY0" fmla="*/ 2329 h 19950"/>
                                                    <a:gd name="connsiteX1" fmla="*/ 16276 w 21234"/>
                                                    <a:gd name="connsiteY1" fmla="*/ 127 h 19950"/>
                                                    <a:gd name="connsiteX2" fmla="*/ 7983 w 21234"/>
                                                    <a:gd name="connsiteY2" fmla="*/ 2264 h 19950"/>
                                                    <a:gd name="connsiteX3" fmla="*/ 4096 w 21234"/>
                                                    <a:gd name="connsiteY3" fmla="*/ 6670 h 19950"/>
                                                    <a:gd name="connsiteX4" fmla="*/ 1116 w 21234"/>
                                                    <a:gd name="connsiteY4" fmla="*/ 10751 h 19950"/>
                                                    <a:gd name="connsiteX5" fmla="*/ 14 w 21234"/>
                                                    <a:gd name="connsiteY5" fmla="*/ 12954 h 19950"/>
                                                    <a:gd name="connsiteX6" fmla="*/ 3189 w 21234"/>
                                                    <a:gd name="connsiteY6" fmla="*/ 16971 h 19950"/>
                                                    <a:gd name="connsiteX7" fmla="*/ 11352 w 21234"/>
                                                    <a:gd name="connsiteY7" fmla="*/ 19951 h 19950"/>
                                                    <a:gd name="connsiteX8" fmla="*/ 18414 w 21234"/>
                                                    <a:gd name="connsiteY8" fmla="*/ 16452 h 19950"/>
                                                    <a:gd name="connsiteX9" fmla="*/ 21005 w 21234"/>
                                                    <a:gd name="connsiteY9" fmla="*/ 4597 h 19950"/>
                                                    <a:gd name="connsiteX10" fmla="*/ 20163 w 21234"/>
                                                    <a:gd name="connsiteY10" fmla="*/ 2264 h 1995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1234" h="19950">
                                                      <a:moveTo>
                                                        <a:pt x="20228" y="2329"/>
                                                      </a:moveTo>
                                                      <a:cubicBezTo>
                                                        <a:pt x="19385" y="1033"/>
                                                        <a:pt x="17830" y="386"/>
                                                        <a:pt x="16276" y="127"/>
                                                      </a:cubicBezTo>
                                                      <a:cubicBezTo>
                                                        <a:pt x="13360" y="-327"/>
                                                        <a:pt x="10315" y="450"/>
                                                        <a:pt x="7983" y="2264"/>
                                                      </a:cubicBezTo>
                                                      <a:cubicBezTo>
                                                        <a:pt x="6428" y="3495"/>
                                                        <a:pt x="5262" y="5115"/>
                                                        <a:pt x="4096" y="6670"/>
                                                      </a:cubicBezTo>
                                                      <a:cubicBezTo>
                                                        <a:pt x="3124" y="8030"/>
                                                        <a:pt x="2088" y="9391"/>
                                                        <a:pt x="1116" y="10751"/>
                                                      </a:cubicBezTo>
                                                      <a:cubicBezTo>
                                                        <a:pt x="598" y="11399"/>
                                                        <a:pt x="79" y="12112"/>
                                                        <a:pt x="14" y="12954"/>
                                                      </a:cubicBezTo>
                                                      <a:cubicBezTo>
                                                        <a:pt x="-180" y="14768"/>
                                                        <a:pt x="1634" y="16064"/>
                                                        <a:pt x="3189" y="16971"/>
                                                      </a:cubicBezTo>
                                                      <a:cubicBezTo>
                                                        <a:pt x="5716" y="18461"/>
                                                        <a:pt x="8437" y="19951"/>
                                                        <a:pt x="11352" y="19951"/>
                                                      </a:cubicBezTo>
                                                      <a:cubicBezTo>
                                                        <a:pt x="14073" y="19951"/>
                                                        <a:pt x="16794" y="18655"/>
                                                        <a:pt x="18414" y="16452"/>
                                                      </a:cubicBezTo>
                                                      <a:cubicBezTo>
                                                        <a:pt x="20746" y="13019"/>
                                                        <a:pt x="21718" y="8678"/>
                                                        <a:pt x="21005" y="4597"/>
                                                      </a:cubicBezTo>
                                                      <a:cubicBezTo>
                                                        <a:pt x="20875" y="3755"/>
                                                        <a:pt x="20681" y="2912"/>
                                                        <a:pt x="20163" y="226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09" name="Freeform: Shape 40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80FC148-96F0-42D0-BB9B-92B0BC9DD4E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141267" y="4860367"/>
                                                  <a:ext cx="208459" cy="112285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3417 w 208459"/>
                                                    <a:gd name="connsiteY0" fmla="*/ 1072463 h 1122855"/>
                                                    <a:gd name="connsiteX1" fmla="*/ 103829 w 208459"/>
                                                    <a:gd name="connsiteY1" fmla="*/ 1072851 h 1122855"/>
                                                    <a:gd name="connsiteX2" fmla="*/ 97415 w 208459"/>
                                                    <a:gd name="connsiteY2" fmla="*/ 1068381 h 1122855"/>
                                                    <a:gd name="connsiteX3" fmla="*/ 86725 w 208459"/>
                                                    <a:gd name="connsiteY3" fmla="*/ 1065207 h 1122855"/>
                                                    <a:gd name="connsiteX4" fmla="*/ 84458 w 208459"/>
                                                    <a:gd name="connsiteY4" fmla="*/ 1059570 h 1122855"/>
                                                    <a:gd name="connsiteX5" fmla="*/ 80506 w 208459"/>
                                                    <a:gd name="connsiteY5" fmla="*/ 1039940 h 1122855"/>
                                                    <a:gd name="connsiteX6" fmla="*/ 66383 w 208459"/>
                                                    <a:gd name="connsiteY6" fmla="*/ 1028085 h 1122855"/>
                                                    <a:gd name="connsiteX7" fmla="*/ 64893 w 208459"/>
                                                    <a:gd name="connsiteY7" fmla="*/ 1020634 h 1122855"/>
                                                    <a:gd name="connsiteX8" fmla="*/ 52778 w 208459"/>
                                                    <a:gd name="connsiteY8" fmla="*/ 1007094 h 1122855"/>
                                                    <a:gd name="connsiteX9" fmla="*/ 44096 w 208459"/>
                                                    <a:gd name="connsiteY9" fmla="*/ 991804 h 1122855"/>
                                                    <a:gd name="connsiteX10" fmla="*/ 60422 w 208459"/>
                                                    <a:gd name="connsiteY10" fmla="*/ 970295 h 1122855"/>
                                                    <a:gd name="connsiteX11" fmla="*/ 61329 w 208459"/>
                                                    <a:gd name="connsiteY11" fmla="*/ 961420 h 1122855"/>
                                                    <a:gd name="connsiteX12" fmla="*/ 70464 w 208459"/>
                                                    <a:gd name="connsiteY12" fmla="*/ 955330 h 1122855"/>
                                                    <a:gd name="connsiteX13" fmla="*/ 69428 w 208459"/>
                                                    <a:gd name="connsiteY13" fmla="*/ 942373 h 1122855"/>
                                                    <a:gd name="connsiteX14" fmla="*/ 83616 w 208459"/>
                                                    <a:gd name="connsiteY14" fmla="*/ 907194 h 1122855"/>
                                                    <a:gd name="connsiteX15" fmla="*/ 93139 w 208459"/>
                                                    <a:gd name="connsiteY15" fmla="*/ 865602 h 1122855"/>
                                                    <a:gd name="connsiteX16" fmla="*/ 95407 w 208459"/>
                                                    <a:gd name="connsiteY16" fmla="*/ 849146 h 1122855"/>
                                                    <a:gd name="connsiteX17" fmla="*/ 98257 w 208459"/>
                                                    <a:gd name="connsiteY17" fmla="*/ 830164 h 1122855"/>
                                                    <a:gd name="connsiteX18" fmla="*/ 103894 w 208459"/>
                                                    <a:gd name="connsiteY18" fmla="*/ 825499 h 1122855"/>
                                                    <a:gd name="connsiteX19" fmla="*/ 101172 w 208459"/>
                                                    <a:gd name="connsiteY19" fmla="*/ 816818 h 1122855"/>
                                                    <a:gd name="connsiteX20" fmla="*/ 93398 w 208459"/>
                                                    <a:gd name="connsiteY20" fmla="*/ 810793 h 1122855"/>
                                                    <a:gd name="connsiteX21" fmla="*/ 90418 w 208459"/>
                                                    <a:gd name="connsiteY21" fmla="*/ 771922 h 1122855"/>
                                                    <a:gd name="connsiteX22" fmla="*/ 85430 w 208459"/>
                                                    <a:gd name="connsiteY22" fmla="*/ 763888 h 1122855"/>
                                                    <a:gd name="connsiteX23" fmla="*/ 86790 w 208459"/>
                                                    <a:gd name="connsiteY23" fmla="*/ 756827 h 1122855"/>
                                                    <a:gd name="connsiteX24" fmla="*/ 88151 w 208459"/>
                                                    <a:gd name="connsiteY24" fmla="*/ 703702 h 1122855"/>
                                                    <a:gd name="connsiteX25" fmla="*/ 83680 w 208459"/>
                                                    <a:gd name="connsiteY25" fmla="*/ 695604 h 1122855"/>
                                                    <a:gd name="connsiteX26" fmla="*/ 86920 w 208459"/>
                                                    <a:gd name="connsiteY26" fmla="*/ 686988 h 1122855"/>
                                                    <a:gd name="connsiteX27" fmla="*/ 93787 w 208459"/>
                                                    <a:gd name="connsiteY27" fmla="*/ 662499 h 1122855"/>
                                                    <a:gd name="connsiteX28" fmla="*/ 108817 w 208459"/>
                                                    <a:gd name="connsiteY28" fmla="*/ 643257 h 1122855"/>
                                                    <a:gd name="connsiteX29" fmla="*/ 110567 w 208459"/>
                                                    <a:gd name="connsiteY29" fmla="*/ 622785 h 1122855"/>
                                                    <a:gd name="connsiteX30" fmla="*/ 113871 w 208459"/>
                                                    <a:gd name="connsiteY30" fmla="*/ 612484 h 1122855"/>
                                                    <a:gd name="connsiteX31" fmla="*/ 109789 w 208459"/>
                                                    <a:gd name="connsiteY31" fmla="*/ 598037 h 1122855"/>
                                                    <a:gd name="connsiteX32" fmla="*/ 104282 w 208459"/>
                                                    <a:gd name="connsiteY32" fmla="*/ 569466 h 1122855"/>
                                                    <a:gd name="connsiteX33" fmla="*/ 105837 w 208459"/>
                                                    <a:gd name="connsiteY33" fmla="*/ 563506 h 1122855"/>
                                                    <a:gd name="connsiteX34" fmla="*/ 111214 w 208459"/>
                                                    <a:gd name="connsiteY34" fmla="*/ 560267 h 1122855"/>
                                                    <a:gd name="connsiteX35" fmla="*/ 125143 w 208459"/>
                                                    <a:gd name="connsiteY35" fmla="*/ 539795 h 1122855"/>
                                                    <a:gd name="connsiteX36" fmla="*/ 124172 w 208459"/>
                                                    <a:gd name="connsiteY36" fmla="*/ 514204 h 1122855"/>
                                                    <a:gd name="connsiteX37" fmla="*/ 134861 w 208459"/>
                                                    <a:gd name="connsiteY37" fmla="*/ 493408 h 1122855"/>
                                                    <a:gd name="connsiteX38" fmla="*/ 136222 w 208459"/>
                                                    <a:gd name="connsiteY38" fmla="*/ 468012 h 1122855"/>
                                                    <a:gd name="connsiteX39" fmla="*/ 132529 w 208459"/>
                                                    <a:gd name="connsiteY39" fmla="*/ 439765 h 1122855"/>
                                                    <a:gd name="connsiteX40" fmla="*/ 125143 w 208459"/>
                                                    <a:gd name="connsiteY40" fmla="*/ 433028 h 1122855"/>
                                                    <a:gd name="connsiteX41" fmla="*/ 125921 w 208459"/>
                                                    <a:gd name="connsiteY41" fmla="*/ 419747 h 1122855"/>
                                                    <a:gd name="connsiteX42" fmla="*/ 117952 w 208459"/>
                                                    <a:gd name="connsiteY42" fmla="*/ 405299 h 1122855"/>
                                                    <a:gd name="connsiteX43" fmla="*/ 127929 w 208459"/>
                                                    <a:gd name="connsiteY43" fmla="*/ 387678 h 1122855"/>
                                                    <a:gd name="connsiteX44" fmla="*/ 138360 w 208459"/>
                                                    <a:gd name="connsiteY44" fmla="*/ 357293 h 1122855"/>
                                                    <a:gd name="connsiteX45" fmla="*/ 139914 w 208459"/>
                                                    <a:gd name="connsiteY45" fmla="*/ 342263 h 1122855"/>
                                                    <a:gd name="connsiteX46" fmla="*/ 143024 w 208459"/>
                                                    <a:gd name="connsiteY46" fmla="*/ 338376 h 1122855"/>
                                                    <a:gd name="connsiteX47" fmla="*/ 143089 w 208459"/>
                                                    <a:gd name="connsiteY47" fmla="*/ 333128 h 1122855"/>
                                                    <a:gd name="connsiteX48" fmla="*/ 150604 w 208459"/>
                                                    <a:gd name="connsiteY48" fmla="*/ 313563 h 1122855"/>
                                                    <a:gd name="connsiteX49" fmla="*/ 149697 w 208459"/>
                                                    <a:gd name="connsiteY49" fmla="*/ 298532 h 1122855"/>
                                                    <a:gd name="connsiteX50" fmla="*/ 163367 w 208459"/>
                                                    <a:gd name="connsiteY50" fmla="*/ 285122 h 1122855"/>
                                                    <a:gd name="connsiteX51" fmla="*/ 164792 w 208459"/>
                                                    <a:gd name="connsiteY51" fmla="*/ 278773 h 1122855"/>
                                                    <a:gd name="connsiteX52" fmla="*/ 176583 w 208459"/>
                                                    <a:gd name="connsiteY52" fmla="*/ 264131 h 1122855"/>
                                                    <a:gd name="connsiteX53" fmla="*/ 174056 w 208459"/>
                                                    <a:gd name="connsiteY53" fmla="*/ 257458 h 1122855"/>
                                                    <a:gd name="connsiteX54" fmla="*/ 176842 w 208459"/>
                                                    <a:gd name="connsiteY54" fmla="*/ 225195 h 1122855"/>
                                                    <a:gd name="connsiteX55" fmla="*/ 170752 w 208459"/>
                                                    <a:gd name="connsiteY55" fmla="*/ 214117 h 1122855"/>
                                                    <a:gd name="connsiteX56" fmla="*/ 176583 w 208459"/>
                                                    <a:gd name="connsiteY56" fmla="*/ 199605 h 1122855"/>
                                                    <a:gd name="connsiteX57" fmla="*/ 178203 w 208459"/>
                                                    <a:gd name="connsiteY57" fmla="*/ 191895 h 1122855"/>
                                                    <a:gd name="connsiteX58" fmla="*/ 205283 w 208459"/>
                                                    <a:gd name="connsiteY58" fmla="*/ 179457 h 1122855"/>
                                                    <a:gd name="connsiteX59" fmla="*/ 206903 w 208459"/>
                                                    <a:gd name="connsiteY59" fmla="*/ 165981 h 1122855"/>
                                                    <a:gd name="connsiteX60" fmla="*/ 204052 w 208459"/>
                                                    <a:gd name="connsiteY60" fmla="*/ 162547 h 1122855"/>
                                                    <a:gd name="connsiteX61" fmla="*/ 196731 w 208459"/>
                                                    <a:gd name="connsiteY61" fmla="*/ 160604 h 1122855"/>
                                                    <a:gd name="connsiteX62" fmla="*/ 192715 w 208459"/>
                                                    <a:gd name="connsiteY62" fmla="*/ 151404 h 1122855"/>
                                                    <a:gd name="connsiteX63" fmla="*/ 193168 w 208459"/>
                                                    <a:gd name="connsiteY63" fmla="*/ 131450 h 1122855"/>
                                                    <a:gd name="connsiteX64" fmla="*/ 184617 w 208459"/>
                                                    <a:gd name="connsiteY64" fmla="*/ 128211 h 1122855"/>
                                                    <a:gd name="connsiteX65" fmla="*/ 186560 w 208459"/>
                                                    <a:gd name="connsiteY65" fmla="*/ 117845 h 1122855"/>
                                                    <a:gd name="connsiteX66" fmla="*/ 183321 w 208459"/>
                                                    <a:gd name="connsiteY66" fmla="*/ 114671 h 1122855"/>
                                                    <a:gd name="connsiteX67" fmla="*/ 177749 w 208459"/>
                                                    <a:gd name="connsiteY67" fmla="*/ 96271 h 1122855"/>
                                                    <a:gd name="connsiteX68" fmla="*/ 164080 w 208459"/>
                                                    <a:gd name="connsiteY68" fmla="*/ 84739 h 1122855"/>
                                                    <a:gd name="connsiteX69" fmla="*/ 166347 w 208459"/>
                                                    <a:gd name="connsiteY69" fmla="*/ 79298 h 1122855"/>
                                                    <a:gd name="connsiteX70" fmla="*/ 169068 w 208459"/>
                                                    <a:gd name="connsiteY70" fmla="*/ 51569 h 1122855"/>
                                                    <a:gd name="connsiteX71" fmla="*/ 167578 w 208459"/>
                                                    <a:gd name="connsiteY71" fmla="*/ 46516 h 1122855"/>
                                                    <a:gd name="connsiteX72" fmla="*/ 162201 w 208459"/>
                                                    <a:gd name="connsiteY72" fmla="*/ 43147 h 1122855"/>
                                                    <a:gd name="connsiteX73" fmla="*/ 159480 w 208459"/>
                                                    <a:gd name="connsiteY73" fmla="*/ 20019 h 1122855"/>
                                                    <a:gd name="connsiteX74" fmla="*/ 153455 w 208459"/>
                                                    <a:gd name="connsiteY74" fmla="*/ 14965 h 1122855"/>
                                                    <a:gd name="connsiteX75" fmla="*/ 147883 w 208459"/>
                                                    <a:gd name="connsiteY75" fmla="*/ 0 h 1122855"/>
                                                    <a:gd name="connsiteX76" fmla="*/ 146199 w 208459"/>
                                                    <a:gd name="connsiteY76" fmla="*/ 3887 h 1122855"/>
                                                    <a:gd name="connsiteX77" fmla="*/ 142765 w 208459"/>
                                                    <a:gd name="connsiteY77" fmla="*/ 15030 h 1122855"/>
                                                    <a:gd name="connsiteX78" fmla="*/ 129419 w 208459"/>
                                                    <a:gd name="connsiteY78" fmla="*/ 28765 h 1122855"/>
                                                    <a:gd name="connsiteX79" fmla="*/ 130844 w 208459"/>
                                                    <a:gd name="connsiteY79" fmla="*/ 39714 h 1122855"/>
                                                    <a:gd name="connsiteX80" fmla="*/ 123783 w 208459"/>
                                                    <a:gd name="connsiteY80" fmla="*/ 139743 h 1122855"/>
                                                    <a:gd name="connsiteX81" fmla="*/ 123524 w 208459"/>
                                                    <a:gd name="connsiteY81" fmla="*/ 166240 h 1122855"/>
                                                    <a:gd name="connsiteX82" fmla="*/ 127540 w 208459"/>
                                                    <a:gd name="connsiteY82" fmla="*/ 177837 h 1122855"/>
                                                    <a:gd name="connsiteX83" fmla="*/ 124431 w 208459"/>
                                                    <a:gd name="connsiteY83" fmla="*/ 181141 h 1122855"/>
                                                    <a:gd name="connsiteX84" fmla="*/ 124495 w 208459"/>
                                                    <a:gd name="connsiteY84" fmla="*/ 187036 h 1122855"/>
                                                    <a:gd name="connsiteX85" fmla="*/ 119313 w 208459"/>
                                                    <a:gd name="connsiteY85" fmla="*/ 244825 h 1122855"/>
                                                    <a:gd name="connsiteX86" fmla="*/ 114194 w 208459"/>
                                                    <a:gd name="connsiteY86" fmla="*/ 256033 h 1122855"/>
                                                    <a:gd name="connsiteX87" fmla="*/ 110048 w 208459"/>
                                                    <a:gd name="connsiteY87" fmla="*/ 274238 h 1122855"/>
                                                    <a:gd name="connsiteX88" fmla="*/ 104217 w 208459"/>
                                                    <a:gd name="connsiteY88" fmla="*/ 289203 h 1122855"/>
                                                    <a:gd name="connsiteX89" fmla="*/ 109724 w 208459"/>
                                                    <a:gd name="connsiteY89" fmla="*/ 347770 h 1122855"/>
                                                    <a:gd name="connsiteX90" fmla="*/ 105125 w 208459"/>
                                                    <a:gd name="connsiteY90" fmla="*/ 358589 h 1122855"/>
                                                    <a:gd name="connsiteX91" fmla="*/ 97221 w 208459"/>
                                                    <a:gd name="connsiteY91" fmla="*/ 365326 h 1122855"/>
                                                    <a:gd name="connsiteX92" fmla="*/ 93074 w 208459"/>
                                                    <a:gd name="connsiteY92" fmla="*/ 390139 h 1122855"/>
                                                    <a:gd name="connsiteX93" fmla="*/ 94564 w 208459"/>
                                                    <a:gd name="connsiteY93" fmla="*/ 438210 h 1122855"/>
                                                    <a:gd name="connsiteX94" fmla="*/ 78562 w 208459"/>
                                                    <a:gd name="connsiteY94" fmla="*/ 489974 h 1122855"/>
                                                    <a:gd name="connsiteX95" fmla="*/ 72667 w 208459"/>
                                                    <a:gd name="connsiteY95" fmla="*/ 548929 h 1122855"/>
                                                    <a:gd name="connsiteX96" fmla="*/ 70335 w 208459"/>
                                                    <a:gd name="connsiteY96" fmla="*/ 561174 h 1122855"/>
                                                    <a:gd name="connsiteX97" fmla="*/ 57507 w 208459"/>
                                                    <a:gd name="connsiteY97" fmla="*/ 580610 h 1122855"/>
                                                    <a:gd name="connsiteX98" fmla="*/ 54980 w 208459"/>
                                                    <a:gd name="connsiteY98" fmla="*/ 592012 h 1122855"/>
                                                    <a:gd name="connsiteX99" fmla="*/ 47336 w 208459"/>
                                                    <a:gd name="connsiteY99" fmla="*/ 595899 h 1122855"/>
                                                    <a:gd name="connsiteX100" fmla="*/ 45586 w 208459"/>
                                                    <a:gd name="connsiteY100" fmla="*/ 605358 h 1122855"/>
                                                    <a:gd name="connsiteX101" fmla="*/ 44809 w 208459"/>
                                                    <a:gd name="connsiteY101" fmla="*/ 625700 h 1122855"/>
                                                    <a:gd name="connsiteX102" fmla="*/ 59127 w 208459"/>
                                                    <a:gd name="connsiteY102" fmla="*/ 635936 h 1122855"/>
                                                    <a:gd name="connsiteX103" fmla="*/ 50575 w 208459"/>
                                                    <a:gd name="connsiteY103" fmla="*/ 666062 h 1122855"/>
                                                    <a:gd name="connsiteX104" fmla="*/ 41764 w 208459"/>
                                                    <a:gd name="connsiteY104" fmla="*/ 672864 h 1122855"/>
                                                    <a:gd name="connsiteX105" fmla="*/ 41634 w 208459"/>
                                                    <a:gd name="connsiteY105" fmla="*/ 700269 h 1122855"/>
                                                    <a:gd name="connsiteX106" fmla="*/ 29649 w 208459"/>
                                                    <a:gd name="connsiteY106" fmla="*/ 750866 h 1122855"/>
                                                    <a:gd name="connsiteX107" fmla="*/ 32888 w 208459"/>
                                                    <a:gd name="connsiteY107" fmla="*/ 764730 h 1122855"/>
                                                    <a:gd name="connsiteX108" fmla="*/ 45716 w 208459"/>
                                                    <a:gd name="connsiteY108" fmla="*/ 767970 h 1122855"/>
                                                    <a:gd name="connsiteX109" fmla="*/ 47400 w 208459"/>
                                                    <a:gd name="connsiteY109" fmla="*/ 723462 h 1122855"/>
                                                    <a:gd name="connsiteX110" fmla="*/ 50705 w 208459"/>
                                                    <a:gd name="connsiteY110" fmla="*/ 709468 h 1122855"/>
                                                    <a:gd name="connsiteX111" fmla="*/ 63273 w 208459"/>
                                                    <a:gd name="connsiteY111" fmla="*/ 707136 h 1122855"/>
                                                    <a:gd name="connsiteX112" fmla="*/ 67938 w 208459"/>
                                                    <a:gd name="connsiteY112" fmla="*/ 722749 h 1122855"/>
                                                    <a:gd name="connsiteX113" fmla="*/ 75064 w 208459"/>
                                                    <a:gd name="connsiteY113" fmla="*/ 729876 h 1122855"/>
                                                    <a:gd name="connsiteX114" fmla="*/ 64763 w 208459"/>
                                                    <a:gd name="connsiteY114" fmla="*/ 746396 h 1122855"/>
                                                    <a:gd name="connsiteX115" fmla="*/ 64504 w 208459"/>
                                                    <a:gd name="connsiteY115" fmla="*/ 754235 h 1122855"/>
                                                    <a:gd name="connsiteX116" fmla="*/ 59580 w 208459"/>
                                                    <a:gd name="connsiteY116" fmla="*/ 759159 h 1122855"/>
                                                    <a:gd name="connsiteX117" fmla="*/ 58867 w 208459"/>
                                                    <a:gd name="connsiteY117" fmla="*/ 830229 h 1122855"/>
                                                    <a:gd name="connsiteX118" fmla="*/ 47789 w 208459"/>
                                                    <a:gd name="connsiteY118" fmla="*/ 848045 h 1122855"/>
                                                    <a:gd name="connsiteX119" fmla="*/ 47336 w 208459"/>
                                                    <a:gd name="connsiteY119" fmla="*/ 870849 h 1122855"/>
                                                    <a:gd name="connsiteX120" fmla="*/ 40339 w 208459"/>
                                                    <a:gd name="connsiteY120" fmla="*/ 869748 h 1122855"/>
                                                    <a:gd name="connsiteX121" fmla="*/ 30880 w 208459"/>
                                                    <a:gd name="connsiteY121" fmla="*/ 848433 h 1122855"/>
                                                    <a:gd name="connsiteX122" fmla="*/ 12740 w 208459"/>
                                                    <a:gd name="connsiteY122" fmla="*/ 855819 h 1122855"/>
                                                    <a:gd name="connsiteX123" fmla="*/ 6780 w 208459"/>
                                                    <a:gd name="connsiteY123" fmla="*/ 866250 h 1122855"/>
                                                    <a:gd name="connsiteX124" fmla="*/ 4383 w 208459"/>
                                                    <a:gd name="connsiteY124" fmla="*/ 878559 h 1122855"/>
                                                    <a:gd name="connsiteX125" fmla="*/ 10472 w 208459"/>
                                                    <a:gd name="connsiteY125" fmla="*/ 885815 h 1122855"/>
                                                    <a:gd name="connsiteX126" fmla="*/ 20255 w 208459"/>
                                                    <a:gd name="connsiteY126" fmla="*/ 887435 h 1122855"/>
                                                    <a:gd name="connsiteX127" fmla="*/ 34508 w 208459"/>
                                                    <a:gd name="connsiteY127" fmla="*/ 892294 h 1122855"/>
                                                    <a:gd name="connsiteX128" fmla="*/ 34961 w 208459"/>
                                                    <a:gd name="connsiteY128" fmla="*/ 905769 h 1122855"/>
                                                    <a:gd name="connsiteX129" fmla="*/ 28289 w 208459"/>
                                                    <a:gd name="connsiteY129" fmla="*/ 908555 h 1122855"/>
                                                    <a:gd name="connsiteX130" fmla="*/ 22847 w 208459"/>
                                                    <a:gd name="connsiteY130" fmla="*/ 918338 h 1122855"/>
                                                    <a:gd name="connsiteX131" fmla="*/ 23818 w 208459"/>
                                                    <a:gd name="connsiteY131" fmla="*/ 920994 h 1122855"/>
                                                    <a:gd name="connsiteX132" fmla="*/ 27511 w 208459"/>
                                                    <a:gd name="connsiteY132" fmla="*/ 922484 h 1122855"/>
                                                    <a:gd name="connsiteX133" fmla="*/ 48437 w 208459"/>
                                                    <a:gd name="connsiteY133" fmla="*/ 925723 h 1122855"/>
                                                    <a:gd name="connsiteX134" fmla="*/ 51611 w 208459"/>
                                                    <a:gd name="connsiteY134" fmla="*/ 927472 h 1122855"/>
                                                    <a:gd name="connsiteX135" fmla="*/ 51611 w 208459"/>
                                                    <a:gd name="connsiteY135" fmla="*/ 929351 h 1122855"/>
                                                    <a:gd name="connsiteX136" fmla="*/ 49344 w 208459"/>
                                                    <a:gd name="connsiteY136" fmla="*/ 941466 h 1122855"/>
                                                    <a:gd name="connsiteX137" fmla="*/ 42282 w 208459"/>
                                                    <a:gd name="connsiteY137" fmla="*/ 939717 h 1122855"/>
                                                    <a:gd name="connsiteX138" fmla="*/ 37164 w 208459"/>
                                                    <a:gd name="connsiteY138" fmla="*/ 933562 h 1122855"/>
                                                    <a:gd name="connsiteX139" fmla="*/ 28159 w 208459"/>
                                                    <a:gd name="connsiteY139" fmla="*/ 931813 h 1122855"/>
                                                    <a:gd name="connsiteX140" fmla="*/ 11444 w 208459"/>
                                                    <a:gd name="connsiteY140" fmla="*/ 932137 h 1122855"/>
                                                    <a:gd name="connsiteX141" fmla="*/ 6586 w 208459"/>
                                                    <a:gd name="connsiteY141" fmla="*/ 933173 h 1122855"/>
                                                    <a:gd name="connsiteX142" fmla="*/ 3929 w 208459"/>
                                                    <a:gd name="connsiteY142" fmla="*/ 937255 h 1122855"/>
                                                    <a:gd name="connsiteX143" fmla="*/ 2633 w 208459"/>
                                                    <a:gd name="connsiteY143" fmla="*/ 943992 h 1122855"/>
                                                    <a:gd name="connsiteX144" fmla="*/ 9371 w 208459"/>
                                                    <a:gd name="connsiteY144" fmla="*/ 952674 h 1122855"/>
                                                    <a:gd name="connsiteX145" fmla="*/ 19931 w 208459"/>
                                                    <a:gd name="connsiteY145" fmla="*/ 949629 h 1122855"/>
                                                    <a:gd name="connsiteX146" fmla="*/ 27187 w 208459"/>
                                                    <a:gd name="connsiteY146" fmla="*/ 943086 h 1122855"/>
                                                    <a:gd name="connsiteX147" fmla="*/ 31528 w 208459"/>
                                                    <a:gd name="connsiteY147" fmla="*/ 951184 h 1122855"/>
                                                    <a:gd name="connsiteX148" fmla="*/ 29066 w 208459"/>
                                                    <a:gd name="connsiteY148" fmla="*/ 958505 h 1122855"/>
                                                    <a:gd name="connsiteX149" fmla="*/ 24985 w 208459"/>
                                                    <a:gd name="connsiteY149" fmla="*/ 959541 h 1122855"/>
                                                    <a:gd name="connsiteX150" fmla="*/ 8464 w 208459"/>
                                                    <a:gd name="connsiteY150" fmla="*/ 965566 h 1122855"/>
                                                    <a:gd name="connsiteX151" fmla="*/ 5549 w 208459"/>
                                                    <a:gd name="connsiteY151" fmla="*/ 977228 h 1122855"/>
                                                    <a:gd name="connsiteX152" fmla="*/ 2374 w 208459"/>
                                                    <a:gd name="connsiteY152" fmla="*/ 978199 h 1122855"/>
                                                    <a:gd name="connsiteX153" fmla="*/ 1014 w 208459"/>
                                                    <a:gd name="connsiteY153" fmla="*/ 985974 h 1122855"/>
                                                    <a:gd name="connsiteX154" fmla="*/ 8464 w 208459"/>
                                                    <a:gd name="connsiteY154" fmla="*/ 990573 h 1122855"/>
                                                    <a:gd name="connsiteX155" fmla="*/ 17016 w 208459"/>
                                                    <a:gd name="connsiteY155" fmla="*/ 997894 h 1122855"/>
                                                    <a:gd name="connsiteX156" fmla="*/ 22134 w 208459"/>
                                                    <a:gd name="connsiteY156" fmla="*/ 982086 h 1122855"/>
                                                    <a:gd name="connsiteX157" fmla="*/ 24142 w 208459"/>
                                                    <a:gd name="connsiteY157" fmla="*/ 972110 h 1122855"/>
                                                    <a:gd name="connsiteX158" fmla="*/ 36711 w 208459"/>
                                                    <a:gd name="connsiteY158" fmla="*/ 972692 h 1122855"/>
                                                    <a:gd name="connsiteX159" fmla="*/ 35869 w 208459"/>
                                                    <a:gd name="connsiteY159" fmla="*/ 986168 h 1122855"/>
                                                    <a:gd name="connsiteX160" fmla="*/ 31658 w 208459"/>
                                                    <a:gd name="connsiteY160" fmla="*/ 991157 h 1122855"/>
                                                    <a:gd name="connsiteX161" fmla="*/ 30815 w 208459"/>
                                                    <a:gd name="connsiteY161" fmla="*/ 1004891 h 1122855"/>
                                                    <a:gd name="connsiteX162" fmla="*/ 18247 w 208459"/>
                                                    <a:gd name="connsiteY162" fmla="*/ 1015905 h 1122855"/>
                                                    <a:gd name="connsiteX163" fmla="*/ 11315 w 208459"/>
                                                    <a:gd name="connsiteY163" fmla="*/ 1029510 h 1122855"/>
                                                    <a:gd name="connsiteX164" fmla="*/ 15008 w 208459"/>
                                                    <a:gd name="connsiteY164" fmla="*/ 1045641 h 1122855"/>
                                                    <a:gd name="connsiteX165" fmla="*/ 47400 w 208459"/>
                                                    <a:gd name="connsiteY165" fmla="*/ 1041689 h 1122855"/>
                                                    <a:gd name="connsiteX166" fmla="*/ 46299 w 208459"/>
                                                    <a:gd name="connsiteY166" fmla="*/ 1050889 h 1122855"/>
                                                    <a:gd name="connsiteX167" fmla="*/ 39108 w 208459"/>
                                                    <a:gd name="connsiteY167" fmla="*/ 1058534 h 1122855"/>
                                                    <a:gd name="connsiteX168" fmla="*/ 45716 w 208459"/>
                                                    <a:gd name="connsiteY168" fmla="*/ 1068122 h 1122855"/>
                                                    <a:gd name="connsiteX169" fmla="*/ 57053 w 208459"/>
                                                    <a:gd name="connsiteY169" fmla="*/ 1062680 h 1122855"/>
                                                    <a:gd name="connsiteX170" fmla="*/ 60617 w 208459"/>
                                                    <a:gd name="connsiteY170" fmla="*/ 1059376 h 1122855"/>
                                                    <a:gd name="connsiteX171" fmla="*/ 65735 w 208459"/>
                                                    <a:gd name="connsiteY171" fmla="*/ 1063587 h 1122855"/>
                                                    <a:gd name="connsiteX172" fmla="*/ 67484 w 208459"/>
                                                    <a:gd name="connsiteY172" fmla="*/ 1069936 h 1122855"/>
                                                    <a:gd name="connsiteX173" fmla="*/ 56082 w 208459"/>
                                                    <a:gd name="connsiteY173" fmla="*/ 1077516 h 1122855"/>
                                                    <a:gd name="connsiteX174" fmla="*/ 41246 w 208459"/>
                                                    <a:gd name="connsiteY174" fmla="*/ 1078747 h 1122855"/>
                                                    <a:gd name="connsiteX175" fmla="*/ 39691 w 208459"/>
                                                    <a:gd name="connsiteY175" fmla="*/ 1080107 h 1122855"/>
                                                    <a:gd name="connsiteX176" fmla="*/ 44550 w 208459"/>
                                                    <a:gd name="connsiteY176" fmla="*/ 1088076 h 1122855"/>
                                                    <a:gd name="connsiteX177" fmla="*/ 40987 w 208459"/>
                                                    <a:gd name="connsiteY177" fmla="*/ 1095461 h 1122855"/>
                                                    <a:gd name="connsiteX178" fmla="*/ 49733 w 208459"/>
                                                    <a:gd name="connsiteY178" fmla="*/ 1099802 h 1122855"/>
                                                    <a:gd name="connsiteX179" fmla="*/ 59580 w 208459"/>
                                                    <a:gd name="connsiteY179" fmla="*/ 1101746 h 1122855"/>
                                                    <a:gd name="connsiteX180" fmla="*/ 57766 w 208459"/>
                                                    <a:gd name="connsiteY180" fmla="*/ 1107771 h 1122855"/>
                                                    <a:gd name="connsiteX181" fmla="*/ 46558 w 208459"/>
                                                    <a:gd name="connsiteY181" fmla="*/ 1111658 h 1122855"/>
                                                    <a:gd name="connsiteX182" fmla="*/ 50899 w 208459"/>
                                                    <a:gd name="connsiteY182" fmla="*/ 1122477 h 1122855"/>
                                                    <a:gd name="connsiteX183" fmla="*/ 60681 w 208459"/>
                                                    <a:gd name="connsiteY183" fmla="*/ 1116517 h 1122855"/>
                                                    <a:gd name="connsiteX184" fmla="*/ 61329 w 208459"/>
                                                    <a:gd name="connsiteY184" fmla="*/ 1113019 h 1122855"/>
                                                    <a:gd name="connsiteX185" fmla="*/ 63726 w 208459"/>
                                                    <a:gd name="connsiteY185" fmla="*/ 1111399 h 1122855"/>
                                                    <a:gd name="connsiteX186" fmla="*/ 73444 w 208459"/>
                                                    <a:gd name="connsiteY186" fmla="*/ 1107253 h 1122855"/>
                                                    <a:gd name="connsiteX187" fmla="*/ 68067 w 208459"/>
                                                    <a:gd name="connsiteY187" fmla="*/ 1094749 h 1122855"/>
                                                    <a:gd name="connsiteX188" fmla="*/ 59386 w 208459"/>
                                                    <a:gd name="connsiteY188" fmla="*/ 1092028 h 1122855"/>
                                                    <a:gd name="connsiteX189" fmla="*/ 55499 w 208459"/>
                                                    <a:gd name="connsiteY189" fmla="*/ 1084837 h 1122855"/>
                                                    <a:gd name="connsiteX190" fmla="*/ 73250 w 208459"/>
                                                    <a:gd name="connsiteY190" fmla="*/ 1081273 h 1122855"/>
                                                    <a:gd name="connsiteX191" fmla="*/ 76554 w 208459"/>
                                                    <a:gd name="connsiteY191" fmla="*/ 1081533 h 1122855"/>
                                                    <a:gd name="connsiteX192" fmla="*/ 78174 w 208459"/>
                                                    <a:gd name="connsiteY192" fmla="*/ 1084448 h 1122855"/>
                                                    <a:gd name="connsiteX193" fmla="*/ 87892 w 208459"/>
                                                    <a:gd name="connsiteY193" fmla="*/ 1087363 h 1122855"/>
                                                    <a:gd name="connsiteX194" fmla="*/ 93787 w 208459"/>
                                                    <a:gd name="connsiteY194" fmla="*/ 1093777 h 1122855"/>
                                                    <a:gd name="connsiteX195" fmla="*/ 77655 w 208459"/>
                                                    <a:gd name="connsiteY195" fmla="*/ 1097016 h 1122855"/>
                                                    <a:gd name="connsiteX196" fmla="*/ 88669 w 208459"/>
                                                    <a:gd name="connsiteY196" fmla="*/ 1103884 h 1122855"/>
                                                    <a:gd name="connsiteX197" fmla="*/ 100071 w 208459"/>
                                                    <a:gd name="connsiteY197" fmla="*/ 1098053 h 1122855"/>
                                                    <a:gd name="connsiteX198" fmla="*/ 110567 w 208459"/>
                                                    <a:gd name="connsiteY198" fmla="*/ 1108160 h 1122855"/>
                                                    <a:gd name="connsiteX199" fmla="*/ 115879 w 208459"/>
                                                    <a:gd name="connsiteY199" fmla="*/ 1094814 h 1122855"/>
                                                    <a:gd name="connsiteX200" fmla="*/ 138165 w 208459"/>
                                                    <a:gd name="connsiteY200" fmla="*/ 1083735 h 1122855"/>
                                                    <a:gd name="connsiteX201" fmla="*/ 137971 w 208459"/>
                                                    <a:gd name="connsiteY201" fmla="*/ 1075637 h 1122855"/>
                                                    <a:gd name="connsiteX202" fmla="*/ 113352 w 208459"/>
                                                    <a:gd name="connsiteY202" fmla="*/ 1072527 h 112285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08459" h="1122855">
                                                      <a:moveTo>
                                                        <a:pt x="113417" y="1072463"/>
                                                      </a:moveTo>
                                                      <a:cubicBezTo>
                                                        <a:pt x="110243" y="1073046"/>
                                                        <a:pt x="106809" y="1074147"/>
                                                        <a:pt x="103829" y="1072851"/>
                                                      </a:cubicBezTo>
                                                      <a:cubicBezTo>
                                                        <a:pt x="101432" y="1071815"/>
                                                        <a:pt x="99812" y="1069482"/>
                                                        <a:pt x="97415" y="1068381"/>
                                                      </a:cubicBezTo>
                                                      <a:cubicBezTo>
                                                        <a:pt x="94046" y="1066761"/>
                                                        <a:pt x="89511" y="1067798"/>
                                                        <a:pt x="86725" y="1065207"/>
                                                      </a:cubicBezTo>
                                                      <a:cubicBezTo>
                                                        <a:pt x="85235" y="1063782"/>
                                                        <a:pt x="84717" y="1061644"/>
                                                        <a:pt x="84458" y="1059570"/>
                                                      </a:cubicBezTo>
                                                      <a:cubicBezTo>
                                                        <a:pt x="83680" y="1052833"/>
                                                        <a:pt x="84847" y="1045188"/>
                                                        <a:pt x="80506" y="1039940"/>
                                                      </a:cubicBezTo>
                                                      <a:cubicBezTo>
                                                        <a:pt x="76554" y="1035146"/>
                                                        <a:pt x="68844" y="1033850"/>
                                                        <a:pt x="66383" y="1028085"/>
                                                      </a:cubicBezTo>
                                                      <a:cubicBezTo>
                                                        <a:pt x="65411" y="1025752"/>
                                                        <a:pt x="65540" y="1023096"/>
                                                        <a:pt x="64893" y="1020634"/>
                                                      </a:cubicBezTo>
                                                      <a:cubicBezTo>
                                                        <a:pt x="63338" y="1014674"/>
                                                        <a:pt x="57701" y="1010851"/>
                                                        <a:pt x="52778" y="1007094"/>
                                                      </a:cubicBezTo>
                                                      <a:cubicBezTo>
                                                        <a:pt x="47919" y="1003336"/>
                                                        <a:pt x="42995" y="997894"/>
                                                        <a:pt x="44096" y="991804"/>
                                                      </a:cubicBezTo>
                                                      <a:cubicBezTo>
                                                        <a:pt x="45716" y="982735"/>
                                                        <a:pt x="59321" y="979430"/>
                                                        <a:pt x="60422" y="970295"/>
                                                      </a:cubicBezTo>
                                                      <a:cubicBezTo>
                                                        <a:pt x="60811" y="967316"/>
                                                        <a:pt x="59710" y="963947"/>
                                                        <a:pt x="61329" y="961420"/>
                                                      </a:cubicBezTo>
                                                      <a:cubicBezTo>
                                                        <a:pt x="63338" y="958310"/>
                                                        <a:pt x="68197" y="958245"/>
                                                        <a:pt x="70464" y="955330"/>
                                                      </a:cubicBezTo>
                                                      <a:cubicBezTo>
                                                        <a:pt x="73185" y="951702"/>
                                                        <a:pt x="70335" y="946778"/>
                                                        <a:pt x="69428" y="942373"/>
                                                      </a:cubicBezTo>
                                                      <a:cubicBezTo>
                                                        <a:pt x="66901" y="929416"/>
                                                        <a:pt x="80636" y="920086"/>
                                                        <a:pt x="83616" y="907194"/>
                                                      </a:cubicBezTo>
                                                      <a:cubicBezTo>
                                                        <a:pt x="86790" y="893330"/>
                                                        <a:pt x="89965" y="879466"/>
                                                        <a:pt x="93139" y="865602"/>
                                                      </a:cubicBezTo>
                                                      <a:cubicBezTo>
                                                        <a:pt x="94370" y="860160"/>
                                                        <a:pt x="95601" y="854718"/>
                                                        <a:pt x="95407" y="849146"/>
                                                      </a:cubicBezTo>
                                                      <a:cubicBezTo>
                                                        <a:pt x="95147" y="842473"/>
                                                        <a:pt x="93333" y="834570"/>
                                                        <a:pt x="98257" y="830164"/>
                                                      </a:cubicBezTo>
                                                      <a:cubicBezTo>
                                                        <a:pt x="100071" y="828544"/>
                                                        <a:pt x="102663" y="827638"/>
                                                        <a:pt x="103894" y="825499"/>
                                                      </a:cubicBezTo>
                                                      <a:cubicBezTo>
                                                        <a:pt x="105448" y="822649"/>
                                                        <a:pt x="103634" y="819021"/>
                                                        <a:pt x="101172" y="816818"/>
                                                      </a:cubicBezTo>
                                                      <a:cubicBezTo>
                                                        <a:pt x="98711" y="814616"/>
                                                        <a:pt x="95601" y="813255"/>
                                                        <a:pt x="93398" y="810793"/>
                                                      </a:cubicBezTo>
                                                      <a:cubicBezTo>
                                                        <a:pt x="84458" y="800751"/>
                                                        <a:pt x="97415" y="783324"/>
                                                        <a:pt x="90418" y="771922"/>
                                                      </a:cubicBezTo>
                                                      <a:cubicBezTo>
                                                        <a:pt x="88734" y="769201"/>
                                                        <a:pt x="86013" y="766998"/>
                                                        <a:pt x="85430" y="763888"/>
                                                      </a:cubicBezTo>
                                                      <a:cubicBezTo>
                                                        <a:pt x="84976" y="761491"/>
                                                        <a:pt x="85883" y="759094"/>
                                                        <a:pt x="86790" y="756827"/>
                                                      </a:cubicBezTo>
                                                      <a:cubicBezTo>
                                                        <a:pt x="93528" y="739594"/>
                                                        <a:pt x="99100" y="718603"/>
                                                        <a:pt x="88151" y="703702"/>
                                                      </a:cubicBezTo>
                                                      <a:cubicBezTo>
                                                        <a:pt x="86272" y="701176"/>
                                                        <a:pt x="83939" y="698714"/>
                                                        <a:pt x="83680" y="695604"/>
                                                      </a:cubicBezTo>
                                                      <a:cubicBezTo>
                                                        <a:pt x="83486" y="692494"/>
                                                        <a:pt x="85430" y="689708"/>
                                                        <a:pt x="86920" y="686988"/>
                                                      </a:cubicBezTo>
                                                      <a:cubicBezTo>
                                                        <a:pt x="90936" y="679473"/>
                                                        <a:pt x="91584" y="670726"/>
                                                        <a:pt x="93787" y="662499"/>
                                                      </a:cubicBezTo>
                                                      <a:cubicBezTo>
                                                        <a:pt x="95990" y="654271"/>
                                                        <a:pt x="100719" y="645719"/>
                                                        <a:pt x="108817" y="643257"/>
                                                      </a:cubicBezTo>
                                                      <a:cubicBezTo>
                                                        <a:pt x="107586" y="636455"/>
                                                        <a:pt x="108169" y="629328"/>
                                                        <a:pt x="110567" y="622785"/>
                                                      </a:cubicBezTo>
                                                      <a:cubicBezTo>
                                                        <a:pt x="111797" y="619416"/>
                                                        <a:pt x="113547" y="616112"/>
                                                        <a:pt x="113871" y="612484"/>
                                                      </a:cubicBezTo>
                                                      <a:cubicBezTo>
                                                        <a:pt x="114259" y="607431"/>
                                                        <a:pt x="111733" y="602701"/>
                                                        <a:pt x="109789" y="598037"/>
                                                      </a:cubicBezTo>
                                                      <a:cubicBezTo>
                                                        <a:pt x="106031" y="589032"/>
                                                        <a:pt x="104153" y="579249"/>
                                                        <a:pt x="104282" y="569466"/>
                                                      </a:cubicBezTo>
                                                      <a:cubicBezTo>
                                                        <a:pt x="104282" y="567393"/>
                                                        <a:pt x="104541" y="565126"/>
                                                        <a:pt x="105837" y="563506"/>
                                                      </a:cubicBezTo>
                                                      <a:cubicBezTo>
                                                        <a:pt x="107133" y="561886"/>
                                                        <a:pt x="109271" y="561174"/>
                                                        <a:pt x="111214" y="560267"/>
                                                      </a:cubicBezTo>
                                                      <a:cubicBezTo>
                                                        <a:pt x="118989" y="556639"/>
                                                        <a:pt x="123653" y="548282"/>
                                                        <a:pt x="125143" y="539795"/>
                                                      </a:cubicBezTo>
                                                      <a:cubicBezTo>
                                                        <a:pt x="126633" y="531372"/>
                                                        <a:pt x="125402" y="522691"/>
                                                        <a:pt x="124172" y="514204"/>
                                                      </a:cubicBezTo>
                                                      <a:cubicBezTo>
                                                        <a:pt x="132205" y="511742"/>
                                                        <a:pt x="135250" y="501830"/>
                                                        <a:pt x="134861" y="493408"/>
                                                      </a:cubicBezTo>
                                                      <a:cubicBezTo>
                                                        <a:pt x="134408" y="484986"/>
                                                        <a:pt x="134343" y="476240"/>
                                                        <a:pt x="136222" y="468012"/>
                                                      </a:cubicBezTo>
                                                      <a:cubicBezTo>
                                                        <a:pt x="138489" y="458294"/>
                                                        <a:pt x="140109" y="446309"/>
                                                        <a:pt x="132529" y="439765"/>
                                                      </a:cubicBezTo>
                                                      <a:cubicBezTo>
                                                        <a:pt x="130002" y="437563"/>
                                                        <a:pt x="126504" y="436137"/>
                                                        <a:pt x="125143" y="433028"/>
                                                      </a:cubicBezTo>
                                                      <a:cubicBezTo>
                                                        <a:pt x="123394" y="428882"/>
                                                        <a:pt x="126504" y="424217"/>
                                                        <a:pt x="125921" y="419747"/>
                                                      </a:cubicBezTo>
                                                      <a:cubicBezTo>
                                                        <a:pt x="125208" y="414240"/>
                                                        <a:pt x="119118" y="410741"/>
                                                        <a:pt x="117952" y="405299"/>
                                                      </a:cubicBezTo>
                                                      <a:cubicBezTo>
                                                        <a:pt x="116462" y="398367"/>
                                                        <a:pt x="123200" y="392860"/>
                                                        <a:pt x="127929" y="387678"/>
                                                      </a:cubicBezTo>
                                                      <a:cubicBezTo>
                                                        <a:pt x="135379" y="379514"/>
                                                        <a:pt x="139267" y="368242"/>
                                                        <a:pt x="138360" y="357293"/>
                                                      </a:cubicBezTo>
                                                      <a:cubicBezTo>
                                                        <a:pt x="137971" y="352110"/>
                                                        <a:pt x="136740" y="346344"/>
                                                        <a:pt x="139914" y="342263"/>
                                                      </a:cubicBezTo>
                                                      <a:cubicBezTo>
                                                        <a:pt x="140951" y="340967"/>
                                                        <a:pt x="142376" y="339866"/>
                                                        <a:pt x="143024" y="338376"/>
                                                      </a:cubicBezTo>
                                                      <a:cubicBezTo>
                                                        <a:pt x="143737" y="336756"/>
                                                        <a:pt x="143413" y="334877"/>
                                                        <a:pt x="143089" y="333128"/>
                                                      </a:cubicBezTo>
                                                      <a:cubicBezTo>
                                                        <a:pt x="141793" y="325483"/>
                                                        <a:pt x="142959" y="315117"/>
                                                        <a:pt x="150604" y="313563"/>
                                                      </a:cubicBezTo>
                                                      <a:cubicBezTo>
                                                        <a:pt x="151122" y="308510"/>
                                                        <a:pt x="150798" y="303456"/>
                                                        <a:pt x="149697" y="298532"/>
                                                      </a:cubicBezTo>
                                                      <a:cubicBezTo>
                                                        <a:pt x="155463" y="295358"/>
                                                        <a:pt x="161682" y="291471"/>
                                                        <a:pt x="163367" y="285122"/>
                                                      </a:cubicBezTo>
                                                      <a:cubicBezTo>
                                                        <a:pt x="163950" y="283049"/>
                                                        <a:pt x="163950" y="280781"/>
                                                        <a:pt x="164792" y="278773"/>
                                                      </a:cubicBezTo>
                                                      <a:cubicBezTo>
                                                        <a:pt x="167384" y="272813"/>
                                                        <a:pt x="176907" y="270545"/>
                                                        <a:pt x="176583" y="264131"/>
                                                      </a:cubicBezTo>
                                                      <a:cubicBezTo>
                                                        <a:pt x="176454" y="261734"/>
                                                        <a:pt x="174899" y="259726"/>
                                                        <a:pt x="174056" y="257458"/>
                                                      </a:cubicBezTo>
                                                      <a:cubicBezTo>
                                                        <a:pt x="170040" y="247157"/>
                                                        <a:pt x="181313" y="235302"/>
                                                        <a:pt x="176842" y="225195"/>
                                                      </a:cubicBezTo>
                                                      <a:cubicBezTo>
                                                        <a:pt x="175093" y="221308"/>
                                                        <a:pt x="171206" y="218328"/>
                                                        <a:pt x="170752" y="214117"/>
                                                      </a:cubicBezTo>
                                                      <a:cubicBezTo>
                                                        <a:pt x="170169" y="208869"/>
                                                        <a:pt x="175093" y="204723"/>
                                                        <a:pt x="176583" y="199605"/>
                                                      </a:cubicBezTo>
                                                      <a:cubicBezTo>
                                                        <a:pt x="177296" y="197078"/>
                                                        <a:pt x="177166" y="194292"/>
                                                        <a:pt x="178203" y="191895"/>
                                                      </a:cubicBezTo>
                                                      <a:cubicBezTo>
                                                        <a:pt x="182284" y="182436"/>
                                                        <a:pt x="197898" y="186712"/>
                                                        <a:pt x="205283" y="179457"/>
                                                      </a:cubicBezTo>
                                                      <a:cubicBezTo>
                                                        <a:pt x="208782" y="176023"/>
                                                        <a:pt x="209494" y="170127"/>
                                                        <a:pt x="206903" y="165981"/>
                                                      </a:cubicBezTo>
                                                      <a:cubicBezTo>
                                                        <a:pt x="206125" y="164685"/>
                                                        <a:pt x="205089" y="163649"/>
                                                        <a:pt x="204052" y="162547"/>
                                                      </a:cubicBezTo>
                                                      <a:cubicBezTo>
                                                        <a:pt x="201590" y="163260"/>
                                                        <a:pt x="198675" y="162418"/>
                                                        <a:pt x="196731" y="160604"/>
                                                      </a:cubicBezTo>
                                                      <a:cubicBezTo>
                                                        <a:pt x="194270" y="158271"/>
                                                        <a:pt x="193233" y="154773"/>
                                                        <a:pt x="192715" y="151404"/>
                                                      </a:cubicBezTo>
                                                      <a:cubicBezTo>
                                                        <a:pt x="191743" y="144796"/>
                                                        <a:pt x="192456" y="138123"/>
                                                        <a:pt x="193168" y="131450"/>
                                                      </a:cubicBezTo>
                                                      <a:cubicBezTo>
                                                        <a:pt x="190123" y="130997"/>
                                                        <a:pt x="187143" y="129895"/>
                                                        <a:pt x="184617" y="128211"/>
                                                      </a:cubicBezTo>
                                                      <a:cubicBezTo>
                                                        <a:pt x="184422" y="124648"/>
                                                        <a:pt x="188050" y="121085"/>
                                                        <a:pt x="186560" y="117845"/>
                                                      </a:cubicBezTo>
                                                      <a:cubicBezTo>
                                                        <a:pt x="185912" y="116485"/>
                                                        <a:pt x="184552" y="115642"/>
                                                        <a:pt x="183321" y="114671"/>
                                                      </a:cubicBezTo>
                                                      <a:cubicBezTo>
                                                        <a:pt x="177879" y="110524"/>
                                                        <a:pt x="175547" y="102750"/>
                                                        <a:pt x="177749" y="96271"/>
                                                      </a:cubicBezTo>
                                                      <a:cubicBezTo>
                                                        <a:pt x="171336" y="94911"/>
                                                        <a:pt x="163172" y="91283"/>
                                                        <a:pt x="164080" y="84739"/>
                                                      </a:cubicBezTo>
                                                      <a:cubicBezTo>
                                                        <a:pt x="164339" y="82796"/>
                                                        <a:pt x="165440" y="81047"/>
                                                        <a:pt x="166347" y="79298"/>
                                                      </a:cubicBezTo>
                                                      <a:cubicBezTo>
                                                        <a:pt x="170558" y="70876"/>
                                                        <a:pt x="169845" y="60963"/>
                                                        <a:pt x="169068" y="51569"/>
                                                      </a:cubicBezTo>
                                                      <a:cubicBezTo>
                                                        <a:pt x="168938" y="49820"/>
                                                        <a:pt x="168744" y="47876"/>
                                                        <a:pt x="167578" y="46516"/>
                                                      </a:cubicBezTo>
                                                      <a:cubicBezTo>
                                                        <a:pt x="166217" y="44896"/>
                                                        <a:pt x="163885" y="44508"/>
                                                        <a:pt x="162201" y="43147"/>
                                                      </a:cubicBezTo>
                                                      <a:cubicBezTo>
                                                        <a:pt x="155852" y="38158"/>
                                                        <a:pt x="164080" y="26692"/>
                                                        <a:pt x="159480" y="20019"/>
                                                      </a:cubicBezTo>
                                                      <a:cubicBezTo>
                                                        <a:pt x="157990" y="17881"/>
                                                        <a:pt x="155463" y="16714"/>
                                                        <a:pt x="153455" y="14965"/>
                                                      </a:cubicBezTo>
                                                      <a:cubicBezTo>
                                                        <a:pt x="149179" y="11208"/>
                                                        <a:pt x="148272" y="5766"/>
                                                        <a:pt x="147883" y="0"/>
                                                      </a:cubicBezTo>
                                                      <a:cubicBezTo>
                                                        <a:pt x="147300" y="1296"/>
                                                        <a:pt x="146652" y="2526"/>
                                                        <a:pt x="146199" y="3887"/>
                                                      </a:cubicBezTo>
                                                      <a:cubicBezTo>
                                                        <a:pt x="145033" y="7580"/>
                                                        <a:pt x="144450" y="11467"/>
                                                        <a:pt x="142765" y="15030"/>
                                                      </a:cubicBezTo>
                                                      <a:cubicBezTo>
                                                        <a:pt x="140044" y="20926"/>
                                                        <a:pt x="134796" y="25137"/>
                                                        <a:pt x="129419" y="28765"/>
                                                      </a:cubicBezTo>
                                                      <a:cubicBezTo>
                                                        <a:pt x="130520" y="32198"/>
                                                        <a:pt x="130780" y="36086"/>
                                                        <a:pt x="130844" y="39714"/>
                                                      </a:cubicBezTo>
                                                      <a:cubicBezTo>
                                                        <a:pt x="131622" y="73273"/>
                                                        <a:pt x="132334" y="107350"/>
                                                        <a:pt x="123783" y="139743"/>
                                                      </a:cubicBezTo>
                                                      <a:cubicBezTo>
                                                        <a:pt x="121450" y="148554"/>
                                                        <a:pt x="118600" y="158530"/>
                                                        <a:pt x="123524" y="166240"/>
                                                      </a:cubicBezTo>
                                                      <a:cubicBezTo>
                                                        <a:pt x="125856" y="169933"/>
                                                        <a:pt x="129937" y="174208"/>
                                                        <a:pt x="127540" y="177837"/>
                                                      </a:cubicBezTo>
                                                      <a:cubicBezTo>
                                                        <a:pt x="126698" y="179067"/>
                                                        <a:pt x="125208" y="179845"/>
                                                        <a:pt x="124431" y="181141"/>
                                                      </a:cubicBezTo>
                                                      <a:cubicBezTo>
                                                        <a:pt x="123394" y="182890"/>
                                                        <a:pt x="123977" y="185093"/>
                                                        <a:pt x="124495" y="187036"/>
                                                      </a:cubicBezTo>
                                                      <a:cubicBezTo>
                                                        <a:pt x="129614" y="206083"/>
                                                        <a:pt x="127735" y="226944"/>
                                                        <a:pt x="119313" y="244825"/>
                                                      </a:cubicBezTo>
                                                      <a:cubicBezTo>
                                                        <a:pt x="117563" y="248518"/>
                                                        <a:pt x="115555" y="252146"/>
                                                        <a:pt x="114194" y="256033"/>
                                                      </a:cubicBezTo>
                                                      <a:cubicBezTo>
                                                        <a:pt x="112186" y="261929"/>
                                                        <a:pt x="111927" y="268277"/>
                                                        <a:pt x="110048" y="274238"/>
                                                      </a:cubicBezTo>
                                                      <a:cubicBezTo>
                                                        <a:pt x="108429" y="279356"/>
                                                        <a:pt x="105643" y="284020"/>
                                                        <a:pt x="104217" y="289203"/>
                                                      </a:cubicBezTo>
                                                      <a:cubicBezTo>
                                                        <a:pt x="98905" y="308250"/>
                                                        <a:pt x="112704" y="328204"/>
                                                        <a:pt x="109724" y="347770"/>
                                                      </a:cubicBezTo>
                                                      <a:cubicBezTo>
                                                        <a:pt x="109141" y="351722"/>
                                                        <a:pt x="107781" y="355673"/>
                                                        <a:pt x="105125" y="358589"/>
                                                      </a:cubicBezTo>
                                                      <a:cubicBezTo>
                                                        <a:pt x="102792" y="361180"/>
                                                        <a:pt x="99553" y="362800"/>
                                                        <a:pt x="97221" y="365326"/>
                                                      </a:cubicBezTo>
                                                      <a:cubicBezTo>
                                                        <a:pt x="91325" y="371676"/>
                                                        <a:pt x="92167" y="381523"/>
                                                        <a:pt x="93074" y="390139"/>
                                                      </a:cubicBezTo>
                                                      <a:cubicBezTo>
                                                        <a:pt x="94694" y="406077"/>
                                                        <a:pt x="95212" y="422144"/>
                                                        <a:pt x="94564" y="438210"/>
                                                      </a:cubicBezTo>
                                                      <a:cubicBezTo>
                                                        <a:pt x="93852" y="456415"/>
                                                        <a:pt x="92362" y="477989"/>
                                                        <a:pt x="78562" y="489974"/>
                                                      </a:cubicBezTo>
                                                      <a:cubicBezTo>
                                                        <a:pt x="75906" y="509539"/>
                                                        <a:pt x="73963" y="529235"/>
                                                        <a:pt x="72667" y="548929"/>
                                                      </a:cubicBezTo>
                                                      <a:cubicBezTo>
                                                        <a:pt x="72408" y="553076"/>
                                                        <a:pt x="72084" y="557416"/>
                                                        <a:pt x="70335" y="561174"/>
                                                      </a:cubicBezTo>
                                                      <a:cubicBezTo>
                                                        <a:pt x="67030" y="568300"/>
                                                        <a:pt x="58738" y="572835"/>
                                                        <a:pt x="57507" y="580610"/>
                                                      </a:cubicBezTo>
                                                      <a:cubicBezTo>
                                                        <a:pt x="56859" y="584561"/>
                                                        <a:pt x="57961" y="589291"/>
                                                        <a:pt x="54980" y="592012"/>
                                                      </a:cubicBezTo>
                                                      <a:cubicBezTo>
                                                        <a:pt x="52842" y="593955"/>
                                                        <a:pt x="49409" y="593891"/>
                                                        <a:pt x="47336" y="595899"/>
                                                      </a:cubicBezTo>
                                                      <a:cubicBezTo>
                                                        <a:pt x="44939" y="598231"/>
                                                        <a:pt x="45457" y="602054"/>
                                                        <a:pt x="45586" y="605358"/>
                                                      </a:cubicBezTo>
                                                      <a:cubicBezTo>
                                                        <a:pt x="45846" y="612160"/>
                                                        <a:pt x="43643" y="619027"/>
                                                        <a:pt x="44809" y="625700"/>
                                                      </a:cubicBezTo>
                                                      <a:cubicBezTo>
                                                        <a:pt x="45975" y="632438"/>
                                                        <a:pt x="52972" y="638982"/>
                                                        <a:pt x="59127" y="635936"/>
                                                      </a:cubicBezTo>
                                                      <a:cubicBezTo>
                                                        <a:pt x="63273" y="646367"/>
                                                        <a:pt x="59580" y="659389"/>
                                                        <a:pt x="50575" y="666062"/>
                                                      </a:cubicBezTo>
                                                      <a:cubicBezTo>
                                                        <a:pt x="47595" y="668264"/>
                                                        <a:pt x="44032" y="669949"/>
                                                        <a:pt x="41764" y="672864"/>
                                                      </a:cubicBezTo>
                                                      <a:cubicBezTo>
                                                        <a:pt x="35933" y="680250"/>
                                                        <a:pt x="40728" y="690875"/>
                                                        <a:pt x="41634" y="700269"/>
                                                      </a:cubicBezTo>
                                                      <a:cubicBezTo>
                                                        <a:pt x="43384" y="717631"/>
                                                        <a:pt x="30945" y="733439"/>
                                                        <a:pt x="29649" y="750866"/>
                                                      </a:cubicBezTo>
                                                      <a:cubicBezTo>
                                                        <a:pt x="29261" y="755725"/>
                                                        <a:pt x="29908" y="760843"/>
                                                        <a:pt x="32888" y="764730"/>
                                                      </a:cubicBezTo>
                                                      <a:cubicBezTo>
                                                        <a:pt x="35869" y="768553"/>
                                                        <a:pt x="41634" y="770496"/>
                                                        <a:pt x="45716" y="767970"/>
                                                      </a:cubicBezTo>
                                                      <a:cubicBezTo>
                                                        <a:pt x="46299" y="753134"/>
                                                        <a:pt x="46817" y="738298"/>
                                                        <a:pt x="47400" y="723462"/>
                                                      </a:cubicBezTo>
                                                      <a:cubicBezTo>
                                                        <a:pt x="47595" y="718603"/>
                                                        <a:pt x="47854" y="713420"/>
                                                        <a:pt x="50705" y="709468"/>
                                                      </a:cubicBezTo>
                                                      <a:cubicBezTo>
                                                        <a:pt x="53555" y="705516"/>
                                                        <a:pt x="59904" y="703702"/>
                                                        <a:pt x="63273" y="707136"/>
                                                      </a:cubicBezTo>
                                                      <a:cubicBezTo>
                                                        <a:pt x="67160" y="711088"/>
                                                        <a:pt x="64633" y="718279"/>
                                                        <a:pt x="67938" y="722749"/>
                                                      </a:cubicBezTo>
                                                      <a:cubicBezTo>
                                                        <a:pt x="69946" y="725470"/>
                                                        <a:pt x="73898" y="726636"/>
                                                        <a:pt x="75064" y="729876"/>
                                                      </a:cubicBezTo>
                                                      <a:cubicBezTo>
                                                        <a:pt x="77331" y="736289"/>
                                                        <a:pt x="66642" y="739788"/>
                                                        <a:pt x="64763" y="746396"/>
                                                      </a:cubicBezTo>
                                                      <a:cubicBezTo>
                                                        <a:pt x="64050" y="748923"/>
                                                        <a:pt x="64763" y="751579"/>
                                                        <a:pt x="64504" y="754235"/>
                                                      </a:cubicBezTo>
                                                      <a:cubicBezTo>
                                                        <a:pt x="64245" y="756827"/>
                                                        <a:pt x="62172" y="759742"/>
                                                        <a:pt x="59580" y="759159"/>
                                                      </a:cubicBezTo>
                                                      <a:cubicBezTo>
                                                        <a:pt x="61135" y="782806"/>
                                                        <a:pt x="60941" y="806647"/>
                                                        <a:pt x="58867" y="830229"/>
                                                      </a:cubicBezTo>
                                                      <a:cubicBezTo>
                                                        <a:pt x="58220" y="837873"/>
                                                        <a:pt x="55434" y="847462"/>
                                                        <a:pt x="47789" y="848045"/>
                                                      </a:cubicBezTo>
                                                      <a:cubicBezTo>
                                                        <a:pt x="48113" y="855625"/>
                                                        <a:pt x="47983" y="863270"/>
                                                        <a:pt x="47336" y="870849"/>
                                                      </a:cubicBezTo>
                                                      <a:cubicBezTo>
                                                        <a:pt x="45003" y="871368"/>
                                                        <a:pt x="42412" y="870979"/>
                                                        <a:pt x="40339" y="869748"/>
                                                      </a:cubicBezTo>
                                                      <a:cubicBezTo>
                                                        <a:pt x="36257" y="863075"/>
                                                        <a:pt x="33083" y="855884"/>
                                                        <a:pt x="30880" y="848433"/>
                                                      </a:cubicBezTo>
                                                      <a:cubicBezTo>
                                                        <a:pt x="24466" y="849729"/>
                                                        <a:pt x="18247" y="852256"/>
                                                        <a:pt x="12740" y="855819"/>
                                                      </a:cubicBezTo>
                                                      <a:cubicBezTo>
                                                        <a:pt x="14813" y="859707"/>
                                                        <a:pt x="10278" y="863594"/>
                                                        <a:pt x="6780" y="866250"/>
                                                      </a:cubicBezTo>
                                                      <a:cubicBezTo>
                                                        <a:pt x="3281" y="868906"/>
                                                        <a:pt x="431" y="876616"/>
                                                        <a:pt x="4383" y="878559"/>
                                                      </a:cubicBezTo>
                                                      <a:cubicBezTo>
                                                        <a:pt x="4642" y="881863"/>
                                                        <a:pt x="7428" y="884519"/>
                                                        <a:pt x="10472" y="885815"/>
                                                      </a:cubicBezTo>
                                                      <a:cubicBezTo>
                                                        <a:pt x="13582" y="887046"/>
                                                        <a:pt x="16951" y="887176"/>
                                                        <a:pt x="20255" y="887435"/>
                                                      </a:cubicBezTo>
                                                      <a:cubicBezTo>
                                                        <a:pt x="25373" y="887823"/>
                                                        <a:pt x="30750" y="888730"/>
                                                        <a:pt x="34508" y="892294"/>
                                                      </a:cubicBezTo>
                                                      <a:cubicBezTo>
                                                        <a:pt x="38201" y="895792"/>
                                                        <a:pt x="39043" y="902724"/>
                                                        <a:pt x="34961" y="905769"/>
                                                      </a:cubicBezTo>
                                                      <a:cubicBezTo>
                                                        <a:pt x="33018" y="907194"/>
                                                        <a:pt x="30427" y="907454"/>
                                                        <a:pt x="28289" y="908555"/>
                                                      </a:cubicBezTo>
                                                      <a:cubicBezTo>
                                                        <a:pt x="24725" y="910304"/>
                                                        <a:pt x="22458" y="914385"/>
                                                        <a:pt x="22847" y="918338"/>
                                                      </a:cubicBezTo>
                                                      <a:cubicBezTo>
                                                        <a:pt x="22911" y="919309"/>
                                                        <a:pt x="23171" y="920281"/>
                                                        <a:pt x="23818" y="920994"/>
                                                      </a:cubicBezTo>
                                                      <a:cubicBezTo>
                                                        <a:pt x="24725" y="922030"/>
                                                        <a:pt x="26216" y="922289"/>
                                                        <a:pt x="27511" y="922484"/>
                                                      </a:cubicBezTo>
                                                      <a:cubicBezTo>
                                                        <a:pt x="34508" y="923585"/>
                                                        <a:pt x="41440" y="924686"/>
                                                        <a:pt x="48437" y="925723"/>
                                                      </a:cubicBezTo>
                                                      <a:cubicBezTo>
                                                        <a:pt x="49733" y="925917"/>
                                                        <a:pt x="51223" y="926306"/>
                                                        <a:pt x="51611" y="927472"/>
                                                      </a:cubicBezTo>
                                                      <a:cubicBezTo>
                                                        <a:pt x="51806" y="928055"/>
                                                        <a:pt x="51741" y="928703"/>
                                                        <a:pt x="51611" y="929351"/>
                                                      </a:cubicBezTo>
                                                      <a:cubicBezTo>
                                                        <a:pt x="50834" y="933368"/>
                                                        <a:pt x="50122" y="937385"/>
                                                        <a:pt x="49344" y="941466"/>
                                                      </a:cubicBezTo>
                                                      <a:cubicBezTo>
                                                        <a:pt x="47271" y="943150"/>
                                                        <a:pt x="44032" y="941725"/>
                                                        <a:pt x="42282" y="939717"/>
                                                      </a:cubicBezTo>
                                                      <a:cubicBezTo>
                                                        <a:pt x="40533" y="937708"/>
                                                        <a:pt x="39367" y="935117"/>
                                                        <a:pt x="37164" y="933562"/>
                                                      </a:cubicBezTo>
                                                      <a:cubicBezTo>
                                                        <a:pt x="34638" y="931748"/>
                                                        <a:pt x="31269" y="931748"/>
                                                        <a:pt x="28159" y="931813"/>
                                                      </a:cubicBezTo>
                                                      <a:cubicBezTo>
                                                        <a:pt x="22588" y="931942"/>
                                                        <a:pt x="17016" y="932007"/>
                                                        <a:pt x="11444" y="932137"/>
                                                      </a:cubicBezTo>
                                                      <a:cubicBezTo>
                                                        <a:pt x="9760" y="932137"/>
                                                        <a:pt x="8011" y="932266"/>
                                                        <a:pt x="6586" y="933173"/>
                                                      </a:cubicBezTo>
                                                      <a:cubicBezTo>
                                                        <a:pt x="5225" y="934080"/>
                                                        <a:pt x="4512" y="935700"/>
                                                        <a:pt x="3929" y="937255"/>
                                                      </a:cubicBezTo>
                                                      <a:cubicBezTo>
                                                        <a:pt x="3152" y="939393"/>
                                                        <a:pt x="2439" y="941660"/>
                                                        <a:pt x="2633" y="943992"/>
                                                      </a:cubicBezTo>
                                                      <a:cubicBezTo>
                                                        <a:pt x="2893" y="947880"/>
                                                        <a:pt x="5678" y="951443"/>
                                                        <a:pt x="9371" y="952674"/>
                                                      </a:cubicBezTo>
                                                      <a:cubicBezTo>
                                                        <a:pt x="13064" y="953905"/>
                                                        <a:pt x="17469" y="952674"/>
                                                        <a:pt x="19931" y="949629"/>
                                                      </a:cubicBezTo>
                                                      <a:cubicBezTo>
                                                        <a:pt x="22134" y="946973"/>
                                                        <a:pt x="23818" y="942761"/>
                                                        <a:pt x="27187" y="943086"/>
                                                      </a:cubicBezTo>
                                                      <a:cubicBezTo>
                                                        <a:pt x="30556" y="943410"/>
                                                        <a:pt x="31463" y="947815"/>
                                                        <a:pt x="31528" y="951184"/>
                                                      </a:cubicBezTo>
                                                      <a:cubicBezTo>
                                                        <a:pt x="31528" y="953905"/>
                                                        <a:pt x="31333" y="957079"/>
                                                        <a:pt x="29066" y="958505"/>
                                                      </a:cubicBezTo>
                                                      <a:cubicBezTo>
                                                        <a:pt x="27900" y="959282"/>
                                                        <a:pt x="26410" y="959347"/>
                                                        <a:pt x="24985" y="959541"/>
                                                      </a:cubicBezTo>
                                                      <a:cubicBezTo>
                                                        <a:pt x="19089" y="960189"/>
                                                        <a:pt x="13388" y="962262"/>
                                                        <a:pt x="8464" y="965566"/>
                                                      </a:cubicBezTo>
                                                      <a:cubicBezTo>
                                                        <a:pt x="9371" y="969842"/>
                                                        <a:pt x="9566" y="975543"/>
                                                        <a:pt x="5549" y="977228"/>
                                                      </a:cubicBezTo>
                                                      <a:cubicBezTo>
                                                        <a:pt x="4512" y="977616"/>
                                                        <a:pt x="3411" y="977681"/>
                                                        <a:pt x="2374" y="978199"/>
                                                      </a:cubicBezTo>
                                                      <a:cubicBezTo>
                                                        <a:pt x="-282" y="979495"/>
                                                        <a:pt x="-671" y="983512"/>
                                                        <a:pt x="1014" y="985974"/>
                                                      </a:cubicBezTo>
                                                      <a:cubicBezTo>
                                                        <a:pt x="2698" y="988436"/>
                                                        <a:pt x="5614" y="989667"/>
                                                        <a:pt x="8464" y="990573"/>
                                                      </a:cubicBezTo>
                                                      <a:cubicBezTo>
                                                        <a:pt x="7492" y="995044"/>
                                                        <a:pt x="12740" y="999579"/>
                                                        <a:pt x="17016" y="997894"/>
                                                      </a:cubicBezTo>
                                                      <a:cubicBezTo>
                                                        <a:pt x="20061" y="993165"/>
                                                        <a:pt x="21810" y="987658"/>
                                                        <a:pt x="22134" y="982086"/>
                                                      </a:cubicBezTo>
                                                      <a:cubicBezTo>
                                                        <a:pt x="22328" y="978653"/>
                                                        <a:pt x="22134" y="974895"/>
                                                        <a:pt x="24142" y="972110"/>
                                                      </a:cubicBezTo>
                                                      <a:cubicBezTo>
                                                        <a:pt x="27058" y="968223"/>
                                                        <a:pt x="33795" y="968805"/>
                                                        <a:pt x="36711" y="972692"/>
                                                      </a:cubicBezTo>
                                                      <a:cubicBezTo>
                                                        <a:pt x="39626" y="976580"/>
                                                        <a:pt x="38914" y="982410"/>
                                                        <a:pt x="35869" y="986168"/>
                                                      </a:cubicBezTo>
                                                      <a:cubicBezTo>
                                                        <a:pt x="34508" y="987852"/>
                                                        <a:pt x="32694" y="989213"/>
                                                        <a:pt x="31658" y="991157"/>
                                                      </a:cubicBezTo>
                                                      <a:cubicBezTo>
                                                        <a:pt x="29455" y="995238"/>
                                                        <a:pt x="31398" y="1000291"/>
                                                        <a:pt x="30815" y="1004891"/>
                                                      </a:cubicBezTo>
                                                      <a:cubicBezTo>
                                                        <a:pt x="30038" y="1010916"/>
                                                        <a:pt x="24337" y="1015970"/>
                                                        <a:pt x="18247" y="1015905"/>
                                                      </a:cubicBezTo>
                                                      <a:cubicBezTo>
                                                        <a:pt x="21616" y="1021088"/>
                                                        <a:pt x="17469" y="1029251"/>
                                                        <a:pt x="11315" y="1029510"/>
                                                      </a:cubicBezTo>
                                                      <a:cubicBezTo>
                                                        <a:pt x="10732" y="1035081"/>
                                                        <a:pt x="12092" y="1040847"/>
                                                        <a:pt x="15008" y="1045641"/>
                                                      </a:cubicBezTo>
                                                      <a:cubicBezTo>
                                                        <a:pt x="25892" y="1045641"/>
                                                        <a:pt x="36840" y="1044346"/>
                                                        <a:pt x="47400" y="1041689"/>
                                                      </a:cubicBezTo>
                                                      <a:cubicBezTo>
                                                        <a:pt x="50316" y="1043698"/>
                                                        <a:pt x="48891" y="1048427"/>
                                                        <a:pt x="46299" y="1050889"/>
                                                      </a:cubicBezTo>
                                                      <a:cubicBezTo>
                                                        <a:pt x="43708" y="1053351"/>
                                                        <a:pt x="40209" y="1055165"/>
                                                        <a:pt x="39108" y="1058534"/>
                                                      </a:cubicBezTo>
                                                      <a:cubicBezTo>
                                                        <a:pt x="37747" y="1062745"/>
                                                        <a:pt x="41311" y="1067410"/>
                                                        <a:pt x="45716" y="1068122"/>
                                                      </a:cubicBezTo>
                                                      <a:cubicBezTo>
                                                        <a:pt x="50122" y="1068835"/>
                                                        <a:pt x="54462" y="1066243"/>
                                                        <a:pt x="57053" y="1062680"/>
                                                      </a:cubicBezTo>
                                                      <a:cubicBezTo>
                                                        <a:pt x="58025" y="1061320"/>
                                                        <a:pt x="58997" y="1059700"/>
                                                        <a:pt x="60617" y="1059376"/>
                                                      </a:cubicBezTo>
                                                      <a:cubicBezTo>
                                                        <a:pt x="62949" y="1058923"/>
                                                        <a:pt x="64698" y="1061449"/>
                                                        <a:pt x="65735" y="1063587"/>
                                                      </a:cubicBezTo>
                                                      <a:cubicBezTo>
                                                        <a:pt x="66707" y="1065595"/>
                                                        <a:pt x="67678" y="1067733"/>
                                                        <a:pt x="67484" y="1069936"/>
                                                      </a:cubicBezTo>
                                                      <a:cubicBezTo>
                                                        <a:pt x="67030" y="1074925"/>
                                                        <a:pt x="61070" y="1077451"/>
                                                        <a:pt x="56082" y="1077516"/>
                                                      </a:cubicBezTo>
                                                      <a:cubicBezTo>
                                                        <a:pt x="51093" y="1077645"/>
                                                        <a:pt x="45716" y="1076544"/>
                                                        <a:pt x="41246" y="1078747"/>
                                                      </a:cubicBezTo>
                                                      <a:cubicBezTo>
                                                        <a:pt x="40598" y="1079071"/>
                                                        <a:pt x="39950" y="1079460"/>
                                                        <a:pt x="39691" y="1080107"/>
                                                      </a:cubicBezTo>
                                                      <a:cubicBezTo>
                                                        <a:pt x="38201" y="1083088"/>
                                                        <a:pt x="44615" y="1084772"/>
                                                        <a:pt x="44550" y="1088076"/>
                                                      </a:cubicBezTo>
                                                      <a:cubicBezTo>
                                                        <a:pt x="41181" y="1087752"/>
                                                        <a:pt x="39302" y="1092546"/>
                                                        <a:pt x="40987" y="1095461"/>
                                                      </a:cubicBezTo>
                                                      <a:cubicBezTo>
                                                        <a:pt x="42671" y="1098377"/>
                                                        <a:pt x="46364" y="1099414"/>
                                                        <a:pt x="49733" y="1099802"/>
                                                      </a:cubicBezTo>
                                                      <a:cubicBezTo>
                                                        <a:pt x="53102" y="1100191"/>
                                                        <a:pt x="56600" y="1100126"/>
                                                        <a:pt x="59580" y="1101746"/>
                                                      </a:cubicBezTo>
                                                      <a:cubicBezTo>
                                                        <a:pt x="59839" y="1103884"/>
                                                        <a:pt x="59191" y="1106151"/>
                                                        <a:pt x="57766" y="1107771"/>
                                                      </a:cubicBezTo>
                                                      <a:cubicBezTo>
                                                        <a:pt x="53814" y="1105892"/>
                                                        <a:pt x="48437" y="1107706"/>
                                                        <a:pt x="46558" y="1111658"/>
                                                      </a:cubicBezTo>
                                                      <a:cubicBezTo>
                                                        <a:pt x="44679" y="1115610"/>
                                                        <a:pt x="46753" y="1120987"/>
                                                        <a:pt x="50899" y="1122477"/>
                                                      </a:cubicBezTo>
                                                      <a:cubicBezTo>
                                                        <a:pt x="55045" y="1123967"/>
                                                        <a:pt x="60163" y="1120858"/>
                                                        <a:pt x="60681" y="1116517"/>
                                                      </a:cubicBezTo>
                                                      <a:cubicBezTo>
                                                        <a:pt x="60811" y="1115286"/>
                                                        <a:pt x="60681" y="1113990"/>
                                                        <a:pt x="61329" y="1113019"/>
                                                      </a:cubicBezTo>
                                                      <a:cubicBezTo>
                                                        <a:pt x="61848" y="1112176"/>
                                                        <a:pt x="62819" y="1111788"/>
                                                        <a:pt x="63726" y="1111399"/>
                                                      </a:cubicBezTo>
                                                      <a:cubicBezTo>
                                                        <a:pt x="66966" y="1110038"/>
                                                        <a:pt x="70205" y="1108678"/>
                                                        <a:pt x="73444" y="1107253"/>
                                                      </a:cubicBezTo>
                                                      <a:cubicBezTo>
                                                        <a:pt x="74934" y="1102523"/>
                                                        <a:pt x="72537" y="1096887"/>
                                                        <a:pt x="68067" y="1094749"/>
                                                      </a:cubicBezTo>
                                                      <a:cubicBezTo>
                                                        <a:pt x="65346" y="1093388"/>
                                                        <a:pt x="62172" y="1093259"/>
                                                        <a:pt x="59386" y="1092028"/>
                                                      </a:cubicBezTo>
                                                      <a:cubicBezTo>
                                                        <a:pt x="56600" y="1090797"/>
                                                        <a:pt x="54203" y="1087558"/>
                                                        <a:pt x="55499" y="1084837"/>
                                                      </a:cubicBezTo>
                                                      <a:cubicBezTo>
                                                        <a:pt x="61394" y="1083670"/>
                                                        <a:pt x="67354" y="1082504"/>
                                                        <a:pt x="73250" y="1081273"/>
                                                      </a:cubicBezTo>
                                                      <a:cubicBezTo>
                                                        <a:pt x="74351" y="1081079"/>
                                                        <a:pt x="75647" y="1080885"/>
                                                        <a:pt x="76554" y="1081533"/>
                                                      </a:cubicBezTo>
                                                      <a:cubicBezTo>
                                                        <a:pt x="77461" y="1082180"/>
                                                        <a:pt x="77591" y="1083476"/>
                                                        <a:pt x="78174" y="1084448"/>
                                                      </a:cubicBezTo>
                                                      <a:cubicBezTo>
                                                        <a:pt x="79858" y="1087558"/>
                                                        <a:pt x="84328" y="1087169"/>
                                                        <a:pt x="87892" y="1087363"/>
                                                      </a:cubicBezTo>
                                                      <a:cubicBezTo>
                                                        <a:pt x="91455" y="1087558"/>
                                                        <a:pt x="95795" y="1090862"/>
                                                        <a:pt x="93787" y="1093777"/>
                                                      </a:cubicBezTo>
                                                      <a:cubicBezTo>
                                                        <a:pt x="88863" y="1096239"/>
                                                        <a:pt x="83227" y="1097405"/>
                                                        <a:pt x="77655" y="1097016"/>
                                                      </a:cubicBezTo>
                                                      <a:cubicBezTo>
                                                        <a:pt x="77785" y="1102135"/>
                                                        <a:pt x="84004" y="1106022"/>
                                                        <a:pt x="88669" y="1103884"/>
                                                      </a:cubicBezTo>
                                                      <a:cubicBezTo>
                                                        <a:pt x="92686" y="1102070"/>
                                                        <a:pt x="95795" y="1096822"/>
                                                        <a:pt x="100071" y="1098053"/>
                                                      </a:cubicBezTo>
                                                      <a:cubicBezTo>
                                                        <a:pt x="104995" y="1099478"/>
                                                        <a:pt x="105448" y="1108483"/>
                                                        <a:pt x="110567" y="1108160"/>
                                                      </a:cubicBezTo>
                                                      <a:cubicBezTo>
                                                        <a:pt x="109595" y="1103301"/>
                                                        <a:pt x="112640" y="1098571"/>
                                                        <a:pt x="115879" y="1094814"/>
                                                      </a:cubicBezTo>
                                                      <a:cubicBezTo>
                                                        <a:pt x="121580" y="1088270"/>
                                                        <a:pt x="129614" y="1082310"/>
                                                        <a:pt x="138165" y="1083735"/>
                                                      </a:cubicBezTo>
                                                      <a:cubicBezTo>
                                                        <a:pt x="137582" y="1081144"/>
                                                        <a:pt x="137193" y="1078099"/>
                                                        <a:pt x="137971" y="1075637"/>
                                                      </a:cubicBezTo>
                                                      <a:cubicBezTo>
                                                        <a:pt x="130002" y="1072592"/>
                                                        <a:pt x="121645" y="1070973"/>
                                                        <a:pt x="113352" y="107252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0" name="Freeform: Shape 40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D06D2296-24DE-4BE5-A3F2-F27222FDF15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06217" y="5970215"/>
                                                  <a:ext cx="43413" cy="5042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604 w 43413"/>
                                                    <a:gd name="connsiteY0" fmla="*/ 11075 h 50421"/>
                                                    <a:gd name="connsiteX1" fmla="*/ 11151 w 43413"/>
                                                    <a:gd name="connsiteY1" fmla="*/ 12630 h 50421"/>
                                                    <a:gd name="connsiteX2" fmla="*/ 3765 w 43413"/>
                                                    <a:gd name="connsiteY2" fmla="*/ 14509 h 50421"/>
                                                    <a:gd name="connsiteX3" fmla="*/ 3506 w 43413"/>
                                                    <a:gd name="connsiteY3" fmla="*/ 18396 h 50421"/>
                                                    <a:gd name="connsiteX4" fmla="*/ 2923 w 43413"/>
                                                    <a:gd name="connsiteY4" fmla="*/ 20663 h 50421"/>
                                                    <a:gd name="connsiteX5" fmla="*/ 7 w 43413"/>
                                                    <a:gd name="connsiteY5" fmla="*/ 31223 h 50421"/>
                                                    <a:gd name="connsiteX6" fmla="*/ 4737 w 43413"/>
                                                    <a:gd name="connsiteY6" fmla="*/ 40488 h 50421"/>
                                                    <a:gd name="connsiteX7" fmla="*/ 9855 w 43413"/>
                                                    <a:gd name="connsiteY7" fmla="*/ 43403 h 50421"/>
                                                    <a:gd name="connsiteX8" fmla="*/ 10568 w 43413"/>
                                                    <a:gd name="connsiteY8" fmla="*/ 46124 h 50421"/>
                                                    <a:gd name="connsiteX9" fmla="*/ 15426 w 43413"/>
                                                    <a:gd name="connsiteY9" fmla="*/ 50400 h 50421"/>
                                                    <a:gd name="connsiteX10" fmla="*/ 17694 w 43413"/>
                                                    <a:gd name="connsiteY10" fmla="*/ 50011 h 50421"/>
                                                    <a:gd name="connsiteX11" fmla="*/ 18795 w 43413"/>
                                                    <a:gd name="connsiteY11" fmla="*/ 44634 h 50421"/>
                                                    <a:gd name="connsiteX12" fmla="*/ 15297 w 43413"/>
                                                    <a:gd name="connsiteY12" fmla="*/ 31547 h 50421"/>
                                                    <a:gd name="connsiteX13" fmla="*/ 23136 w 43413"/>
                                                    <a:gd name="connsiteY13" fmla="*/ 30640 h 50421"/>
                                                    <a:gd name="connsiteX14" fmla="*/ 27218 w 43413"/>
                                                    <a:gd name="connsiteY14" fmla="*/ 30640 h 50421"/>
                                                    <a:gd name="connsiteX15" fmla="*/ 29550 w 43413"/>
                                                    <a:gd name="connsiteY15" fmla="*/ 27660 h 50421"/>
                                                    <a:gd name="connsiteX16" fmla="*/ 34409 w 43413"/>
                                                    <a:gd name="connsiteY16" fmla="*/ 27660 h 50421"/>
                                                    <a:gd name="connsiteX17" fmla="*/ 36352 w 43413"/>
                                                    <a:gd name="connsiteY17" fmla="*/ 23190 h 50421"/>
                                                    <a:gd name="connsiteX18" fmla="*/ 36223 w 43413"/>
                                                    <a:gd name="connsiteY18" fmla="*/ 20663 h 50421"/>
                                                    <a:gd name="connsiteX19" fmla="*/ 38101 w 43413"/>
                                                    <a:gd name="connsiteY19" fmla="*/ 19303 h 50421"/>
                                                    <a:gd name="connsiteX20" fmla="*/ 42637 w 43413"/>
                                                    <a:gd name="connsiteY20" fmla="*/ 13407 h 50421"/>
                                                    <a:gd name="connsiteX21" fmla="*/ 43414 w 43413"/>
                                                    <a:gd name="connsiteY21" fmla="*/ 5827 h 50421"/>
                                                    <a:gd name="connsiteX22" fmla="*/ 42896 w 43413"/>
                                                    <a:gd name="connsiteY22" fmla="*/ 2523 h 50421"/>
                                                    <a:gd name="connsiteX23" fmla="*/ 35381 w 43413"/>
                                                    <a:gd name="connsiteY23" fmla="*/ 62 h 50421"/>
                                                    <a:gd name="connsiteX24" fmla="*/ 32595 w 43413"/>
                                                    <a:gd name="connsiteY24" fmla="*/ 709 h 50421"/>
                                                    <a:gd name="connsiteX25" fmla="*/ 30846 w 43413"/>
                                                    <a:gd name="connsiteY25" fmla="*/ 2588 h 50421"/>
                                                    <a:gd name="connsiteX26" fmla="*/ 24237 w 43413"/>
                                                    <a:gd name="connsiteY26" fmla="*/ 12047 h 50421"/>
                                                    <a:gd name="connsiteX27" fmla="*/ 23071 w 43413"/>
                                                    <a:gd name="connsiteY27" fmla="*/ 3949 h 50421"/>
                                                    <a:gd name="connsiteX28" fmla="*/ 15232 w 43413"/>
                                                    <a:gd name="connsiteY28" fmla="*/ 2977 h 50421"/>
                                                    <a:gd name="connsiteX29" fmla="*/ 11539 w 43413"/>
                                                    <a:gd name="connsiteY29" fmla="*/ 11075 h 5042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3413" h="50421">
                                                      <a:moveTo>
                                                        <a:pt x="11604" y="11075"/>
                                                      </a:moveTo>
                                                      <a:cubicBezTo>
                                                        <a:pt x="11539" y="11593"/>
                                                        <a:pt x="11475" y="12176"/>
                                                        <a:pt x="11151" y="12630"/>
                                                      </a:cubicBezTo>
                                                      <a:cubicBezTo>
                                                        <a:pt x="9725" y="14897"/>
                                                        <a:pt x="5320" y="12306"/>
                                                        <a:pt x="3765" y="14509"/>
                                                      </a:cubicBezTo>
                                                      <a:cubicBezTo>
                                                        <a:pt x="2988" y="15610"/>
                                                        <a:pt x="3571" y="17100"/>
                                                        <a:pt x="3506" y="18396"/>
                                                      </a:cubicBezTo>
                                                      <a:cubicBezTo>
                                                        <a:pt x="3506" y="19173"/>
                                                        <a:pt x="3182" y="19886"/>
                                                        <a:pt x="2923" y="20663"/>
                                                      </a:cubicBezTo>
                                                      <a:cubicBezTo>
                                                        <a:pt x="1562" y="24097"/>
                                                        <a:pt x="137" y="27531"/>
                                                        <a:pt x="7" y="31223"/>
                                                      </a:cubicBezTo>
                                                      <a:cubicBezTo>
                                                        <a:pt x="-122" y="34916"/>
                                                        <a:pt x="1433" y="38868"/>
                                                        <a:pt x="4737" y="40488"/>
                                                      </a:cubicBezTo>
                                                      <a:cubicBezTo>
                                                        <a:pt x="6551" y="41395"/>
                                                        <a:pt x="8948" y="41654"/>
                                                        <a:pt x="9855" y="43403"/>
                                                      </a:cubicBezTo>
                                                      <a:cubicBezTo>
                                                        <a:pt x="10308" y="44245"/>
                                                        <a:pt x="10308" y="45217"/>
                                                        <a:pt x="10568" y="46124"/>
                                                      </a:cubicBezTo>
                                                      <a:cubicBezTo>
                                                        <a:pt x="11151" y="48327"/>
                                                        <a:pt x="13159" y="50141"/>
                                                        <a:pt x="15426" y="50400"/>
                                                      </a:cubicBezTo>
                                                      <a:cubicBezTo>
                                                        <a:pt x="16204" y="50465"/>
                                                        <a:pt x="17046" y="50400"/>
                                                        <a:pt x="17694" y="50011"/>
                                                      </a:cubicBezTo>
                                                      <a:cubicBezTo>
                                                        <a:pt x="19379" y="48975"/>
                                                        <a:pt x="19184" y="46513"/>
                                                        <a:pt x="18795" y="44634"/>
                                                      </a:cubicBezTo>
                                                      <a:cubicBezTo>
                                                        <a:pt x="17888" y="40228"/>
                                                        <a:pt x="16722" y="35823"/>
                                                        <a:pt x="15297" y="31547"/>
                                                      </a:cubicBezTo>
                                                      <a:cubicBezTo>
                                                        <a:pt x="17824" y="30770"/>
                                                        <a:pt x="20480" y="30446"/>
                                                        <a:pt x="23136" y="30640"/>
                                                      </a:cubicBezTo>
                                                      <a:cubicBezTo>
                                                        <a:pt x="24496" y="30770"/>
                                                        <a:pt x="25922" y="31029"/>
                                                        <a:pt x="27218" y="30640"/>
                                                      </a:cubicBezTo>
                                                      <a:cubicBezTo>
                                                        <a:pt x="28513" y="30252"/>
                                                        <a:pt x="29744" y="29021"/>
                                                        <a:pt x="29550" y="27660"/>
                                                      </a:cubicBezTo>
                                                      <a:cubicBezTo>
                                                        <a:pt x="30975" y="28567"/>
                                                        <a:pt x="32983" y="28567"/>
                                                        <a:pt x="34409" y="27660"/>
                                                      </a:cubicBezTo>
                                                      <a:cubicBezTo>
                                                        <a:pt x="35834" y="26688"/>
                                                        <a:pt x="36676" y="24874"/>
                                                        <a:pt x="36352" y="23190"/>
                                                      </a:cubicBezTo>
                                                      <a:cubicBezTo>
                                                        <a:pt x="36223" y="22348"/>
                                                        <a:pt x="35834" y="21441"/>
                                                        <a:pt x="36223" y="20663"/>
                                                      </a:cubicBezTo>
                                                      <a:cubicBezTo>
                                                        <a:pt x="36547" y="19950"/>
                                                        <a:pt x="37389" y="19691"/>
                                                        <a:pt x="38101" y="19303"/>
                                                      </a:cubicBezTo>
                                                      <a:cubicBezTo>
                                                        <a:pt x="40369" y="18201"/>
                                                        <a:pt x="41924" y="15869"/>
                                                        <a:pt x="42637" y="13407"/>
                                                      </a:cubicBezTo>
                                                      <a:cubicBezTo>
                                                        <a:pt x="43349" y="10946"/>
                                                        <a:pt x="43349" y="8354"/>
                                                        <a:pt x="43414" y="5827"/>
                                                      </a:cubicBezTo>
                                                      <a:cubicBezTo>
                                                        <a:pt x="43414" y="4661"/>
                                                        <a:pt x="43414" y="3495"/>
                                                        <a:pt x="42896" y="2523"/>
                                                      </a:cubicBezTo>
                                                      <a:cubicBezTo>
                                                        <a:pt x="41600" y="-3"/>
                                                        <a:pt x="38166" y="-133"/>
                                                        <a:pt x="35381" y="62"/>
                                                      </a:cubicBezTo>
                                                      <a:cubicBezTo>
                                                        <a:pt x="34409" y="126"/>
                                                        <a:pt x="33437" y="191"/>
                                                        <a:pt x="32595" y="709"/>
                                                      </a:cubicBezTo>
                                                      <a:cubicBezTo>
                                                        <a:pt x="31882" y="1163"/>
                                                        <a:pt x="31364" y="1875"/>
                                                        <a:pt x="30846" y="2588"/>
                                                      </a:cubicBezTo>
                                                      <a:cubicBezTo>
                                                        <a:pt x="28643" y="5763"/>
                                                        <a:pt x="26440" y="8937"/>
                                                        <a:pt x="24237" y="12047"/>
                                                      </a:cubicBezTo>
                                                      <a:cubicBezTo>
                                                        <a:pt x="22682" y="9715"/>
                                                        <a:pt x="24237" y="6475"/>
                                                        <a:pt x="23071" y="3949"/>
                                                      </a:cubicBezTo>
                                                      <a:cubicBezTo>
                                                        <a:pt x="21776" y="1228"/>
                                                        <a:pt x="17565" y="1098"/>
                                                        <a:pt x="15232" y="2977"/>
                                                      </a:cubicBezTo>
                                                      <a:cubicBezTo>
                                                        <a:pt x="12900" y="4921"/>
                                                        <a:pt x="11993" y="8030"/>
                                                        <a:pt x="11539" y="1107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1" name="Freeform: Shape 41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BA17AB45-0FB2-4DFE-9DD5-F1C25BB6707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5226435" y="5947543"/>
                                                  <a:ext cx="94948" cy="11028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76709 w 94948"/>
                                                    <a:gd name="connsiteY0" fmla="*/ 61151 h 110280"/>
                                                    <a:gd name="connsiteX1" fmla="*/ 74441 w 94948"/>
                                                    <a:gd name="connsiteY1" fmla="*/ 36792 h 110280"/>
                                                    <a:gd name="connsiteX2" fmla="*/ 72822 w 94948"/>
                                                    <a:gd name="connsiteY2" fmla="*/ 6990 h 110280"/>
                                                    <a:gd name="connsiteX3" fmla="*/ 63622 w 94948"/>
                                                    <a:gd name="connsiteY3" fmla="*/ 6213 h 110280"/>
                                                    <a:gd name="connsiteX4" fmla="*/ 62197 w 94948"/>
                                                    <a:gd name="connsiteY4" fmla="*/ 5500 h 110280"/>
                                                    <a:gd name="connsiteX5" fmla="*/ 61484 w 94948"/>
                                                    <a:gd name="connsiteY5" fmla="*/ 2844 h 110280"/>
                                                    <a:gd name="connsiteX6" fmla="*/ 55006 w 94948"/>
                                                    <a:gd name="connsiteY6" fmla="*/ 1030 h 110280"/>
                                                    <a:gd name="connsiteX7" fmla="*/ 53256 w 94948"/>
                                                    <a:gd name="connsiteY7" fmla="*/ 11979 h 110280"/>
                                                    <a:gd name="connsiteX8" fmla="*/ 43733 w 94948"/>
                                                    <a:gd name="connsiteY8" fmla="*/ 15542 h 110280"/>
                                                    <a:gd name="connsiteX9" fmla="*/ 35376 w 94948"/>
                                                    <a:gd name="connsiteY9" fmla="*/ 20660 h 110280"/>
                                                    <a:gd name="connsiteX10" fmla="*/ 35116 w 94948"/>
                                                    <a:gd name="connsiteY10" fmla="*/ 23705 h 110280"/>
                                                    <a:gd name="connsiteX11" fmla="*/ 31488 w 94948"/>
                                                    <a:gd name="connsiteY11" fmla="*/ 26750 h 110280"/>
                                                    <a:gd name="connsiteX12" fmla="*/ 33238 w 94948"/>
                                                    <a:gd name="connsiteY12" fmla="*/ 33099 h 110280"/>
                                                    <a:gd name="connsiteX13" fmla="*/ 40429 w 94948"/>
                                                    <a:gd name="connsiteY13" fmla="*/ 36792 h 110280"/>
                                                    <a:gd name="connsiteX14" fmla="*/ 44251 w 94948"/>
                                                    <a:gd name="connsiteY14" fmla="*/ 34265 h 110280"/>
                                                    <a:gd name="connsiteX15" fmla="*/ 58569 w 94948"/>
                                                    <a:gd name="connsiteY15" fmla="*/ 35885 h 110280"/>
                                                    <a:gd name="connsiteX16" fmla="*/ 64464 w 94948"/>
                                                    <a:gd name="connsiteY16" fmla="*/ 35561 h 110280"/>
                                                    <a:gd name="connsiteX17" fmla="*/ 64205 w 94948"/>
                                                    <a:gd name="connsiteY17" fmla="*/ 38735 h 110280"/>
                                                    <a:gd name="connsiteX18" fmla="*/ 49369 w 94948"/>
                                                    <a:gd name="connsiteY18" fmla="*/ 46315 h 110280"/>
                                                    <a:gd name="connsiteX19" fmla="*/ 49369 w 94948"/>
                                                    <a:gd name="connsiteY19" fmla="*/ 49425 h 110280"/>
                                                    <a:gd name="connsiteX20" fmla="*/ 52609 w 94948"/>
                                                    <a:gd name="connsiteY20" fmla="*/ 52535 h 110280"/>
                                                    <a:gd name="connsiteX21" fmla="*/ 49758 w 94948"/>
                                                    <a:gd name="connsiteY21" fmla="*/ 56292 h 110280"/>
                                                    <a:gd name="connsiteX22" fmla="*/ 47426 w 94948"/>
                                                    <a:gd name="connsiteY22" fmla="*/ 57199 h 110280"/>
                                                    <a:gd name="connsiteX23" fmla="*/ 48074 w 94948"/>
                                                    <a:gd name="connsiteY23" fmla="*/ 65233 h 110280"/>
                                                    <a:gd name="connsiteX24" fmla="*/ 43863 w 94948"/>
                                                    <a:gd name="connsiteY24" fmla="*/ 66334 h 110280"/>
                                                    <a:gd name="connsiteX25" fmla="*/ 39587 w 94948"/>
                                                    <a:gd name="connsiteY25" fmla="*/ 64326 h 110280"/>
                                                    <a:gd name="connsiteX26" fmla="*/ 32072 w 94948"/>
                                                    <a:gd name="connsiteY26" fmla="*/ 64131 h 110280"/>
                                                    <a:gd name="connsiteX27" fmla="*/ 23649 w 94948"/>
                                                    <a:gd name="connsiteY27" fmla="*/ 61151 h 110280"/>
                                                    <a:gd name="connsiteX28" fmla="*/ 15616 w 94948"/>
                                                    <a:gd name="connsiteY28" fmla="*/ 63160 h 110280"/>
                                                    <a:gd name="connsiteX29" fmla="*/ 14255 w 94948"/>
                                                    <a:gd name="connsiteY29" fmla="*/ 67435 h 110280"/>
                                                    <a:gd name="connsiteX30" fmla="*/ 6481 w 94948"/>
                                                    <a:gd name="connsiteY30" fmla="*/ 71323 h 110280"/>
                                                    <a:gd name="connsiteX31" fmla="*/ 3 w 94948"/>
                                                    <a:gd name="connsiteY31" fmla="*/ 76570 h 110280"/>
                                                    <a:gd name="connsiteX32" fmla="*/ 8425 w 94948"/>
                                                    <a:gd name="connsiteY32" fmla="*/ 82077 h 110280"/>
                                                    <a:gd name="connsiteX33" fmla="*/ 22678 w 94948"/>
                                                    <a:gd name="connsiteY33" fmla="*/ 83243 h 110280"/>
                                                    <a:gd name="connsiteX34" fmla="*/ 24816 w 94948"/>
                                                    <a:gd name="connsiteY34" fmla="*/ 83761 h 110280"/>
                                                    <a:gd name="connsiteX35" fmla="*/ 26630 w 94948"/>
                                                    <a:gd name="connsiteY35" fmla="*/ 88037 h 110280"/>
                                                    <a:gd name="connsiteX36" fmla="*/ 28703 w 94948"/>
                                                    <a:gd name="connsiteY36" fmla="*/ 94775 h 110280"/>
                                                    <a:gd name="connsiteX37" fmla="*/ 35376 w 94948"/>
                                                    <a:gd name="connsiteY37" fmla="*/ 99439 h 110280"/>
                                                    <a:gd name="connsiteX38" fmla="*/ 39068 w 94948"/>
                                                    <a:gd name="connsiteY38" fmla="*/ 93479 h 110280"/>
                                                    <a:gd name="connsiteX39" fmla="*/ 38809 w 94948"/>
                                                    <a:gd name="connsiteY39" fmla="*/ 85964 h 110280"/>
                                                    <a:gd name="connsiteX40" fmla="*/ 43539 w 94948"/>
                                                    <a:gd name="connsiteY40" fmla="*/ 81041 h 110280"/>
                                                    <a:gd name="connsiteX41" fmla="*/ 46583 w 94948"/>
                                                    <a:gd name="connsiteY41" fmla="*/ 88750 h 110280"/>
                                                    <a:gd name="connsiteX42" fmla="*/ 47426 w 94948"/>
                                                    <a:gd name="connsiteY42" fmla="*/ 97237 h 110280"/>
                                                    <a:gd name="connsiteX43" fmla="*/ 53710 w 94948"/>
                                                    <a:gd name="connsiteY43" fmla="*/ 102096 h 110280"/>
                                                    <a:gd name="connsiteX44" fmla="*/ 51572 w 94948"/>
                                                    <a:gd name="connsiteY44" fmla="*/ 107408 h 110280"/>
                                                    <a:gd name="connsiteX45" fmla="*/ 63493 w 94948"/>
                                                    <a:gd name="connsiteY45" fmla="*/ 110259 h 110280"/>
                                                    <a:gd name="connsiteX46" fmla="*/ 64076 w 94948"/>
                                                    <a:gd name="connsiteY46" fmla="*/ 95552 h 110280"/>
                                                    <a:gd name="connsiteX47" fmla="*/ 70166 w 94948"/>
                                                    <a:gd name="connsiteY47" fmla="*/ 98597 h 110280"/>
                                                    <a:gd name="connsiteX48" fmla="*/ 70166 w 94948"/>
                                                    <a:gd name="connsiteY48" fmla="*/ 100670 h 110280"/>
                                                    <a:gd name="connsiteX49" fmla="*/ 78782 w 94948"/>
                                                    <a:gd name="connsiteY49" fmla="*/ 102873 h 110280"/>
                                                    <a:gd name="connsiteX50" fmla="*/ 79236 w 94948"/>
                                                    <a:gd name="connsiteY50" fmla="*/ 105076 h 110280"/>
                                                    <a:gd name="connsiteX51" fmla="*/ 84742 w 94948"/>
                                                    <a:gd name="connsiteY51" fmla="*/ 110064 h 110280"/>
                                                    <a:gd name="connsiteX52" fmla="*/ 92581 w 94948"/>
                                                    <a:gd name="connsiteY52" fmla="*/ 109611 h 110280"/>
                                                    <a:gd name="connsiteX53" fmla="*/ 94525 w 94948"/>
                                                    <a:gd name="connsiteY53" fmla="*/ 108769 h 110280"/>
                                                    <a:gd name="connsiteX54" fmla="*/ 94784 w 94948"/>
                                                    <a:gd name="connsiteY54" fmla="*/ 106177 h 110280"/>
                                                    <a:gd name="connsiteX55" fmla="*/ 93164 w 94948"/>
                                                    <a:gd name="connsiteY55" fmla="*/ 101124 h 110280"/>
                                                    <a:gd name="connsiteX56" fmla="*/ 78523 w 94948"/>
                                                    <a:gd name="connsiteY56" fmla="*/ 72359 h 110280"/>
                                                    <a:gd name="connsiteX57" fmla="*/ 77033 w 94948"/>
                                                    <a:gd name="connsiteY57" fmla="*/ 61281 h 11028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4948" h="110280">
                                                      <a:moveTo>
                                                        <a:pt x="76709" y="61151"/>
                                                      </a:moveTo>
                                                      <a:cubicBezTo>
                                                        <a:pt x="75931" y="53053"/>
                                                        <a:pt x="75219" y="44955"/>
                                                        <a:pt x="74441" y="36792"/>
                                                      </a:cubicBezTo>
                                                      <a:cubicBezTo>
                                                        <a:pt x="73534" y="26879"/>
                                                        <a:pt x="72692" y="16902"/>
                                                        <a:pt x="72822" y="6990"/>
                                                      </a:cubicBezTo>
                                                      <a:cubicBezTo>
                                                        <a:pt x="69777" y="6666"/>
                                                        <a:pt x="66602" y="6990"/>
                                                        <a:pt x="63622" y="6213"/>
                                                      </a:cubicBezTo>
                                                      <a:cubicBezTo>
                                                        <a:pt x="63104" y="6083"/>
                                                        <a:pt x="62521" y="5889"/>
                                                        <a:pt x="62197" y="5500"/>
                                                      </a:cubicBezTo>
                                                      <a:cubicBezTo>
                                                        <a:pt x="61614" y="4788"/>
                                                        <a:pt x="61679" y="3751"/>
                                                        <a:pt x="61484" y="2844"/>
                                                      </a:cubicBezTo>
                                                      <a:cubicBezTo>
                                                        <a:pt x="60901" y="123"/>
                                                        <a:pt x="56884" y="-978"/>
                                                        <a:pt x="55006" y="1030"/>
                                                      </a:cubicBezTo>
                                                      <a:cubicBezTo>
                                                        <a:pt x="52414" y="3816"/>
                                                        <a:pt x="55006" y="8610"/>
                                                        <a:pt x="53256" y="11979"/>
                                                      </a:cubicBezTo>
                                                      <a:cubicBezTo>
                                                        <a:pt x="51637" y="15153"/>
                                                        <a:pt x="47296" y="15413"/>
                                                        <a:pt x="43733" y="15542"/>
                                                      </a:cubicBezTo>
                                                      <a:cubicBezTo>
                                                        <a:pt x="40170" y="15672"/>
                                                        <a:pt x="35700" y="17097"/>
                                                        <a:pt x="35376" y="20660"/>
                                                      </a:cubicBezTo>
                                                      <a:cubicBezTo>
                                                        <a:pt x="35311" y="21697"/>
                                                        <a:pt x="35570" y="22798"/>
                                                        <a:pt x="35116" y="23705"/>
                                                      </a:cubicBezTo>
                                                      <a:cubicBezTo>
                                                        <a:pt x="34469" y="25130"/>
                                                        <a:pt x="32460" y="25454"/>
                                                        <a:pt x="31488" y="26750"/>
                                                      </a:cubicBezTo>
                                                      <a:cubicBezTo>
                                                        <a:pt x="30063" y="28629"/>
                                                        <a:pt x="31683" y="31285"/>
                                                        <a:pt x="33238" y="33099"/>
                                                      </a:cubicBezTo>
                                                      <a:cubicBezTo>
                                                        <a:pt x="35116" y="35302"/>
                                                        <a:pt x="37708" y="37699"/>
                                                        <a:pt x="40429" y="36792"/>
                                                      </a:cubicBezTo>
                                                      <a:cubicBezTo>
                                                        <a:pt x="41919" y="36338"/>
                                                        <a:pt x="42891" y="34978"/>
                                                        <a:pt x="44251" y="34265"/>
                                                      </a:cubicBezTo>
                                                      <a:cubicBezTo>
                                                        <a:pt x="48657" y="32063"/>
                                                        <a:pt x="53775" y="37116"/>
                                                        <a:pt x="58569" y="35885"/>
                                                      </a:cubicBezTo>
                                                      <a:cubicBezTo>
                                                        <a:pt x="60642" y="35366"/>
                                                        <a:pt x="63233" y="33811"/>
                                                        <a:pt x="64464" y="35561"/>
                                                      </a:cubicBezTo>
                                                      <a:cubicBezTo>
                                                        <a:pt x="65112" y="36468"/>
                                                        <a:pt x="64724" y="37763"/>
                                                        <a:pt x="64205" y="38735"/>
                                                      </a:cubicBezTo>
                                                      <a:cubicBezTo>
                                                        <a:pt x="61355" y="43724"/>
                                                        <a:pt x="55006" y="45279"/>
                                                        <a:pt x="49369" y="46315"/>
                                                      </a:cubicBezTo>
                                                      <a:cubicBezTo>
                                                        <a:pt x="49369" y="47352"/>
                                                        <a:pt x="49369" y="48388"/>
                                                        <a:pt x="49369" y="49425"/>
                                                      </a:cubicBezTo>
                                                      <a:cubicBezTo>
                                                        <a:pt x="51054" y="49295"/>
                                                        <a:pt x="52609" y="50850"/>
                                                        <a:pt x="52609" y="52535"/>
                                                      </a:cubicBezTo>
                                                      <a:cubicBezTo>
                                                        <a:pt x="52609" y="54219"/>
                                                        <a:pt x="51378" y="55774"/>
                                                        <a:pt x="49758" y="56292"/>
                                                      </a:cubicBezTo>
                                                      <a:cubicBezTo>
                                                        <a:pt x="48981" y="56551"/>
                                                        <a:pt x="48009" y="56616"/>
                                                        <a:pt x="47426" y="57199"/>
                                                      </a:cubicBezTo>
                                                      <a:cubicBezTo>
                                                        <a:pt x="45353" y="59143"/>
                                                        <a:pt x="49305" y="62706"/>
                                                        <a:pt x="48074" y="65233"/>
                                                      </a:cubicBezTo>
                                                      <a:cubicBezTo>
                                                        <a:pt x="47361" y="66658"/>
                                                        <a:pt x="45353" y="66852"/>
                                                        <a:pt x="43863" y="66334"/>
                                                      </a:cubicBezTo>
                                                      <a:cubicBezTo>
                                                        <a:pt x="42372" y="65816"/>
                                                        <a:pt x="41077" y="64779"/>
                                                        <a:pt x="39587" y="64326"/>
                                                      </a:cubicBezTo>
                                                      <a:cubicBezTo>
                                                        <a:pt x="37190" y="63548"/>
                                                        <a:pt x="34533" y="64326"/>
                                                        <a:pt x="32072" y="64131"/>
                                                      </a:cubicBezTo>
                                                      <a:cubicBezTo>
                                                        <a:pt x="29091" y="63807"/>
                                                        <a:pt x="26500" y="62058"/>
                                                        <a:pt x="23649" y="61151"/>
                                                      </a:cubicBezTo>
                                                      <a:cubicBezTo>
                                                        <a:pt x="20799" y="60244"/>
                                                        <a:pt x="17041" y="60503"/>
                                                        <a:pt x="15616" y="63160"/>
                                                      </a:cubicBezTo>
                                                      <a:cubicBezTo>
                                                        <a:pt x="14903" y="64455"/>
                                                        <a:pt x="14903" y="66075"/>
                                                        <a:pt x="14255" y="67435"/>
                                                      </a:cubicBezTo>
                                                      <a:cubicBezTo>
                                                        <a:pt x="12895" y="70156"/>
                                                        <a:pt x="9397" y="70739"/>
                                                        <a:pt x="6481" y="71323"/>
                                                      </a:cubicBezTo>
                                                      <a:cubicBezTo>
                                                        <a:pt x="3501" y="71905"/>
                                                        <a:pt x="67" y="73525"/>
                                                        <a:pt x="3" y="76570"/>
                                                      </a:cubicBezTo>
                                                      <a:cubicBezTo>
                                                        <a:pt x="-127" y="80263"/>
                                                        <a:pt x="4732" y="81753"/>
                                                        <a:pt x="8425" y="82077"/>
                                                      </a:cubicBezTo>
                                                      <a:cubicBezTo>
                                                        <a:pt x="13154" y="82466"/>
                                                        <a:pt x="17948" y="82854"/>
                                                        <a:pt x="22678" y="83243"/>
                                                      </a:cubicBezTo>
                                                      <a:cubicBezTo>
                                                        <a:pt x="23390" y="83243"/>
                                                        <a:pt x="24168" y="83373"/>
                                                        <a:pt x="24816" y="83761"/>
                                                      </a:cubicBezTo>
                                                      <a:cubicBezTo>
                                                        <a:pt x="26176" y="84604"/>
                                                        <a:pt x="26370" y="86417"/>
                                                        <a:pt x="26630" y="88037"/>
                                                      </a:cubicBezTo>
                                                      <a:cubicBezTo>
                                                        <a:pt x="26953" y="90370"/>
                                                        <a:pt x="27666" y="92702"/>
                                                        <a:pt x="28703" y="94775"/>
                                                      </a:cubicBezTo>
                                                      <a:cubicBezTo>
                                                        <a:pt x="29998" y="97431"/>
                                                        <a:pt x="32525" y="100088"/>
                                                        <a:pt x="35376" y="99439"/>
                                                      </a:cubicBezTo>
                                                      <a:cubicBezTo>
                                                        <a:pt x="37838" y="98857"/>
                                                        <a:pt x="39004" y="96006"/>
                                                        <a:pt x="39068" y="93479"/>
                                                      </a:cubicBezTo>
                                                      <a:cubicBezTo>
                                                        <a:pt x="39133" y="90953"/>
                                                        <a:pt x="38421" y="88426"/>
                                                        <a:pt x="38809" y="85964"/>
                                                      </a:cubicBezTo>
                                                      <a:cubicBezTo>
                                                        <a:pt x="39133" y="83438"/>
                                                        <a:pt x="41012" y="80846"/>
                                                        <a:pt x="43539" y="81041"/>
                                                      </a:cubicBezTo>
                                                      <a:cubicBezTo>
                                                        <a:pt x="45741" y="82854"/>
                                                        <a:pt x="46454" y="85899"/>
                                                        <a:pt x="46583" y="88750"/>
                                                      </a:cubicBezTo>
                                                      <a:cubicBezTo>
                                                        <a:pt x="46713" y="91601"/>
                                                        <a:pt x="46519" y="94516"/>
                                                        <a:pt x="47426" y="97237"/>
                                                      </a:cubicBezTo>
                                                      <a:cubicBezTo>
                                                        <a:pt x="48333" y="99958"/>
                                                        <a:pt x="50859" y="102420"/>
                                                        <a:pt x="53710" y="102096"/>
                                                      </a:cubicBezTo>
                                                      <a:cubicBezTo>
                                                        <a:pt x="52350" y="103521"/>
                                                        <a:pt x="51572" y="105464"/>
                                                        <a:pt x="51572" y="107408"/>
                                                      </a:cubicBezTo>
                                                      <a:cubicBezTo>
                                                        <a:pt x="55524" y="108380"/>
                                                        <a:pt x="59541" y="109287"/>
                                                        <a:pt x="63493" y="110259"/>
                                                      </a:cubicBezTo>
                                                      <a:cubicBezTo>
                                                        <a:pt x="63687" y="105335"/>
                                                        <a:pt x="63881" y="100476"/>
                                                        <a:pt x="64076" y="95552"/>
                                                      </a:cubicBezTo>
                                                      <a:cubicBezTo>
                                                        <a:pt x="66278" y="93803"/>
                                                        <a:pt x="70166" y="95747"/>
                                                        <a:pt x="70166" y="98597"/>
                                                      </a:cubicBezTo>
                                                      <a:cubicBezTo>
                                                        <a:pt x="70166" y="99310"/>
                                                        <a:pt x="69971" y="100023"/>
                                                        <a:pt x="70166" y="100670"/>
                                                      </a:cubicBezTo>
                                                      <a:cubicBezTo>
                                                        <a:pt x="71137" y="103716"/>
                                                        <a:pt x="77162" y="100088"/>
                                                        <a:pt x="78782" y="102873"/>
                                                      </a:cubicBezTo>
                                                      <a:cubicBezTo>
                                                        <a:pt x="79171" y="103521"/>
                                                        <a:pt x="79106" y="104298"/>
                                                        <a:pt x="79236" y="105076"/>
                                                      </a:cubicBezTo>
                                                      <a:cubicBezTo>
                                                        <a:pt x="79689" y="107667"/>
                                                        <a:pt x="82151" y="109546"/>
                                                        <a:pt x="84742" y="110064"/>
                                                      </a:cubicBezTo>
                                                      <a:cubicBezTo>
                                                        <a:pt x="87334" y="110583"/>
                                                        <a:pt x="89990" y="110064"/>
                                                        <a:pt x="92581" y="109611"/>
                                                      </a:cubicBezTo>
                                                      <a:cubicBezTo>
                                                        <a:pt x="93294" y="109481"/>
                                                        <a:pt x="94072" y="109287"/>
                                                        <a:pt x="94525" y="108769"/>
                                                      </a:cubicBezTo>
                                                      <a:cubicBezTo>
                                                        <a:pt x="95108" y="108056"/>
                                                        <a:pt x="94978" y="107084"/>
                                                        <a:pt x="94784" y="106177"/>
                                                      </a:cubicBezTo>
                                                      <a:cubicBezTo>
                                                        <a:pt x="94395" y="104428"/>
                                                        <a:pt x="93812" y="102744"/>
                                                        <a:pt x="93164" y="101124"/>
                                                      </a:cubicBezTo>
                                                      <a:cubicBezTo>
                                                        <a:pt x="86945" y="92054"/>
                                                        <a:pt x="80920" y="82984"/>
                                                        <a:pt x="78523" y="72359"/>
                                                      </a:cubicBezTo>
                                                      <a:cubicBezTo>
                                                        <a:pt x="77681" y="68731"/>
                                                        <a:pt x="77357" y="64973"/>
                                                        <a:pt x="77033" y="6128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2" name="Freeform: Shape 41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9C73E9C-5799-4ECA-A54F-37C651C389F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438165" y="4988493"/>
                                                  <a:ext cx="373546" cy="37510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61756 w 373546"/>
                                                    <a:gd name="connsiteY0" fmla="*/ 144687 h 375107"/>
                                                    <a:gd name="connsiteX1" fmla="*/ 360331 w 373546"/>
                                                    <a:gd name="connsiteY1" fmla="*/ 141577 h 375107"/>
                                                    <a:gd name="connsiteX2" fmla="*/ 360201 w 373546"/>
                                                    <a:gd name="connsiteY2" fmla="*/ 141707 h 375107"/>
                                                    <a:gd name="connsiteX3" fmla="*/ 354694 w 373546"/>
                                                    <a:gd name="connsiteY3" fmla="*/ 142743 h 375107"/>
                                                    <a:gd name="connsiteX4" fmla="*/ 348734 w 373546"/>
                                                    <a:gd name="connsiteY4" fmla="*/ 141836 h 375107"/>
                                                    <a:gd name="connsiteX5" fmla="*/ 342968 w 373546"/>
                                                    <a:gd name="connsiteY5" fmla="*/ 135487 h 375107"/>
                                                    <a:gd name="connsiteX6" fmla="*/ 337008 w 373546"/>
                                                    <a:gd name="connsiteY6" fmla="*/ 119096 h 375107"/>
                                                    <a:gd name="connsiteX7" fmla="*/ 338433 w 373546"/>
                                                    <a:gd name="connsiteY7" fmla="*/ 112164 h 375107"/>
                                                    <a:gd name="connsiteX8" fmla="*/ 345430 w 373546"/>
                                                    <a:gd name="connsiteY8" fmla="*/ 103613 h 375107"/>
                                                    <a:gd name="connsiteX9" fmla="*/ 349188 w 373546"/>
                                                    <a:gd name="connsiteY9" fmla="*/ 103224 h 375107"/>
                                                    <a:gd name="connsiteX10" fmla="*/ 354629 w 373546"/>
                                                    <a:gd name="connsiteY10" fmla="*/ 104001 h 375107"/>
                                                    <a:gd name="connsiteX11" fmla="*/ 358970 w 373546"/>
                                                    <a:gd name="connsiteY11" fmla="*/ 106787 h 375107"/>
                                                    <a:gd name="connsiteX12" fmla="*/ 365967 w 373546"/>
                                                    <a:gd name="connsiteY12" fmla="*/ 56319 h 375107"/>
                                                    <a:gd name="connsiteX13" fmla="*/ 349641 w 373546"/>
                                                    <a:gd name="connsiteY13" fmla="*/ 14792 h 375107"/>
                                                    <a:gd name="connsiteX14" fmla="*/ 347957 w 373546"/>
                                                    <a:gd name="connsiteY14" fmla="*/ 13107 h 375107"/>
                                                    <a:gd name="connsiteX15" fmla="*/ 346272 w 373546"/>
                                                    <a:gd name="connsiteY15" fmla="*/ 11617 h 375107"/>
                                                    <a:gd name="connsiteX16" fmla="*/ 345819 w 373546"/>
                                                    <a:gd name="connsiteY16" fmla="*/ 11228 h 375107"/>
                                                    <a:gd name="connsiteX17" fmla="*/ 345754 w 373546"/>
                                                    <a:gd name="connsiteY17" fmla="*/ 11228 h 375107"/>
                                                    <a:gd name="connsiteX18" fmla="*/ 339340 w 373546"/>
                                                    <a:gd name="connsiteY18" fmla="*/ 6564 h 375107"/>
                                                    <a:gd name="connsiteX19" fmla="*/ 339146 w 373546"/>
                                                    <a:gd name="connsiteY19" fmla="*/ 6434 h 375107"/>
                                                    <a:gd name="connsiteX20" fmla="*/ 331890 w 373546"/>
                                                    <a:gd name="connsiteY20" fmla="*/ 3001 h 375107"/>
                                                    <a:gd name="connsiteX21" fmla="*/ 328067 w 373546"/>
                                                    <a:gd name="connsiteY21" fmla="*/ 1705 h 375107"/>
                                                    <a:gd name="connsiteX22" fmla="*/ 324375 w 373546"/>
                                                    <a:gd name="connsiteY22" fmla="*/ 862 h 375107"/>
                                                    <a:gd name="connsiteX23" fmla="*/ 323597 w 373546"/>
                                                    <a:gd name="connsiteY23" fmla="*/ 733 h 375107"/>
                                                    <a:gd name="connsiteX24" fmla="*/ 321200 w 373546"/>
                                                    <a:gd name="connsiteY24" fmla="*/ 344 h 375107"/>
                                                    <a:gd name="connsiteX25" fmla="*/ 319516 w 373546"/>
                                                    <a:gd name="connsiteY25" fmla="*/ 150 h 375107"/>
                                                    <a:gd name="connsiteX26" fmla="*/ 308243 w 373546"/>
                                                    <a:gd name="connsiteY26" fmla="*/ 798 h 375107"/>
                                                    <a:gd name="connsiteX27" fmla="*/ 287253 w 373546"/>
                                                    <a:gd name="connsiteY27" fmla="*/ 9479 h 375107"/>
                                                    <a:gd name="connsiteX28" fmla="*/ 284272 w 373546"/>
                                                    <a:gd name="connsiteY28" fmla="*/ 11099 h 375107"/>
                                                    <a:gd name="connsiteX29" fmla="*/ 258099 w 373546"/>
                                                    <a:gd name="connsiteY29" fmla="*/ 25092 h 375107"/>
                                                    <a:gd name="connsiteX30" fmla="*/ 255119 w 373546"/>
                                                    <a:gd name="connsiteY30" fmla="*/ 27036 h 375107"/>
                                                    <a:gd name="connsiteX31" fmla="*/ 252138 w 373546"/>
                                                    <a:gd name="connsiteY31" fmla="*/ 32413 h 375107"/>
                                                    <a:gd name="connsiteX32" fmla="*/ 222726 w 373546"/>
                                                    <a:gd name="connsiteY32" fmla="*/ 66361 h 375107"/>
                                                    <a:gd name="connsiteX33" fmla="*/ 214239 w 373546"/>
                                                    <a:gd name="connsiteY33" fmla="*/ 72451 h 375107"/>
                                                    <a:gd name="connsiteX34" fmla="*/ 209315 w 373546"/>
                                                    <a:gd name="connsiteY34" fmla="*/ 85278 h 375107"/>
                                                    <a:gd name="connsiteX35" fmla="*/ 171804 w 373546"/>
                                                    <a:gd name="connsiteY35" fmla="*/ 99726 h 375107"/>
                                                    <a:gd name="connsiteX36" fmla="*/ 149777 w 373546"/>
                                                    <a:gd name="connsiteY36" fmla="*/ 91174 h 375107"/>
                                                    <a:gd name="connsiteX37" fmla="*/ 132479 w 373546"/>
                                                    <a:gd name="connsiteY37" fmla="*/ 115274 h 375107"/>
                                                    <a:gd name="connsiteX38" fmla="*/ 124381 w 373546"/>
                                                    <a:gd name="connsiteY38" fmla="*/ 119680 h 375107"/>
                                                    <a:gd name="connsiteX39" fmla="*/ 121725 w 373546"/>
                                                    <a:gd name="connsiteY39" fmla="*/ 126029 h 375107"/>
                                                    <a:gd name="connsiteX40" fmla="*/ 95875 w 373546"/>
                                                    <a:gd name="connsiteY40" fmla="*/ 136977 h 375107"/>
                                                    <a:gd name="connsiteX41" fmla="*/ 94450 w 373546"/>
                                                    <a:gd name="connsiteY41" fmla="*/ 136589 h 375107"/>
                                                    <a:gd name="connsiteX42" fmla="*/ 93997 w 373546"/>
                                                    <a:gd name="connsiteY42" fmla="*/ 131989 h 375107"/>
                                                    <a:gd name="connsiteX43" fmla="*/ 94191 w 373546"/>
                                                    <a:gd name="connsiteY43" fmla="*/ 100373 h 375107"/>
                                                    <a:gd name="connsiteX44" fmla="*/ 93413 w 373546"/>
                                                    <a:gd name="connsiteY44" fmla="*/ 98041 h 375107"/>
                                                    <a:gd name="connsiteX45" fmla="*/ 92506 w 373546"/>
                                                    <a:gd name="connsiteY45" fmla="*/ 96033 h 375107"/>
                                                    <a:gd name="connsiteX46" fmla="*/ 91405 w 373546"/>
                                                    <a:gd name="connsiteY46" fmla="*/ 94024 h 375107"/>
                                                    <a:gd name="connsiteX47" fmla="*/ 87842 w 373546"/>
                                                    <a:gd name="connsiteY47" fmla="*/ 89295 h 375107"/>
                                                    <a:gd name="connsiteX48" fmla="*/ 85834 w 373546"/>
                                                    <a:gd name="connsiteY48" fmla="*/ 87352 h 375107"/>
                                                    <a:gd name="connsiteX49" fmla="*/ 82983 w 373546"/>
                                                    <a:gd name="connsiteY49" fmla="*/ 85149 h 375107"/>
                                                    <a:gd name="connsiteX50" fmla="*/ 81234 w 373546"/>
                                                    <a:gd name="connsiteY50" fmla="*/ 84112 h 375107"/>
                                                    <a:gd name="connsiteX51" fmla="*/ 71322 w 373546"/>
                                                    <a:gd name="connsiteY51" fmla="*/ 80614 h 375107"/>
                                                    <a:gd name="connsiteX52" fmla="*/ 71322 w 373546"/>
                                                    <a:gd name="connsiteY52" fmla="*/ 80614 h 375107"/>
                                                    <a:gd name="connsiteX53" fmla="*/ 69507 w 373546"/>
                                                    <a:gd name="connsiteY53" fmla="*/ 80355 h 375107"/>
                                                    <a:gd name="connsiteX54" fmla="*/ 67370 w 373546"/>
                                                    <a:gd name="connsiteY54" fmla="*/ 142290 h 375107"/>
                                                    <a:gd name="connsiteX55" fmla="*/ 69961 w 373546"/>
                                                    <a:gd name="connsiteY55" fmla="*/ 158875 h 375107"/>
                                                    <a:gd name="connsiteX56" fmla="*/ 71127 w 373546"/>
                                                    <a:gd name="connsiteY56" fmla="*/ 175266 h 375107"/>
                                                    <a:gd name="connsiteX57" fmla="*/ 68925 w 373546"/>
                                                    <a:gd name="connsiteY57" fmla="*/ 181744 h 375107"/>
                                                    <a:gd name="connsiteX58" fmla="*/ 67888 w 373546"/>
                                                    <a:gd name="connsiteY58" fmla="*/ 184142 h 375107"/>
                                                    <a:gd name="connsiteX59" fmla="*/ 67110 w 373546"/>
                                                    <a:gd name="connsiteY59" fmla="*/ 185761 h 375107"/>
                                                    <a:gd name="connsiteX60" fmla="*/ 66268 w 373546"/>
                                                    <a:gd name="connsiteY60" fmla="*/ 187316 h 375107"/>
                                                    <a:gd name="connsiteX61" fmla="*/ 64131 w 373546"/>
                                                    <a:gd name="connsiteY61" fmla="*/ 190620 h 375107"/>
                                                    <a:gd name="connsiteX62" fmla="*/ 63094 w 373546"/>
                                                    <a:gd name="connsiteY62" fmla="*/ 191915 h 375107"/>
                                                    <a:gd name="connsiteX63" fmla="*/ 59660 w 373546"/>
                                                    <a:gd name="connsiteY63" fmla="*/ 195284 h 375107"/>
                                                    <a:gd name="connsiteX64" fmla="*/ 28563 w 373546"/>
                                                    <a:gd name="connsiteY64" fmla="*/ 197034 h 375107"/>
                                                    <a:gd name="connsiteX65" fmla="*/ 9646 w 373546"/>
                                                    <a:gd name="connsiteY65" fmla="*/ 183040 h 375107"/>
                                                    <a:gd name="connsiteX66" fmla="*/ 122 w 373546"/>
                                                    <a:gd name="connsiteY66" fmla="*/ 198718 h 375107"/>
                                                    <a:gd name="connsiteX67" fmla="*/ 8220 w 373546"/>
                                                    <a:gd name="connsiteY67" fmla="*/ 210639 h 375107"/>
                                                    <a:gd name="connsiteX68" fmla="*/ 13338 w 373546"/>
                                                    <a:gd name="connsiteY68" fmla="*/ 260200 h 375107"/>
                                                    <a:gd name="connsiteX69" fmla="*/ 33422 w 373546"/>
                                                    <a:gd name="connsiteY69" fmla="*/ 284170 h 375107"/>
                                                    <a:gd name="connsiteX70" fmla="*/ 32450 w 373546"/>
                                                    <a:gd name="connsiteY70" fmla="*/ 296609 h 375107"/>
                                                    <a:gd name="connsiteX71" fmla="*/ 50007 w 373546"/>
                                                    <a:gd name="connsiteY71" fmla="*/ 356601 h 375107"/>
                                                    <a:gd name="connsiteX72" fmla="*/ 60049 w 373546"/>
                                                    <a:gd name="connsiteY72" fmla="*/ 367874 h 375107"/>
                                                    <a:gd name="connsiteX73" fmla="*/ 64843 w 373546"/>
                                                    <a:gd name="connsiteY73" fmla="*/ 373899 h 375107"/>
                                                    <a:gd name="connsiteX74" fmla="*/ 81428 w 373546"/>
                                                    <a:gd name="connsiteY74" fmla="*/ 369558 h 375107"/>
                                                    <a:gd name="connsiteX75" fmla="*/ 175432 w 373546"/>
                                                    <a:gd name="connsiteY75" fmla="*/ 341376 h 375107"/>
                                                    <a:gd name="connsiteX76" fmla="*/ 278441 w 373546"/>
                                                    <a:gd name="connsiteY76" fmla="*/ 296933 h 375107"/>
                                                    <a:gd name="connsiteX77" fmla="*/ 296970 w 373546"/>
                                                    <a:gd name="connsiteY77" fmla="*/ 281255 h 375107"/>
                                                    <a:gd name="connsiteX78" fmla="*/ 314397 w 373546"/>
                                                    <a:gd name="connsiteY78" fmla="*/ 219579 h 375107"/>
                                                    <a:gd name="connsiteX79" fmla="*/ 316535 w 373546"/>
                                                    <a:gd name="connsiteY79" fmla="*/ 208501 h 375107"/>
                                                    <a:gd name="connsiteX80" fmla="*/ 324245 w 373546"/>
                                                    <a:gd name="connsiteY80" fmla="*/ 200014 h 375107"/>
                                                    <a:gd name="connsiteX81" fmla="*/ 360978 w 373546"/>
                                                    <a:gd name="connsiteY81" fmla="*/ 168981 h 375107"/>
                                                    <a:gd name="connsiteX82" fmla="*/ 373547 w 373546"/>
                                                    <a:gd name="connsiteY82" fmla="*/ 157255 h 375107"/>
                                                    <a:gd name="connsiteX83" fmla="*/ 361756 w 373546"/>
                                                    <a:gd name="connsiteY83" fmla="*/ 144687 h 375107"/>
                                                    <a:gd name="connsiteX84" fmla="*/ 295545 w 373546"/>
                                                    <a:gd name="connsiteY84" fmla="*/ 219449 h 375107"/>
                                                    <a:gd name="connsiteX85" fmla="*/ 287641 w 373546"/>
                                                    <a:gd name="connsiteY85" fmla="*/ 223142 h 375107"/>
                                                    <a:gd name="connsiteX86" fmla="*/ 277664 w 373546"/>
                                                    <a:gd name="connsiteY86" fmla="*/ 230593 h 375107"/>
                                                    <a:gd name="connsiteX87" fmla="*/ 271639 w 373546"/>
                                                    <a:gd name="connsiteY87" fmla="*/ 232083 h 375107"/>
                                                    <a:gd name="connsiteX88" fmla="*/ 270538 w 373546"/>
                                                    <a:gd name="connsiteY88" fmla="*/ 234674 h 375107"/>
                                                    <a:gd name="connsiteX89" fmla="*/ 267687 w 373546"/>
                                                    <a:gd name="connsiteY89" fmla="*/ 246595 h 375107"/>
                                                    <a:gd name="connsiteX90" fmla="*/ 258682 w 373546"/>
                                                    <a:gd name="connsiteY90" fmla="*/ 244716 h 375107"/>
                                                    <a:gd name="connsiteX91" fmla="*/ 252981 w 373546"/>
                                                    <a:gd name="connsiteY91" fmla="*/ 240440 h 375107"/>
                                                    <a:gd name="connsiteX92" fmla="*/ 244494 w 373546"/>
                                                    <a:gd name="connsiteY92" fmla="*/ 232925 h 375107"/>
                                                    <a:gd name="connsiteX93" fmla="*/ 239376 w 373546"/>
                                                    <a:gd name="connsiteY93" fmla="*/ 222041 h 375107"/>
                                                    <a:gd name="connsiteX94" fmla="*/ 252462 w 373546"/>
                                                    <a:gd name="connsiteY94" fmla="*/ 214461 h 375107"/>
                                                    <a:gd name="connsiteX95" fmla="*/ 252786 w 373546"/>
                                                    <a:gd name="connsiteY95" fmla="*/ 203707 h 375107"/>
                                                    <a:gd name="connsiteX96" fmla="*/ 256609 w 373546"/>
                                                    <a:gd name="connsiteY96" fmla="*/ 201893 h 375107"/>
                                                    <a:gd name="connsiteX97" fmla="*/ 257775 w 373546"/>
                                                    <a:gd name="connsiteY97" fmla="*/ 194054 h 375107"/>
                                                    <a:gd name="connsiteX98" fmla="*/ 269954 w 373546"/>
                                                    <a:gd name="connsiteY98" fmla="*/ 185308 h 375107"/>
                                                    <a:gd name="connsiteX99" fmla="*/ 274878 w 373546"/>
                                                    <a:gd name="connsiteY99" fmla="*/ 184854 h 375107"/>
                                                    <a:gd name="connsiteX100" fmla="*/ 280838 w 373546"/>
                                                    <a:gd name="connsiteY100" fmla="*/ 188352 h 375107"/>
                                                    <a:gd name="connsiteX101" fmla="*/ 292500 w 373546"/>
                                                    <a:gd name="connsiteY101" fmla="*/ 195349 h 375107"/>
                                                    <a:gd name="connsiteX102" fmla="*/ 297100 w 373546"/>
                                                    <a:gd name="connsiteY102" fmla="*/ 213101 h 375107"/>
                                                    <a:gd name="connsiteX103" fmla="*/ 295545 w 373546"/>
                                                    <a:gd name="connsiteY103" fmla="*/ 219449 h 37510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73546" h="375107">
                                                      <a:moveTo>
                                                        <a:pt x="361756" y="144687"/>
                                                      </a:moveTo>
                                                      <a:cubicBezTo>
                                                        <a:pt x="361173" y="143715"/>
                                                        <a:pt x="360784" y="142678"/>
                                                        <a:pt x="360331" y="141577"/>
                                                      </a:cubicBezTo>
                                                      <a:cubicBezTo>
                                                        <a:pt x="360331" y="141642"/>
                                                        <a:pt x="360331" y="141707"/>
                                                        <a:pt x="360201" y="141707"/>
                                                      </a:cubicBezTo>
                                                      <a:cubicBezTo>
                                                        <a:pt x="358581" y="142743"/>
                                                        <a:pt x="356573" y="142808"/>
                                                        <a:pt x="354694" y="142743"/>
                                                      </a:cubicBezTo>
                                                      <a:cubicBezTo>
                                                        <a:pt x="352686" y="142743"/>
                                                        <a:pt x="350613" y="142678"/>
                                                        <a:pt x="348734" y="141836"/>
                                                      </a:cubicBezTo>
                                                      <a:cubicBezTo>
                                                        <a:pt x="346143" y="140605"/>
                                                        <a:pt x="344458" y="138014"/>
                                                        <a:pt x="342968" y="135487"/>
                                                      </a:cubicBezTo>
                                                      <a:cubicBezTo>
                                                        <a:pt x="339923" y="130434"/>
                                                        <a:pt x="336813" y="124992"/>
                                                        <a:pt x="337008" y="119096"/>
                                                      </a:cubicBezTo>
                                                      <a:cubicBezTo>
                                                        <a:pt x="337008" y="116699"/>
                                                        <a:pt x="337656" y="114367"/>
                                                        <a:pt x="338433" y="112164"/>
                                                      </a:cubicBezTo>
                                                      <a:cubicBezTo>
                                                        <a:pt x="339729" y="108536"/>
                                                        <a:pt x="341802" y="104779"/>
                                                        <a:pt x="345430" y="103613"/>
                                                      </a:cubicBezTo>
                                                      <a:cubicBezTo>
                                                        <a:pt x="346596" y="103224"/>
                                                        <a:pt x="347892" y="103159"/>
                                                        <a:pt x="349188" y="103224"/>
                                                      </a:cubicBezTo>
                                                      <a:cubicBezTo>
                                                        <a:pt x="351001" y="103224"/>
                                                        <a:pt x="352880" y="103418"/>
                                                        <a:pt x="354629" y="104001"/>
                                                      </a:cubicBezTo>
                                                      <a:cubicBezTo>
                                                        <a:pt x="356314" y="104584"/>
                                                        <a:pt x="357675" y="105621"/>
                                                        <a:pt x="358970" y="106787"/>
                                                      </a:cubicBezTo>
                                                      <a:cubicBezTo>
                                                        <a:pt x="361562" y="90008"/>
                                                        <a:pt x="366550" y="73293"/>
                                                        <a:pt x="365967" y="56319"/>
                                                      </a:cubicBezTo>
                                                      <a:cubicBezTo>
                                                        <a:pt x="365449" y="41095"/>
                                                        <a:pt x="360136" y="25805"/>
                                                        <a:pt x="349641" y="14792"/>
                                                      </a:cubicBezTo>
                                                      <a:cubicBezTo>
                                                        <a:pt x="349123" y="14208"/>
                                                        <a:pt x="348540" y="13625"/>
                                                        <a:pt x="347957" y="13107"/>
                                                      </a:cubicBezTo>
                                                      <a:cubicBezTo>
                                                        <a:pt x="347438" y="12589"/>
                                                        <a:pt x="346855" y="12070"/>
                                                        <a:pt x="346272" y="11617"/>
                                                      </a:cubicBezTo>
                                                      <a:cubicBezTo>
                                                        <a:pt x="346143" y="11487"/>
                                                        <a:pt x="345948" y="11358"/>
                                                        <a:pt x="345819" y="11228"/>
                                                      </a:cubicBezTo>
                                                      <a:lnTo>
                                                        <a:pt x="345754" y="11228"/>
                                                      </a:lnTo>
                                                      <a:cubicBezTo>
                                                        <a:pt x="343745" y="9479"/>
                                                        <a:pt x="341607" y="7924"/>
                                                        <a:pt x="339340" y="6564"/>
                                                      </a:cubicBezTo>
                                                      <a:cubicBezTo>
                                                        <a:pt x="339275" y="6564"/>
                                                        <a:pt x="339210" y="6499"/>
                                                        <a:pt x="339146" y="6434"/>
                                                      </a:cubicBezTo>
                                                      <a:cubicBezTo>
                                                        <a:pt x="336813" y="5074"/>
                                                        <a:pt x="334416" y="3908"/>
                                                        <a:pt x="331890" y="3001"/>
                                                      </a:cubicBezTo>
                                                      <a:cubicBezTo>
                                                        <a:pt x="330594" y="2547"/>
                                                        <a:pt x="329363" y="2093"/>
                                                        <a:pt x="328067" y="1705"/>
                                                      </a:cubicBezTo>
                                                      <a:cubicBezTo>
                                                        <a:pt x="326837" y="1381"/>
                                                        <a:pt x="325606" y="1057"/>
                                                        <a:pt x="324375" y="862"/>
                                                      </a:cubicBezTo>
                                                      <a:cubicBezTo>
                                                        <a:pt x="324115" y="733"/>
                                                        <a:pt x="323856" y="733"/>
                                                        <a:pt x="323597" y="733"/>
                                                      </a:cubicBezTo>
                                                      <a:cubicBezTo>
                                                        <a:pt x="322820" y="539"/>
                                                        <a:pt x="321978" y="409"/>
                                                        <a:pt x="321200" y="344"/>
                                                      </a:cubicBezTo>
                                                      <a:cubicBezTo>
                                                        <a:pt x="320617" y="344"/>
                                                        <a:pt x="320099" y="215"/>
                                                        <a:pt x="319516" y="150"/>
                                                      </a:cubicBezTo>
                                                      <a:cubicBezTo>
                                                        <a:pt x="315758" y="-174"/>
                                                        <a:pt x="311936" y="20"/>
                                                        <a:pt x="308243" y="798"/>
                                                      </a:cubicBezTo>
                                                      <a:cubicBezTo>
                                                        <a:pt x="300793" y="2288"/>
                                                        <a:pt x="293990" y="5916"/>
                                                        <a:pt x="287253" y="9479"/>
                                                      </a:cubicBezTo>
                                                      <a:cubicBezTo>
                                                        <a:pt x="286281" y="9997"/>
                                                        <a:pt x="285244" y="10580"/>
                                                        <a:pt x="284272" y="11099"/>
                                                      </a:cubicBezTo>
                                                      <a:cubicBezTo>
                                                        <a:pt x="275591" y="15763"/>
                                                        <a:pt x="266845" y="20428"/>
                                                        <a:pt x="258099" y="25092"/>
                                                      </a:cubicBezTo>
                                                      <a:cubicBezTo>
                                                        <a:pt x="257062" y="25676"/>
                                                        <a:pt x="256026" y="26194"/>
                                                        <a:pt x="255119" y="27036"/>
                                                      </a:cubicBezTo>
                                                      <a:cubicBezTo>
                                                        <a:pt x="253629" y="28461"/>
                                                        <a:pt x="252916" y="30470"/>
                                                        <a:pt x="252138" y="32413"/>
                                                      </a:cubicBezTo>
                                                      <a:cubicBezTo>
                                                        <a:pt x="246437" y="46536"/>
                                                        <a:pt x="235942" y="58716"/>
                                                        <a:pt x="222726" y="66361"/>
                                                      </a:cubicBezTo>
                                                      <a:cubicBezTo>
                                                        <a:pt x="219681" y="68110"/>
                                                        <a:pt x="216441" y="69665"/>
                                                        <a:pt x="214239" y="72451"/>
                                                      </a:cubicBezTo>
                                                      <a:cubicBezTo>
                                                        <a:pt x="211323" y="76014"/>
                                                        <a:pt x="210870" y="80938"/>
                                                        <a:pt x="209315" y="85278"/>
                                                      </a:cubicBezTo>
                                                      <a:cubicBezTo>
                                                        <a:pt x="204132" y="99596"/>
                                                        <a:pt x="185150" y="106852"/>
                                                        <a:pt x="171804" y="99726"/>
                                                      </a:cubicBezTo>
                                                      <a:cubicBezTo>
                                                        <a:pt x="164613" y="95839"/>
                                                        <a:pt x="157487" y="88388"/>
                                                        <a:pt x="149777" y="91174"/>
                                                      </a:cubicBezTo>
                                                      <a:cubicBezTo>
                                                        <a:pt x="140254" y="94608"/>
                                                        <a:pt x="141225" y="110091"/>
                                                        <a:pt x="132479" y="115274"/>
                                                      </a:cubicBezTo>
                                                      <a:cubicBezTo>
                                                        <a:pt x="129823" y="116829"/>
                                                        <a:pt x="126389" y="117347"/>
                                                        <a:pt x="124381" y="119680"/>
                                                      </a:cubicBezTo>
                                                      <a:cubicBezTo>
                                                        <a:pt x="122891" y="121429"/>
                                                        <a:pt x="122502" y="123890"/>
                                                        <a:pt x="121725" y="126029"/>
                                                      </a:cubicBezTo>
                                                      <a:cubicBezTo>
                                                        <a:pt x="118162" y="135682"/>
                                                        <a:pt x="105788" y="139633"/>
                                                        <a:pt x="95875" y="136977"/>
                                                      </a:cubicBezTo>
                                                      <a:cubicBezTo>
                                                        <a:pt x="95422" y="136848"/>
                                                        <a:pt x="94904" y="136718"/>
                                                        <a:pt x="94450" y="136589"/>
                                                      </a:cubicBezTo>
                                                      <a:cubicBezTo>
                                                        <a:pt x="94256" y="135099"/>
                                                        <a:pt x="94061" y="133543"/>
                                                        <a:pt x="93997" y="131989"/>
                                                      </a:cubicBezTo>
                                                      <a:cubicBezTo>
                                                        <a:pt x="93673" y="121429"/>
                                                        <a:pt x="96977" y="110609"/>
                                                        <a:pt x="94191" y="100373"/>
                                                      </a:cubicBezTo>
                                                      <a:cubicBezTo>
                                                        <a:pt x="93997" y="99596"/>
                                                        <a:pt x="93737" y="98818"/>
                                                        <a:pt x="93413" y="98041"/>
                                                      </a:cubicBezTo>
                                                      <a:cubicBezTo>
                                                        <a:pt x="93154" y="97328"/>
                                                        <a:pt x="92831" y="96681"/>
                                                        <a:pt x="92506" y="96033"/>
                                                      </a:cubicBezTo>
                                                      <a:cubicBezTo>
                                                        <a:pt x="92182" y="95320"/>
                                                        <a:pt x="91859" y="94672"/>
                                                        <a:pt x="91405" y="94024"/>
                                                      </a:cubicBezTo>
                                                      <a:cubicBezTo>
                                                        <a:pt x="90434" y="92275"/>
                                                        <a:pt x="89203" y="90720"/>
                                                        <a:pt x="87842" y="89295"/>
                                                      </a:cubicBezTo>
                                                      <a:cubicBezTo>
                                                        <a:pt x="87194" y="88583"/>
                                                        <a:pt x="86546" y="87999"/>
                                                        <a:pt x="85834" y="87352"/>
                                                      </a:cubicBezTo>
                                                      <a:cubicBezTo>
                                                        <a:pt x="84926" y="86574"/>
                                                        <a:pt x="83955" y="85796"/>
                                                        <a:pt x="82983" y="85149"/>
                                                      </a:cubicBezTo>
                                                      <a:cubicBezTo>
                                                        <a:pt x="82400" y="84760"/>
                                                        <a:pt x="81817" y="84371"/>
                                                        <a:pt x="81234" y="84112"/>
                                                      </a:cubicBezTo>
                                                      <a:cubicBezTo>
                                                        <a:pt x="78189" y="82298"/>
                                                        <a:pt x="74820" y="81067"/>
                                                        <a:pt x="71322" y="80614"/>
                                                      </a:cubicBezTo>
                                                      <a:lnTo>
                                                        <a:pt x="71322" y="80614"/>
                                                      </a:lnTo>
                                                      <a:cubicBezTo>
                                                        <a:pt x="70738" y="80484"/>
                                                        <a:pt x="70156" y="80420"/>
                                                        <a:pt x="69507" y="80355"/>
                                                      </a:cubicBezTo>
                                                      <a:cubicBezTo>
                                                        <a:pt x="67110" y="100956"/>
                                                        <a:pt x="64713" y="121753"/>
                                                        <a:pt x="67370" y="142290"/>
                                                      </a:cubicBezTo>
                                                      <a:cubicBezTo>
                                                        <a:pt x="68082" y="147861"/>
                                                        <a:pt x="69184" y="153368"/>
                                                        <a:pt x="69961" y="158875"/>
                                                      </a:cubicBezTo>
                                                      <a:cubicBezTo>
                                                        <a:pt x="70674" y="164317"/>
                                                        <a:pt x="70998" y="169824"/>
                                                        <a:pt x="71127" y="175266"/>
                                                      </a:cubicBezTo>
                                                      <a:cubicBezTo>
                                                        <a:pt x="70479" y="177468"/>
                                                        <a:pt x="69767" y="179606"/>
                                                        <a:pt x="68925" y="181744"/>
                                                      </a:cubicBezTo>
                                                      <a:cubicBezTo>
                                                        <a:pt x="68601" y="182586"/>
                                                        <a:pt x="68277" y="183364"/>
                                                        <a:pt x="67888" y="184142"/>
                                                      </a:cubicBezTo>
                                                      <a:cubicBezTo>
                                                        <a:pt x="67694" y="184660"/>
                                                        <a:pt x="67434" y="185243"/>
                                                        <a:pt x="67110" y="185761"/>
                                                      </a:cubicBezTo>
                                                      <a:cubicBezTo>
                                                        <a:pt x="66851" y="186279"/>
                                                        <a:pt x="66592" y="186798"/>
                                                        <a:pt x="66268" y="187316"/>
                                                      </a:cubicBezTo>
                                                      <a:cubicBezTo>
                                                        <a:pt x="65620" y="188482"/>
                                                        <a:pt x="64908" y="189583"/>
                                                        <a:pt x="64131" y="190620"/>
                                                      </a:cubicBezTo>
                                                      <a:cubicBezTo>
                                                        <a:pt x="63806" y="191073"/>
                                                        <a:pt x="63418" y="191527"/>
                                                        <a:pt x="63094" y="191915"/>
                                                      </a:cubicBezTo>
                                                      <a:cubicBezTo>
                                                        <a:pt x="62057" y="193146"/>
                                                        <a:pt x="60956" y="194248"/>
                                                        <a:pt x="59660" y="195284"/>
                                                      </a:cubicBezTo>
                                                      <a:cubicBezTo>
                                                        <a:pt x="51109" y="202087"/>
                                                        <a:pt x="38475" y="201568"/>
                                                        <a:pt x="28563" y="197034"/>
                                                      </a:cubicBezTo>
                                                      <a:cubicBezTo>
                                                        <a:pt x="21372" y="193730"/>
                                                        <a:pt x="15282" y="188611"/>
                                                        <a:pt x="9646" y="183040"/>
                                                      </a:cubicBezTo>
                                                      <a:cubicBezTo>
                                                        <a:pt x="4851" y="187769"/>
                                                        <a:pt x="-915" y="192434"/>
                                                        <a:pt x="122" y="198718"/>
                                                      </a:cubicBezTo>
                                                      <a:cubicBezTo>
                                                        <a:pt x="900" y="203577"/>
                                                        <a:pt x="5435" y="206687"/>
                                                        <a:pt x="8220" y="210639"/>
                                                      </a:cubicBezTo>
                                                      <a:cubicBezTo>
                                                        <a:pt x="17938" y="224568"/>
                                                        <a:pt x="4851" y="245493"/>
                                                        <a:pt x="13338" y="260200"/>
                                                      </a:cubicBezTo>
                                                      <a:cubicBezTo>
                                                        <a:pt x="18586" y="269334"/>
                                                        <a:pt x="31284" y="273805"/>
                                                        <a:pt x="33422" y="284170"/>
                                                      </a:cubicBezTo>
                                                      <a:cubicBezTo>
                                                        <a:pt x="34264" y="288252"/>
                                                        <a:pt x="33163" y="292463"/>
                                                        <a:pt x="32450" y="296609"/>
                                                      </a:cubicBezTo>
                                                      <a:cubicBezTo>
                                                        <a:pt x="28757" y="317859"/>
                                                        <a:pt x="35430" y="340664"/>
                                                        <a:pt x="50007" y="356601"/>
                                                      </a:cubicBezTo>
                                                      <a:cubicBezTo>
                                                        <a:pt x="53441" y="360293"/>
                                                        <a:pt x="57263" y="363662"/>
                                                        <a:pt x="60049" y="367874"/>
                                                      </a:cubicBezTo>
                                                      <a:cubicBezTo>
                                                        <a:pt x="61474" y="370011"/>
                                                        <a:pt x="62705" y="372473"/>
                                                        <a:pt x="64843" y="373899"/>
                                                      </a:cubicBezTo>
                                                      <a:cubicBezTo>
                                                        <a:pt x="69961" y="377203"/>
                                                        <a:pt x="76440" y="373056"/>
                                                        <a:pt x="81428" y="369558"/>
                                                      </a:cubicBezTo>
                                                      <a:cubicBezTo>
                                                        <a:pt x="108444" y="350640"/>
                                                        <a:pt x="143234" y="348438"/>
                                                        <a:pt x="175432" y="341376"/>
                                                      </a:cubicBezTo>
                                                      <a:cubicBezTo>
                                                        <a:pt x="212166" y="333343"/>
                                                        <a:pt x="247409" y="318183"/>
                                                        <a:pt x="278441" y="296933"/>
                                                      </a:cubicBezTo>
                                                      <a:cubicBezTo>
                                                        <a:pt x="285179" y="292398"/>
                                                        <a:pt x="291787" y="287474"/>
                                                        <a:pt x="296970" y="281255"/>
                                                      </a:cubicBezTo>
                                                      <a:cubicBezTo>
                                                        <a:pt x="310964" y="264540"/>
                                                        <a:pt x="313167" y="241282"/>
                                                        <a:pt x="314397" y="219579"/>
                                                      </a:cubicBezTo>
                                                      <a:cubicBezTo>
                                                        <a:pt x="314657" y="215821"/>
                                                        <a:pt x="314916" y="211934"/>
                                                        <a:pt x="316535" y="208501"/>
                                                      </a:cubicBezTo>
                                                      <a:cubicBezTo>
                                                        <a:pt x="318285" y="205067"/>
                                                        <a:pt x="321265" y="202476"/>
                                                        <a:pt x="324245" y="200014"/>
                                                      </a:cubicBezTo>
                                                      <a:cubicBezTo>
                                                        <a:pt x="336490" y="189648"/>
                                                        <a:pt x="348734" y="179347"/>
                                                        <a:pt x="360978" y="168981"/>
                                                      </a:cubicBezTo>
                                                      <a:cubicBezTo>
                                                        <a:pt x="365254" y="165418"/>
                                                        <a:pt x="369660" y="161467"/>
                                                        <a:pt x="373547" y="157255"/>
                                                      </a:cubicBezTo>
                                                      <a:cubicBezTo>
                                                        <a:pt x="369012" y="153498"/>
                                                        <a:pt x="364606" y="149611"/>
                                                        <a:pt x="361756" y="144687"/>
                                                      </a:cubicBezTo>
                                                      <a:close/>
                                                      <a:moveTo>
                                                        <a:pt x="295545" y="219449"/>
                                                      </a:moveTo>
                                                      <a:cubicBezTo>
                                                        <a:pt x="293666" y="221717"/>
                                                        <a:pt x="290232" y="221782"/>
                                                        <a:pt x="287641" y="223142"/>
                                                      </a:cubicBezTo>
                                                      <a:cubicBezTo>
                                                        <a:pt x="283884" y="225086"/>
                                                        <a:pt x="281746" y="229751"/>
                                                        <a:pt x="277664" y="230593"/>
                                                      </a:cubicBezTo>
                                                      <a:cubicBezTo>
                                                        <a:pt x="275591" y="231046"/>
                                                        <a:pt x="273064" y="230528"/>
                                                        <a:pt x="271639" y="232083"/>
                                                      </a:cubicBezTo>
                                                      <a:cubicBezTo>
                                                        <a:pt x="270991" y="232795"/>
                                                        <a:pt x="270732" y="233767"/>
                                                        <a:pt x="270538" y="234674"/>
                                                      </a:cubicBezTo>
                                                      <a:cubicBezTo>
                                                        <a:pt x="269566" y="238626"/>
                                                        <a:pt x="268659" y="242643"/>
                                                        <a:pt x="267687" y="246595"/>
                                                      </a:cubicBezTo>
                                                      <a:cubicBezTo>
                                                        <a:pt x="264578" y="246659"/>
                                                        <a:pt x="261403" y="246141"/>
                                                        <a:pt x="258682" y="244716"/>
                                                      </a:cubicBezTo>
                                                      <a:cubicBezTo>
                                                        <a:pt x="256544" y="243679"/>
                                                        <a:pt x="254730" y="242060"/>
                                                        <a:pt x="252981" y="240440"/>
                                                      </a:cubicBezTo>
                                                      <a:cubicBezTo>
                                                        <a:pt x="250130" y="237978"/>
                                                        <a:pt x="247279" y="235452"/>
                                                        <a:pt x="244494" y="232925"/>
                                                      </a:cubicBezTo>
                                                      <a:cubicBezTo>
                                                        <a:pt x="241254" y="230074"/>
                                                        <a:pt x="237756" y="225993"/>
                                                        <a:pt x="239376" y="222041"/>
                                                      </a:cubicBezTo>
                                                      <a:cubicBezTo>
                                                        <a:pt x="244105" y="220227"/>
                                                        <a:pt x="248575" y="217700"/>
                                                        <a:pt x="252462" y="214461"/>
                                                      </a:cubicBezTo>
                                                      <a:cubicBezTo>
                                                        <a:pt x="248575" y="212388"/>
                                                        <a:pt x="248770" y="205650"/>
                                                        <a:pt x="252786" y="203707"/>
                                                      </a:cubicBezTo>
                                                      <a:cubicBezTo>
                                                        <a:pt x="254017" y="203124"/>
                                                        <a:pt x="255572" y="202929"/>
                                                        <a:pt x="256609" y="201893"/>
                                                      </a:cubicBezTo>
                                                      <a:cubicBezTo>
                                                        <a:pt x="258552" y="200014"/>
                                                        <a:pt x="257386" y="196774"/>
                                                        <a:pt x="257775" y="194054"/>
                                                      </a:cubicBezTo>
                                                      <a:cubicBezTo>
                                                        <a:pt x="258488" y="188741"/>
                                                        <a:pt x="264772" y="186474"/>
                                                        <a:pt x="269954" y="185308"/>
                                                      </a:cubicBezTo>
                                                      <a:cubicBezTo>
                                                        <a:pt x="271574" y="184919"/>
                                                        <a:pt x="273259" y="184530"/>
                                                        <a:pt x="274878" y="184854"/>
                                                      </a:cubicBezTo>
                                                      <a:cubicBezTo>
                                                        <a:pt x="277146" y="185308"/>
                                                        <a:pt x="278960" y="187057"/>
                                                        <a:pt x="280838" y="188352"/>
                                                      </a:cubicBezTo>
                                                      <a:cubicBezTo>
                                                        <a:pt x="284596" y="190944"/>
                                                        <a:pt x="289325" y="192110"/>
                                                        <a:pt x="292500" y="195349"/>
                                                      </a:cubicBezTo>
                                                      <a:cubicBezTo>
                                                        <a:pt x="296906" y="199820"/>
                                                        <a:pt x="297100" y="206817"/>
                                                        <a:pt x="297100" y="213101"/>
                                                      </a:cubicBezTo>
                                                      <a:cubicBezTo>
                                                        <a:pt x="297100" y="215368"/>
                                                        <a:pt x="296970" y="217765"/>
                                                        <a:pt x="295545" y="21944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3" name="Freeform: Shape 41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829E372-1904-4713-A2F5-82A5E2F7845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38063" y="4849483"/>
                                                  <a:ext cx="218004" cy="33932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70581 w 218004"/>
                                                    <a:gd name="connsiteY0" fmla="*/ 150238 h 339329"/>
                                                    <a:gd name="connsiteX1" fmla="*/ 171617 w 218004"/>
                                                    <a:gd name="connsiteY1" fmla="*/ 142464 h 339329"/>
                                                    <a:gd name="connsiteX2" fmla="*/ 194940 w 218004"/>
                                                    <a:gd name="connsiteY2" fmla="*/ 129377 h 339329"/>
                                                    <a:gd name="connsiteX3" fmla="*/ 197014 w 218004"/>
                                                    <a:gd name="connsiteY3" fmla="*/ 84545 h 339329"/>
                                                    <a:gd name="connsiteX4" fmla="*/ 198892 w 218004"/>
                                                    <a:gd name="connsiteY4" fmla="*/ 44573 h 339329"/>
                                                    <a:gd name="connsiteX5" fmla="*/ 218004 w 218004"/>
                                                    <a:gd name="connsiteY5" fmla="*/ 30190 h 339329"/>
                                                    <a:gd name="connsiteX6" fmla="*/ 162612 w 218004"/>
                                                    <a:gd name="connsiteY6" fmla="*/ 26951 h 339329"/>
                                                    <a:gd name="connsiteX7" fmla="*/ 152117 w 218004"/>
                                                    <a:gd name="connsiteY7" fmla="*/ 23452 h 339329"/>
                                                    <a:gd name="connsiteX8" fmla="*/ 148424 w 218004"/>
                                                    <a:gd name="connsiteY8" fmla="*/ 18269 h 339329"/>
                                                    <a:gd name="connsiteX9" fmla="*/ 140520 w 218004"/>
                                                    <a:gd name="connsiteY9" fmla="*/ 16585 h 339329"/>
                                                    <a:gd name="connsiteX10" fmla="*/ 49043 w 218004"/>
                                                    <a:gd name="connsiteY10" fmla="*/ 12504 h 339329"/>
                                                    <a:gd name="connsiteX11" fmla="*/ 39843 w 218004"/>
                                                    <a:gd name="connsiteY11" fmla="*/ 10366 h 339329"/>
                                                    <a:gd name="connsiteX12" fmla="*/ 32328 w 218004"/>
                                                    <a:gd name="connsiteY12" fmla="*/ 5766 h 339329"/>
                                                    <a:gd name="connsiteX13" fmla="*/ 21185 w 218004"/>
                                                    <a:gd name="connsiteY13" fmla="*/ 2915 h 339329"/>
                                                    <a:gd name="connsiteX14" fmla="*/ 0 w 218004"/>
                                                    <a:gd name="connsiteY14" fmla="*/ 0 h 339329"/>
                                                    <a:gd name="connsiteX15" fmla="*/ 5118 w 218004"/>
                                                    <a:gd name="connsiteY15" fmla="*/ 28829 h 339329"/>
                                                    <a:gd name="connsiteX16" fmla="*/ 13217 w 218004"/>
                                                    <a:gd name="connsiteY16" fmla="*/ 58113 h 339329"/>
                                                    <a:gd name="connsiteX17" fmla="*/ 35243 w 218004"/>
                                                    <a:gd name="connsiteY17" fmla="*/ 101325 h 339329"/>
                                                    <a:gd name="connsiteX18" fmla="*/ 33170 w 218004"/>
                                                    <a:gd name="connsiteY18" fmla="*/ 135208 h 339329"/>
                                                    <a:gd name="connsiteX19" fmla="*/ 41981 w 218004"/>
                                                    <a:gd name="connsiteY19" fmla="*/ 151663 h 339329"/>
                                                    <a:gd name="connsiteX20" fmla="*/ 43925 w 218004"/>
                                                    <a:gd name="connsiteY20" fmla="*/ 187101 h 339329"/>
                                                    <a:gd name="connsiteX21" fmla="*/ 63749 w 218004"/>
                                                    <a:gd name="connsiteY21" fmla="*/ 254996 h 339329"/>
                                                    <a:gd name="connsiteX22" fmla="*/ 76577 w 218004"/>
                                                    <a:gd name="connsiteY22" fmla="*/ 316154 h 339329"/>
                                                    <a:gd name="connsiteX23" fmla="*/ 108063 w 218004"/>
                                                    <a:gd name="connsiteY23" fmla="*/ 303845 h 339329"/>
                                                    <a:gd name="connsiteX24" fmla="*/ 111885 w 218004"/>
                                                    <a:gd name="connsiteY24" fmla="*/ 319847 h 339329"/>
                                                    <a:gd name="connsiteX25" fmla="*/ 109812 w 218004"/>
                                                    <a:gd name="connsiteY25" fmla="*/ 321985 h 339329"/>
                                                    <a:gd name="connsiteX26" fmla="*/ 128729 w 218004"/>
                                                    <a:gd name="connsiteY26" fmla="*/ 335914 h 339329"/>
                                                    <a:gd name="connsiteX27" fmla="*/ 159826 w 218004"/>
                                                    <a:gd name="connsiteY27" fmla="*/ 334164 h 339329"/>
                                                    <a:gd name="connsiteX28" fmla="*/ 171293 w 218004"/>
                                                    <a:gd name="connsiteY28" fmla="*/ 314146 h 339329"/>
                                                    <a:gd name="connsiteX29" fmla="*/ 170127 w 218004"/>
                                                    <a:gd name="connsiteY29" fmla="*/ 297755 h 339329"/>
                                                    <a:gd name="connsiteX30" fmla="*/ 167601 w 218004"/>
                                                    <a:gd name="connsiteY30" fmla="*/ 281170 h 339329"/>
                                                    <a:gd name="connsiteX31" fmla="*/ 169739 w 218004"/>
                                                    <a:gd name="connsiteY31" fmla="*/ 219235 h 339329"/>
                                                    <a:gd name="connsiteX32" fmla="*/ 171552 w 218004"/>
                                                    <a:gd name="connsiteY32" fmla="*/ 219494 h 339329"/>
                                                    <a:gd name="connsiteX33" fmla="*/ 170646 w 218004"/>
                                                    <a:gd name="connsiteY33" fmla="*/ 150108 h 33932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18004" h="339329">
                                                      <a:moveTo>
                                                        <a:pt x="170581" y="150238"/>
                                                      </a:moveTo>
                                                      <a:cubicBezTo>
                                                        <a:pt x="170646" y="147647"/>
                                                        <a:pt x="170775" y="144926"/>
                                                        <a:pt x="171617" y="142464"/>
                                                      </a:cubicBezTo>
                                                      <a:cubicBezTo>
                                                        <a:pt x="174727" y="133588"/>
                                                        <a:pt x="185676" y="130802"/>
                                                        <a:pt x="194940" y="129377"/>
                                                      </a:cubicBezTo>
                                                      <a:cubicBezTo>
                                                        <a:pt x="202261" y="116031"/>
                                                        <a:pt x="198180" y="99705"/>
                                                        <a:pt x="197014" y="84545"/>
                                                      </a:cubicBezTo>
                                                      <a:cubicBezTo>
                                                        <a:pt x="195977" y="71199"/>
                                                        <a:pt x="197402" y="57854"/>
                                                        <a:pt x="198892" y="44573"/>
                                                      </a:cubicBezTo>
                                                      <a:cubicBezTo>
                                                        <a:pt x="207703" y="46322"/>
                                                        <a:pt x="217227" y="39130"/>
                                                        <a:pt x="218004" y="30190"/>
                                                      </a:cubicBezTo>
                                                      <a:cubicBezTo>
                                                        <a:pt x="199540" y="29154"/>
                                                        <a:pt x="181076" y="28052"/>
                                                        <a:pt x="162612" y="26951"/>
                                                      </a:cubicBezTo>
                                                      <a:cubicBezTo>
                                                        <a:pt x="158855" y="26757"/>
                                                        <a:pt x="154643" y="26303"/>
                                                        <a:pt x="152117" y="23452"/>
                                                      </a:cubicBezTo>
                                                      <a:cubicBezTo>
                                                        <a:pt x="150692" y="21833"/>
                                                        <a:pt x="150044" y="19630"/>
                                                        <a:pt x="148424" y="18269"/>
                                                      </a:cubicBezTo>
                                                      <a:cubicBezTo>
                                                        <a:pt x="146351" y="16455"/>
                                                        <a:pt x="143306" y="16455"/>
                                                        <a:pt x="140520" y="16585"/>
                                                      </a:cubicBezTo>
                                                      <a:cubicBezTo>
                                                        <a:pt x="110006" y="17492"/>
                                                        <a:pt x="79363" y="16132"/>
                                                        <a:pt x="49043" y="12504"/>
                                                      </a:cubicBezTo>
                                                      <a:cubicBezTo>
                                                        <a:pt x="45933" y="12115"/>
                                                        <a:pt x="42694" y="11726"/>
                                                        <a:pt x="39843" y="10366"/>
                                                      </a:cubicBezTo>
                                                      <a:cubicBezTo>
                                                        <a:pt x="37187" y="9135"/>
                                                        <a:pt x="34984" y="7061"/>
                                                        <a:pt x="32328" y="5766"/>
                                                      </a:cubicBezTo>
                                                      <a:cubicBezTo>
                                                        <a:pt x="28895" y="4017"/>
                                                        <a:pt x="25007" y="3433"/>
                                                        <a:pt x="21185" y="2915"/>
                                                      </a:cubicBezTo>
                                                      <a:cubicBezTo>
                                                        <a:pt x="14123" y="1943"/>
                                                        <a:pt x="7062" y="972"/>
                                                        <a:pt x="0" y="0"/>
                                                      </a:cubicBezTo>
                                                      <a:cubicBezTo>
                                                        <a:pt x="1684" y="9588"/>
                                                        <a:pt x="3434" y="19241"/>
                                                        <a:pt x="5118" y="28829"/>
                                                      </a:cubicBezTo>
                                                      <a:cubicBezTo>
                                                        <a:pt x="6932" y="38807"/>
                                                        <a:pt x="8746" y="48978"/>
                                                        <a:pt x="13217" y="58113"/>
                                                      </a:cubicBezTo>
                                                      <a:cubicBezTo>
                                                        <a:pt x="20408" y="72819"/>
                                                        <a:pt x="34336" y="84999"/>
                                                        <a:pt x="35243" y="101325"/>
                                                      </a:cubicBezTo>
                                                      <a:cubicBezTo>
                                                        <a:pt x="35892" y="112727"/>
                                                        <a:pt x="29802" y="124324"/>
                                                        <a:pt x="33170" y="135208"/>
                                                      </a:cubicBezTo>
                                                      <a:cubicBezTo>
                                                        <a:pt x="34984" y="141168"/>
                                                        <a:pt x="39455" y="145962"/>
                                                        <a:pt x="41981" y="151663"/>
                                                      </a:cubicBezTo>
                                                      <a:cubicBezTo>
                                                        <a:pt x="46775" y="162612"/>
                                                        <a:pt x="43925" y="175180"/>
                                                        <a:pt x="43925" y="187101"/>
                                                      </a:cubicBezTo>
                                                      <a:cubicBezTo>
                                                        <a:pt x="43990" y="210813"/>
                                                        <a:pt x="55716" y="232645"/>
                                                        <a:pt x="63749" y="254996"/>
                                                      </a:cubicBezTo>
                                                      <a:cubicBezTo>
                                                        <a:pt x="70811" y="274626"/>
                                                        <a:pt x="75152" y="295293"/>
                                                        <a:pt x="76577" y="316154"/>
                                                      </a:cubicBezTo>
                                                      <a:cubicBezTo>
                                                        <a:pt x="88238" y="317385"/>
                                                        <a:pt x="100353" y="312656"/>
                                                        <a:pt x="108063" y="303845"/>
                                                      </a:cubicBezTo>
                                                      <a:cubicBezTo>
                                                        <a:pt x="115189" y="301836"/>
                                                        <a:pt x="116744" y="314340"/>
                                                        <a:pt x="111885" y="319847"/>
                                                      </a:cubicBezTo>
                                                      <a:cubicBezTo>
                                                        <a:pt x="111237" y="320560"/>
                                                        <a:pt x="110524" y="321272"/>
                                                        <a:pt x="109812" y="321985"/>
                                                      </a:cubicBezTo>
                                                      <a:cubicBezTo>
                                                        <a:pt x="115513" y="327492"/>
                                                        <a:pt x="121603" y="332610"/>
                                                        <a:pt x="128729" y="335914"/>
                                                      </a:cubicBezTo>
                                                      <a:cubicBezTo>
                                                        <a:pt x="138642" y="340514"/>
                                                        <a:pt x="151275" y="340967"/>
                                                        <a:pt x="159826" y="334164"/>
                                                      </a:cubicBezTo>
                                                      <a:cubicBezTo>
                                                        <a:pt x="165981" y="329306"/>
                                                        <a:pt x="169026" y="321791"/>
                                                        <a:pt x="171293" y="314146"/>
                                                      </a:cubicBezTo>
                                                      <a:cubicBezTo>
                                                        <a:pt x="171164" y="308639"/>
                                                        <a:pt x="170840" y="303197"/>
                                                        <a:pt x="170127" y="297755"/>
                                                      </a:cubicBezTo>
                                                      <a:cubicBezTo>
                                                        <a:pt x="169350" y="292183"/>
                                                        <a:pt x="168313" y="286741"/>
                                                        <a:pt x="167601" y="281170"/>
                                                      </a:cubicBezTo>
                                                      <a:cubicBezTo>
                                                        <a:pt x="164945" y="260633"/>
                                                        <a:pt x="167342" y="239836"/>
                                                        <a:pt x="169739" y="219235"/>
                                                      </a:cubicBezTo>
                                                      <a:cubicBezTo>
                                                        <a:pt x="170322" y="219235"/>
                                                        <a:pt x="170970" y="219429"/>
                                                        <a:pt x="171552" y="219494"/>
                                                      </a:cubicBezTo>
                                                      <a:cubicBezTo>
                                                        <a:pt x="169480" y="196560"/>
                                                        <a:pt x="169933" y="173107"/>
                                                        <a:pt x="170646" y="15010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6" name="Freeform: Shape 41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E72FDB29-1379-4C29-A701-A2E5B5EDACF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508046" y="4871755"/>
                                                  <a:ext cx="221625" cy="25465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20546 w 221625"/>
                                                    <a:gd name="connsiteY0" fmla="*/ 106716 h 254652"/>
                                                    <a:gd name="connsiteX1" fmla="*/ 208820 w 221625"/>
                                                    <a:gd name="connsiteY1" fmla="*/ 99914 h 254652"/>
                                                    <a:gd name="connsiteX2" fmla="*/ 200138 w 221625"/>
                                                    <a:gd name="connsiteY2" fmla="*/ 97711 h 254652"/>
                                                    <a:gd name="connsiteX3" fmla="*/ 195409 w 221625"/>
                                                    <a:gd name="connsiteY3" fmla="*/ 94407 h 254652"/>
                                                    <a:gd name="connsiteX4" fmla="*/ 195344 w 221625"/>
                                                    <a:gd name="connsiteY4" fmla="*/ 89937 h 254652"/>
                                                    <a:gd name="connsiteX5" fmla="*/ 189578 w 221625"/>
                                                    <a:gd name="connsiteY5" fmla="*/ 86309 h 254652"/>
                                                    <a:gd name="connsiteX6" fmla="*/ 186209 w 221625"/>
                                                    <a:gd name="connsiteY6" fmla="*/ 71408 h 254652"/>
                                                    <a:gd name="connsiteX7" fmla="*/ 179601 w 221625"/>
                                                    <a:gd name="connsiteY7" fmla="*/ 68298 h 254652"/>
                                                    <a:gd name="connsiteX8" fmla="*/ 177269 w 221625"/>
                                                    <a:gd name="connsiteY8" fmla="*/ 59099 h 254652"/>
                                                    <a:gd name="connsiteX9" fmla="*/ 166579 w 221625"/>
                                                    <a:gd name="connsiteY9" fmla="*/ 56831 h 254652"/>
                                                    <a:gd name="connsiteX10" fmla="*/ 159388 w 221625"/>
                                                    <a:gd name="connsiteY10" fmla="*/ 39080 h 254652"/>
                                                    <a:gd name="connsiteX11" fmla="*/ 147402 w 221625"/>
                                                    <a:gd name="connsiteY11" fmla="*/ 36748 h 254652"/>
                                                    <a:gd name="connsiteX12" fmla="*/ 141377 w 221625"/>
                                                    <a:gd name="connsiteY12" fmla="*/ 22106 h 254652"/>
                                                    <a:gd name="connsiteX13" fmla="*/ 134640 w 221625"/>
                                                    <a:gd name="connsiteY13" fmla="*/ 7983 h 254652"/>
                                                    <a:gd name="connsiteX14" fmla="*/ 129457 w 221625"/>
                                                    <a:gd name="connsiteY14" fmla="*/ 7400 h 254652"/>
                                                    <a:gd name="connsiteX15" fmla="*/ 113261 w 221625"/>
                                                    <a:gd name="connsiteY15" fmla="*/ 1893 h 254652"/>
                                                    <a:gd name="connsiteX16" fmla="*/ 92983 w 221625"/>
                                                    <a:gd name="connsiteY16" fmla="*/ 18802 h 254652"/>
                                                    <a:gd name="connsiteX17" fmla="*/ 84820 w 221625"/>
                                                    <a:gd name="connsiteY17" fmla="*/ 5197 h 254652"/>
                                                    <a:gd name="connsiteX18" fmla="*/ 80479 w 221625"/>
                                                    <a:gd name="connsiteY18" fmla="*/ 921 h 254652"/>
                                                    <a:gd name="connsiteX19" fmla="*/ 75231 w 221625"/>
                                                    <a:gd name="connsiteY19" fmla="*/ 14 h 254652"/>
                                                    <a:gd name="connsiteX20" fmla="*/ 48799 w 221625"/>
                                                    <a:gd name="connsiteY20" fmla="*/ 10185 h 254652"/>
                                                    <a:gd name="connsiteX21" fmla="*/ 47503 w 221625"/>
                                                    <a:gd name="connsiteY21" fmla="*/ 10639 h 254652"/>
                                                    <a:gd name="connsiteX22" fmla="*/ 28910 w 221625"/>
                                                    <a:gd name="connsiteY22" fmla="*/ 22430 h 254652"/>
                                                    <a:gd name="connsiteX23" fmla="*/ 27031 w 221625"/>
                                                    <a:gd name="connsiteY23" fmla="*/ 62403 h 254652"/>
                                                    <a:gd name="connsiteX24" fmla="*/ 24958 w 221625"/>
                                                    <a:gd name="connsiteY24" fmla="*/ 107235 h 254652"/>
                                                    <a:gd name="connsiteX25" fmla="*/ 1635 w 221625"/>
                                                    <a:gd name="connsiteY25" fmla="*/ 120321 h 254652"/>
                                                    <a:gd name="connsiteX26" fmla="*/ 598 w 221625"/>
                                                    <a:gd name="connsiteY26" fmla="*/ 128095 h 254652"/>
                                                    <a:gd name="connsiteX27" fmla="*/ 1505 w 221625"/>
                                                    <a:gd name="connsiteY27" fmla="*/ 197481 h 254652"/>
                                                    <a:gd name="connsiteX28" fmla="*/ 24374 w 221625"/>
                                                    <a:gd name="connsiteY28" fmla="*/ 217241 h 254652"/>
                                                    <a:gd name="connsiteX29" fmla="*/ 24245 w 221625"/>
                                                    <a:gd name="connsiteY29" fmla="*/ 248856 h 254652"/>
                                                    <a:gd name="connsiteX30" fmla="*/ 24634 w 221625"/>
                                                    <a:gd name="connsiteY30" fmla="*/ 253456 h 254652"/>
                                                    <a:gd name="connsiteX31" fmla="*/ 26059 w 221625"/>
                                                    <a:gd name="connsiteY31" fmla="*/ 253845 h 254652"/>
                                                    <a:gd name="connsiteX32" fmla="*/ 51908 w 221625"/>
                                                    <a:gd name="connsiteY32" fmla="*/ 242896 h 254652"/>
                                                    <a:gd name="connsiteX33" fmla="*/ 54565 w 221625"/>
                                                    <a:gd name="connsiteY33" fmla="*/ 236547 h 254652"/>
                                                    <a:gd name="connsiteX34" fmla="*/ 62663 w 221625"/>
                                                    <a:gd name="connsiteY34" fmla="*/ 232141 h 254652"/>
                                                    <a:gd name="connsiteX35" fmla="*/ 79961 w 221625"/>
                                                    <a:gd name="connsiteY35" fmla="*/ 208041 h 254652"/>
                                                    <a:gd name="connsiteX36" fmla="*/ 101923 w 221625"/>
                                                    <a:gd name="connsiteY36" fmla="*/ 216593 h 254652"/>
                                                    <a:gd name="connsiteX37" fmla="*/ 139434 w 221625"/>
                                                    <a:gd name="connsiteY37" fmla="*/ 202146 h 254652"/>
                                                    <a:gd name="connsiteX38" fmla="*/ 144358 w 221625"/>
                                                    <a:gd name="connsiteY38" fmla="*/ 189318 h 254652"/>
                                                    <a:gd name="connsiteX39" fmla="*/ 152845 w 221625"/>
                                                    <a:gd name="connsiteY39" fmla="*/ 183228 h 254652"/>
                                                    <a:gd name="connsiteX40" fmla="*/ 182257 w 221625"/>
                                                    <a:gd name="connsiteY40" fmla="*/ 149281 h 254652"/>
                                                    <a:gd name="connsiteX41" fmla="*/ 185237 w 221625"/>
                                                    <a:gd name="connsiteY41" fmla="*/ 143903 h 254652"/>
                                                    <a:gd name="connsiteX42" fmla="*/ 188218 w 221625"/>
                                                    <a:gd name="connsiteY42" fmla="*/ 141960 h 254652"/>
                                                    <a:gd name="connsiteX43" fmla="*/ 214391 w 221625"/>
                                                    <a:gd name="connsiteY43" fmla="*/ 127966 h 254652"/>
                                                    <a:gd name="connsiteX44" fmla="*/ 214780 w 221625"/>
                                                    <a:gd name="connsiteY44" fmla="*/ 127188 h 254652"/>
                                                    <a:gd name="connsiteX45" fmla="*/ 220546 w 221625"/>
                                                    <a:gd name="connsiteY45" fmla="*/ 106846 h 25465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21625" h="254652">
                                                      <a:moveTo>
                                                        <a:pt x="220546" y="106716"/>
                                                      </a:moveTo>
                                                      <a:cubicBezTo>
                                                        <a:pt x="218343" y="102570"/>
                                                        <a:pt x="213290" y="101080"/>
                                                        <a:pt x="208820" y="99914"/>
                                                      </a:cubicBezTo>
                                                      <a:cubicBezTo>
                                                        <a:pt x="205904" y="99201"/>
                                                        <a:pt x="203054" y="98424"/>
                                                        <a:pt x="200138" y="97711"/>
                                                      </a:cubicBezTo>
                                                      <a:cubicBezTo>
                                                        <a:pt x="198195" y="97193"/>
                                                        <a:pt x="195927" y="96415"/>
                                                        <a:pt x="195409" y="94407"/>
                                                      </a:cubicBezTo>
                                                      <a:cubicBezTo>
                                                        <a:pt x="195020" y="92917"/>
                                                        <a:pt x="195862" y="91362"/>
                                                        <a:pt x="195344" y="89937"/>
                                                      </a:cubicBezTo>
                                                      <a:cubicBezTo>
                                                        <a:pt x="194567" y="87734"/>
                                                        <a:pt x="191392" y="87734"/>
                                                        <a:pt x="189578" y="86309"/>
                                                      </a:cubicBezTo>
                                                      <a:cubicBezTo>
                                                        <a:pt x="185432" y="82940"/>
                                                        <a:pt x="190291" y="74777"/>
                                                        <a:pt x="186209" y="71408"/>
                                                      </a:cubicBezTo>
                                                      <a:cubicBezTo>
                                                        <a:pt x="184330" y="69853"/>
                                                        <a:pt x="181221" y="70112"/>
                                                        <a:pt x="179601" y="68298"/>
                                                      </a:cubicBezTo>
                                                      <a:cubicBezTo>
                                                        <a:pt x="177463" y="65901"/>
                                                        <a:pt x="179342" y="61561"/>
                                                        <a:pt x="177269" y="59099"/>
                                                      </a:cubicBezTo>
                                                      <a:cubicBezTo>
                                                        <a:pt x="174872" y="56184"/>
                                                        <a:pt x="169948" y="58386"/>
                                                        <a:pt x="166579" y="56831"/>
                                                      </a:cubicBezTo>
                                                      <a:cubicBezTo>
                                                        <a:pt x="160554" y="53981"/>
                                                        <a:pt x="164701" y="43097"/>
                                                        <a:pt x="159388" y="39080"/>
                                                      </a:cubicBezTo>
                                                      <a:cubicBezTo>
                                                        <a:pt x="156084" y="36618"/>
                                                        <a:pt x="151225" y="38367"/>
                                                        <a:pt x="147402" y="36748"/>
                                                      </a:cubicBezTo>
                                                      <a:cubicBezTo>
                                                        <a:pt x="142220" y="34545"/>
                                                        <a:pt x="141507" y="27742"/>
                                                        <a:pt x="141377" y="22106"/>
                                                      </a:cubicBezTo>
                                                      <a:cubicBezTo>
                                                        <a:pt x="141248" y="16535"/>
                                                        <a:pt x="140017" y="9603"/>
                                                        <a:pt x="134640" y="7983"/>
                                                      </a:cubicBezTo>
                                                      <a:cubicBezTo>
                                                        <a:pt x="132955" y="7465"/>
                                                        <a:pt x="131206" y="7659"/>
                                                        <a:pt x="129457" y="7400"/>
                                                      </a:cubicBezTo>
                                                      <a:cubicBezTo>
                                                        <a:pt x="123756" y="6622"/>
                                                        <a:pt x="119026" y="1634"/>
                                                        <a:pt x="113261" y="1893"/>
                                                      </a:cubicBezTo>
                                                      <a:cubicBezTo>
                                                        <a:pt x="104255" y="2282"/>
                                                        <a:pt x="100822" y="14332"/>
                                                        <a:pt x="92983" y="18802"/>
                                                      </a:cubicBezTo>
                                                      <a:cubicBezTo>
                                                        <a:pt x="90650" y="14073"/>
                                                        <a:pt x="87864" y="9473"/>
                                                        <a:pt x="84820" y="5197"/>
                                                      </a:cubicBezTo>
                                                      <a:cubicBezTo>
                                                        <a:pt x="83654" y="3513"/>
                                                        <a:pt x="82358" y="1828"/>
                                                        <a:pt x="80479" y="921"/>
                                                      </a:cubicBezTo>
                                                      <a:cubicBezTo>
                                                        <a:pt x="78859" y="79"/>
                                                        <a:pt x="76980" y="-50"/>
                                                        <a:pt x="75231" y="14"/>
                                                      </a:cubicBezTo>
                                                      <a:cubicBezTo>
                                                        <a:pt x="65708" y="468"/>
                                                        <a:pt x="57610" y="6622"/>
                                                        <a:pt x="48799" y="10185"/>
                                                      </a:cubicBezTo>
                                                      <a:cubicBezTo>
                                                        <a:pt x="48345" y="10380"/>
                                                        <a:pt x="47957" y="10510"/>
                                                        <a:pt x="47503" y="10639"/>
                                                      </a:cubicBezTo>
                                                      <a:cubicBezTo>
                                                        <a:pt x="45300" y="18284"/>
                                                        <a:pt x="36878" y="23985"/>
                                                        <a:pt x="28910" y="22430"/>
                                                      </a:cubicBezTo>
                                                      <a:cubicBezTo>
                                                        <a:pt x="27484" y="35711"/>
                                                        <a:pt x="26059" y="49122"/>
                                                        <a:pt x="27031" y="62403"/>
                                                      </a:cubicBezTo>
                                                      <a:cubicBezTo>
                                                        <a:pt x="28197" y="77563"/>
                                                        <a:pt x="32343" y="93889"/>
                                                        <a:pt x="24958" y="107235"/>
                                                      </a:cubicBezTo>
                                                      <a:cubicBezTo>
                                                        <a:pt x="15693" y="108660"/>
                                                        <a:pt x="4680" y="111446"/>
                                                        <a:pt x="1635" y="120321"/>
                                                      </a:cubicBezTo>
                                                      <a:cubicBezTo>
                                                        <a:pt x="792" y="122783"/>
                                                        <a:pt x="663" y="125439"/>
                                                        <a:pt x="598" y="128095"/>
                                                      </a:cubicBezTo>
                                                      <a:cubicBezTo>
                                                        <a:pt x="-114" y="151094"/>
                                                        <a:pt x="-568" y="174547"/>
                                                        <a:pt x="1505" y="197481"/>
                                                      </a:cubicBezTo>
                                                      <a:cubicBezTo>
                                                        <a:pt x="12065" y="198906"/>
                                                        <a:pt x="21524" y="206940"/>
                                                        <a:pt x="24374" y="217241"/>
                                                      </a:cubicBezTo>
                                                      <a:cubicBezTo>
                                                        <a:pt x="27160" y="227477"/>
                                                        <a:pt x="23856" y="238296"/>
                                                        <a:pt x="24245" y="248856"/>
                                                      </a:cubicBezTo>
                                                      <a:cubicBezTo>
                                                        <a:pt x="24245" y="250411"/>
                                                        <a:pt x="24439" y="251901"/>
                                                        <a:pt x="24634" y="253456"/>
                                                      </a:cubicBezTo>
                                                      <a:cubicBezTo>
                                                        <a:pt x="25087" y="253585"/>
                                                        <a:pt x="25605" y="253715"/>
                                                        <a:pt x="26059" y="253845"/>
                                                      </a:cubicBezTo>
                                                      <a:cubicBezTo>
                                                        <a:pt x="35971" y="256501"/>
                                                        <a:pt x="48345" y="252549"/>
                                                        <a:pt x="51908" y="242896"/>
                                                      </a:cubicBezTo>
                                                      <a:cubicBezTo>
                                                        <a:pt x="52686" y="240693"/>
                                                        <a:pt x="53074" y="238296"/>
                                                        <a:pt x="54565" y="236547"/>
                                                      </a:cubicBezTo>
                                                      <a:cubicBezTo>
                                                        <a:pt x="56573" y="234215"/>
                                                        <a:pt x="60007" y="233696"/>
                                                        <a:pt x="62663" y="232141"/>
                                                      </a:cubicBezTo>
                                                      <a:cubicBezTo>
                                                        <a:pt x="71409" y="226959"/>
                                                        <a:pt x="70437" y="211475"/>
                                                        <a:pt x="79961" y="208041"/>
                                                      </a:cubicBezTo>
                                                      <a:cubicBezTo>
                                                        <a:pt x="87670" y="205320"/>
                                                        <a:pt x="94732" y="212706"/>
                                                        <a:pt x="101923" y="216593"/>
                                                      </a:cubicBezTo>
                                                      <a:cubicBezTo>
                                                        <a:pt x="115334" y="223784"/>
                                                        <a:pt x="134316" y="216463"/>
                                                        <a:pt x="139434" y="202146"/>
                                                      </a:cubicBezTo>
                                                      <a:cubicBezTo>
                                                        <a:pt x="140989" y="197805"/>
                                                        <a:pt x="141507" y="192946"/>
                                                        <a:pt x="144358" y="189318"/>
                                                      </a:cubicBezTo>
                                                      <a:cubicBezTo>
                                                        <a:pt x="146560" y="186597"/>
                                                        <a:pt x="149799" y="184978"/>
                                                        <a:pt x="152845" y="183228"/>
                                                      </a:cubicBezTo>
                                                      <a:cubicBezTo>
                                                        <a:pt x="166061" y="175584"/>
                                                        <a:pt x="176556" y="163469"/>
                                                        <a:pt x="182257" y="149281"/>
                                                      </a:cubicBezTo>
                                                      <a:cubicBezTo>
                                                        <a:pt x="183035" y="147402"/>
                                                        <a:pt x="183748" y="145329"/>
                                                        <a:pt x="185237" y="143903"/>
                                                      </a:cubicBezTo>
                                                      <a:cubicBezTo>
                                                        <a:pt x="186080" y="143061"/>
                                                        <a:pt x="187181" y="142478"/>
                                                        <a:pt x="188218" y="141960"/>
                                                      </a:cubicBezTo>
                                                      <a:cubicBezTo>
                                                        <a:pt x="196964" y="137295"/>
                                                        <a:pt x="205645" y="132631"/>
                                                        <a:pt x="214391" y="127966"/>
                                                      </a:cubicBezTo>
                                                      <a:cubicBezTo>
                                                        <a:pt x="214521" y="127707"/>
                                                        <a:pt x="214585" y="127448"/>
                                                        <a:pt x="214780" y="127188"/>
                                                      </a:cubicBezTo>
                                                      <a:cubicBezTo>
                                                        <a:pt x="218213" y="120645"/>
                                                        <a:pt x="224044" y="113389"/>
                                                        <a:pt x="220546" y="10684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7" name="Freeform: Shape 41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2F40926-1204-4082-8ED8-86364A0455E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763058" y="4679162"/>
                                                  <a:ext cx="227989" cy="46600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71747 w 227989"/>
                                                    <a:gd name="connsiteY0" fmla="*/ 19501 h 466003"/>
                                                    <a:gd name="connsiteX1" fmla="*/ 143370 w 227989"/>
                                                    <a:gd name="connsiteY1" fmla="*/ 24036 h 466003"/>
                                                    <a:gd name="connsiteX2" fmla="*/ 125166 w 227989"/>
                                                    <a:gd name="connsiteY2" fmla="*/ 16391 h 466003"/>
                                                    <a:gd name="connsiteX3" fmla="*/ 109747 w 227989"/>
                                                    <a:gd name="connsiteY3" fmla="*/ 15160 h 466003"/>
                                                    <a:gd name="connsiteX4" fmla="*/ 107738 w 227989"/>
                                                    <a:gd name="connsiteY4" fmla="*/ 31033 h 466003"/>
                                                    <a:gd name="connsiteX5" fmla="*/ 108516 w 227989"/>
                                                    <a:gd name="connsiteY5" fmla="*/ 38612 h 466003"/>
                                                    <a:gd name="connsiteX6" fmla="*/ 115189 w 227989"/>
                                                    <a:gd name="connsiteY6" fmla="*/ 52217 h 466003"/>
                                                    <a:gd name="connsiteX7" fmla="*/ 115642 w 227989"/>
                                                    <a:gd name="connsiteY7" fmla="*/ 58048 h 466003"/>
                                                    <a:gd name="connsiteX8" fmla="*/ 118752 w 227989"/>
                                                    <a:gd name="connsiteY8" fmla="*/ 64268 h 466003"/>
                                                    <a:gd name="connsiteX9" fmla="*/ 120695 w 227989"/>
                                                    <a:gd name="connsiteY9" fmla="*/ 70163 h 466003"/>
                                                    <a:gd name="connsiteX10" fmla="*/ 140261 w 227989"/>
                                                    <a:gd name="connsiteY10" fmla="*/ 116420 h 466003"/>
                                                    <a:gd name="connsiteX11" fmla="*/ 139613 w 227989"/>
                                                    <a:gd name="connsiteY11" fmla="*/ 125361 h 466003"/>
                                                    <a:gd name="connsiteX12" fmla="*/ 125231 w 227989"/>
                                                    <a:gd name="connsiteY12" fmla="*/ 134690 h 466003"/>
                                                    <a:gd name="connsiteX13" fmla="*/ 121214 w 227989"/>
                                                    <a:gd name="connsiteY13" fmla="*/ 149202 h 466003"/>
                                                    <a:gd name="connsiteX14" fmla="*/ 111431 w 227989"/>
                                                    <a:gd name="connsiteY14" fmla="*/ 158596 h 466003"/>
                                                    <a:gd name="connsiteX15" fmla="*/ 107285 w 227989"/>
                                                    <a:gd name="connsiteY15" fmla="*/ 155745 h 466003"/>
                                                    <a:gd name="connsiteX16" fmla="*/ 97373 w 227989"/>
                                                    <a:gd name="connsiteY16" fmla="*/ 124454 h 466003"/>
                                                    <a:gd name="connsiteX17" fmla="*/ 100807 w 227989"/>
                                                    <a:gd name="connsiteY17" fmla="*/ 107220 h 466003"/>
                                                    <a:gd name="connsiteX18" fmla="*/ 92449 w 227989"/>
                                                    <a:gd name="connsiteY18" fmla="*/ 93227 h 466003"/>
                                                    <a:gd name="connsiteX19" fmla="*/ 81435 w 227989"/>
                                                    <a:gd name="connsiteY19" fmla="*/ 93162 h 466003"/>
                                                    <a:gd name="connsiteX20" fmla="*/ 68543 w 227989"/>
                                                    <a:gd name="connsiteY20" fmla="*/ 88109 h 466003"/>
                                                    <a:gd name="connsiteX21" fmla="*/ 52995 w 227989"/>
                                                    <a:gd name="connsiteY21" fmla="*/ 89404 h 466003"/>
                                                    <a:gd name="connsiteX22" fmla="*/ 19630 w 227989"/>
                                                    <a:gd name="connsiteY22" fmla="*/ 102038 h 466003"/>
                                                    <a:gd name="connsiteX23" fmla="*/ 0 w 227989"/>
                                                    <a:gd name="connsiteY23" fmla="*/ 130543 h 466003"/>
                                                    <a:gd name="connsiteX24" fmla="*/ 0 w 227989"/>
                                                    <a:gd name="connsiteY24" fmla="*/ 131515 h 466003"/>
                                                    <a:gd name="connsiteX25" fmla="*/ 7645 w 227989"/>
                                                    <a:gd name="connsiteY25" fmla="*/ 137022 h 466003"/>
                                                    <a:gd name="connsiteX26" fmla="*/ 16650 w 227989"/>
                                                    <a:gd name="connsiteY26" fmla="*/ 137022 h 466003"/>
                                                    <a:gd name="connsiteX27" fmla="*/ 22610 w 227989"/>
                                                    <a:gd name="connsiteY27" fmla="*/ 143112 h 466003"/>
                                                    <a:gd name="connsiteX28" fmla="*/ 34401 w 227989"/>
                                                    <a:gd name="connsiteY28" fmla="*/ 144990 h 466003"/>
                                                    <a:gd name="connsiteX29" fmla="*/ 42435 w 227989"/>
                                                    <a:gd name="connsiteY29" fmla="*/ 151987 h 466003"/>
                                                    <a:gd name="connsiteX30" fmla="*/ 54290 w 227989"/>
                                                    <a:gd name="connsiteY30" fmla="*/ 153413 h 466003"/>
                                                    <a:gd name="connsiteX31" fmla="*/ 57529 w 227989"/>
                                                    <a:gd name="connsiteY31" fmla="*/ 154384 h 466003"/>
                                                    <a:gd name="connsiteX32" fmla="*/ 59344 w 227989"/>
                                                    <a:gd name="connsiteY32" fmla="*/ 157365 h 466003"/>
                                                    <a:gd name="connsiteX33" fmla="*/ 65304 w 227989"/>
                                                    <a:gd name="connsiteY33" fmla="*/ 172913 h 466003"/>
                                                    <a:gd name="connsiteX34" fmla="*/ 66729 w 227989"/>
                                                    <a:gd name="connsiteY34" fmla="*/ 178873 h 466003"/>
                                                    <a:gd name="connsiteX35" fmla="*/ 62972 w 227989"/>
                                                    <a:gd name="connsiteY35" fmla="*/ 189369 h 466003"/>
                                                    <a:gd name="connsiteX36" fmla="*/ 60056 w 227989"/>
                                                    <a:gd name="connsiteY36" fmla="*/ 211590 h 466003"/>
                                                    <a:gd name="connsiteX37" fmla="*/ 57011 w 227989"/>
                                                    <a:gd name="connsiteY37" fmla="*/ 215542 h 466003"/>
                                                    <a:gd name="connsiteX38" fmla="*/ 60380 w 227989"/>
                                                    <a:gd name="connsiteY38" fmla="*/ 225584 h 466003"/>
                                                    <a:gd name="connsiteX39" fmla="*/ 66470 w 227989"/>
                                                    <a:gd name="connsiteY39" fmla="*/ 234783 h 466003"/>
                                                    <a:gd name="connsiteX40" fmla="*/ 65045 w 227989"/>
                                                    <a:gd name="connsiteY40" fmla="*/ 241068 h 466003"/>
                                                    <a:gd name="connsiteX41" fmla="*/ 59927 w 227989"/>
                                                    <a:gd name="connsiteY41" fmla="*/ 254090 h 466003"/>
                                                    <a:gd name="connsiteX42" fmla="*/ 57465 w 227989"/>
                                                    <a:gd name="connsiteY42" fmla="*/ 258171 h 466003"/>
                                                    <a:gd name="connsiteX43" fmla="*/ 54614 w 227989"/>
                                                    <a:gd name="connsiteY43" fmla="*/ 260050 h 466003"/>
                                                    <a:gd name="connsiteX44" fmla="*/ 50014 w 227989"/>
                                                    <a:gd name="connsiteY44" fmla="*/ 273331 h 466003"/>
                                                    <a:gd name="connsiteX45" fmla="*/ 45544 w 227989"/>
                                                    <a:gd name="connsiteY45" fmla="*/ 275145 h 466003"/>
                                                    <a:gd name="connsiteX46" fmla="*/ 44572 w 227989"/>
                                                    <a:gd name="connsiteY46" fmla="*/ 280717 h 466003"/>
                                                    <a:gd name="connsiteX47" fmla="*/ 33818 w 227989"/>
                                                    <a:gd name="connsiteY47" fmla="*/ 301318 h 466003"/>
                                                    <a:gd name="connsiteX48" fmla="*/ 27016 w 227989"/>
                                                    <a:gd name="connsiteY48" fmla="*/ 308704 h 466003"/>
                                                    <a:gd name="connsiteX49" fmla="*/ 20667 w 227989"/>
                                                    <a:gd name="connsiteY49" fmla="*/ 320106 h 466003"/>
                                                    <a:gd name="connsiteX50" fmla="*/ 24489 w 227989"/>
                                                    <a:gd name="connsiteY50" fmla="*/ 323670 h 466003"/>
                                                    <a:gd name="connsiteX51" fmla="*/ 40815 w 227989"/>
                                                    <a:gd name="connsiteY51" fmla="*/ 365197 h 466003"/>
                                                    <a:gd name="connsiteX52" fmla="*/ 33818 w 227989"/>
                                                    <a:gd name="connsiteY52" fmla="*/ 415665 h 466003"/>
                                                    <a:gd name="connsiteX53" fmla="*/ 39260 w 227989"/>
                                                    <a:gd name="connsiteY53" fmla="*/ 424735 h 466003"/>
                                                    <a:gd name="connsiteX54" fmla="*/ 37770 w 227989"/>
                                                    <a:gd name="connsiteY54" fmla="*/ 446892 h 466003"/>
                                                    <a:gd name="connsiteX55" fmla="*/ 35179 w 227989"/>
                                                    <a:gd name="connsiteY55" fmla="*/ 450390 h 466003"/>
                                                    <a:gd name="connsiteX56" fmla="*/ 36604 w 227989"/>
                                                    <a:gd name="connsiteY56" fmla="*/ 453500 h 466003"/>
                                                    <a:gd name="connsiteX57" fmla="*/ 48395 w 227989"/>
                                                    <a:gd name="connsiteY57" fmla="*/ 466004 h 466003"/>
                                                    <a:gd name="connsiteX58" fmla="*/ 61287 w 227989"/>
                                                    <a:gd name="connsiteY58" fmla="*/ 435490 h 466003"/>
                                                    <a:gd name="connsiteX59" fmla="*/ 56169 w 227989"/>
                                                    <a:gd name="connsiteY59" fmla="*/ 416767 h 466003"/>
                                                    <a:gd name="connsiteX60" fmla="*/ 67247 w 227989"/>
                                                    <a:gd name="connsiteY60" fmla="*/ 405235 h 466003"/>
                                                    <a:gd name="connsiteX61" fmla="*/ 124259 w 227989"/>
                                                    <a:gd name="connsiteY61" fmla="*/ 363577 h 466003"/>
                                                    <a:gd name="connsiteX62" fmla="*/ 103592 w 227989"/>
                                                    <a:gd name="connsiteY62" fmla="*/ 340125 h 466003"/>
                                                    <a:gd name="connsiteX63" fmla="*/ 113893 w 227989"/>
                                                    <a:gd name="connsiteY63" fmla="*/ 232127 h 466003"/>
                                                    <a:gd name="connsiteX64" fmla="*/ 129830 w 227989"/>
                                                    <a:gd name="connsiteY64" fmla="*/ 212108 h 466003"/>
                                                    <a:gd name="connsiteX65" fmla="*/ 151080 w 227989"/>
                                                    <a:gd name="connsiteY65" fmla="*/ 188202 h 466003"/>
                                                    <a:gd name="connsiteX66" fmla="*/ 177901 w 227989"/>
                                                    <a:gd name="connsiteY66" fmla="*/ 174727 h 466003"/>
                                                    <a:gd name="connsiteX67" fmla="*/ 191118 w 227989"/>
                                                    <a:gd name="connsiteY67" fmla="*/ 177902 h 466003"/>
                                                    <a:gd name="connsiteX68" fmla="*/ 196430 w 227989"/>
                                                    <a:gd name="connsiteY68" fmla="*/ 171164 h 466003"/>
                                                    <a:gd name="connsiteX69" fmla="*/ 219558 w 227989"/>
                                                    <a:gd name="connsiteY69" fmla="*/ 118428 h 466003"/>
                                                    <a:gd name="connsiteX70" fmla="*/ 223705 w 227989"/>
                                                    <a:gd name="connsiteY70" fmla="*/ 101584 h 466003"/>
                                                    <a:gd name="connsiteX71" fmla="*/ 219299 w 227989"/>
                                                    <a:gd name="connsiteY71" fmla="*/ 89016 h 466003"/>
                                                    <a:gd name="connsiteX72" fmla="*/ 211007 w 227989"/>
                                                    <a:gd name="connsiteY72" fmla="*/ 48201 h 466003"/>
                                                    <a:gd name="connsiteX73" fmla="*/ 227851 w 227989"/>
                                                    <a:gd name="connsiteY73" fmla="*/ 16974 h 466003"/>
                                                    <a:gd name="connsiteX74" fmla="*/ 225066 w 227989"/>
                                                    <a:gd name="connsiteY74" fmla="*/ 0 h 466003"/>
                                                    <a:gd name="connsiteX75" fmla="*/ 206342 w 227989"/>
                                                    <a:gd name="connsiteY75" fmla="*/ 6414 h 466003"/>
                                                    <a:gd name="connsiteX76" fmla="*/ 171423 w 227989"/>
                                                    <a:gd name="connsiteY76" fmla="*/ 18918 h 46600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27989" h="466003">
                                                      <a:moveTo>
                                                        <a:pt x="171747" y="19501"/>
                                                      </a:moveTo>
                                                      <a:cubicBezTo>
                                                        <a:pt x="162612" y="22805"/>
                                                        <a:pt x="152829" y="26109"/>
                                                        <a:pt x="143370" y="24036"/>
                                                      </a:cubicBezTo>
                                                      <a:cubicBezTo>
                                                        <a:pt x="136957" y="22610"/>
                                                        <a:pt x="131320" y="18853"/>
                                                        <a:pt x="125166" y="16391"/>
                                                      </a:cubicBezTo>
                                                      <a:cubicBezTo>
                                                        <a:pt x="120307" y="14447"/>
                                                        <a:pt x="114541" y="13476"/>
                                                        <a:pt x="109747" y="15160"/>
                                                      </a:cubicBezTo>
                                                      <a:cubicBezTo>
                                                        <a:pt x="108645" y="20408"/>
                                                        <a:pt x="107868" y="25720"/>
                                                        <a:pt x="107738" y="31033"/>
                                                      </a:cubicBezTo>
                                                      <a:cubicBezTo>
                                                        <a:pt x="107738" y="33559"/>
                                                        <a:pt x="107738" y="36151"/>
                                                        <a:pt x="108516" y="38612"/>
                                                      </a:cubicBezTo>
                                                      <a:cubicBezTo>
                                                        <a:pt x="110071" y="43471"/>
                                                        <a:pt x="114411" y="47164"/>
                                                        <a:pt x="115189" y="52217"/>
                                                      </a:cubicBezTo>
                                                      <a:cubicBezTo>
                                                        <a:pt x="115448" y="54161"/>
                                                        <a:pt x="115189" y="56170"/>
                                                        <a:pt x="115642" y="58048"/>
                                                      </a:cubicBezTo>
                                                      <a:cubicBezTo>
                                                        <a:pt x="116161" y="60315"/>
                                                        <a:pt x="117651" y="62259"/>
                                                        <a:pt x="118752" y="64268"/>
                                                      </a:cubicBezTo>
                                                      <a:cubicBezTo>
                                                        <a:pt x="119724" y="66082"/>
                                                        <a:pt x="120372" y="68090"/>
                                                        <a:pt x="120695" y="70163"/>
                                                      </a:cubicBezTo>
                                                      <a:cubicBezTo>
                                                        <a:pt x="129442" y="84740"/>
                                                        <a:pt x="137281" y="99770"/>
                                                        <a:pt x="140261" y="116420"/>
                                                      </a:cubicBezTo>
                                                      <a:cubicBezTo>
                                                        <a:pt x="140779" y="119400"/>
                                                        <a:pt x="141103" y="122704"/>
                                                        <a:pt x="139613" y="125361"/>
                                                      </a:cubicBezTo>
                                                      <a:cubicBezTo>
                                                        <a:pt x="136763" y="130414"/>
                                                        <a:pt x="129183" y="130414"/>
                                                        <a:pt x="125231" y="134690"/>
                                                      </a:cubicBezTo>
                                                      <a:cubicBezTo>
                                                        <a:pt x="121732" y="138447"/>
                                                        <a:pt x="122056" y="144148"/>
                                                        <a:pt x="121214" y="149202"/>
                                                      </a:cubicBezTo>
                                                      <a:cubicBezTo>
                                                        <a:pt x="120372" y="154255"/>
                                                        <a:pt x="116355" y="159956"/>
                                                        <a:pt x="111431" y="158596"/>
                                                      </a:cubicBezTo>
                                                      <a:cubicBezTo>
                                                        <a:pt x="109811" y="158142"/>
                                                        <a:pt x="108451" y="156976"/>
                                                        <a:pt x="107285" y="155745"/>
                                                      </a:cubicBezTo>
                                                      <a:cubicBezTo>
                                                        <a:pt x="99381" y="147647"/>
                                                        <a:pt x="95623" y="135661"/>
                                                        <a:pt x="97373" y="124454"/>
                                                      </a:cubicBezTo>
                                                      <a:cubicBezTo>
                                                        <a:pt x="98280" y="118687"/>
                                                        <a:pt x="100612" y="113116"/>
                                                        <a:pt x="100807" y="107220"/>
                                                      </a:cubicBezTo>
                                                      <a:cubicBezTo>
                                                        <a:pt x="101001" y="101390"/>
                                                        <a:pt x="98150" y="94717"/>
                                                        <a:pt x="92449" y="93227"/>
                                                      </a:cubicBezTo>
                                                      <a:cubicBezTo>
                                                        <a:pt x="88886" y="92320"/>
                                                        <a:pt x="85128" y="93615"/>
                                                        <a:pt x="81435" y="93162"/>
                                                      </a:cubicBezTo>
                                                      <a:cubicBezTo>
                                                        <a:pt x="76836" y="92579"/>
                                                        <a:pt x="73013" y="89340"/>
                                                        <a:pt x="68543" y="88109"/>
                                                      </a:cubicBezTo>
                                                      <a:cubicBezTo>
                                                        <a:pt x="63490" y="86748"/>
                                                        <a:pt x="58113" y="88109"/>
                                                        <a:pt x="52995" y="89404"/>
                                                      </a:cubicBezTo>
                                                      <a:cubicBezTo>
                                                        <a:pt x="41463" y="92449"/>
                                                        <a:pt x="29672" y="95624"/>
                                                        <a:pt x="19630" y="102038"/>
                                                      </a:cubicBezTo>
                                                      <a:cubicBezTo>
                                                        <a:pt x="9523" y="108451"/>
                                                        <a:pt x="1166" y="118687"/>
                                                        <a:pt x="0" y="130543"/>
                                                      </a:cubicBezTo>
                                                      <a:cubicBezTo>
                                                        <a:pt x="0" y="130867"/>
                                                        <a:pt x="0" y="131191"/>
                                                        <a:pt x="0" y="131515"/>
                                                      </a:cubicBezTo>
                                                      <a:cubicBezTo>
                                                        <a:pt x="1684" y="134430"/>
                                                        <a:pt x="4341" y="136763"/>
                                                        <a:pt x="7645" y="137022"/>
                                                      </a:cubicBezTo>
                                                      <a:cubicBezTo>
                                                        <a:pt x="10689" y="137281"/>
                                                        <a:pt x="13929" y="135791"/>
                                                        <a:pt x="16650" y="137022"/>
                                                      </a:cubicBezTo>
                                                      <a:cubicBezTo>
                                                        <a:pt x="19241" y="138188"/>
                                                        <a:pt x="20342" y="141362"/>
                                                        <a:pt x="22610" y="143112"/>
                                                      </a:cubicBezTo>
                                                      <a:cubicBezTo>
                                                        <a:pt x="25785" y="145639"/>
                                                        <a:pt x="30385" y="144796"/>
                                                        <a:pt x="34401" y="144990"/>
                                                      </a:cubicBezTo>
                                                      <a:cubicBezTo>
                                                        <a:pt x="38483" y="145185"/>
                                                        <a:pt x="43342" y="148036"/>
                                                        <a:pt x="42435" y="151987"/>
                                                      </a:cubicBezTo>
                                                      <a:cubicBezTo>
                                                        <a:pt x="46386" y="152441"/>
                                                        <a:pt x="50338" y="152959"/>
                                                        <a:pt x="54290" y="153413"/>
                                                      </a:cubicBezTo>
                                                      <a:cubicBezTo>
                                                        <a:pt x="55457" y="153542"/>
                                                        <a:pt x="56623" y="153737"/>
                                                        <a:pt x="57529" y="154384"/>
                                                      </a:cubicBezTo>
                                                      <a:cubicBezTo>
                                                        <a:pt x="58501" y="155097"/>
                                                        <a:pt x="58955" y="156263"/>
                                                        <a:pt x="59344" y="157365"/>
                                                      </a:cubicBezTo>
                                                      <a:cubicBezTo>
                                                        <a:pt x="61352" y="162548"/>
                                                        <a:pt x="63295" y="167730"/>
                                                        <a:pt x="65304" y="172913"/>
                                                      </a:cubicBezTo>
                                                      <a:cubicBezTo>
                                                        <a:pt x="66017" y="174857"/>
                                                        <a:pt x="66794" y="176865"/>
                                                        <a:pt x="66729" y="178873"/>
                                                      </a:cubicBezTo>
                                                      <a:cubicBezTo>
                                                        <a:pt x="66664" y="182631"/>
                                                        <a:pt x="64073" y="185805"/>
                                                        <a:pt x="62972" y="189369"/>
                                                      </a:cubicBezTo>
                                                      <a:cubicBezTo>
                                                        <a:pt x="60769" y="196625"/>
                                                        <a:pt x="64656" y="205565"/>
                                                        <a:pt x="60056" y="211590"/>
                                                      </a:cubicBezTo>
                                                      <a:cubicBezTo>
                                                        <a:pt x="59085" y="212951"/>
                                                        <a:pt x="57659" y="214052"/>
                                                        <a:pt x="57011" y="215542"/>
                                                      </a:cubicBezTo>
                                                      <a:cubicBezTo>
                                                        <a:pt x="55457" y="218976"/>
                                                        <a:pt x="57789" y="222863"/>
                                                        <a:pt x="60380" y="225584"/>
                                                      </a:cubicBezTo>
                                                      <a:cubicBezTo>
                                                        <a:pt x="62972" y="228305"/>
                                                        <a:pt x="66146" y="231091"/>
                                                        <a:pt x="66470" y="234783"/>
                                                      </a:cubicBezTo>
                                                      <a:cubicBezTo>
                                                        <a:pt x="66664" y="236921"/>
                                                        <a:pt x="65887" y="239059"/>
                                                        <a:pt x="65045" y="241068"/>
                                                      </a:cubicBezTo>
                                                      <a:cubicBezTo>
                                                        <a:pt x="63360" y="245408"/>
                                                        <a:pt x="61611" y="249749"/>
                                                        <a:pt x="59927" y="254090"/>
                                                      </a:cubicBezTo>
                                                      <a:cubicBezTo>
                                                        <a:pt x="59344" y="255580"/>
                                                        <a:pt x="58696" y="257135"/>
                                                        <a:pt x="57465" y="258171"/>
                                                      </a:cubicBezTo>
                                                      <a:cubicBezTo>
                                                        <a:pt x="56558" y="258884"/>
                                                        <a:pt x="55457" y="259273"/>
                                                        <a:pt x="54614" y="260050"/>
                                                      </a:cubicBezTo>
                                                      <a:cubicBezTo>
                                                        <a:pt x="50986" y="263289"/>
                                                        <a:pt x="54290" y="270934"/>
                                                        <a:pt x="50014" y="273331"/>
                                                      </a:cubicBezTo>
                                                      <a:cubicBezTo>
                                                        <a:pt x="48589" y="274108"/>
                                                        <a:pt x="46710" y="274044"/>
                                                        <a:pt x="45544" y="275145"/>
                                                      </a:cubicBezTo>
                                                      <a:cubicBezTo>
                                                        <a:pt x="44119" y="276505"/>
                                                        <a:pt x="44508" y="278773"/>
                                                        <a:pt x="44572" y="280717"/>
                                                      </a:cubicBezTo>
                                                      <a:cubicBezTo>
                                                        <a:pt x="44961" y="288685"/>
                                                        <a:pt x="39260" y="295488"/>
                                                        <a:pt x="33818" y="301318"/>
                                                      </a:cubicBezTo>
                                                      <a:cubicBezTo>
                                                        <a:pt x="31551" y="303780"/>
                                                        <a:pt x="29283" y="306242"/>
                                                        <a:pt x="27016" y="308704"/>
                                                      </a:cubicBezTo>
                                                      <a:cubicBezTo>
                                                        <a:pt x="25136" y="312656"/>
                                                        <a:pt x="22934" y="316414"/>
                                                        <a:pt x="20667" y="320106"/>
                                                      </a:cubicBezTo>
                                                      <a:cubicBezTo>
                                                        <a:pt x="22027" y="321208"/>
                                                        <a:pt x="23323" y="322374"/>
                                                        <a:pt x="24489" y="323670"/>
                                                      </a:cubicBezTo>
                                                      <a:cubicBezTo>
                                                        <a:pt x="34984" y="334683"/>
                                                        <a:pt x="40297" y="349973"/>
                                                        <a:pt x="40815" y="365197"/>
                                                      </a:cubicBezTo>
                                                      <a:cubicBezTo>
                                                        <a:pt x="41398" y="382236"/>
                                                        <a:pt x="36410" y="398886"/>
                                                        <a:pt x="33818" y="415665"/>
                                                      </a:cubicBezTo>
                                                      <a:cubicBezTo>
                                                        <a:pt x="36410" y="418062"/>
                                                        <a:pt x="38223" y="421367"/>
                                                        <a:pt x="39260" y="424735"/>
                                                      </a:cubicBezTo>
                                                      <a:cubicBezTo>
                                                        <a:pt x="41398" y="431991"/>
                                                        <a:pt x="40880" y="440025"/>
                                                        <a:pt x="37770" y="446892"/>
                                                      </a:cubicBezTo>
                                                      <a:cubicBezTo>
                                                        <a:pt x="37187" y="448252"/>
                                                        <a:pt x="36410" y="449548"/>
                                                        <a:pt x="35179" y="450390"/>
                                                      </a:cubicBezTo>
                                                      <a:cubicBezTo>
                                                        <a:pt x="35632" y="451427"/>
                                                        <a:pt x="36021" y="452528"/>
                                                        <a:pt x="36604" y="453500"/>
                                                      </a:cubicBezTo>
                                                      <a:cubicBezTo>
                                                        <a:pt x="39454" y="458424"/>
                                                        <a:pt x="43860" y="462311"/>
                                                        <a:pt x="48395" y="466004"/>
                                                      </a:cubicBezTo>
                                                      <a:cubicBezTo>
                                                        <a:pt x="56558" y="457193"/>
                                                        <a:pt x="62648" y="447021"/>
                                                        <a:pt x="61287" y="435490"/>
                                                      </a:cubicBezTo>
                                                      <a:cubicBezTo>
                                                        <a:pt x="60510" y="429076"/>
                                                        <a:pt x="57335" y="423115"/>
                                                        <a:pt x="56169" y="416767"/>
                                                      </a:cubicBezTo>
                                                      <a:cubicBezTo>
                                                        <a:pt x="55003" y="410418"/>
                                                        <a:pt x="62000" y="409057"/>
                                                        <a:pt x="67247" y="405235"/>
                                                      </a:cubicBezTo>
                                                      <a:cubicBezTo>
                                                        <a:pt x="86230" y="391371"/>
                                                        <a:pt x="105277" y="377442"/>
                                                        <a:pt x="124259" y="363577"/>
                                                      </a:cubicBezTo>
                                                      <a:cubicBezTo>
                                                        <a:pt x="124713" y="352111"/>
                                                        <a:pt x="115059" y="341097"/>
                                                        <a:pt x="103592" y="340125"/>
                                                      </a:cubicBezTo>
                                                      <a:cubicBezTo>
                                                        <a:pt x="98474" y="303521"/>
                                                        <a:pt x="94069" y="263354"/>
                                                        <a:pt x="113893" y="232127"/>
                                                      </a:cubicBezTo>
                                                      <a:cubicBezTo>
                                                        <a:pt x="118493" y="224936"/>
                                                        <a:pt x="124194" y="218522"/>
                                                        <a:pt x="129830" y="212108"/>
                                                      </a:cubicBezTo>
                                                      <a:cubicBezTo>
                                                        <a:pt x="136892" y="204140"/>
                                                        <a:pt x="144019" y="196171"/>
                                                        <a:pt x="151080" y="188202"/>
                                                      </a:cubicBezTo>
                                                      <a:cubicBezTo>
                                                        <a:pt x="158142" y="180299"/>
                                                        <a:pt x="167795" y="171553"/>
                                                        <a:pt x="177901" y="174727"/>
                                                      </a:cubicBezTo>
                                                      <a:cubicBezTo>
                                                        <a:pt x="182372" y="176088"/>
                                                        <a:pt x="186842" y="179716"/>
                                                        <a:pt x="191118" y="177902"/>
                                                      </a:cubicBezTo>
                                                      <a:cubicBezTo>
                                                        <a:pt x="193839" y="176736"/>
                                                        <a:pt x="195264" y="173820"/>
                                                        <a:pt x="196430" y="171164"/>
                                                      </a:cubicBezTo>
                                                      <a:cubicBezTo>
                                                        <a:pt x="204139" y="153607"/>
                                                        <a:pt x="211849" y="136050"/>
                                                        <a:pt x="219558" y="118428"/>
                                                      </a:cubicBezTo>
                                                      <a:cubicBezTo>
                                                        <a:pt x="221891" y="113051"/>
                                                        <a:pt x="224288" y="107415"/>
                                                        <a:pt x="223705" y="101584"/>
                                                      </a:cubicBezTo>
                                                      <a:cubicBezTo>
                                                        <a:pt x="223251" y="97114"/>
                                                        <a:pt x="221113" y="93097"/>
                                                        <a:pt x="219299" y="89016"/>
                                                      </a:cubicBezTo>
                                                      <a:cubicBezTo>
                                                        <a:pt x="213533" y="76253"/>
                                                        <a:pt x="210683" y="62195"/>
                                                        <a:pt x="211007" y="48201"/>
                                                      </a:cubicBezTo>
                                                      <a:cubicBezTo>
                                                        <a:pt x="224158" y="47164"/>
                                                        <a:pt x="228888" y="30126"/>
                                                        <a:pt x="227851" y="16974"/>
                                                      </a:cubicBezTo>
                                                      <a:cubicBezTo>
                                                        <a:pt x="227398" y="11273"/>
                                                        <a:pt x="226426" y="5571"/>
                                                        <a:pt x="225066" y="0"/>
                                                      </a:cubicBezTo>
                                                      <a:cubicBezTo>
                                                        <a:pt x="218781" y="2008"/>
                                                        <a:pt x="212497" y="4211"/>
                                                        <a:pt x="206342" y="6414"/>
                                                      </a:cubicBezTo>
                                                      <a:cubicBezTo>
                                                        <a:pt x="194681" y="10560"/>
                                                        <a:pt x="183084" y="14771"/>
                                                        <a:pt x="171423" y="1891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8" name="Freeform: Shape 41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3A6A5A3-FE02-402F-9444-B0EBFE8B158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826288" y="4667630"/>
                                                  <a:ext cx="77464" cy="17039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743 w 77464"/>
                                                    <a:gd name="connsiteY0" fmla="*/ 3563 h 170395"/>
                                                    <a:gd name="connsiteX1" fmla="*/ 10949 w 77464"/>
                                                    <a:gd name="connsiteY1" fmla="*/ 4405 h 170395"/>
                                                    <a:gd name="connsiteX2" fmla="*/ 10236 w 77464"/>
                                                    <a:gd name="connsiteY2" fmla="*/ 7969 h 170395"/>
                                                    <a:gd name="connsiteX3" fmla="*/ 9977 w 77464"/>
                                                    <a:gd name="connsiteY3" fmla="*/ 47552 h 170395"/>
                                                    <a:gd name="connsiteX4" fmla="*/ 5572 w 77464"/>
                                                    <a:gd name="connsiteY4" fmla="*/ 54744 h 170395"/>
                                                    <a:gd name="connsiteX5" fmla="*/ 2333 w 77464"/>
                                                    <a:gd name="connsiteY5" fmla="*/ 55716 h 170395"/>
                                                    <a:gd name="connsiteX6" fmla="*/ 259 w 77464"/>
                                                    <a:gd name="connsiteY6" fmla="*/ 61352 h 170395"/>
                                                    <a:gd name="connsiteX7" fmla="*/ 0 w 77464"/>
                                                    <a:gd name="connsiteY7" fmla="*/ 89404 h 170395"/>
                                                    <a:gd name="connsiteX8" fmla="*/ 583 w 77464"/>
                                                    <a:gd name="connsiteY8" fmla="*/ 96401 h 170395"/>
                                                    <a:gd name="connsiteX9" fmla="*/ 1620 w 77464"/>
                                                    <a:gd name="connsiteY9" fmla="*/ 99187 h 170395"/>
                                                    <a:gd name="connsiteX10" fmla="*/ 5312 w 77464"/>
                                                    <a:gd name="connsiteY10" fmla="*/ 99705 h 170395"/>
                                                    <a:gd name="connsiteX11" fmla="*/ 18205 w 77464"/>
                                                    <a:gd name="connsiteY11" fmla="*/ 104758 h 170395"/>
                                                    <a:gd name="connsiteX12" fmla="*/ 29218 w 77464"/>
                                                    <a:gd name="connsiteY12" fmla="*/ 104823 h 170395"/>
                                                    <a:gd name="connsiteX13" fmla="*/ 37576 w 77464"/>
                                                    <a:gd name="connsiteY13" fmla="*/ 118817 h 170395"/>
                                                    <a:gd name="connsiteX14" fmla="*/ 34142 w 77464"/>
                                                    <a:gd name="connsiteY14" fmla="*/ 136050 h 170395"/>
                                                    <a:gd name="connsiteX15" fmla="*/ 44055 w 77464"/>
                                                    <a:gd name="connsiteY15" fmla="*/ 167341 h 170395"/>
                                                    <a:gd name="connsiteX16" fmla="*/ 48201 w 77464"/>
                                                    <a:gd name="connsiteY16" fmla="*/ 170192 h 170395"/>
                                                    <a:gd name="connsiteX17" fmla="*/ 57983 w 77464"/>
                                                    <a:gd name="connsiteY17" fmla="*/ 160798 h 170395"/>
                                                    <a:gd name="connsiteX18" fmla="*/ 62000 w 77464"/>
                                                    <a:gd name="connsiteY18" fmla="*/ 146286 h 170395"/>
                                                    <a:gd name="connsiteX19" fmla="*/ 76383 w 77464"/>
                                                    <a:gd name="connsiteY19" fmla="*/ 136957 h 170395"/>
                                                    <a:gd name="connsiteX20" fmla="*/ 77030 w 77464"/>
                                                    <a:gd name="connsiteY20" fmla="*/ 128017 h 170395"/>
                                                    <a:gd name="connsiteX21" fmla="*/ 57465 w 77464"/>
                                                    <a:gd name="connsiteY21" fmla="*/ 81760 h 170395"/>
                                                    <a:gd name="connsiteX22" fmla="*/ 53772 w 77464"/>
                                                    <a:gd name="connsiteY22" fmla="*/ 97308 h 170395"/>
                                                    <a:gd name="connsiteX23" fmla="*/ 45933 w 77464"/>
                                                    <a:gd name="connsiteY23" fmla="*/ 94198 h 170395"/>
                                                    <a:gd name="connsiteX24" fmla="*/ 44184 w 77464"/>
                                                    <a:gd name="connsiteY24" fmla="*/ 85517 h 170395"/>
                                                    <a:gd name="connsiteX25" fmla="*/ 43860 w 77464"/>
                                                    <a:gd name="connsiteY25" fmla="*/ 83314 h 170395"/>
                                                    <a:gd name="connsiteX26" fmla="*/ 41139 w 77464"/>
                                                    <a:gd name="connsiteY26" fmla="*/ 82602 h 170395"/>
                                                    <a:gd name="connsiteX27" fmla="*/ 32652 w 77464"/>
                                                    <a:gd name="connsiteY27" fmla="*/ 72689 h 170395"/>
                                                    <a:gd name="connsiteX28" fmla="*/ 33948 w 77464"/>
                                                    <a:gd name="connsiteY28" fmla="*/ 58501 h 170395"/>
                                                    <a:gd name="connsiteX29" fmla="*/ 30449 w 77464"/>
                                                    <a:gd name="connsiteY29" fmla="*/ 24230 h 170395"/>
                                                    <a:gd name="connsiteX30" fmla="*/ 27728 w 77464"/>
                                                    <a:gd name="connsiteY30" fmla="*/ 3369 h 170395"/>
                                                    <a:gd name="connsiteX31" fmla="*/ 22675 w 77464"/>
                                                    <a:gd name="connsiteY31" fmla="*/ 0 h 170395"/>
                                                    <a:gd name="connsiteX32" fmla="*/ 15808 w 77464"/>
                                                    <a:gd name="connsiteY32" fmla="*/ 3628 h 17039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77464" h="170395">
                                                      <a:moveTo>
                                                        <a:pt x="15743" y="3563"/>
                                                      </a:moveTo>
                                                      <a:cubicBezTo>
                                                        <a:pt x="14059" y="3563"/>
                                                        <a:pt x="12115" y="3239"/>
                                                        <a:pt x="10949" y="4405"/>
                                                      </a:cubicBezTo>
                                                      <a:cubicBezTo>
                                                        <a:pt x="10107" y="5312"/>
                                                        <a:pt x="10107" y="6738"/>
                                                        <a:pt x="10236" y="7969"/>
                                                      </a:cubicBezTo>
                                                      <a:cubicBezTo>
                                                        <a:pt x="11273" y="21185"/>
                                                        <a:pt x="12504" y="34531"/>
                                                        <a:pt x="9977" y="47552"/>
                                                      </a:cubicBezTo>
                                                      <a:cubicBezTo>
                                                        <a:pt x="9394" y="50468"/>
                                                        <a:pt x="8293" y="53707"/>
                                                        <a:pt x="5572" y="54744"/>
                                                      </a:cubicBezTo>
                                                      <a:cubicBezTo>
                                                        <a:pt x="4470" y="55133"/>
                                                        <a:pt x="3304" y="55133"/>
                                                        <a:pt x="2333" y="55716"/>
                                                      </a:cubicBezTo>
                                                      <a:cubicBezTo>
                                                        <a:pt x="518" y="56752"/>
                                                        <a:pt x="324" y="59279"/>
                                                        <a:pt x="259" y="61352"/>
                                                      </a:cubicBezTo>
                                                      <a:cubicBezTo>
                                                        <a:pt x="195" y="70681"/>
                                                        <a:pt x="130" y="80075"/>
                                                        <a:pt x="0" y="89404"/>
                                                      </a:cubicBezTo>
                                                      <a:cubicBezTo>
                                                        <a:pt x="0" y="91736"/>
                                                        <a:pt x="0" y="94133"/>
                                                        <a:pt x="583" y="96401"/>
                                                      </a:cubicBezTo>
                                                      <a:cubicBezTo>
                                                        <a:pt x="842" y="97373"/>
                                                        <a:pt x="1231" y="98280"/>
                                                        <a:pt x="1620" y="99187"/>
                                                      </a:cubicBezTo>
                                                      <a:cubicBezTo>
                                                        <a:pt x="2851" y="99187"/>
                                                        <a:pt x="4082" y="99381"/>
                                                        <a:pt x="5312" y="99705"/>
                                                      </a:cubicBezTo>
                                                      <a:cubicBezTo>
                                                        <a:pt x="9783" y="100936"/>
                                                        <a:pt x="13605" y="104175"/>
                                                        <a:pt x="18205" y="104758"/>
                                                      </a:cubicBezTo>
                                                      <a:cubicBezTo>
                                                        <a:pt x="21833" y="105212"/>
                                                        <a:pt x="25655" y="103916"/>
                                                        <a:pt x="29218" y="104823"/>
                                                      </a:cubicBezTo>
                                                      <a:cubicBezTo>
                                                        <a:pt x="34855" y="106313"/>
                                                        <a:pt x="37705" y="112921"/>
                                                        <a:pt x="37576" y="118817"/>
                                                      </a:cubicBezTo>
                                                      <a:cubicBezTo>
                                                        <a:pt x="37381" y="124648"/>
                                                        <a:pt x="35114" y="130219"/>
                                                        <a:pt x="34142" y="136050"/>
                                                      </a:cubicBezTo>
                                                      <a:cubicBezTo>
                                                        <a:pt x="32328" y="147258"/>
                                                        <a:pt x="36151" y="159179"/>
                                                        <a:pt x="44055" y="167341"/>
                                                      </a:cubicBezTo>
                                                      <a:cubicBezTo>
                                                        <a:pt x="45221" y="168572"/>
                                                        <a:pt x="46581" y="169739"/>
                                                        <a:pt x="48201" y="170192"/>
                                                      </a:cubicBezTo>
                                                      <a:cubicBezTo>
                                                        <a:pt x="53124" y="171552"/>
                                                        <a:pt x="57141" y="165851"/>
                                                        <a:pt x="57983" y="160798"/>
                                                      </a:cubicBezTo>
                                                      <a:cubicBezTo>
                                                        <a:pt x="58826" y="155745"/>
                                                        <a:pt x="58502" y="150044"/>
                                                        <a:pt x="62000" y="146286"/>
                                                      </a:cubicBezTo>
                                                      <a:cubicBezTo>
                                                        <a:pt x="65952" y="142010"/>
                                                        <a:pt x="73532" y="142010"/>
                                                        <a:pt x="76383" y="136957"/>
                                                      </a:cubicBezTo>
                                                      <a:cubicBezTo>
                                                        <a:pt x="77873" y="134301"/>
                                                        <a:pt x="77549" y="130997"/>
                                                        <a:pt x="77030" y="128017"/>
                                                      </a:cubicBezTo>
                                                      <a:cubicBezTo>
                                                        <a:pt x="74050" y="111367"/>
                                                        <a:pt x="66211" y="96401"/>
                                                        <a:pt x="57465" y="81760"/>
                                                      </a:cubicBezTo>
                                                      <a:cubicBezTo>
                                                        <a:pt x="58372" y="87137"/>
                                                        <a:pt x="57076" y="92967"/>
                                                        <a:pt x="53772" y="97308"/>
                                                      </a:cubicBezTo>
                                                      <a:cubicBezTo>
                                                        <a:pt x="50922" y="98280"/>
                                                        <a:pt x="47618" y="96725"/>
                                                        <a:pt x="45933" y="94198"/>
                                                      </a:cubicBezTo>
                                                      <a:cubicBezTo>
                                                        <a:pt x="44249" y="91672"/>
                                                        <a:pt x="43925" y="88497"/>
                                                        <a:pt x="44184" y="85517"/>
                                                      </a:cubicBezTo>
                                                      <a:cubicBezTo>
                                                        <a:pt x="44249" y="84739"/>
                                                        <a:pt x="44314" y="83898"/>
                                                        <a:pt x="43860" y="83314"/>
                                                      </a:cubicBezTo>
                                                      <a:cubicBezTo>
                                                        <a:pt x="43212" y="82537"/>
                                                        <a:pt x="42111" y="82667"/>
                                                        <a:pt x="41139" y="82602"/>
                                                      </a:cubicBezTo>
                                                      <a:cubicBezTo>
                                                        <a:pt x="36410" y="82342"/>
                                                        <a:pt x="33170" y="77419"/>
                                                        <a:pt x="32652" y="72689"/>
                                                      </a:cubicBezTo>
                                                      <a:cubicBezTo>
                                                        <a:pt x="32134" y="67960"/>
                                                        <a:pt x="33559" y="63295"/>
                                                        <a:pt x="33948" y="58501"/>
                                                      </a:cubicBezTo>
                                                      <a:cubicBezTo>
                                                        <a:pt x="34855" y="47034"/>
                                                        <a:pt x="29802" y="35697"/>
                                                        <a:pt x="30449" y="24230"/>
                                                      </a:cubicBezTo>
                                                      <a:cubicBezTo>
                                                        <a:pt x="30903" y="16974"/>
                                                        <a:pt x="33170" y="8292"/>
                                                        <a:pt x="27728" y="3369"/>
                                                      </a:cubicBezTo>
                                                      <a:cubicBezTo>
                                                        <a:pt x="26239" y="2008"/>
                                                        <a:pt x="24295" y="1101"/>
                                                        <a:pt x="22675" y="0"/>
                                                      </a:cubicBezTo>
                                                      <a:cubicBezTo>
                                                        <a:pt x="20926" y="2073"/>
                                                        <a:pt x="18529" y="3563"/>
                                                        <a:pt x="15808" y="362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19" name="Freeform: Shape 41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77D53F3-C76F-41E4-BAC0-60F13141A44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558127" y="4605176"/>
                                                  <a:ext cx="290512" cy="28538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8003 w 290512"/>
                                                    <a:gd name="connsiteY0" fmla="*/ 9912 h 285380"/>
                                                    <a:gd name="connsiteX1" fmla="*/ 158933 w 290512"/>
                                                    <a:gd name="connsiteY1" fmla="*/ 27534 h 285380"/>
                                                    <a:gd name="connsiteX2" fmla="*/ 165088 w 290512"/>
                                                    <a:gd name="connsiteY2" fmla="*/ 44314 h 285380"/>
                                                    <a:gd name="connsiteX3" fmla="*/ 164958 w 290512"/>
                                                    <a:gd name="connsiteY3" fmla="*/ 51310 h 285380"/>
                                                    <a:gd name="connsiteX4" fmla="*/ 160359 w 290512"/>
                                                    <a:gd name="connsiteY4" fmla="*/ 81436 h 285380"/>
                                                    <a:gd name="connsiteX5" fmla="*/ 161201 w 290512"/>
                                                    <a:gd name="connsiteY5" fmla="*/ 96336 h 285380"/>
                                                    <a:gd name="connsiteX6" fmla="*/ 191974 w 290512"/>
                                                    <a:gd name="connsiteY6" fmla="*/ 114152 h 285380"/>
                                                    <a:gd name="connsiteX7" fmla="*/ 192363 w 290512"/>
                                                    <a:gd name="connsiteY7" fmla="*/ 135985 h 285380"/>
                                                    <a:gd name="connsiteX8" fmla="*/ 188994 w 290512"/>
                                                    <a:gd name="connsiteY8" fmla="*/ 140196 h 285380"/>
                                                    <a:gd name="connsiteX9" fmla="*/ 166254 w 290512"/>
                                                    <a:gd name="connsiteY9" fmla="*/ 132163 h 285380"/>
                                                    <a:gd name="connsiteX10" fmla="*/ 164051 w 290512"/>
                                                    <a:gd name="connsiteY10" fmla="*/ 125555 h 285380"/>
                                                    <a:gd name="connsiteX11" fmla="*/ 159192 w 290512"/>
                                                    <a:gd name="connsiteY11" fmla="*/ 123223 h 285380"/>
                                                    <a:gd name="connsiteX12" fmla="*/ 157637 w 290512"/>
                                                    <a:gd name="connsiteY12" fmla="*/ 119206 h 285380"/>
                                                    <a:gd name="connsiteX13" fmla="*/ 142283 w 290512"/>
                                                    <a:gd name="connsiteY13" fmla="*/ 108710 h 285380"/>
                                                    <a:gd name="connsiteX14" fmla="*/ 127771 w 290512"/>
                                                    <a:gd name="connsiteY14" fmla="*/ 95948 h 285380"/>
                                                    <a:gd name="connsiteX15" fmla="*/ 115591 w 290512"/>
                                                    <a:gd name="connsiteY15" fmla="*/ 102102 h 285380"/>
                                                    <a:gd name="connsiteX16" fmla="*/ 81385 w 290512"/>
                                                    <a:gd name="connsiteY16" fmla="*/ 89793 h 285380"/>
                                                    <a:gd name="connsiteX17" fmla="*/ 70436 w 290512"/>
                                                    <a:gd name="connsiteY17" fmla="*/ 80334 h 285380"/>
                                                    <a:gd name="connsiteX18" fmla="*/ 55341 w 290512"/>
                                                    <a:gd name="connsiteY18" fmla="*/ 80334 h 285380"/>
                                                    <a:gd name="connsiteX19" fmla="*/ 50158 w 290512"/>
                                                    <a:gd name="connsiteY19" fmla="*/ 82278 h 285380"/>
                                                    <a:gd name="connsiteX20" fmla="*/ 48732 w 290512"/>
                                                    <a:gd name="connsiteY20" fmla="*/ 87720 h 285380"/>
                                                    <a:gd name="connsiteX21" fmla="*/ 48279 w 290512"/>
                                                    <a:gd name="connsiteY21" fmla="*/ 115254 h 285380"/>
                                                    <a:gd name="connsiteX22" fmla="*/ 46595 w 290512"/>
                                                    <a:gd name="connsiteY22" fmla="*/ 123741 h 285380"/>
                                                    <a:gd name="connsiteX23" fmla="*/ 29426 w 290512"/>
                                                    <a:gd name="connsiteY23" fmla="*/ 128535 h 285380"/>
                                                    <a:gd name="connsiteX24" fmla="*/ 12129 w 290512"/>
                                                    <a:gd name="connsiteY24" fmla="*/ 128276 h 285380"/>
                                                    <a:gd name="connsiteX25" fmla="*/ 4678 w 290512"/>
                                                    <a:gd name="connsiteY25" fmla="*/ 130155 h 285380"/>
                                                    <a:gd name="connsiteX26" fmla="*/ 856 w 290512"/>
                                                    <a:gd name="connsiteY26" fmla="*/ 140779 h 285380"/>
                                                    <a:gd name="connsiteX27" fmla="*/ 1309 w 290512"/>
                                                    <a:gd name="connsiteY27" fmla="*/ 216190 h 285380"/>
                                                    <a:gd name="connsiteX28" fmla="*/ 3123 w 290512"/>
                                                    <a:gd name="connsiteY28" fmla="*/ 226361 h 285380"/>
                                                    <a:gd name="connsiteX29" fmla="*/ 7594 w 290512"/>
                                                    <a:gd name="connsiteY29" fmla="*/ 233293 h 285380"/>
                                                    <a:gd name="connsiteX30" fmla="*/ 21263 w 290512"/>
                                                    <a:gd name="connsiteY30" fmla="*/ 250915 h 285380"/>
                                                    <a:gd name="connsiteX31" fmla="*/ 26706 w 290512"/>
                                                    <a:gd name="connsiteY31" fmla="*/ 261281 h 285380"/>
                                                    <a:gd name="connsiteX32" fmla="*/ 26382 w 290512"/>
                                                    <a:gd name="connsiteY32" fmla="*/ 266658 h 285380"/>
                                                    <a:gd name="connsiteX33" fmla="*/ 30269 w 290512"/>
                                                    <a:gd name="connsiteY33" fmla="*/ 267500 h 285380"/>
                                                    <a:gd name="connsiteX34" fmla="*/ 34609 w 290512"/>
                                                    <a:gd name="connsiteY34" fmla="*/ 271776 h 285380"/>
                                                    <a:gd name="connsiteX35" fmla="*/ 42772 w 290512"/>
                                                    <a:gd name="connsiteY35" fmla="*/ 285381 h 285380"/>
                                                    <a:gd name="connsiteX36" fmla="*/ 63050 w 290512"/>
                                                    <a:gd name="connsiteY36" fmla="*/ 268472 h 285380"/>
                                                    <a:gd name="connsiteX37" fmla="*/ 79247 w 290512"/>
                                                    <a:gd name="connsiteY37" fmla="*/ 273979 h 285380"/>
                                                    <a:gd name="connsiteX38" fmla="*/ 79441 w 290512"/>
                                                    <a:gd name="connsiteY38" fmla="*/ 273979 h 285380"/>
                                                    <a:gd name="connsiteX39" fmla="*/ 116239 w 290512"/>
                                                    <a:gd name="connsiteY39" fmla="*/ 269379 h 285380"/>
                                                    <a:gd name="connsiteX40" fmla="*/ 122005 w 290512"/>
                                                    <a:gd name="connsiteY40" fmla="*/ 266658 h 285380"/>
                                                    <a:gd name="connsiteX41" fmla="*/ 124338 w 290512"/>
                                                    <a:gd name="connsiteY41" fmla="*/ 260957 h 285380"/>
                                                    <a:gd name="connsiteX42" fmla="*/ 137748 w 290512"/>
                                                    <a:gd name="connsiteY42" fmla="*/ 251433 h 285380"/>
                                                    <a:gd name="connsiteX43" fmla="*/ 138590 w 290512"/>
                                                    <a:gd name="connsiteY43" fmla="*/ 247028 h 285380"/>
                                                    <a:gd name="connsiteX44" fmla="*/ 156147 w 290512"/>
                                                    <a:gd name="connsiteY44" fmla="*/ 229147 h 285380"/>
                                                    <a:gd name="connsiteX45" fmla="*/ 158221 w 290512"/>
                                                    <a:gd name="connsiteY45" fmla="*/ 224094 h 285380"/>
                                                    <a:gd name="connsiteX46" fmla="*/ 165023 w 290512"/>
                                                    <a:gd name="connsiteY46" fmla="*/ 221438 h 285380"/>
                                                    <a:gd name="connsiteX47" fmla="*/ 173899 w 290512"/>
                                                    <a:gd name="connsiteY47" fmla="*/ 209064 h 285380"/>
                                                    <a:gd name="connsiteX48" fmla="*/ 181997 w 290512"/>
                                                    <a:gd name="connsiteY48" fmla="*/ 204723 h 285380"/>
                                                    <a:gd name="connsiteX49" fmla="*/ 185819 w 290512"/>
                                                    <a:gd name="connsiteY49" fmla="*/ 199281 h 285380"/>
                                                    <a:gd name="connsiteX50" fmla="*/ 202340 w 290512"/>
                                                    <a:gd name="connsiteY50" fmla="*/ 192349 h 285380"/>
                                                    <a:gd name="connsiteX51" fmla="*/ 203830 w 290512"/>
                                                    <a:gd name="connsiteY51" fmla="*/ 204010 h 285380"/>
                                                    <a:gd name="connsiteX52" fmla="*/ 204737 w 290512"/>
                                                    <a:gd name="connsiteY52" fmla="*/ 205759 h 285380"/>
                                                    <a:gd name="connsiteX53" fmla="*/ 204737 w 290512"/>
                                                    <a:gd name="connsiteY53" fmla="*/ 204788 h 285380"/>
                                                    <a:gd name="connsiteX54" fmla="*/ 224367 w 290512"/>
                                                    <a:gd name="connsiteY54" fmla="*/ 176282 h 285380"/>
                                                    <a:gd name="connsiteX55" fmla="*/ 257731 w 290512"/>
                                                    <a:gd name="connsiteY55" fmla="*/ 163649 h 285380"/>
                                                    <a:gd name="connsiteX56" fmla="*/ 269522 w 290512"/>
                                                    <a:gd name="connsiteY56" fmla="*/ 161770 h 285380"/>
                                                    <a:gd name="connsiteX57" fmla="*/ 268486 w 290512"/>
                                                    <a:gd name="connsiteY57" fmla="*/ 158984 h 285380"/>
                                                    <a:gd name="connsiteX58" fmla="*/ 267903 w 290512"/>
                                                    <a:gd name="connsiteY58" fmla="*/ 151987 h 285380"/>
                                                    <a:gd name="connsiteX59" fmla="*/ 268162 w 290512"/>
                                                    <a:gd name="connsiteY59" fmla="*/ 123935 h 285380"/>
                                                    <a:gd name="connsiteX60" fmla="*/ 270235 w 290512"/>
                                                    <a:gd name="connsiteY60" fmla="*/ 118299 h 285380"/>
                                                    <a:gd name="connsiteX61" fmla="*/ 273474 w 290512"/>
                                                    <a:gd name="connsiteY61" fmla="*/ 117327 h 285380"/>
                                                    <a:gd name="connsiteX62" fmla="*/ 277880 w 290512"/>
                                                    <a:gd name="connsiteY62" fmla="*/ 110136 h 285380"/>
                                                    <a:gd name="connsiteX63" fmla="*/ 278139 w 290512"/>
                                                    <a:gd name="connsiteY63" fmla="*/ 70552 h 285380"/>
                                                    <a:gd name="connsiteX64" fmla="*/ 278851 w 290512"/>
                                                    <a:gd name="connsiteY64" fmla="*/ 66989 h 285380"/>
                                                    <a:gd name="connsiteX65" fmla="*/ 283646 w 290512"/>
                                                    <a:gd name="connsiteY65" fmla="*/ 66146 h 285380"/>
                                                    <a:gd name="connsiteX66" fmla="*/ 290513 w 290512"/>
                                                    <a:gd name="connsiteY66" fmla="*/ 62518 h 285380"/>
                                                    <a:gd name="connsiteX67" fmla="*/ 287986 w 290512"/>
                                                    <a:gd name="connsiteY67" fmla="*/ 59927 h 285380"/>
                                                    <a:gd name="connsiteX68" fmla="*/ 287403 w 290512"/>
                                                    <a:gd name="connsiteY68" fmla="*/ 48913 h 285380"/>
                                                    <a:gd name="connsiteX69" fmla="*/ 277880 w 290512"/>
                                                    <a:gd name="connsiteY69" fmla="*/ 40556 h 285380"/>
                                                    <a:gd name="connsiteX70" fmla="*/ 265182 w 290512"/>
                                                    <a:gd name="connsiteY70" fmla="*/ 36798 h 285380"/>
                                                    <a:gd name="connsiteX71" fmla="*/ 251901 w 290512"/>
                                                    <a:gd name="connsiteY71" fmla="*/ 24878 h 285380"/>
                                                    <a:gd name="connsiteX72" fmla="*/ 243803 w 290512"/>
                                                    <a:gd name="connsiteY72" fmla="*/ 20991 h 285380"/>
                                                    <a:gd name="connsiteX73" fmla="*/ 230716 w 290512"/>
                                                    <a:gd name="connsiteY73" fmla="*/ 16002 h 285380"/>
                                                    <a:gd name="connsiteX74" fmla="*/ 223200 w 290512"/>
                                                    <a:gd name="connsiteY74" fmla="*/ 9459 h 285380"/>
                                                    <a:gd name="connsiteX75" fmla="*/ 214325 w 290512"/>
                                                    <a:gd name="connsiteY75" fmla="*/ 6155 h 285380"/>
                                                    <a:gd name="connsiteX76" fmla="*/ 209466 w 290512"/>
                                                    <a:gd name="connsiteY76" fmla="*/ 1490 h 285380"/>
                                                    <a:gd name="connsiteX77" fmla="*/ 201886 w 290512"/>
                                                    <a:gd name="connsiteY77" fmla="*/ 0 h 285380"/>
                                                    <a:gd name="connsiteX78" fmla="*/ 189382 w 290512"/>
                                                    <a:gd name="connsiteY78" fmla="*/ 1879 h 285380"/>
                                                    <a:gd name="connsiteX79" fmla="*/ 167744 w 290512"/>
                                                    <a:gd name="connsiteY79" fmla="*/ 9977 h 28538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90512" h="285380">
                                                      <a:moveTo>
                                                        <a:pt x="168003" y="9912"/>
                                                      </a:moveTo>
                                                      <a:cubicBezTo>
                                                        <a:pt x="164440" y="15743"/>
                                                        <a:pt x="165347" y="25137"/>
                                                        <a:pt x="158933" y="27534"/>
                                                      </a:cubicBezTo>
                                                      <a:cubicBezTo>
                                                        <a:pt x="155629" y="32846"/>
                                                        <a:pt x="163533" y="38224"/>
                                                        <a:pt x="165088" y="44314"/>
                                                      </a:cubicBezTo>
                                                      <a:cubicBezTo>
                                                        <a:pt x="165671" y="46581"/>
                                                        <a:pt x="165347" y="48978"/>
                                                        <a:pt x="164958" y="51310"/>
                                                      </a:cubicBezTo>
                                                      <a:cubicBezTo>
                                                        <a:pt x="163403" y="61352"/>
                                                        <a:pt x="161913" y="71394"/>
                                                        <a:pt x="160359" y="81436"/>
                                                      </a:cubicBezTo>
                                                      <a:cubicBezTo>
                                                        <a:pt x="159581" y="86424"/>
                                                        <a:pt x="158868" y="91801"/>
                                                        <a:pt x="161201" y="96336"/>
                                                      </a:cubicBezTo>
                                                      <a:cubicBezTo>
                                                        <a:pt x="166707" y="107155"/>
                                                        <a:pt x="184135" y="104888"/>
                                                        <a:pt x="191974" y="114152"/>
                                                      </a:cubicBezTo>
                                                      <a:cubicBezTo>
                                                        <a:pt x="197027" y="120048"/>
                                                        <a:pt x="196444" y="129312"/>
                                                        <a:pt x="192363" y="135985"/>
                                                      </a:cubicBezTo>
                                                      <a:cubicBezTo>
                                                        <a:pt x="191456" y="137540"/>
                                                        <a:pt x="190290" y="139030"/>
                                                        <a:pt x="188994" y="140196"/>
                                                      </a:cubicBezTo>
                                                      <a:cubicBezTo>
                                                        <a:pt x="181673" y="146740"/>
                                                        <a:pt x="167809" y="141816"/>
                                                        <a:pt x="166254" y="132163"/>
                                                      </a:cubicBezTo>
                                                      <a:cubicBezTo>
                                                        <a:pt x="165865" y="129830"/>
                                                        <a:pt x="165930" y="127045"/>
                                                        <a:pt x="164051" y="125555"/>
                                                      </a:cubicBezTo>
                                                      <a:cubicBezTo>
                                                        <a:pt x="162626" y="124454"/>
                                                        <a:pt x="160488" y="124518"/>
                                                        <a:pt x="159192" y="123223"/>
                                                      </a:cubicBezTo>
                                                      <a:cubicBezTo>
                                                        <a:pt x="158221" y="122186"/>
                                                        <a:pt x="158091" y="120566"/>
                                                        <a:pt x="157637" y="119206"/>
                                                      </a:cubicBezTo>
                                                      <a:cubicBezTo>
                                                        <a:pt x="155564" y="113180"/>
                                                        <a:pt x="147272" y="112662"/>
                                                        <a:pt x="142283" y="108710"/>
                                                      </a:cubicBezTo>
                                                      <a:cubicBezTo>
                                                        <a:pt x="137100" y="104564"/>
                                                        <a:pt x="134444" y="95883"/>
                                                        <a:pt x="127771" y="95948"/>
                                                      </a:cubicBezTo>
                                                      <a:cubicBezTo>
                                                        <a:pt x="123171" y="95948"/>
                                                        <a:pt x="119932" y="100548"/>
                                                        <a:pt x="115591" y="102102"/>
                                                      </a:cubicBezTo>
                                                      <a:cubicBezTo>
                                                        <a:pt x="103736" y="106378"/>
                                                        <a:pt x="93694" y="87137"/>
                                                        <a:pt x="81385" y="89793"/>
                                                      </a:cubicBezTo>
                                                      <a:cubicBezTo>
                                                        <a:pt x="80089" y="84869"/>
                                                        <a:pt x="75360" y="81501"/>
                                                        <a:pt x="70436" y="80334"/>
                                                      </a:cubicBezTo>
                                                      <a:cubicBezTo>
                                                        <a:pt x="65512" y="79168"/>
                                                        <a:pt x="60329" y="79751"/>
                                                        <a:pt x="55341" y="80334"/>
                                                      </a:cubicBezTo>
                                                      <a:cubicBezTo>
                                                        <a:pt x="53462" y="80529"/>
                                                        <a:pt x="51454" y="80852"/>
                                                        <a:pt x="50158" y="82278"/>
                                                      </a:cubicBezTo>
                                                      <a:cubicBezTo>
                                                        <a:pt x="48862" y="83703"/>
                                                        <a:pt x="48797" y="85776"/>
                                                        <a:pt x="48732" y="87720"/>
                                                      </a:cubicBezTo>
                                                      <a:cubicBezTo>
                                                        <a:pt x="48603" y="96920"/>
                                                        <a:pt x="48473" y="106054"/>
                                                        <a:pt x="48279" y="115254"/>
                                                      </a:cubicBezTo>
                                                      <a:cubicBezTo>
                                                        <a:pt x="48279" y="118169"/>
                                                        <a:pt x="48150" y="121279"/>
                                                        <a:pt x="46595" y="123741"/>
                                                      </a:cubicBezTo>
                                                      <a:cubicBezTo>
                                                        <a:pt x="43291" y="129053"/>
                                                        <a:pt x="35711" y="128924"/>
                                                        <a:pt x="29426" y="128535"/>
                                                      </a:cubicBezTo>
                                                      <a:cubicBezTo>
                                                        <a:pt x="23660" y="128146"/>
                                                        <a:pt x="17894" y="128081"/>
                                                        <a:pt x="12129" y="128276"/>
                                                      </a:cubicBezTo>
                                                      <a:cubicBezTo>
                                                        <a:pt x="9537" y="128405"/>
                                                        <a:pt x="6751" y="128599"/>
                                                        <a:pt x="4678" y="130155"/>
                                                      </a:cubicBezTo>
                                                      <a:cubicBezTo>
                                                        <a:pt x="1569" y="132487"/>
                                                        <a:pt x="1050" y="136892"/>
                                                        <a:pt x="856" y="140779"/>
                                                      </a:cubicBezTo>
                                                      <a:cubicBezTo>
                                                        <a:pt x="-440" y="165916"/>
                                                        <a:pt x="-245" y="191053"/>
                                                        <a:pt x="1309" y="216190"/>
                                                      </a:cubicBezTo>
                                                      <a:cubicBezTo>
                                                        <a:pt x="1504" y="219624"/>
                                                        <a:pt x="1763" y="223187"/>
                                                        <a:pt x="3123" y="226361"/>
                                                      </a:cubicBezTo>
                                                      <a:cubicBezTo>
                                                        <a:pt x="4225" y="228888"/>
                                                        <a:pt x="5909" y="231091"/>
                                                        <a:pt x="7594" y="233293"/>
                                                      </a:cubicBezTo>
                                                      <a:cubicBezTo>
                                                        <a:pt x="12129" y="239189"/>
                                                        <a:pt x="16728" y="245020"/>
                                                        <a:pt x="21263" y="250915"/>
                                                      </a:cubicBezTo>
                                                      <a:cubicBezTo>
                                                        <a:pt x="23660" y="254025"/>
                                                        <a:pt x="26187" y="257329"/>
                                                        <a:pt x="26706" y="261281"/>
                                                      </a:cubicBezTo>
                                                      <a:cubicBezTo>
                                                        <a:pt x="26965" y="263095"/>
                                                        <a:pt x="26706" y="264844"/>
                                                        <a:pt x="26382" y="266658"/>
                                                      </a:cubicBezTo>
                                                      <a:cubicBezTo>
                                                        <a:pt x="27742" y="266658"/>
                                                        <a:pt x="29038" y="266852"/>
                                                        <a:pt x="30269" y="267500"/>
                                                      </a:cubicBezTo>
                                                      <a:cubicBezTo>
                                                        <a:pt x="32083" y="268407"/>
                                                        <a:pt x="33378" y="270092"/>
                                                        <a:pt x="34609" y="271776"/>
                                                      </a:cubicBezTo>
                                                      <a:cubicBezTo>
                                                        <a:pt x="37719" y="276117"/>
                                                        <a:pt x="40440" y="280652"/>
                                                        <a:pt x="42772" y="285381"/>
                                                      </a:cubicBezTo>
                                                      <a:cubicBezTo>
                                                        <a:pt x="50612" y="280911"/>
                                                        <a:pt x="54045" y="268926"/>
                                                        <a:pt x="63050" y="268472"/>
                                                      </a:cubicBezTo>
                                                      <a:cubicBezTo>
                                                        <a:pt x="68816" y="268213"/>
                                                        <a:pt x="73546" y="273201"/>
                                                        <a:pt x="79247" y="273979"/>
                                                      </a:cubicBezTo>
                                                      <a:cubicBezTo>
                                                        <a:pt x="79312" y="273979"/>
                                                        <a:pt x="79376" y="273979"/>
                                                        <a:pt x="79441" y="273979"/>
                                                      </a:cubicBezTo>
                                                      <a:cubicBezTo>
                                                        <a:pt x="91297" y="271387"/>
                                                        <a:pt x="104189" y="271646"/>
                                                        <a:pt x="116239" y="269379"/>
                                                      </a:cubicBezTo>
                                                      <a:cubicBezTo>
                                                        <a:pt x="118377" y="268990"/>
                                                        <a:pt x="120710" y="268342"/>
                                                        <a:pt x="122005" y="266658"/>
                                                      </a:cubicBezTo>
                                                      <a:cubicBezTo>
                                                        <a:pt x="123236" y="265038"/>
                                                        <a:pt x="123301" y="262771"/>
                                                        <a:pt x="124338" y="260957"/>
                                                      </a:cubicBezTo>
                                                      <a:cubicBezTo>
                                                        <a:pt x="127123" y="256098"/>
                                                        <a:pt x="135675" y="256681"/>
                                                        <a:pt x="137748" y="251433"/>
                                                      </a:cubicBezTo>
                                                      <a:cubicBezTo>
                                                        <a:pt x="138331" y="250008"/>
                                                        <a:pt x="138266" y="248453"/>
                                                        <a:pt x="138590" y="247028"/>
                                                      </a:cubicBezTo>
                                                      <a:cubicBezTo>
                                                        <a:pt x="140534" y="238671"/>
                                                        <a:pt x="153232" y="237180"/>
                                                        <a:pt x="156147" y="229147"/>
                                                      </a:cubicBezTo>
                                                      <a:cubicBezTo>
                                                        <a:pt x="156795" y="227398"/>
                                                        <a:pt x="156990" y="225454"/>
                                                        <a:pt x="158221" y="224094"/>
                                                      </a:cubicBezTo>
                                                      <a:cubicBezTo>
                                                        <a:pt x="159905" y="222280"/>
                                                        <a:pt x="162820" y="222539"/>
                                                        <a:pt x="165023" y="221438"/>
                                                      </a:cubicBezTo>
                                                      <a:cubicBezTo>
                                                        <a:pt x="169623" y="219170"/>
                                                        <a:pt x="169882" y="212303"/>
                                                        <a:pt x="173899" y="209064"/>
                                                      </a:cubicBezTo>
                                                      <a:cubicBezTo>
                                                        <a:pt x="176296" y="207120"/>
                                                        <a:pt x="179665" y="206796"/>
                                                        <a:pt x="181997" y="204723"/>
                                                      </a:cubicBezTo>
                                                      <a:cubicBezTo>
                                                        <a:pt x="183681" y="203233"/>
                                                        <a:pt x="184524" y="201095"/>
                                                        <a:pt x="185819" y="199281"/>
                                                      </a:cubicBezTo>
                                                      <a:cubicBezTo>
                                                        <a:pt x="189318" y="194033"/>
                                                        <a:pt x="196120" y="191183"/>
                                                        <a:pt x="202340" y="192349"/>
                                                      </a:cubicBezTo>
                                                      <a:cubicBezTo>
                                                        <a:pt x="202340" y="196301"/>
                                                        <a:pt x="202340" y="200317"/>
                                                        <a:pt x="203830" y="204010"/>
                                                      </a:cubicBezTo>
                                                      <a:cubicBezTo>
                                                        <a:pt x="204089" y="204593"/>
                                                        <a:pt x="204413" y="205176"/>
                                                        <a:pt x="204737" y="205759"/>
                                                      </a:cubicBezTo>
                                                      <a:cubicBezTo>
                                                        <a:pt x="204737" y="205436"/>
                                                        <a:pt x="204737" y="205111"/>
                                                        <a:pt x="204737" y="204788"/>
                                                      </a:cubicBezTo>
                                                      <a:cubicBezTo>
                                                        <a:pt x="205903" y="192867"/>
                                                        <a:pt x="214260" y="182631"/>
                                                        <a:pt x="224367" y="176282"/>
                                                      </a:cubicBezTo>
                                                      <a:cubicBezTo>
                                                        <a:pt x="234473" y="169868"/>
                                                        <a:pt x="246200" y="166758"/>
                                                        <a:pt x="257731" y="163649"/>
                                                      </a:cubicBezTo>
                                                      <a:cubicBezTo>
                                                        <a:pt x="261619" y="162612"/>
                                                        <a:pt x="265635" y="161640"/>
                                                        <a:pt x="269522" y="161770"/>
                                                      </a:cubicBezTo>
                                                      <a:cubicBezTo>
                                                        <a:pt x="269134" y="160863"/>
                                                        <a:pt x="268745" y="159956"/>
                                                        <a:pt x="268486" y="158984"/>
                                                      </a:cubicBezTo>
                                                      <a:cubicBezTo>
                                                        <a:pt x="267903" y="156717"/>
                                                        <a:pt x="267903" y="154320"/>
                                                        <a:pt x="267903" y="151987"/>
                                                      </a:cubicBezTo>
                                                      <a:cubicBezTo>
                                                        <a:pt x="267968" y="142658"/>
                                                        <a:pt x="268032" y="133264"/>
                                                        <a:pt x="268162" y="123935"/>
                                                      </a:cubicBezTo>
                                                      <a:cubicBezTo>
                                                        <a:pt x="268162" y="121862"/>
                                                        <a:pt x="268421" y="119335"/>
                                                        <a:pt x="270235" y="118299"/>
                                                      </a:cubicBezTo>
                                                      <a:cubicBezTo>
                                                        <a:pt x="271207" y="117716"/>
                                                        <a:pt x="272438" y="117716"/>
                                                        <a:pt x="273474" y="117327"/>
                                                      </a:cubicBezTo>
                                                      <a:cubicBezTo>
                                                        <a:pt x="276260" y="116290"/>
                                                        <a:pt x="277362" y="113051"/>
                                                        <a:pt x="277880" y="110136"/>
                                                      </a:cubicBezTo>
                                                      <a:cubicBezTo>
                                                        <a:pt x="280406" y="97114"/>
                                                        <a:pt x="279175" y="83768"/>
                                                        <a:pt x="278139" y="70552"/>
                                                      </a:cubicBezTo>
                                                      <a:cubicBezTo>
                                                        <a:pt x="278009" y="69321"/>
                                                        <a:pt x="278009" y="67895"/>
                                                        <a:pt x="278851" y="66989"/>
                                                      </a:cubicBezTo>
                                                      <a:cubicBezTo>
                                                        <a:pt x="280018" y="65758"/>
                                                        <a:pt x="281961" y="66146"/>
                                                        <a:pt x="283646" y="66146"/>
                                                      </a:cubicBezTo>
                                                      <a:cubicBezTo>
                                                        <a:pt x="286302" y="66082"/>
                                                        <a:pt x="288699" y="64591"/>
                                                        <a:pt x="290513" y="62518"/>
                                                      </a:cubicBezTo>
                                                      <a:cubicBezTo>
                                                        <a:pt x="289476" y="61805"/>
                                                        <a:pt x="288569" y="61028"/>
                                                        <a:pt x="287986" y="59927"/>
                                                      </a:cubicBezTo>
                                                      <a:cubicBezTo>
                                                        <a:pt x="286237" y="56623"/>
                                                        <a:pt x="288116" y="52541"/>
                                                        <a:pt x="287403" y="48913"/>
                                                      </a:cubicBezTo>
                                                      <a:cubicBezTo>
                                                        <a:pt x="286561" y="44573"/>
                                                        <a:pt x="282156" y="41852"/>
                                                        <a:pt x="277880" y="40556"/>
                                                      </a:cubicBezTo>
                                                      <a:cubicBezTo>
                                                        <a:pt x="273604" y="39325"/>
                                                        <a:pt x="269069" y="38936"/>
                                                        <a:pt x="265182" y="36798"/>
                                                      </a:cubicBezTo>
                                                      <a:cubicBezTo>
                                                        <a:pt x="259934" y="33948"/>
                                                        <a:pt x="256824" y="28246"/>
                                                        <a:pt x="251901" y="24878"/>
                                                      </a:cubicBezTo>
                                                      <a:cubicBezTo>
                                                        <a:pt x="249439" y="23193"/>
                                                        <a:pt x="246588" y="22092"/>
                                                        <a:pt x="243803" y="20991"/>
                                                      </a:cubicBezTo>
                                                      <a:cubicBezTo>
                                                        <a:pt x="239462" y="19306"/>
                                                        <a:pt x="235121" y="17687"/>
                                                        <a:pt x="230716" y="16002"/>
                                                      </a:cubicBezTo>
                                                      <a:cubicBezTo>
                                                        <a:pt x="227412" y="14771"/>
                                                        <a:pt x="223654" y="12892"/>
                                                        <a:pt x="223200" y="9459"/>
                                                      </a:cubicBezTo>
                                                      <a:cubicBezTo>
                                                        <a:pt x="219961" y="9653"/>
                                                        <a:pt x="216657" y="8422"/>
                                                        <a:pt x="214325" y="6155"/>
                                                      </a:cubicBezTo>
                                                      <a:cubicBezTo>
                                                        <a:pt x="212705" y="4600"/>
                                                        <a:pt x="211474" y="2527"/>
                                                        <a:pt x="209466" y="1490"/>
                                                      </a:cubicBezTo>
                                                      <a:cubicBezTo>
                                                        <a:pt x="207134" y="389"/>
                                                        <a:pt x="204153" y="842"/>
                                                        <a:pt x="201886" y="0"/>
                                                      </a:cubicBezTo>
                                                      <a:cubicBezTo>
                                                        <a:pt x="197999" y="1360"/>
                                                        <a:pt x="193529" y="1749"/>
                                                        <a:pt x="189382" y="1879"/>
                                                      </a:cubicBezTo>
                                                      <a:cubicBezTo>
                                                        <a:pt x="181349" y="2138"/>
                                                        <a:pt x="171890" y="3045"/>
                                                        <a:pt x="167744" y="997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1" name="Freeform: Shape 42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76BABE8-E62D-4CC8-83EB-97B3A03E2B3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31844" y="4545024"/>
                                                  <a:ext cx="294904" cy="33717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68601 w 294904"/>
                                                    <a:gd name="connsiteY0" fmla="*/ 130056 h 337175"/>
                                                    <a:gd name="connsiteX1" fmla="*/ 266010 w 294904"/>
                                                    <a:gd name="connsiteY1" fmla="*/ 133295 h 337175"/>
                                                    <a:gd name="connsiteX2" fmla="*/ 248518 w 294904"/>
                                                    <a:gd name="connsiteY2" fmla="*/ 132906 h 337175"/>
                                                    <a:gd name="connsiteX3" fmla="*/ 235366 w 294904"/>
                                                    <a:gd name="connsiteY3" fmla="*/ 142754 h 337175"/>
                                                    <a:gd name="connsiteX4" fmla="*/ 235561 w 294904"/>
                                                    <a:gd name="connsiteY4" fmla="*/ 112564 h 337175"/>
                                                    <a:gd name="connsiteX5" fmla="*/ 230831 w 294904"/>
                                                    <a:gd name="connsiteY5" fmla="*/ 102004 h 337175"/>
                                                    <a:gd name="connsiteX6" fmla="*/ 226685 w 294904"/>
                                                    <a:gd name="connsiteY6" fmla="*/ 98959 h 337175"/>
                                                    <a:gd name="connsiteX7" fmla="*/ 223705 w 294904"/>
                                                    <a:gd name="connsiteY7" fmla="*/ 81337 h 337175"/>
                                                    <a:gd name="connsiteX8" fmla="*/ 220984 w 294904"/>
                                                    <a:gd name="connsiteY8" fmla="*/ 76737 h 337175"/>
                                                    <a:gd name="connsiteX9" fmla="*/ 223640 w 294904"/>
                                                    <a:gd name="connsiteY9" fmla="*/ 74794 h 337175"/>
                                                    <a:gd name="connsiteX10" fmla="*/ 229536 w 294904"/>
                                                    <a:gd name="connsiteY10" fmla="*/ 64234 h 337175"/>
                                                    <a:gd name="connsiteX11" fmla="*/ 226102 w 294904"/>
                                                    <a:gd name="connsiteY11" fmla="*/ 58792 h 337175"/>
                                                    <a:gd name="connsiteX12" fmla="*/ 221308 w 294904"/>
                                                    <a:gd name="connsiteY12" fmla="*/ 35469 h 337175"/>
                                                    <a:gd name="connsiteX13" fmla="*/ 203686 w 294904"/>
                                                    <a:gd name="connsiteY13" fmla="*/ 37412 h 337175"/>
                                                    <a:gd name="connsiteX14" fmla="*/ 198892 w 294904"/>
                                                    <a:gd name="connsiteY14" fmla="*/ 36959 h 337175"/>
                                                    <a:gd name="connsiteX15" fmla="*/ 194681 w 294904"/>
                                                    <a:gd name="connsiteY15" fmla="*/ 30675 h 337175"/>
                                                    <a:gd name="connsiteX16" fmla="*/ 183862 w 294904"/>
                                                    <a:gd name="connsiteY16" fmla="*/ 26852 h 337175"/>
                                                    <a:gd name="connsiteX17" fmla="*/ 177707 w 294904"/>
                                                    <a:gd name="connsiteY17" fmla="*/ 36505 h 337175"/>
                                                    <a:gd name="connsiteX18" fmla="*/ 167860 w 294904"/>
                                                    <a:gd name="connsiteY18" fmla="*/ 39226 h 337175"/>
                                                    <a:gd name="connsiteX19" fmla="*/ 167147 w 294904"/>
                                                    <a:gd name="connsiteY19" fmla="*/ 43502 h 337175"/>
                                                    <a:gd name="connsiteX20" fmla="*/ 150562 w 294904"/>
                                                    <a:gd name="connsiteY20" fmla="*/ 54775 h 337175"/>
                                                    <a:gd name="connsiteX21" fmla="*/ 140326 w 294904"/>
                                                    <a:gd name="connsiteY21" fmla="*/ 52248 h 337175"/>
                                                    <a:gd name="connsiteX22" fmla="*/ 133070 w 294904"/>
                                                    <a:gd name="connsiteY22" fmla="*/ 61448 h 337175"/>
                                                    <a:gd name="connsiteX23" fmla="*/ 124907 w 294904"/>
                                                    <a:gd name="connsiteY23" fmla="*/ 56394 h 337175"/>
                                                    <a:gd name="connsiteX24" fmla="*/ 120631 w 294904"/>
                                                    <a:gd name="connsiteY24" fmla="*/ 45964 h 337175"/>
                                                    <a:gd name="connsiteX25" fmla="*/ 116485 w 294904"/>
                                                    <a:gd name="connsiteY25" fmla="*/ 43956 h 337175"/>
                                                    <a:gd name="connsiteX26" fmla="*/ 113439 w 294904"/>
                                                    <a:gd name="connsiteY26" fmla="*/ 28537 h 337175"/>
                                                    <a:gd name="connsiteX27" fmla="*/ 109358 w 294904"/>
                                                    <a:gd name="connsiteY27" fmla="*/ 27176 h 337175"/>
                                                    <a:gd name="connsiteX28" fmla="*/ 107674 w 294904"/>
                                                    <a:gd name="connsiteY28" fmla="*/ 22900 h 337175"/>
                                                    <a:gd name="connsiteX29" fmla="*/ 107414 w 294904"/>
                                                    <a:gd name="connsiteY29" fmla="*/ 7416 h 337175"/>
                                                    <a:gd name="connsiteX30" fmla="*/ 95753 w 294904"/>
                                                    <a:gd name="connsiteY30" fmla="*/ 873 h 337175"/>
                                                    <a:gd name="connsiteX31" fmla="*/ 24230 w 294904"/>
                                                    <a:gd name="connsiteY31" fmla="*/ 549 h 337175"/>
                                                    <a:gd name="connsiteX32" fmla="*/ 7774 w 294904"/>
                                                    <a:gd name="connsiteY32" fmla="*/ 808 h 337175"/>
                                                    <a:gd name="connsiteX33" fmla="*/ 10430 w 294904"/>
                                                    <a:gd name="connsiteY33" fmla="*/ 28472 h 337175"/>
                                                    <a:gd name="connsiteX34" fmla="*/ 21703 w 294904"/>
                                                    <a:gd name="connsiteY34" fmla="*/ 39161 h 337175"/>
                                                    <a:gd name="connsiteX35" fmla="*/ 27923 w 294904"/>
                                                    <a:gd name="connsiteY35" fmla="*/ 113665 h 337175"/>
                                                    <a:gd name="connsiteX36" fmla="*/ 39066 w 294904"/>
                                                    <a:gd name="connsiteY36" fmla="*/ 158950 h 337175"/>
                                                    <a:gd name="connsiteX37" fmla="*/ 13994 w 294904"/>
                                                    <a:gd name="connsiteY37" fmla="*/ 190112 h 337175"/>
                                                    <a:gd name="connsiteX38" fmla="*/ 16002 w 294904"/>
                                                    <a:gd name="connsiteY38" fmla="*/ 233778 h 337175"/>
                                                    <a:gd name="connsiteX39" fmla="*/ 0 w 294904"/>
                                                    <a:gd name="connsiteY39" fmla="*/ 270835 h 337175"/>
                                                    <a:gd name="connsiteX40" fmla="*/ 5960 w 294904"/>
                                                    <a:gd name="connsiteY40" fmla="*/ 304329 h 337175"/>
                                                    <a:gd name="connsiteX41" fmla="*/ 27145 w 294904"/>
                                                    <a:gd name="connsiteY41" fmla="*/ 307245 h 337175"/>
                                                    <a:gd name="connsiteX42" fmla="*/ 38288 w 294904"/>
                                                    <a:gd name="connsiteY42" fmla="*/ 310095 h 337175"/>
                                                    <a:gd name="connsiteX43" fmla="*/ 45803 w 294904"/>
                                                    <a:gd name="connsiteY43" fmla="*/ 314695 h 337175"/>
                                                    <a:gd name="connsiteX44" fmla="*/ 55003 w 294904"/>
                                                    <a:gd name="connsiteY44" fmla="*/ 316833 h 337175"/>
                                                    <a:gd name="connsiteX45" fmla="*/ 146480 w 294904"/>
                                                    <a:gd name="connsiteY45" fmla="*/ 320914 h 337175"/>
                                                    <a:gd name="connsiteX46" fmla="*/ 154384 w 294904"/>
                                                    <a:gd name="connsiteY46" fmla="*/ 322599 h 337175"/>
                                                    <a:gd name="connsiteX47" fmla="*/ 158077 w 294904"/>
                                                    <a:gd name="connsiteY47" fmla="*/ 327782 h 337175"/>
                                                    <a:gd name="connsiteX48" fmla="*/ 168572 w 294904"/>
                                                    <a:gd name="connsiteY48" fmla="*/ 331280 h 337175"/>
                                                    <a:gd name="connsiteX49" fmla="*/ 223964 w 294904"/>
                                                    <a:gd name="connsiteY49" fmla="*/ 334519 h 337175"/>
                                                    <a:gd name="connsiteX50" fmla="*/ 223446 w 294904"/>
                                                    <a:gd name="connsiteY50" fmla="*/ 337176 h 337175"/>
                                                    <a:gd name="connsiteX51" fmla="*/ 224741 w 294904"/>
                                                    <a:gd name="connsiteY51" fmla="*/ 336722 h 337175"/>
                                                    <a:gd name="connsiteX52" fmla="*/ 251174 w 294904"/>
                                                    <a:gd name="connsiteY52" fmla="*/ 326551 h 337175"/>
                                                    <a:gd name="connsiteX53" fmla="*/ 252599 w 294904"/>
                                                    <a:gd name="connsiteY53" fmla="*/ 326551 h 337175"/>
                                                    <a:gd name="connsiteX54" fmla="*/ 252923 w 294904"/>
                                                    <a:gd name="connsiteY54" fmla="*/ 321173 h 337175"/>
                                                    <a:gd name="connsiteX55" fmla="*/ 247481 w 294904"/>
                                                    <a:gd name="connsiteY55" fmla="*/ 310808 h 337175"/>
                                                    <a:gd name="connsiteX56" fmla="*/ 233811 w 294904"/>
                                                    <a:gd name="connsiteY56" fmla="*/ 293186 h 337175"/>
                                                    <a:gd name="connsiteX57" fmla="*/ 229341 w 294904"/>
                                                    <a:gd name="connsiteY57" fmla="*/ 286254 h 337175"/>
                                                    <a:gd name="connsiteX58" fmla="*/ 227527 w 294904"/>
                                                    <a:gd name="connsiteY58" fmla="*/ 276083 h 337175"/>
                                                    <a:gd name="connsiteX59" fmla="*/ 227074 w 294904"/>
                                                    <a:gd name="connsiteY59" fmla="*/ 200672 h 337175"/>
                                                    <a:gd name="connsiteX60" fmla="*/ 230896 w 294904"/>
                                                    <a:gd name="connsiteY60" fmla="*/ 190047 h 337175"/>
                                                    <a:gd name="connsiteX61" fmla="*/ 238347 w 294904"/>
                                                    <a:gd name="connsiteY61" fmla="*/ 188169 h 337175"/>
                                                    <a:gd name="connsiteX62" fmla="*/ 255644 w 294904"/>
                                                    <a:gd name="connsiteY62" fmla="*/ 188428 h 337175"/>
                                                    <a:gd name="connsiteX63" fmla="*/ 272813 w 294904"/>
                                                    <a:gd name="connsiteY63" fmla="*/ 183634 h 337175"/>
                                                    <a:gd name="connsiteX64" fmla="*/ 274497 w 294904"/>
                                                    <a:gd name="connsiteY64" fmla="*/ 175147 h 337175"/>
                                                    <a:gd name="connsiteX65" fmla="*/ 274950 w 294904"/>
                                                    <a:gd name="connsiteY65" fmla="*/ 147613 h 337175"/>
                                                    <a:gd name="connsiteX66" fmla="*/ 276376 w 294904"/>
                                                    <a:gd name="connsiteY66" fmla="*/ 142171 h 337175"/>
                                                    <a:gd name="connsiteX67" fmla="*/ 281558 w 294904"/>
                                                    <a:gd name="connsiteY67" fmla="*/ 140227 h 337175"/>
                                                    <a:gd name="connsiteX68" fmla="*/ 294904 w 294904"/>
                                                    <a:gd name="connsiteY68" fmla="*/ 139968 h 337175"/>
                                                    <a:gd name="connsiteX69" fmla="*/ 275598 w 294904"/>
                                                    <a:gd name="connsiteY69" fmla="*/ 129538 h 337175"/>
                                                    <a:gd name="connsiteX70" fmla="*/ 268601 w 294904"/>
                                                    <a:gd name="connsiteY70" fmla="*/ 129797 h 33717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94904" h="337175">
                                                      <a:moveTo>
                                                        <a:pt x="268601" y="130056"/>
                                                      </a:moveTo>
                                                      <a:cubicBezTo>
                                                        <a:pt x="267565" y="130963"/>
                                                        <a:pt x="267047" y="132388"/>
                                                        <a:pt x="266010" y="133295"/>
                                                      </a:cubicBezTo>
                                                      <a:cubicBezTo>
                                                        <a:pt x="261604" y="137506"/>
                                                        <a:pt x="253766" y="129797"/>
                                                        <a:pt x="248518" y="132906"/>
                                                      </a:cubicBezTo>
                                                      <a:cubicBezTo>
                                                        <a:pt x="248388" y="139191"/>
                                                        <a:pt x="241456" y="144373"/>
                                                        <a:pt x="235366" y="142754"/>
                                                      </a:cubicBezTo>
                                                      <a:cubicBezTo>
                                                        <a:pt x="237051" y="132777"/>
                                                        <a:pt x="237116" y="122541"/>
                                                        <a:pt x="235561" y="112564"/>
                                                      </a:cubicBezTo>
                                                      <a:cubicBezTo>
                                                        <a:pt x="234978" y="108676"/>
                                                        <a:pt x="233941" y="104466"/>
                                                        <a:pt x="230831" y="102004"/>
                                                      </a:cubicBezTo>
                                                      <a:cubicBezTo>
                                                        <a:pt x="229471" y="100902"/>
                                                        <a:pt x="227851" y="100254"/>
                                                        <a:pt x="226685" y="98959"/>
                                                      </a:cubicBezTo>
                                                      <a:cubicBezTo>
                                                        <a:pt x="222604" y="94359"/>
                                                        <a:pt x="227722" y="85937"/>
                                                        <a:pt x="223705" y="81337"/>
                                                      </a:cubicBezTo>
                                                      <a:cubicBezTo>
                                                        <a:pt x="222474" y="79912"/>
                                                        <a:pt x="220336" y="78486"/>
                                                        <a:pt x="220984" y="76737"/>
                                                      </a:cubicBezTo>
                                                      <a:cubicBezTo>
                                                        <a:pt x="221373" y="75701"/>
                                                        <a:pt x="222604" y="75247"/>
                                                        <a:pt x="223640" y="74794"/>
                                                      </a:cubicBezTo>
                                                      <a:cubicBezTo>
                                                        <a:pt x="227722" y="73044"/>
                                                        <a:pt x="230831" y="68445"/>
                                                        <a:pt x="229536" y="64234"/>
                                                      </a:cubicBezTo>
                                                      <a:cubicBezTo>
                                                        <a:pt x="228888" y="62160"/>
                                                        <a:pt x="227398" y="60541"/>
                                                        <a:pt x="226102" y="58792"/>
                                                      </a:cubicBezTo>
                                                      <a:cubicBezTo>
                                                        <a:pt x="221178" y="52248"/>
                                                        <a:pt x="219364" y="43437"/>
                                                        <a:pt x="221308" y="35469"/>
                                                      </a:cubicBezTo>
                                                      <a:cubicBezTo>
                                                        <a:pt x="215413" y="36117"/>
                                                        <a:pt x="209517" y="36764"/>
                                                        <a:pt x="203686" y="37412"/>
                                                      </a:cubicBezTo>
                                                      <a:cubicBezTo>
                                                        <a:pt x="202066" y="37606"/>
                                                        <a:pt x="200317" y="37736"/>
                                                        <a:pt x="198892" y="36959"/>
                                                      </a:cubicBezTo>
                                                      <a:cubicBezTo>
                                                        <a:pt x="196624" y="35728"/>
                                                        <a:pt x="196041" y="32877"/>
                                                        <a:pt x="194681" y="30675"/>
                                                      </a:cubicBezTo>
                                                      <a:cubicBezTo>
                                                        <a:pt x="192478" y="27176"/>
                                                        <a:pt x="187749" y="25492"/>
                                                        <a:pt x="183862" y="26852"/>
                                                      </a:cubicBezTo>
                                                      <a:cubicBezTo>
                                                        <a:pt x="179975" y="28213"/>
                                                        <a:pt x="177254" y="32424"/>
                                                        <a:pt x="177707" y="36505"/>
                                                      </a:cubicBezTo>
                                                      <a:cubicBezTo>
                                                        <a:pt x="174079" y="35987"/>
                                                        <a:pt x="169479" y="35987"/>
                                                        <a:pt x="167860" y="39226"/>
                                                      </a:cubicBezTo>
                                                      <a:cubicBezTo>
                                                        <a:pt x="167212" y="40522"/>
                                                        <a:pt x="167276" y="42077"/>
                                                        <a:pt x="167147" y="43502"/>
                                                      </a:cubicBezTo>
                                                      <a:cubicBezTo>
                                                        <a:pt x="166305" y="51017"/>
                                                        <a:pt x="157883" y="56783"/>
                                                        <a:pt x="150562" y="54775"/>
                                                      </a:cubicBezTo>
                                                      <a:cubicBezTo>
                                                        <a:pt x="147128" y="53868"/>
                                                        <a:pt x="143824" y="51471"/>
                                                        <a:pt x="140326" y="52248"/>
                                                      </a:cubicBezTo>
                                                      <a:cubicBezTo>
                                                        <a:pt x="136309" y="53155"/>
                                                        <a:pt x="134430" y="57561"/>
                                                        <a:pt x="133070" y="61448"/>
                                                      </a:cubicBezTo>
                                                      <a:cubicBezTo>
                                                        <a:pt x="130219" y="64104"/>
                                                        <a:pt x="125814" y="60152"/>
                                                        <a:pt x="124907" y="56394"/>
                                                      </a:cubicBezTo>
                                                      <a:cubicBezTo>
                                                        <a:pt x="124000" y="52637"/>
                                                        <a:pt x="123935" y="47972"/>
                                                        <a:pt x="120631" y="45964"/>
                                                      </a:cubicBezTo>
                                                      <a:cubicBezTo>
                                                        <a:pt x="119335" y="45186"/>
                                                        <a:pt x="117651" y="44992"/>
                                                        <a:pt x="116485" y="43956"/>
                                                      </a:cubicBezTo>
                                                      <a:cubicBezTo>
                                                        <a:pt x="112209" y="40328"/>
                                                        <a:pt x="118363" y="31128"/>
                                                        <a:pt x="113439" y="28537"/>
                                                      </a:cubicBezTo>
                                                      <a:cubicBezTo>
                                                        <a:pt x="112144" y="27889"/>
                                                        <a:pt x="110524" y="28018"/>
                                                        <a:pt x="109358" y="27176"/>
                                                      </a:cubicBezTo>
                                                      <a:cubicBezTo>
                                                        <a:pt x="108063" y="26269"/>
                                                        <a:pt x="107738" y="24455"/>
                                                        <a:pt x="107674" y="22900"/>
                                                      </a:cubicBezTo>
                                                      <a:cubicBezTo>
                                                        <a:pt x="107544" y="17717"/>
                                                        <a:pt x="108840" y="12405"/>
                                                        <a:pt x="107414" y="7416"/>
                                                      </a:cubicBezTo>
                                                      <a:cubicBezTo>
                                                        <a:pt x="105989" y="2428"/>
                                                        <a:pt x="100094" y="-1913"/>
                                                        <a:pt x="95753" y="873"/>
                                                      </a:cubicBezTo>
                                                      <a:lnTo>
                                                        <a:pt x="24230" y="549"/>
                                                      </a:lnTo>
                                                      <a:cubicBezTo>
                                                        <a:pt x="18723" y="614"/>
                                                        <a:pt x="13281" y="743"/>
                                                        <a:pt x="7774" y="808"/>
                                                      </a:cubicBezTo>
                                                      <a:cubicBezTo>
                                                        <a:pt x="8033" y="10397"/>
                                                        <a:pt x="5118" y="20633"/>
                                                        <a:pt x="10430" y="28472"/>
                                                      </a:cubicBezTo>
                                                      <a:cubicBezTo>
                                                        <a:pt x="13346" y="32748"/>
                                                        <a:pt x="18205" y="35339"/>
                                                        <a:pt x="21703" y="39161"/>
                                                      </a:cubicBezTo>
                                                      <a:cubicBezTo>
                                                        <a:pt x="38807" y="58144"/>
                                                        <a:pt x="6414" y="99866"/>
                                                        <a:pt x="27923" y="113665"/>
                                                      </a:cubicBezTo>
                                                      <a:cubicBezTo>
                                                        <a:pt x="42370" y="122929"/>
                                                        <a:pt x="47552" y="144050"/>
                                                        <a:pt x="39066" y="158950"/>
                                                      </a:cubicBezTo>
                                                      <a:cubicBezTo>
                                                        <a:pt x="32393" y="170612"/>
                                                        <a:pt x="19241" y="177803"/>
                                                        <a:pt x="13994" y="190112"/>
                                                      </a:cubicBezTo>
                                                      <a:cubicBezTo>
                                                        <a:pt x="8228" y="203717"/>
                                                        <a:pt x="13735" y="219136"/>
                                                        <a:pt x="16002" y="233778"/>
                                                      </a:cubicBezTo>
                                                      <a:cubicBezTo>
                                                        <a:pt x="18269" y="248419"/>
                                                        <a:pt x="14317" y="267142"/>
                                                        <a:pt x="0" y="270835"/>
                                                      </a:cubicBezTo>
                                                      <a:cubicBezTo>
                                                        <a:pt x="2008" y="281978"/>
                                                        <a:pt x="3952" y="293186"/>
                                                        <a:pt x="5960" y="304329"/>
                                                      </a:cubicBezTo>
                                                      <a:cubicBezTo>
                                                        <a:pt x="13022" y="305301"/>
                                                        <a:pt x="20083" y="306273"/>
                                                        <a:pt x="27145" y="307245"/>
                                                      </a:cubicBezTo>
                                                      <a:cubicBezTo>
                                                        <a:pt x="30967" y="307763"/>
                                                        <a:pt x="34854" y="308346"/>
                                                        <a:pt x="38288" y="310095"/>
                                                      </a:cubicBezTo>
                                                      <a:cubicBezTo>
                                                        <a:pt x="40880" y="311456"/>
                                                        <a:pt x="43147" y="313464"/>
                                                        <a:pt x="45803" y="314695"/>
                                                      </a:cubicBezTo>
                                                      <a:cubicBezTo>
                                                        <a:pt x="48654" y="316056"/>
                                                        <a:pt x="51829" y="316444"/>
                                                        <a:pt x="55003" y="316833"/>
                                                      </a:cubicBezTo>
                                                      <a:cubicBezTo>
                                                        <a:pt x="85323" y="320461"/>
                                                        <a:pt x="115966" y="321822"/>
                                                        <a:pt x="146480" y="320914"/>
                                                      </a:cubicBezTo>
                                                      <a:cubicBezTo>
                                                        <a:pt x="149266" y="320850"/>
                                                        <a:pt x="152246" y="320850"/>
                                                        <a:pt x="154384" y="322599"/>
                                                      </a:cubicBezTo>
                                                      <a:cubicBezTo>
                                                        <a:pt x="156004" y="324024"/>
                                                        <a:pt x="156652" y="326227"/>
                                                        <a:pt x="158077" y="327782"/>
                                                      </a:cubicBezTo>
                                                      <a:cubicBezTo>
                                                        <a:pt x="160604" y="330632"/>
                                                        <a:pt x="164814" y="331021"/>
                                                        <a:pt x="168572" y="331280"/>
                                                      </a:cubicBezTo>
                                                      <a:cubicBezTo>
                                                        <a:pt x="187036" y="332382"/>
                                                        <a:pt x="205500" y="333418"/>
                                                        <a:pt x="223964" y="334519"/>
                                                      </a:cubicBezTo>
                                                      <a:cubicBezTo>
                                                        <a:pt x="223899" y="335426"/>
                                                        <a:pt x="223640" y="336269"/>
                                                        <a:pt x="223446" y="337176"/>
                                                      </a:cubicBezTo>
                                                      <a:cubicBezTo>
                                                        <a:pt x="223899" y="337046"/>
                                                        <a:pt x="224288" y="336916"/>
                                                        <a:pt x="224741" y="336722"/>
                                                      </a:cubicBezTo>
                                                      <a:cubicBezTo>
                                                        <a:pt x="233552" y="333159"/>
                                                        <a:pt x="241651" y="327004"/>
                                                        <a:pt x="251174" y="326551"/>
                                                      </a:cubicBezTo>
                                                      <a:cubicBezTo>
                                                        <a:pt x="251628" y="326551"/>
                                                        <a:pt x="252146" y="326551"/>
                                                        <a:pt x="252599" y="326551"/>
                                                      </a:cubicBezTo>
                                                      <a:cubicBezTo>
                                                        <a:pt x="252923" y="324737"/>
                                                        <a:pt x="253117" y="322988"/>
                                                        <a:pt x="252923" y="321173"/>
                                                      </a:cubicBezTo>
                                                      <a:cubicBezTo>
                                                        <a:pt x="252405" y="317287"/>
                                                        <a:pt x="249878" y="313918"/>
                                                        <a:pt x="247481" y="310808"/>
                                                      </a:cubicBezTo>
                                                      <a:cubicBezTo>
                                                        <a:pt x="242946" y="304912"/>
                                                        <a:pt x="238347" y="299082"/>
                                                        <a:pt x="233811" y="293186"/>
                                                      </a:cubicBezTo>
                                                      <a:cubicBezTo>
                                                        <a:pt x="232127" y="290984"/>
                                                        <a:pt x="230442" y="288781"/>
                                                        <a:pt x="229341" y="286254"/>
                                                      </a:cubicBezTo>
                                                      <a:cubicBezTo>
                                                        <a:pt x="227981" y="283079"/>
                                                        <a:pt x="227722" y="279516"/>
                                                        <a:pt x="227527" y="276083"/>
                                                      </a:cubicBezTo>
                                                      <a:cubicBezTo>
                                                        <a:pt x="225972" y="251011"/>
                                                        <a:pt x="225778" y="225809"/>
                                                        <a:pt x="227074" y="200672"/>
                                                      </a:cubicBezTo>
                                                      <a:cubicBezTo>
                                                        <a:pt x="227268" y="196785"/>
                                                        <a:pt x="227786" y="192379"/>
                                                        <a:pt x="230896" y="190047"/>
                                                      </a:cubicBezTo>
                                                      <a:cubicBezTo>
                                                        <a:pt x="232969" y="188492"/>
                                                        <a:pt x="235755" y="188298"/>
                                                        <a:pt x="238347" y="188169"/>
                                                      </a:cubicBezTo>
                                                      <a:cubicBezTo>
                                                        <a:pt x="244113" y="187974"/>
                                                        <a:pt x="249878" y="188039"/>
                                                        <a:pt x="255644" y="188428"/>
                                                      </a:cubicBezTo>
                                                      <a:cubicBezTo>
                                                        <a:pt x="261864" y="188881"/>
                                                        <a:pt x="269508" y="189011"/>
                                                        <a:pt x="272813" y="183634"/>
                                                      </a:cubicBezTo>
                                                      <a:cubicBezTo>
                                                        <a:pt x="274367" y="181107"/>
                                                        <a:pt x="274432" y="178062"/>
                                                        <a:pt x="274497" y="175147"/>
                                                      </a:cubicBezTo>
                                                      <a:cubicBezTo>
                                                        <a:pt x="274626" y="165947"/>
                                                        <a:pt x="274756" y="156812"/>
                                                        <a:pt x="274950" y="147613"/>
                                                      </a:cubicBezTo>
                                                      <a:cubicBezTo>
                                                        <a:pt x="274950" y="145734"/>
                                                        <a:pt x="275080" y="143596"/>
                                                        <a:pt x="276376" y="142171"/>
                                                      </a:cubicBezTo>
                                                      <a:cubicBezTo>
                                                        <a:pt x="277671" y="140745"/>
                                                        <a:pt x="279680" y="140486"/>
                                                        <a:pt x="281558" y="140227"/>
                                                      </a:cubicBezTo>
                                                      <a:cubicBezTo>
                                                        <a:pt x="285964" y="139709"/>
                                                        <a:pt x="290499" y="139255"/>
                                                        <a:pt x="294904" y="139968"/>
                                                      </a:cubicBezTo>
                                                      <a:cubicBezTo>
                                                        <a:pt x="288879" y="135627"/>
                                                        <a:pt x="282595" y="131870"/>
                                                        <a:pt x="275598" y="129538"/>
                                                      </a:cubicBezTo>
                                                      <a:cubicBezTo>
                                                        <a:pt x="273266" y="128760"/>
                                                        <a:pt x="270480" y="128242"/>
                                                        <a:pt x="268601" y="12979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2" name="Freeform: Shape 42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A168456-9479-418A-8B9C-B0EA9637C0A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28993" y="4238451"/>
                                                  <a:ext cx="456895" cy="50996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99598 w 456895"/>
                                                    <a:gd name="connsiteY0" fmla="*/ 216746 h 509966"/>
                                                    <a:gd name="connsiteX1" fmla="*/ 400440 w 456895"/>
                                                    <a:gd name="connsiteY1" fmla="*/ 208389 h 509966"/>
                                                    <a:gd name="connsiteX2" fmla="*/ 402125 w 456895"/>
                                                    <a:gd name="connsiteY2" fmla="*/ 197116 h 509966"/>
                                                    <a:gd name="connsiteX3" fmla="*/ 409057 w 456895"/>
                                                    <a:gd name="connsiteY3" fmla="*/ 191739 h 509966"/>
                                                    <a:gd name="connsiteX4" fmla="*/ 410288 w 456895"/>
                                                    <a:gd name="connsiteY4" fmla="*/ 187139 h 509966"/>
                                                    <a:gd name="connsiteX5" fmla="*/ 414369 w 456895"/>
                                                    <a:gd name="connsiteY5" fmla="*/ 182799 h 509966"/>
                                                    <a:gd name="connsiteX6" fmla="*/ 416507 w 456895"/>
                                                    <a:gd name="connsiteY6" fmla="*/ 170749 h 509966"/>
                                                    <a:gd name="connsiteX7" fmla="*/ 450585 w 456895"/>
                                                    <a:gd name="connsiteY7" fmla="*/ 92746 h 509966"/>
                                                    <a:gd name="connsiteX8" fmla="*/ 456674 w 456895"/>
                                                    <a:gd name="connsiteY8" fmla="*/ 85814 h 509966"/>
                                                    <a:gd name="connsiteX9" fmla="*/ 444754 w 456895"/>
                                                    <a:gd name="connsiteY9" fmla="*/ 60742 h 509966"/>
                                                    <a:gd name="connsiteX10" fmla="*/ 450520 w 456895"/>
                                                    <a:gd name="connsiteY10" fmla="*/ 54912 h 509966"/>
                                                    <a:gd name="connsiteX11" fmla="*/ 449159 w 456895"/>
                                                    <a:gd name="connsiteY11" fmla="*/ 41177 h 509966"/>
                                                    <a:gd name="connsiteX12" fmla="*/ 437951 w 456895"/>
                                                    <a:gd name="connsiteY12" fmla="*/ 31524 h 509966"/>
                                                    <a:gd name="connsiteX13" fmla="*/ 428169 w 456895"/>
                                                    <a:gd name="connsiteY13" fmla="*/ 23491 h 509966"/>
                                                    <a:gd name="connsiteX14" fmla="*/ 384568 w 456895"/>
                                                    <a:gd name="connsiteY14" fmla="*/ 22260 h 509966"/>
                                                    <a:gd name="connsiteX15" fmla="*/ 358654 w 456895"/>
                                                    <a:gd name="connsiteY15" fmla="*/ 5545 h 509966"/>
                                                    <a:gd name="connsiteX16" fmla="*/ 346474 w 456895"/>
                                                    <a:gd name="connsiteY16" fmla="*/ 3342 h 509966"/>
                                                    <a:gd name="connsiteX17" fmla="*/ 334813 w 456895"/>
                                                    <a:gd name="connsiteY17" fmla="*/ 38 h 509966"/>
                                                    <a:gd name="connsiteX18" fmla="*/ 326520 w 456895"/>
                                                    <a:gd name="connsiteY18" fmla="*/ 1010 h 509966"/>
                                                    <a:gd name="connsiteX19" fmla="*/ 260957 w 456895"/>
                                                    <a:gd name="connsiteY19" fmla="*/ 15587 h 509966"/>
                                                    <a:gd name="connsiteX20" fmla="*/ 240160 w 456895"/>
                                                    <a:gd name="connsiteY20" fmla="*/ 27831 h 509966"/>
                                                    <a:gd name="connsiteX21" fmla="*/ 237504 w 456895"/>
                                                    <a:gd name="connsiteY21" fmla="*/ 32042 h 509966"/>
                                                    <a:gd name="connsiteX22" fmla="*/ 233229 w 456895"/>
                                                    <a:gd name="connsiteY22" fmla="*/ 32042 h 509966"/>
                                                    <a:gd name="connsiteX23" fmla="*/ 181983 w 456895"/>
                                                    <a:gd name="connsiteY23" fmla="*/ 11052 h 509966"/>
                                                    <a:gd name="connsiteX24" fmla="*/ 177059 w 456895"/>
                                                    <a:gd name="connsiteY24" fmla="*/ 9108 h 509966"/>
                                                    <a:gd name="connsiteX25" fmla="*/ 171747 w 456895"/>
                                                    <a:gd name="connsiteY25" fmla="*/ 10857 h 509966"/>
                                                    <a:gd name="connsiteX26" fmla="*/ 150303 w 456895"/>
                                                    <a:gd name="connsiteY26" fmla="*/ 31589 h 509966"/>
                                                    <a:gd name="connsiteX27" fmla="*/ 152052 w 456895"/>
                                                    <a:gd name="connsiteY27" fmla="*/ 59900 h 509966"/>
                                                    <a:gd name="connsiteX28" fmla="*/ 148877 w 456895"/>
                                                    <a:gd name="connsiteY28" fmla="*/ 73505 h 509966"/>
                                                    <a:gd name="connsiteX29" fmla="*/ 138447 w 456895"/>
                                                    <a:gd name="connsiteY29" fmla="*/ 105056 h 509966"/>
                                                    <a:gd name="connsiteX30" fmla="*/ 124648 w 456895"/>
                                                    <a:gd name="connsiteY30" fmla="*/ 141919 h 509966"/>
                                                    <a:gd name="connsiteX31" fmla="*/ 111042 w 456895"/>
                                                    <a:gd name="connsiteY31" fmla="*/ 166602 h 509966"/>
                                                    <a:gd name="connsiteX32" fmla="*/ 96142 w 456895"/>
                                                    <a:gd name="connsiteY32" fmla="*/ 200096 h 509966"/>
                                                    <a:gd name="connsiteX33" fmla="*/ 93226 w 456895"/>
                                                    <a:gd name="connsiteY33" fmla="*/ 242596 h 509966"/>
                                                    <a:gd name="connsiteX34" fmla="*/ 85258 w 456895"/>
                                                    <a:gd name="connsiteY34" fmla="*/ 261578 h 509966"/>
                                                    <a:gd name="connsiteX35" fmla="*/ 74179 w 456895"/>
                                                    <a:gd name="connsiteY35" fmla="*/ 269935 h 509966"/>
                                                    <a:gd name="connsiteX36" fmla="*/ 61870 w 456895"/>
                                                    <a:gd name="connsiteY36" fmla="*/ 274082 h 509966"/>
                                                    <a:gd name="connsiteX37" fmla="*/ 53060 w 456895"/>
                                                    <a:gd name="connsiteY37" fmla="*/ 262550 h 509966"/>
                                                    <a:gd name="connsiteX38" fmla="*/ 46516 w 456895"/>
                                                    <a:gd name="connsiteY38" fmla="*/ 266955 h 509966"/>
                                                    <a:gd name="connsiteX39" fmla="*/ 26886 w 456895"/>
                                                    <a:gd name="connsiteY39" fmla="*/ 269158 h 509966"/>
                                                    <a:gd name="connsiteX40" fmla="*/ 15030 w 456895"/>
                                                    <a:gd name="connsiteY40" fmla="*/ 273758 h 509966"/>
                                                    <a:gd name="connsiteX41" fmla="*/ 0 w 456895"/>
                                                    <a:gd name="connsiteY41" fmla="*/ 281856 h 509966"/>
                                                    <a:gd name="connsiteX42" fmla="*/ 10495 w 456895"/>
                                                    <a:gd name="connsiteY42" fmla="*/ 302523 h 509966"/>
                                                    <a:gd name="connsiteX43" fmla="*/ 10949 w 456895"/>
                                                    <a:gd name="connsiteY43" fmla="*/ 307446 h 509966"/>
                                                    <a:gd name="connsiteX44" fmla="*/ 27404 w 456895"/>
                                                    <a:gd name="connsiteY44" fmla="*/ 307187 h 509966"/>
                                                    <a:gd name="connsiteX45" fmla="*/ 98928 w 456895"/>
                                                    <a:gd name="connsiteY45" fmla="*/ 307511 h 509966"/>
                                                    <a:gd name="connsiteX46" fmla="*/ 110589 w 456895"/>
                                                    <a:gd name="connsiteY46" fmla="*/ 314055 h 509966"/>
                                                    <a:gd name="connsiteX47" fmla="*/ 110848 w 456895"/>
                                                    <a:gd name="connsiteY47" fmla="*/ 329538 h 509966"/>
                                                    <a:gd name="connsiteX48" fmla="*/ 112533 w 456895"/>
                                                    <a:gd name="connsiteY48" fmla="*/ 333814 h 509966"/>
                                                    <a:gd name="connsiteX49" fmla="*/ 116614 w 456895"/>
                                                    <a:gd name="connsiteY49" fmla="*/ 335175 h 509966"/>
                                                    <a:gd name="connsiteX50" fmla="*/ 119659 w 456895"/>
                                                    <a:gd name="connsiteY50" fmla="*/ 350594 h 509966"/>
                                                    <a:gd name="connsiteX51" fmla="*/ 123805 w 456895"/>
                                                    <a:gd name="connsiteY51" fmla="*/ 352602 h 509966"/>
                                                    <a:gd name="connsiteX52" fmla="*/ 128081 w 456895"/>
                                                    <a:gd name="connsiteY52" fmla="*/ 363032 h 509966"/>
                                                    <a:gd name="connsiteX53" fmla="*/ 136244 w 456895"/>
                                                    <a:gd name="connsiteY53" fmla="*/ 368086 h 509966"/>
                                                    <a:gd name="connsiteX54" fmla="*/ 143500 w 456895"/>
                                                    <a:gd name="connsiteY54" fmla="*/ 358886 h 509966"/>
                                                    <a:gd name="connsiteX55" fmla="*/ 153736 w 456895"/>
                                                    <a:gd name="connsiteY55" fmla="*/ 361413 h 509966"/>
                                                    <a:gd name="connsiteX56" fmla="*/ 170322 w 456895"/>
                                                    <a:gd name="connsiteY56" fmla="*/ 350140 h 509966"/>
                                                    <a:gd name="connsiteX57" fmla="*/ 171034 w 456895"/>
                                                    <a:gd name="connsiteY57" fmla="*/ 345864 h 509966"/>
                                                    <a:gd name="connsiteX58" fmla="*/ 180882 w 456895"/>
                                                    <a:gd name="connsiteY58" fmla="*/ 343143 h 509966"/>
                                                    <a:gd name="connsiteX59" fmla="*/ 187036 w 456895"/>
                                                    <a:gd name="connsiteY59" fmla="*/ 333490 h 509966"/>
                                                    <a:gd name="connsiteX60" fmla="*/ 197855 w 456895"/>
                                                    <a:gd name="connsiteY60" fmla="*/ 337313 h 509966"/>
                                                    <a:gd name="connsiteX61" fmla="*/ 202067 w 456895"/>
                                                    <a:gd name="connsiteY61" fmla="*/ 343597 h 509966"/>
                                                    <a:gd name="connsiteX62" fmla="*/ 206861 w 456895"/>
                                                    <a:gd name="connsiteY62" fmla="*/ 344050 h 509966"/>
                                                    <a:gd name="connsiteX63" fmla="*/ 224482 w 456895"/>
                                                    <a:gd name="connsiteY63" fmla="*/ 342107 h 509966"/>
                                                    <a:gd name="connsiteX64" fmla="*/ 229276 w 456895"/>
                                                    <a:gd name="connsiteY64" fmla="*/ 365430 h 509966"/>
                                                    <a:gd name="connsiteX65" fmla="*/ 232710 w 456895"/>
                                                    <a:gd name="connsiteY65" fmla="*/ 370872 h 509966"/>
                                                    <a:gd name="connsiteX66" fmla="*/ 226814 w 456895"/>
                                                    <a:gd name="connsiteY66" fmla="*/ 381432 h 509966"/>
                                                    <a:gd name="connsiteX67" fmla="*/ 224158 w 456895"/>
                                                    <a:gd name="connsiteY67" fmla="*/ 383375 h 509966"/>
                                                    <a:gd name="connsiteX68" fmla="*/ 226879 w 456895"/>
                                                    <a:gd name="connsiteY68" fmla="*/ 387975 h 509966"/>
                                                    <a:gd name="connsiteX69" fmla="*/ 229860 w 456895"/>
                                                    <a:gd name="connsiteY69" fmla="*/ 405597 h 509966"/>
                                                    <a:gd name="connsiteX70" fmla="*/ 234006 w 456895"/>
                                                    <a:gd name="connsiteY70" fmla="*/ 408641 h 509966"/>
                                                    <a:gd name="connsiteX71" fmla="*/ 238735 w 456895"/>
                                                    <a:gd name="connsiteY71" fmla="*/ 419202 h 509966"/>
                                                    <a:gd name="connsiteX72" fmla="*/ 238541 w 456895"/>
                                                    <a:gd name="connsiteY72" fmla="*/ 449392 h 509966"/>
                                                    <a:gd name="connsiteX73" fmla="*/ 251692 w 456895"/>
                                                    <a:gd name="connsiteY73" fmla="*/ 439544 h 509966"/>
                                                    <a:gd name="connsiteX74" fmla="*/ 269185 w 456895"/>
                                                    <a:gd name="connsiteY74" fmla="*/ 439933 h 509966"/>
                                                    <a:gd name="connsiteX75" fmla="*/ 271776 w 456895"/>
                                                    <a:gd name="connsiteY75" fmla="*/ 436694 h 509966"/>
                                                    <a:gd name="connsiteX76" fmla="*/ 278773 w 456895"/>
                                                    <a:gd name="connsiteY76" fmla="*/ 436435 h 509966"/>
                                                    <a:gd name="connsiteX77" fmla="*/ 298079 w 456895"/>
                                                    <a:gd name="connsiteY77" fmla="*/ 446865 h 509966"/>
                                                    <a:gd name="connsiteX78" fmla="*/ 299893 w 456895"/>
                                                    <a:gd name="connsiteY78" fmla="*/ 447124 h 509966"/>
                                                    <a:gd name="connsiteX79" fmla="*/ 310842 w 456895"/>
                                                    <a:gd name="connsiteY79" fmla="*/ 456583 h 509966"/>
                                                    <a:gd name="connsiteX80" fmla="*/ 345048 w 456895"/>
                                                    <a:gd name="connsiteY80" fmla="*/ 468893 h 509966"/>
                                                    <a:gd name="connsiteX81" fmla="*/ 357228 w 456895"/>
                                                    <a:gd name="connsiteY81" fmla="*/ 462738 h 509966"/>
                                                    <a:gd name="connsiteX82" fmla="*/ 371740 w 456895"/>
                                                    <a:gd name="connsiteY82" fmla="*/ 475500 h 509966"/>
                                                    <a:gd name="connsiteX83" fmla="*/ 387095 w 456895"/>
                                                    <a:gd name="connsiteY83" fmla="*/ 485996 h 509966"/>
                                                    <a:gd name="connsiteX84" fmla="*/ 388649 w 456895"/>
                                                    <a:gd name="connsiteY84" fmla="*/ 490012 h 509966"/>
                                                    <a:gd name="connsiteX85" fmla="*/ 393508 w 456895"/>
                                                    <a:gd name="connsiteY85" fmla="*/ 492345 h 509966"/>
                                                    <a:gd name="connsiteX86" fmla="*/ 395711 w 456895"/>
                                                    <a:gd name="connsiteY86" fmla="*/ 498953 h 509966"/>
                                                    <a:gd name="connsiteX87" fmla="*/ 418451 w 456895"/>
                                                    <a:gd name="connsiteY87" fmla="*/ 506987 h 509966"/>
                                                    <a:gd name="connsiteX88" fmla="*/ 421820 w 456895"/>
                                                    <a:gd name="connsiteY88" fmla="*/ 502775 h 509966"/>
                                                    <a:gd name="connsiteX89" fmla="*/ 421431 w 456895"/>
                                                    <a:gd name="connsiteY89" fmla="*/ 480943 h 509966"/>
                                                    <a:gd name="connsiteX90" fmla="*/ 390658 w 456895"/>
                                                    <a:gd name="connsiteY90" fmla="*/ 463126 h 509966"/>
                                                    <a:gd name="connsiteX91" fmla="*/ 389816 w 456895"/>
                                                    <a:gd name="connsiteY91" fmla="*/ 448226 h 509966"/>
                                                    <a:gd name="connsiteX92" fmla="*/ 394415 w 456895"/>
                                                    <a:gd name="connsiteY92" fmla="*/ 418100 h 509966"/>
                                                    <a:gd name="connsiteX93" fmla="*/ 394545 w 456895"/>
                                                    <a:gd name="connsiteY93" fmla="*/ 411103 h 509966"/>
                                                    <a:gd name="connsiteX94" fmla="*/ 388390 w 456895"/>
                                                    <a:gd name="connsiteY94" fmla="*/ 394324 h 509966"/>
                                                    <a:gd name="connsiteX95" fmla="*/ 397460 w 456895"/>
                                                    <a:gd name="connsiteY95" fmla="*/ 376702 h 509966"/>
                                                    <a:gd name="connsiteX96" fmla="*/ 419099 w 456895"/>
                                                    <a:gd name="connsiteY96" fmla="*/ 368604 h 509966"/>
                                                    <a:gd name="connsiteX97" fmla="*/ 431602 w 456895"/>
                                                    <a:gd name="connsiteY97" fmla="*/ 366725 h 509966"/>
                                                    <a:gd name="connsiteX98" fmla="*/ 429788 w 456895"/>
                                                    <a:gd name="connsiteY98" fmla="*/ 365624 h 509966"/>
                                                    <a:gd name="connsiteX99" fmla="*/ 429335 w 456895"/>
                                                    <a:gd name="connsiteY99" fmla="*/ 349622 h 509966"/>
                                                    <a:gd name="connsiteX100" fmla="*/ 419423 w 456895"/>
                                                    <a:gd name="connsiteY100" fmla="*/ 344957 h 509966"/>
                                                    <a:gd name="connsiteX101" fmla="*/ 421042 w 456895"/>
                                                    <a:gd name="connsiteY101" fmla="*/ 336794 h 509966"/>
                                                    <a:gd name="connsiteX102" fmla="*/ 411195 w 456895"/>
                                                    <a:gd name="connsiteY102" fmla="*/ 330834 h 509966"/>
                                                    <a:gd name="connsiteX103" fmla="*/ 407955 w 456895"/>
                                                    <a:gd name="connsiteY103" fmla="*/ 318460 h 509966"/>
                                                    <a:gd name="connsiteX104" fmla="*/ 403874 w 456895"/>
                                                    <a:gd name="connsiteY104" fmla="*/ 316711 h 509966"/>
                                                    <a:gd name="connsiteX105" fmla="*/ 402902 w 456895"/>
                                                    <a:gd name="connsiteY105" fmla="*/ 313148 h 509966"/>
                                                    <a:gd name="connsiteX106" fmla="*/ 402967 w 456895"/>
                                                    <a:gd name="connsiteY106" fmla="*/ 287039 h 509966"/>
                                                    <a:gd name="connsiteX107" fmla="*/ 397590 w 456895"/>
                                                    <a:gd name="connsiteY107" fmla="*/ 266696 h 509966"/>
                                                    <a:gd name="connsiteX108" fmla="*/ 398238 w 456895"/>
                                                    <a:gd name="connsiteY108" fmla="*/ 254840 h 509966"/>
                                                    <a:gd name="connsiteX109" fmla="*/ 403356 w 456895"/>
                                                    <a:gd name="connsiteY109" fmla="*/ 244216 h 509966"/>
                                                    <a:gd name="connsiteX110" fmla="*/ 403485 w 456895"/>
                                                    <a:gd name="connsiteY110" fmla="*/ 232878 h 509966"/>
                                                    <a:gd name="connsiteX111" fmla="*/ 404975 w 456895"/>
                                                    <a:gd name="connsiteY111" fmla="*/ 233137 h 509966"/>
                                                    <a:gd name="connsiteX112" fmla="*/ 401283 w 456895"/>
                                                    <a:gd name="connsiteY112" fmla="*/ 221800 h 509966"/>
                                                    <a:gd name="connsiteX113" fmla="*/ 399857 w 456895"/>
                                                    <a:gd name="connsiteY113" fmla="*/ 216876 h 50996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56895" h="509966">
                                                      <a:moveTo>
                                                        <a:pt x="399598" y="216746"/>
                                                      </a:moveTo>
                                                      <a:cubicBezTo>
                                                        <a:pt x="399274" y="213960"/>
                                                        <a:pt x="400246" y="211175"/>
                                                        <a:pt x="400440" y="208389"/>
                                                      </a:cubicBezTo>
                                                      <a:cubicBezTo>
                                                        <a:pt x="400700" y="204502"/>
                                                        <a:pt x="399533" y="200032"/>
                                                        <a:pt x="402125" y="197116"/>
                                                      </a:cubicBezTo>
                                                      <a:cubicBezTo>
                                                        <a:pt x="404068" y="194914"/>
                                                        <a:pt x="407696" y="194395"/>
                                                        <a:pt x="409057" y="191739"/>
                                                      </a:cubicBezTo>
                                                      <a:cubicBezTo>
                                                        <a:pt x="409770" y="190314"/>
                                                        <a:pt x="409640" y="188629"/>
                                                        <a:pt x="410288" y="187139"/>
                                                      </a:cubicBezTo>
                                                      <a:cubicBezTo>
                                                        <a:pt x="411065" y="185325"/>
                                                        <a:pt x="412944" y="184224"/>
                                                        <a:pt x="414369" y="182799"/>
                                                      </a:cubicBezTo>
                                                      <a:cubicBezTo>
                                                        <a:pt x="417285" y="179818"/>
                                                        <a:pt x="416961" y="174895"/>
                                                        <a:pt x="416507" y="170749"/>
                                                      </a:cubicBezTo>
                                                      <a:cubicBezTo>
                                                        <a:pt x="413462" y="141271"/>
                                                        <a:pt x="426808" y="110563"/>
                                                        <a:pt x="450585" y="92746"/>
                                                      </a:cubicBezTo>
                                                      <a:cubicBezTo>
                                                        <a:pt x="453111" y="90868"/>
                                                        <a:pt x="455897" y="88859"/>
                                                        <a:pt x="456674" y="85814"/>
                                                      </a:cubicBezTo>
                                                      <a:cubicBezTo>
                                                        <a:pt x="459136" y="76226"/>
                                                        <a:pt x="440154" y="69488"/>
                                                        <a:pt x="444754" y="60742"/>
                                                      </a:cubicBezTo>
                                                      <a:cubicBezTo>
                                                        <a:pt x="446050" y="58280"/>
                                                        <a:pt x="448835" y="57050"/>
                                                        <a:pt x="450520" y="54912"/>
                                                      </a:cubicBezTo>
                                                      <a:cubicBezTo>
                                                        <a:pt x="453564" y="51024"/>
                                                        <a:pt x="452269" y="45064"/>
                                                        <a:pt x="449159" y="41177"/>
                                                      </a:cubicBezTo>
                                                      <a:cubicBezTo>
                                                        <a:pt x="446114" y="37290"/>
                                                        <a:pt x="441709" y="34699"/>
                                                        <a:pt x="437951" y="31524"/>
                                                      </a:cubicBezTo>
                                                      <a:cubicBezTo>
                                                        <a:pt x="434712" y="28803"/>
                                                        <a:pt x="431861" y="25499"/>
                                                        <a:pt x="428169" y="23491"/>
                                                      </a:cubicBezTo>
                                                      <a:cubicBezTo>
                                                        <a:pt x="415211" y="16429"/>
                                                        <a:pt x="398561" y="27054"/>
                                                        <a:pt x="384568" y="22260"/>
                                                      </a:cubicBezTo>
                                                      <a:cubicBezTo>
                                                        <a:pt x="374785" y="18891"/>
                                                        <a:pt x="368501" y="8590"/>
                                                        <a:pt x="358654" y="5545"/>
                                                      </a:cubicBezTo>
                                                      <a:cubicBezTo>
                                                        <a:pt x="354702" y="4314"/>
                                                        <a:pt x="350491" y="4314"/>
                                                        <a:pt x="346474" y="3342"/>
                                                      </a:cubicBezTo>
                                                      <a:cubicBezTo>
                                                        <a:pt x="342522" y="2371"/>
                                                        <a:pt x="338829" y="362"/>
                                                        <a:pt x="334813" y="38"/>
                                                      </a:cubicBezTo>
                                                      <a:cubicBezTo>
                                                        <a:pt x="332027" y="-156"/>
                                                        <a:pt x="329241" y="427"/>
                                                        <a:pt x="326520" y="1010"/>
                                                      </a:cubicBezTo>
                                                      <a:cubicBezTo>
                                                        <a:pt x="304687" y="5869"/>
                                                        <a:pt x="282789" y="10728"/>
                                                        <a:pt x="260957" y="15587"/>
                                                      </a:cubicBezTo>
                                                      <a:cubicBezTo>
                                                        <a:pt x="252794" y="17401"/>
                                                        <a:pt x="243464" y="20122"/>
                                                        <a:pt x="240160" y="27831"/>
                                                      </a:cubicBezTo>
                                                      <a:cubicBezTo>
                                                        <a:pt x="239513" y="29386"/>
                                                        <a:pt x="238994" y="31265"/>
                                                        <a:pt x="237504" y="32042"/>
                                                      </a:cubicBezTo>
                                                      <a:cubicBezTo>
                                                        <a:pt x="236208" y="32755"/>
                                                        <a:pt x="234654" y="32431"/>
                                                        <a:pt x="233229" y="32042"/>
                                                      </a:cubicBezTo>
                                                      <a:cubicBezTo>
                                                        <a:pt x="215218" y="27637"/>
                                                        <a:pt x="197855" y="20575"/>
                                                        <a:pt x="181983" y="11052"/>
                                                      </a:cubicBezTo>
                                                      <a:cubicBezTo>
                                                        <a:pt x="180428" y="10145"/>
                                                        <a:pt x="178808" y="9173"/>
                                                        <a:pt x="177059" y="9108"/>
                                                      </a:cubicBezTo>
                                                      <a:cubicBezTo>
                                                        <a:pt x="175180" y="9043"/>
                                                        <a:pt x="173366" y="9950"/>
                                                        <a:pt x="171747" y="10857"/>
                                                      </a:cubicBezTo>
                                                      <a:cubicBezTo>
                                                        <a:pt x="162742" y="15781"/>
                                                        <a:pt x="152894" y="21677"/>
                                                        <a:pt x="150303" y="31589"/>
                                                      </a:cubicBezTo>
                                                      <a:cubicBezTo>
                                                        <a:pt x="147841" y="40788"/>
                                                        <a:pt x="152505" y="50377"/>
                                                        <a:pt x="152052" y="59900"/>
                                                      </a:cubicBezTo>
                                                      <a:cubicBezTo>
                                                        <a:pt x="151793" y="64565"/>
                                                        <a:pt x="150367" y="69100"/>
                                                        <a:pt x="148877" y="73505"/>
                                                      </a:cubicBezTo>
                                                      <a:cubicBezTo>
                                                        <a:pt x="145379" y="84000"/>
                                                        <a:pt x="141945" y="94560"/>
                                                        <a:pt x="138447" y="105056"/>
                                                      </a:cubicBezTo>
                                                      <a:cubicBezTo>
                                                        <a:pt x="134366" y="117495"/>
                                                        <a:pt x="130219" y="129998"/>
                                                        <a:pt x="124648" y="141919"/>
                                                      </a:cubicBezTo>
                                                      <a:cubicBezTo>
                                                        <a:pt x="120631" y="150406"/>
                                                        <a:pt x="115966" y="158569"/>
                                                        <a:pt x="111042" y="166602"/>
                                                      </a:cubicBezTo>
                                                      <a:cubicBezTo>
                                                        <a:pt x="104564" y="177098"/>
                                                        <a:pt x="97502" y="187852"/>
                                                        <a:pt x="96142" y="200096"/>
                                                      </a:cubicBezTo>
                                                      <a:cubicBezTo>
                                                        <a:pt x="94522" y="214414"/>
                                                        <a:pt x="100677" y="230287"/>
                                                        <a:pt x="93226" y="242596"/>
                                                      </a:cubicBezTo>
                                                      <a:cubicBezTo>
                                                        <a:pt x="89469" y="248751"/>
                                                        <a:pt x="82407" y="254970"/>
                                                        <a:pt x="85258" y="261578"/>
                                                      </a:cubicBezTo>
                                                      <a:cubicBezTo>
                                                        <a:pt x="80464" y="261578"/>
                                                        <a:pt x="77224" y="266243"/>
                                                        <a:pt x="74179" y="269935"/>
                                                      </a:cubicBezTo>
                                                      <a:cubicBezTo>
                                                        <a:pt x="71135" y="273628"/>
                                                        <a:pt x="65692" y="276997"/>
                                                        <a:pt x="61870" y="274082"/>
                                                      </a:cubicBezTo>
                                                      <a:cubicBezTo>
                                                        <a:pt x="57789" y="271037"/>
                                                        <a:pt x="58177" y="262550"/>
                                                        <a:pt x="53060" y="262550"/>
                                                      </a:cubicBezTo>
                                                      <a:cubicBezTo>
                                                        <a:pt x="50338" y="262550"/>
                                                        <a:pt x="48654" y="265271"/>
                                                        <a:pt x="46516" y="266955"/>
                                                      </a:cubicBezTo>
                                                      <a:cubicBezTo>
                                                        <a:pt x="41204" y="271102"/>
                                                        <a:pt x="33559" y="268316"/>
                                                        <a:pt x="26886" y="269158"/>
                                                      </a:cubicBezTo>
                                                      <a:cubicBezTo>
                                                        <a:pt x="22675" y="269676"/>
                                                        <a:pt x="18788" y="271749"/>
                                                        <a:pt x="15030" y="273758"/>
                                                      </a:cubicBezTo>
                                                      <a:cubicBezTo>
                                                        <a:pt x="10042" y="276479"/>
                                                        <a:pt x="4988" y="279135"/>
                                                        <a:pt x="0" y="281856"/>
                                                      </a:cubicBezTo>
                                                      <a:cubicBezTo>
                                                        <a:pt x="4664" y="288399"/>
                                                        <a:pt x="9135" y="295202"/>
                                                        <a:pt x="10495" y="302523"/>
                                                      </a:cubicBezTo>
                                                      <a:cubicBezTo>
                                                        <a:pt x="10819" y="304142"/>
                                                        <a:pt x="10884" y="305762"/>
                                                        <a:pt x="10949" y="307446"/>
                                                      </a:cubicBezTo>
                                                      <a:cubicBezTo>
                                                        <a:pt x="16455" y="307382"/>
                                                        <a:pt x="21897" y="307252"/>
                                                        <a:pt x="27404" y="307187"/>
                                                      </a:cubicBezTo>
                                                      <a:lnTo>
                                                        <a:pt x="98928" y="307511"/>
                                                      </a:lnTo>
                                                      <a:cubicBezTo>
                                                        <a:pt x="103333" y="304725"/>
                                                        <a:pt x="109229" y="309066"/>
                                                        <a:pt x="110589" y="314055"/>
                                                      </a:cubicBezTo>
                                                      <a:cubicBezTo>
                                                        <a:pt x="111950" y="319043"/>
                                                        <a:pt x="110654" y="324355"/>
                                                        <a:pt x="110848" y="329538"/>
                                                      </a:cubicBezTo>
                                                      <a:cubicBezTo>
                                                        <a:pt x="110848" y="331158"/>
                                                        <a:pt x="111172" y="332907"/>
                                                        <a:pt x="112533" y="333814"/>
                                                      </a:cubicBezTo>
                                                      <a:cubicBezTo>
                                                        <a:pt x="113699" y="334656"/>
                                                        <a:pt x="115318" y="334462"/>
                                                        <a:pt x="116614" y="335175"/>
                                                      </a:cubicBezTo>
                                                      <a:cubicBezTo>
                                                        <a:pt x="121538" y="337766"/>
                                                        <a:pt x="115448" y="346966"/>
                                                        <a:pt x="119659" y="350594"/>
                                                      </a:cubicBezTo>
                                                      <a:cubicBezTo>
                                                        <a:pt x="120825" y="351565"/>
                                                        <a:pt x="122510" y="351760"/>
                                                        <a:pt x="123805" y="352602"/>
                                                      </a:cubicBezTo>
                                                      <a:cubicBezTo>
                                                        <a:pt x="127110" y="354610"/>
                                                        <a:pt x="127174" y="359210"/>
                                                        <a:pt x="128081" y="363032"/>
                                                      </a:cubicBezTo>
                                                      <a:cubicBezTo>
                                                        <a:pt x="128988" y="366790"/>
                                                        <a:pt x="133394" y="370742"/>
                                                        <a:pt x="136244" y="368086"/>
                                                      </a:cubicBezTo>
                                                      <a:cubicBezTo>
                                                        <a:pt x="137540" y="364199"/>
                                                        <a:pt x="139483" y="359793"/>
                                                        <a:pt x="143500" y="358886"/>
                                                      </a:cubicBezTo>
                                                      <a:cubicBezTo>
                                                        <a:pt x="146999" y="358109"/>
                                                        <a:pt x="150303" y="360441"/>
                                                        <a:pt x="153736" y="361413"/>
                                                      </a:cubicBezTo>
                                                      <a:cubicBezTo>
                                                        <a:pt x="161057" y="363421"/>
                                                        <a:pt x="169479" y="357655"/>
                                                        <a:pt x="170322" y="350140"/>
                                                      </a:cubicBezTo>
                                                      <a:cubicBezTo>
                                                        <a:pt x="170451" y="348715"/>
                                                        <a:pt x="170386" y="347160"/>
                                                        <a:pt x="171034" y="345864"/>
                                                      </a:cubicBezTo>
                                                      <a:cubicBezTo>
                                                        <a:pt x="172589" y="342560"/>
                                                        <a:pt x="177254" y="342625"/>
                                                        <a:pt x="180882" y="343143"/>
                                                      </a:cubicBezTo>
                                                      <a:cubicBezTo>
                                                        <a:pt x="180428" y="339062"/>
                                                        <a:pt x="183149" y="334851"/>
                                                        <a:pt x="187036" y="333490"/>
                                                      </a:cubicBezTo>
                                                      <a:cubicBezTo>
                                                        <a:pt x="190923" y="332130"/>
                                                        <a:pt x="195653" y="333814"/>
                                                        <a:pt x="197855" y="337313"/>
                                                      </a:cubicBezTo>
                                                      <a:cubicBezTo>
                                                        <a:pt x="199216" y="339451"/>
                                                        <a:pt x="199799" y="342366"/>
                                                        <a:pt x="202067" y="343597"/>
                                                      </a:cubicBezTo>
                                                      <a:cubicBezTo>
                                                        <a:pt x="203492" y="344374"/>
                                                        <a:pt x="205241" y="344180"/>
                                                        <a:pt x="206861" y="344050"/>
                                                      </a:cubicBezTo>
                                                      <a:cubicBezTo>
                                                        <a:pt x="212756" y="343402"/>
                                                        <a:pt x="218652" y="342755"/>
                                                        <a:pt x="224482" y="342107"/>
                                                      </a:cubicBezTo>
                                                      <a:cubicBezTo>
                                                        <a:pt x="222539" y="350075"/>
                                                        <a:pt x="224353" y="358886"/>
                                                        <a:pt x="229276" y="365430"/>
                                                      </a:cubicBezTo>
                                                      <a:cubicBezTo>
                                                        <a:pt x="230572" y="367179"/>
                                                        <a:pt x="232127" y="368799"/>
                                                        <a:pt x="232710" y="370872"/>
                                                      </a:cubicBezTo>
                                                      <a:cubicBezTo>
                                                        <a:pt x="234006" y="375083"/>
                                                        <a:pt x="230896" y="379747"/>
                                                        <a:pt x="226814" y="381432"/>
                                                      </a:cubicBezTo>
                                                      <a:cubicBezTo>
                                                        <a:pt x="225778" y="381885"/>
                                                        <a:pt x="224547" y="382274"/>
                                                        <a:pt x="224158" y="383375"/>
                                                      </a:cubicBezTo>
                                                      <a:cubicBezTo>
                                                        <a:pt x="223511" y="385124"/>
                                                        <a:pt x="225648" y="386550"/>
                                                        <a:pt x="226879" y="387975"/>
                                                      </a:cubicBezTo>
                                                      <a:cubicBezTo>
                                                        <a:pt x="230896" y="392640"/>
                                                        <a:pt x="225778" y="400997"/>
                                                        <a:pt x="229860" y="405597"/>
                                                      </a:cubicBezTo>
                                                      <a:cubicBezTo>
                                                        <a:pt x="231026" y="406893"/>
                                                        <a:pt x="232645" y="407540"/>
                                                        <a:pt x="234006" y="408641"/>
                                                      </a:cubicBezTo>
                                                      <a:cubicBezTo>
                                                        <a:pt x="237116" y="411103"/>
                                                        <a:pt x="238152" y="415315"/>
                                                        <a:pt x="238735" y="419202"/>
                                                      </a:cubicBezTo>
                                                      <a:cubicBezTo>
                                                        <a:pt x="240290" y="429179"/>
                                                        <a:pt x="240225" y="439415"/>
                                                        <a:pt x="238541" y="449392"/>
                                                      </a:cubicBezTo>
                                                      <a:cubicBezTo>
                                                        <a:pt x="244631" y="451012"/>
                                                        <a:pt x="251498" y="445829"/>
                                                        <a:pt x="251692" y="439544"/>
                                                      </a:cubicBezTo>
                                                      <a:cubicBezTo>
                                                        <a:pt x="256940" y="436435"/>
                                                        <a:pt x="264714" y="444144"/>
                                                        <a:pt x="269185" y="439933"/>
                                                      </a:cubicBezTo>
                                                      <a:cubicBezTo>
                                                        <a:pt x="270221" y="438962"/>
                                                        <a:pt x="270675" y="437536"/>
                                                        <a:pt x="271776" y="436694"/>
                                                      </a:cubicBezTo>
                                                      <a:cubicBezTo>
                                                        <a:pt x="273655" y="435139"/>
                                                        <a:pt x="276441" y="435657"/>
                                                        <a:pt x="278773" y="436435"/>
                                                      </a:cubicBezTo>
                                                      <a:cubicBezTo>
                                                        <a:pt x="285770" y="438767"/>
                                                        <a:pt x="292054" y="442525"/>
                                                        <a:pt x="298079" y="446865"/>
                                                      </a:cubicBezTo>
                                                      <a:cubicBezTo>
                                                        <a:pt x="298662" y="446930"/>
                                                        <a:pt x="299310" y="446995"/>
                                                        <a:pt x="299893" y="447124"/>
                                                      </a:cubicBezTo>
                                                      <a:cubicBezTo>
                                                        <a:pt x="304817" y="448291"/>
                                                        <a:pt x="309546" y="451724"/>
                                                        <a:pt x="310842" y="456583"/>
                                                      </a:cubicBezTo>
                                                      <a:cubicBezTo>
                                                        <a:pt x="323151" y="453927"/>
                                                        <a:pt x="333193" y="473168"/>
                                                        <a:pt x="345048" y="468893"/>
                                                      </a:cubicBezTo>
                                                      <a:cubicBezTo>
                                                        <a:pt x="349389" y="467337"/>
                                                        <a:pt x="352629" y="462803"/>
                                                        <a:pt x="357228" y="462738"/>
                                                      </a:cubicBezTo>
                                                      <a:cubicBezTo>
                                                        <a:pt x="363901" y="462673"/>
                                                        <a:pt x="366492" y="471354"/>
                                                        <a:pt x="371740" y="475500"/>
                                                      </a:cubicBezTo>
                                                      <a:cubicBezTo>
                                                        <a:pt x="376729" y="479453"/>
                                                        <a:pt x="385021" y="479971"/>
                                                        <a:pt x="387095" y="485996"/>
                                                      </a:cubicBezTo>
                                                      <a:cubicBezTo>
                                                        <a:pt x="387548" y="487356"/>
                                                        <a:pt x="387678" y="488976"/>
                                                        <a:pt x="388649" y="490012"/>
                                                      </a:cubicBezTo>
                                                      <a:cubicBezTo>
                                                        <a:pt x="389880" y="491308"/>
                                                        <a:pt x="392018" y="491243"/>
                                                        <a:pt x="393508" y="492345"/>
                                                      </a:cubicBezTo>
                                                      <a:cubicBezTo>
                                                        <a:pt x="395387" y="493770"/>
                                                        <a:pt x="395322" y="496556"/>
                                                        <a:pt x="395711" y="498953"/>
                                                      </a:cubicBezTo>
                                                      <a:cubicBezTo>
                                                        <a:pt x="397331" y="508606"/>
                                                        <a:pt x="411130" y="513530"/>
                                                        <a:pt x="418451" y="506987"/>
                                                      </a:cubicBezTo>
                                                      <a:cubicBezTo>
                                                        <a:pt x="419811" y="505756"/>
                                                        <a:pt x="420913" y="504330"/>
                                                        <a:pt x="421820" y="502775"/>
                                                      </a:cubicBezTo>
                                                      <a:cubicBezTo>
                                                        <a:pt x="425836" y="496102"/>
                                                        <a:pt x="426419" y="486838"/>
                                                        <a:pt x="421431" y="480943"/>
                                                      </a:cubicBezTo>
                                                      <a:cubicBezTo>
                                                        <a:pt x="413592" y="471678"/>
                                                        <a:pt x="396164" y="473946"/>
                                                        <a:pt x="390658" y="463126"/>
                                                      </a:cubicBezTo>
                                                      <a:cubicBezTo>
                                                        <a:pt x="388390" y="458591"/>
                                                        <a:pt x="389103" y="453214"/>
                                                        <a:pt x="389816" y="448226"/>
                                                      </a:cubicBezTo>
                                                      <a:cubicBezTo>
                                                        <a:pt x="391370" y="438184"/>
                                                        <a:pt x="392860" y="428142"/>
                                                        <a:pt x="394415" y="418100"/>
                                                      </a:cubicBezTo>
                                                      <a:cubicBezTo>
                                                        <a:pt x="394739" y="415768"/>
                                                        <a:pt x="395128" y="413371"/>
                                                        <a:pt x="394545" y="411103"/>
                                                      </a:cubicBezTo>
                                                      <a:cubicBezTo>
                                                        <a:pt x="392990" y="405014"/>
                                                        <a:pt x="385086" y="399637"/>
                                                        <a:pt x="388390" y="394324"/>
                                                      </a:cubicBezTo>
                                                      <a:cubicBezTo>
                                                        <a:pt x="394804" y="391927"/>
                                                        <a:pt x="393962" y="382533"/>
                                                        <a:pt x="397460" y="376702"/>
                                                      </a:cubicBezTo>
                                                      <a:cubicBezTo>
                                                        <a:pt x="401607" y="369835"/>
                                                        <a:pt x="411065" y="368928"/>
                                                        <a:pt x="419099" y="368604"/>
                                                      </a:cubicBezTo>
                                                      <a:cubicBezTo>
                                                        <a:pt x="423180" y="368474"/>
                                                        <a:pt x="427715" y="368021"/>
                                                        <a:pt x="431602" y="366725"/>
                                                      </a:cubicBezTo>
                                                      <a:cubicBezTo>
                                                        <a:pt x="430954" y="366466"/>
                                                        <a:pt x="430307" y="366142"/>
                                                        <a:pt x="429788" y="365624"/>
                                                      </a:cubicBezTo>
                                                      <a:cubicBezTo>
                                                        <a:pt x="425966" y="361478"/>
                                                        <a:pt x="433222" y="353703"/>
                                                        <a:pt x="429335" y="349622"/>
                                                      </a:cubicBezTo>
                                                      <a:cubicBezTo>
                                                        <a:pt x="426679" y="346901"/>
                                                        <a:pt x="420848" y="348456"/>
                                                        <a:pt x="419423" y="344957"/>
                                                      </a:cubicBezTo>
                                                      <a:cubicBezTo>
                                                        <a:pt x="418386" y="342366"/>
                                                        <a:pt x="421107" y="339645"/>
                                                        <a:pt x="421042" y="336794"/>
                                                      </a:cubicBezTo>
                                                      <a:cubicBezTo>
                                                        <a:pt x="421042" y="332518"/>
                                                        <a:pt x="415470" y="331028"/>
                                                        <a:pt x="411195" y="330834"/>
                                                      </a:cubicBezTo>
                                                      <a:cubicBezTo>
                                                        <a:pt x="412037" y="326299"/>
                                                        <a:pt x="412231" y="320339"/>
                                                        <a:pt x="407955" y="318460"/>
                                                      </a:cubicBezTo>
                                                      <a:cubicBezTo>
                                                        <a:pt x="406595" y="317877"/>
                                                        <a:pt x="404846" y="317812"/>
                                                        <a:pt x="403874" y="316711"/>
                                                      </a:cubicBezTo>
                                                      <a:cubicBezTo>
                                                        <a:pt x="403032" y="315804"/>
                                                        <a:pt x="402967" y="314378"/>
                                                        <a:pt x="402902" y="313148"/>
                                                      </a:cubicBezTo>
                                                      <a:cubicBezTo>
                                                        <a:pt x="402708" y="304725"/>
                                                        <a:pt x="406271" y="294748"/>
                                                        <a:pt x="402967" y="287039"/>
                                                      </a:cubicBezTo>
                                                      <a:cubicBezTo>
                                                        <a:pt x="400181" y="280560"/>
                                                        <a:pt x="398367" y="273693"/>
                                                        <a:pt x="397590" y="266696"/>
                                                      </a:cubicBezTo>
                                                      <a:cubicBezTo>
                                                        <a:pt x="397136" y="262744"/>
                                                        <a:pt x="397072" y="258598"/>
                                                        <a:pt x="398238" y="254840"/>
                                                      </a:cubicBezTo>
                                                      <a:cubicBezTo>
                                                        <a:pt x="399404" y="251083"/>
                                                        <a:pt x="401801" y="247843"/>
                                                        <a:pt x="403356" y="244216"/>
                                                      </a:cubicBezTo>
                                                      <a:cubicBezTo>
                                                        <a:pt x="404911" y="240588"/>
                                                        <a:pt x="405623" y="236182"/>
                                                        <a:pt x="403485" y="232878"/>
                                                      </a:cubicBezTo>
                                                      <a:cubicBezTo>
                                                        <a:pt x="404004" y="232878"/>
                                                        <a:pt x="404522" y="233008"/>
                                                        <a:pt x="404975" y="233137"/>
                                                      </a:cubicBezTo>
                                                      <a:cubicBezTo>
                                                        <a:pt x="403874" y="229315"/>
                                                        <a:pt x="402708" y="225493"/>
                                                        <a:pt x="401283" y="221800"/>
                                                      </a:cubicBezTo>
                                                      <a:cubicBezTo>
                                                        <a:pt x="400700" y="220180"/>
                                                        <a:pt x="399987" y="218560"/>
                                                        <a:pt x="399857" y="21687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3" name="Freeform: Shape 42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96BCAAC-A3C9-4BC0-A00E-9A2E9DB7D61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729454" y="4414984"/>
                                                  <a:ext cx="43407" cy="3887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1446 w 43407"/>
                                                    <a:gd name="connsiteY0" fmla="*/ 38853 h 38878"/>
                                                    <a:gd name="connsiteX1" fmla="*/ 15917 w 43407"/>
                                                    <a:gd name="connsiteY1" fmla="*/ 38270 h 38878"/>
                                                    <a:gd name="connsiteX2" fmla="*/ 26995 w 43407"/>
                                                    <a:gd name="connsiteY2" fmla="*/ 35614 h 38878"/>
                                                    <a:gd name="connsiteX3" fmla="*/ 32631 w 43407"/>
                                                    <a:gd name="connsiteY3" fmla="*/ 33800 h 38878"/>
                                                    <a:gd name="connsiteX4" fmla="*/ 43386 w 43407"/>
                                                    <a:gd name="connsiteY4" fmla="*/ 11513 h 38878"/>
                                                    <a:gd name="connsiteX5" fmla="*/ 40146 w 43407"/>
                                                    <a:gd name="connsiteY5" fmla="*/ 1925 h 38878"/>
                                                    <a:gd name="connsiteX6" fmla="*/ 35547 w 43407"/>
                                                    <a:gd name="connsiteY6" fmla="*/ 694 h 38878"/>
                                                    <a:gd name="connsiteX7" fmla="*/ 16305 w 43407"/>
                                                    <a:gd name="connsiteY7" fmla="*/ 111 h 38878"/>
                                                    <a:gd name="connsiteX8" fmla="*/ 13973 w 43407"/>
                                                    <a:gd name="connsiteY8" fmla="*/ 6266 h 38878"/>
                                                    <a:gd name="connsiteX9" fmla="*/ 9892 w 43407"/>
                                                    <a:gd name="connsiteY9" fmla="*/ 10606 h 38878"/>
                                                    <a:gd name="connsiteX10" fmla="*/ 8661 w 43407"/>
                                                    <a:gd name="connsiteY10" fmla="*/ 15206 h 38878"/>
                                                    <a:gd name="connsiteX11" fmla="*/ 1729 w 43407"/>
                                                    <a:gd name="connsiteY11" fmla="*/ 20583 h 38878"/>
                                                    <a:gd name="connsiteX12" fmla="*/ 44 w 43407"/>
                                                    <a:gd name="connsiteY12" fmla="*/ 31856 h 38878"/>
                                                    <a:gd name="connsiteX13" fmla="*/ 44 w 43407"/>
                                                    <a:gd name="connsiteY13" fmla="*/ 31856 h 38878"/>
                                                    <a:gd name="connsiteX14" fmla="*/ 5616 w 43407"/>
                                                    <a:gd name="connsiteY14" fmla="*/ 36132 h 38878"/>
                                                    <a:gd name="connsiteX15" fmla="*/ 11511 w 43407"/>
                                                    <a:gd name="connsiteY15" fmla="*/ 38723 h 3887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3407" h="38878">
                                                      <a:moveTo>
                                                        <a:pt x="11446" y="38853"/>
                                                      </a:moveTo>
                                                      <a:cubicBezTo>
                                                        <a:pt x="12937" y="38983"/>
                                                        <a:pt x="14427" y="38594"/>
                                                        <a:pt x="15917" y="38270"/>
                                                      </a:cubicBezTo>
                                                      <a:cubicBezTo>
                                                        <a:pt x="19610" y="37363"/>
                                                        <a:pt x="23302" y="36456"/>
                                                        <a:pt x="26995" y="35614"/>
                                                      </a:cubicBezTo>
                                                      <a:cubicBezTo>
                                                        <a:pt x="28939" y="35160"/>
                                                        <a:pt x="30882" y="34642"/>
                                                        <a:pt x="32631" y="33800"/>
                                                      </a:cubicBezTo>
                                                      <a:cubicBezTo>
                                                        <a:pt x="40406" y="30042"/>
                                                        <a:pt x="42997" y="20195"/>
                                                        <a:pt x="43386" y="11513"/>
                                                      </a:cubicBezTo>
                                                      <a:cubicBezTo>
                                                        <a:pt x="43515" y="7950"/>
                                                        <a:pt x="43127" y="3804"/>
                                                        <a:pt x="40146" y="1925"/>
                                                      </a:cubicBezTo>
                                                      <a:cubicBezTo>
                                                        <a:pt x="38786" y="1083"/>
                                                        <a:pt x="37102" y="824"/>
                                                        <a:pt x="35547" y="694"/>
                                                      </a:cubicBezTo>
                                                      <a:cubicBezTo>
                                                        <a:pt x="29133" y="46"/>
                                                        <a:pt x="22719" y="-148"/>
                                                        <a:pt x="16305" y="111"/>
                                                      </a:cubicBezTo>
                                                      <a:cubicBezTo>
                                                        <a:pt x="16176" y="2443"/>
                                                        <a:pt x="15593" y="4711"/>
                                                        <a:pt x="13973" y="6266"/>
                                                      </a:cubicBezTo>
                                                      <a:cubicBezTo>
                                                        <a:pt x="12548" y="7691"/>
                                                        <a:pt x="10669" y="8792"/>
                                                        <a:pt x="9892" y="10606"/>
                                                      </a:cubicBezTo>
                                                      <a:cubicBezTo>
                                                        <a:pt x="9244" y="12032"/>
                                                        <a:pt x="9373" y="13781"/>
                                                        <a:pt x="8661" y="15206"/>
                                                      </a:cubicBezTo>
                                                      <a:cubicBezTo>
                                                        <a:pt x="7300" y="17862"/>
                                                        <a:pt x="3672" y="18381"/>
                                                        <a:pt x="1729" y="20583"/>
                                                      </a:cubicBezTo>
                                                      <a:cubicBezTo>
                                                        <a:pt x="-863" y="23499"/>
                                                        <a:pt x="303" y="27969"/>
                                                        <a:pt x="44" y="31856"/>
                                                      </a:cubicBezTo>
                                                      <a:cubicBezTo>
                                                        <a:pt x="44" y="31856"/>
                                                        <a:pt x="44" y="31856"/>
                                                        <a:pt x="44" y="31856"/>
                                                      </a:cubicBezTo>
                                                      <a:cubicBezTo>
                                                        <a:pt x="1858" y="33346"/>
                                                        <a:pt x="3672" y="34836"/>
                                                        <a:pt x="5616" y="36132"/>
                                                      </a:cubicBezTo>
                                                      <a:cubicBezTo>
                                                        <a:pt x="7430" y="37363"/>
                                                        <a:pt x="9373" y="38529"/>
                                                        <a:pt x="11511" y="3872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4" name="Freeform: Shape 42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57C4E25-9CD9-4917-B631-B285DAEBFC5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728522" y="4446970"/>
                                                  <a:ext cx="43341" cy="4969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9741 w 43341"/>
                                                    <a:gd name="connsiteY0" fmla="*/ 44054 h 49690"/>
                                                    <a:gd name="connsiteX1" fmla="*/ 33369 w 43341"/>
                                                    <a:gd name="connsiteY1" fmla="*/ 36086 h 49690"/>
                                                    <a:gd name="connsiteX2" fmla="*/ 32203 w 43341"/>
                                                    <a:gd name="connsiteY2" fmla="*/ 34013 h 49690"/>
                                                    <a:gd name="connsiteX3" fmla="*/ 36738 w 43341"/>
                                                    <a:gd name="connsiteY3" fmla="*/ 29283 h 49690"/>
                                                    <a:gd name="connsiteX4" fmla="*/ 41727 w 43341"/>
                                                    <a:gd name="connsiteY4" fmla="*/ 9265 h 49690"/>
                                                    <a:gd name="connsiteX5" fmla="*/ 35248 w 43341"/>
                                                    <a:gd name="connsiteY5" fmla="*/ 713 h 49690"/>
                                                    <a:gd name="connsiteX6" fmla="*/ 33499 w 43341"/>
                                                    <a:gd name="connsiteY6" fmla="*/ 1814 h 49690"/>
                                                    <a:gd name="connsiteX7" fmla="*/ 27862 w 43341"/>
                                                    <a:gd name="connsiteY7" fmla="*/ 3628 h 49690"/>
                                                    <a:gd name="connsiteX8" fmla="*/ 16784 w 43341"/>
                                                    <a:gd name="connsiteY8" fmla="*/ 6284 h 49690"/>
                                                    <a:gd name="connsiteX9" fmla="*/ 12314 w 43341"/>
                                                    <a:gd name="connsiteY9" fmla="*/ 6867 h 49690"/>
                                                    <a:gd name="connsiteX10" fmla="*/ 6418 w 43341"/>
                                                    <a:gd name="connsiteY10" fmla="*/ 4276 h 49690"/>
                                                    <a:gd name="connsiteX11" fmla="*/ 847 w 43341"/>
                                                    <a:gd name="connsiteY11" fmla="*/ 0 h 49690"/>
                                                    <a:gd name="connsiteX12" fmla="*/ 69 w 43341"/>
                                                    <a:gd name="connsiteY12" fmla="*/ 8293 h 49690"/>
                                                    <a:gd name="connsiteX13" fmla="*/ 1494 w 43341"/>
                                                    <a:gd name="connsiteY13" fmla="*/ 13216 h 49690"/>
                                                    <a:gd name="connsiteX14" fmla="*/ 5187 w 43341"/>
                                                    <a:gd name="connsiteY14" fmla="*/ 24554 h 49690"/>
                                                    <a:gd name="connsiteX15" fmla="*/ 13415 w 43341"/>
                                                    <a:gd name="connsiteY15" fmla="*/ 34466 h 49690"/>
                                                    <a:gd name="connsiteX16" fmla="*/ 11731 w 43341"/>
                                                    <a:gd name="connsiteY16" fmla="*/ 49367 h 49690"/>
                                                    <a:gd name="connsiteX17" fmla="*/ 21384 w 43341"/>
                                                    <a:gd name="connsiteY17" fmla="*/ 49691 h 49690"/>
                                                    <a:gd name="connsiteX18" fmla="*/ 21578 w 43341"/>
                                                    <a:gd name="connsiteY18" fmla="*/ 49302 h 49690"/>
                                                    <a:gd name="connsiteX19" fmla="*/ 29612 w 43341"/>
                                                    <a:gd name="connsiteY19" fmla="*/ 44054 h 4969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3341" h="49690">
                                                      <a:moveTo>
                                                        <a:pt x="29741" y="44054"/>
                                                      </a:moveTo>
                                                      <a:cubicBezTo>
                                                        <a:pt x="32462" y="42370"/>
                                                        <a:pt x="34924" y="38936"/>
                                                        <a:pt x="33369" y="36086"/>
                                                      </a:cubicBezTo>
                                                      <a:cubicBezTo>
                                                        <a:pt x="32980" y="35373"/>
                                                        <a:pt x="32397" y="34790"/>
                                                        <a:pt x="32203" y="34013"/>
                                                      </a:cubicBezTo>
                                                      <a:cubicBezTo>
                                                        <a:pt x="31620" y="31680"/>
                                                        <a:pt x="34600" y="30385"/>
                                                        <a:pt x="36738" y="29283"/>
                                                      </a:cubicBezTo>
                                                      <a:cubicBezTo>
                                                        <a:pt x="43475" y="25785"/>
                                                        <a:pt x="44901" y="16196"/>
                                                        <a:pt x="41727" y="9265"/>
                                                      </a:cubicBezTo>
                                                      <a:cubicBezTo>
                                                        <a:pt x="40172" y="5960"/>
                                                        <a:pt x="37904" y="3175"/>
                                                        <a:pt x="35248" y="713"/>
                                                      </a:cubicBezTo>
                                                      <a:cubicBezTo>
                                                        <a:pt x="34665" y="1101"/>
                                                        <a:pt x="34147" y="1490"/>
                                                        <a:pt x="33499" y="1814"/>
                                                      </a:cubicBezTo>
                                                      <a:cubicBezTo>
                                                        <a:pt x="31685" y="2656"/>
                                                        <a:pt x="29741" y="3175"/>
                                                        <a:pt x="27862" y="3628"/>
                                                      </a:cubicBezTo>
                                                      <a:cubicBezTo>
                                                        <a:pt x="24169" y="4535"/>
                                                        <a:pt x="20477" y="5442"/>
                                                        <a:pt x="16784" y="6284"/>
                                                      </a:cubicBezTo>
                                                      <a:cubicBezTo>
                                                        <a:pt x="15294" y="6673"/>
                                                        <a:pt x="13804" y="6997"/>
                                                        <a:pt x="12314" y="6867"/>
                                                      </a:cubicBezTo>
                                                      <a:cubicBezTo>
                                                        <a:pt x="10176" y="6673"/>
                                                        <a:pt x="8232" y="5507"/>
                                                        <a:pt x="6418" y="4276"/>
                                                      </a:cubicBezTo>
                                                      <a:cubicBezTo>
                                                        <a:pt x="4475" y="2915"/>
                                                        <a:pt x="2661" y="1490"/>
                                                        <a:pt x="847" y="0"/>
                                                      </a:cubicBezTo>
                                                      <a:cubicBezTo>
                                                        <a:pt x="652" y="2786"/>
                                                        <a:pt x="-255" y="5507"/>
                                                        <a:pt x="69" y="8293"/>
                                                      </a:cubicBezTo>
                                                      <a:cubicBezTo>
                                                        <a:pt x="264" y="9977"/>
                                                        <a:pt x="912" y="11597"/>
                                                        <a:pt x="1494" y="13216"/>
                                                      </a:cubicBezTo>
                                                      <a:cubicBezTo>
                                                        <a:pt x="2920" y="16909"/>
                                                        <a:pt x="4151" y="20732"/>
                                                        <a:pt x="5187" y="24554"/>
                                                      </a:cubicBezTo>
                                                      <a:cubicBezTo>
                                                        <a:pt x="9463" y="25655"/>
                                                        <a:pt x="12573" y="29996"/>
                                                        <a:pt x="13415" y="34466"/>
                                                      </a:cubicBezTo>
                                                      <a:cubicBezTo>
                                                        <a:pt x="14322" y="39454"/>
                                                        <a:pt x="13027" y="44508"/>
                                                        <a:pt x="11731" y="49367"/>
                                                      </a:cubicBezTo>
                                                      <a:cubicBezTo>
                                                        <a:pt x="14970" y="49496"/>
                                                        <a:pt x="18209" y="49561"/>
                                                        <a:pt x="21384" y="49691"/>
                                                      </a:cubicBezTo>
                                                      <a:cubicBezTo>
                                                        <a:pt x="21449" y="49561"/>
                                                        <a:pt x="21513" y="49432"/>
                                                        <a:pt x="21578" y="49302"/>
                                                      </a:cubicBezTo>
                                                      <a:cubicBezTo>
                                                        <a:pt x="23522" y="46711"/>
                                                        <a:pt x="26890" y="45739"/>
                                                        <a:pt x="29612" y="4405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5" name="Freeform: Shape 42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503C8E2-CED8-4A53-8652-1568B23E784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745695" y="4406138"/>
                                                  <a:ext cx="244363" cy="29763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9364 w 244363"/>
                                                    <a:gd name="connsiteY0" fmla="*/ 88449 h 297638"/>
                                                    <a:gd name="connsiteX1" fmla="*/ 213404 w 244363"/>
                                                    <a:gd name="connsiteY1" fmla="*/ 87930 h 297638"/>
                                                    <a:gd name="connsiteX2" fmla="*/ 198633 w 244363"/>
                                                    <a:gd name="connsiteY2" fmla="*/ 68819 h 297638"/>
                                                    <a:gd name="connsiteX3" fmla="*/ 197661 w 244363"/>
                                                    <a:gd name="connsiteY3" fmla="*/ 57352 h 297638"/>
                                                    <a:gd name="connsiteX4" fmla="*/ 188202 w 244363"/>
                                                    <a:gd name="connsiteY4" fmla="*/ 54242 h 297638"/>
                                                    <a:gd name="connsiteX5" fmla="*/ 185222 w 244363"/>
                                                    <a:gd name="connsiteY5" fmla="*/ 47439 h 297638"/>
                                                    <a:gd name="connsiteX6" fmla="*/ 174144 w 244363"/>
                                                    <a:gd name="connsiteY6" fmla="*/ 44653 h 297638"/>
                                                    <a:gd name="connsiteX7" fmla="*/ 168961 w 244363"/>
                                                    <a:gd name="connsiteY7" fmla="*/ 36037 h 297638"/>
                                                    <a:gd name="connsiteX8" fmla="*/ 159502 w 244363"/>
                                                    <a:gd name="connsiteY8" fmla="*/ 34871 h 297638"/>
                                                    <a:gd name="connsiteX9" fmla="*/ 153995 w 244363"/>
                                                    <a:gd name="connsiteY9" fmla="*/ 24959 h 297638"/>
                                                    <a:gd name="connsiteX10" fmla="*/ 135596 w 244363"/>
                                                    <a:gd name="connsiteY10" fmla="*/ 18998 h 297638"/>
                                                    <a:gd name="connsiteX11" fmla="*/ 104564 w 244363"/>
                                                    <a:gd name="connsiteY11" fmla="*/ 8827 h 297638"/>
                                                    <a:gd name="connsiteX12" fmla="*/ 104952 w 244363"/>
                                                    <a:gd name="connsiteY12" fmla="*/ 10576 h 297638"/>
                                                    <a:gd name="connsiteX13" fmla="*/ 108257 w 244363"/>
                                                    <a:gd name="connsiteY13" fmla="*/ 19063 h 297638"/>
                                                    <a:gd name="connsiteX14" fmla="*/ 99446 w 244363"/>
                                                    <a:gd name="connsiteY14" fmla="*/ 21136 h 297638"/>
                                                    <a:gd name="connsiteX15" fmla="*/ 97114 w 244363"/>
                                                    <a:gd name="connsiteY15" fmla="*/ 22432 h 297638"/>
                                                    <a:gd name="connsiteX16" fmla="*/ 96854 w 244363"/>
                                                    <a:gd name="connsiteY16" fmla="*/ 25866 h 297638"/>
                                                    <a:gd name="connsiteX17" fmla="*/ 95235 w 244363"/>
                                                    <a:gd name="connsiteY17" fmla="*/ 29105 h 297638"/>
                                                    <a:gd name="connsiteX18" fmla="*/ 92902 w 244363"/>
                                                    <a:gd name="connsiteY18" fmla="*/ 30595 h 297638"/>
                                                    <a:gd name="connsiteX19" fmla="*/ 90959 w 244363"/>
                                                    <a:gd name="connsiteY19" fmla="*/ 39924 h 297638"/>
                                                    <a:gd name="connsiteX20" fmla="*/ 69255 w 244363"/>
                                                    <a:gd name="connsiteY20" fmla="*/ 42127 h 297638"/>
                                                    <a:gd name="connsiteX21" fmla="*/ 50792 w 244363"/>
                                                    <a:gd name="connsiteY21" fmla="*/ 41220 h 297638"/>
                                                    <a:gd name="connsiteX22" fmla="*/ 50533 w 244363"/>
                                                    <a:gd name="connsiteY22" fmla="*/ 19322 h 297638"/>
                                                    <a:gd name="connsiteX23" fmla="*/ 50727 w 244363"/>
                                                    <a:gd name="connsiteY23" fmla="*/ 17379 h 297638"/>
                                                    <a:gd name="connsiteX24" fmla="*/ 56558 w 244363"/>
                                                    <a:gd name="connsiteY24" fmla="*/ 15889 h 297638"/>
                                                    <a:gd name="connsiteX25" fmla="*/ 59084 w 244363"/>
                                                    <a:gd name="connsiteY25" fmla="*/ 10900 h 297638"/>
                                                    <a:gd name="connsiteX26" fmla="*/ 57141 w 244363"/>
                                                    <a:gd name="connsiteY26" fmla="*/ 5199 h 297638"/>
                                                    <a:gd name="connsiteX27" fmla="*/ 56428 w 244363"/>
                                                    <a:gd name="connsiteY27" fmla="*/ 2089 h 297638"/>
                                                    <a:gd name="connsiteX28" fmla="*/ 43730 w 244363"/>
                                                    <a:gd name="connsiteY28" fmla="*/ 405 h 297638"/>
                                                    <a:gd name="connsiteX29" fmla="*/ 34401 w 244363"/>
                                                    <a:gd name="connsiteY29" fmla="*/ 858 h 297638"/>
                                                    <a:gd name="connsiteX30" fmla="*/ 27987 w 244363"/>
                                                    <a:gd name="connsiteY30" fmla="*/ 7078 h 297638"/>
                                                    <a:gd name="connsiteX31" fmla="*/ 24942 w 244363"/>
                                                    <a:gd name="connsiteY31" fmla="*/ 11483 h 297638"/>
                                                    <a:gd name="connsiteX32" fmla="*/ 27339 w 244363"/>
                                                    <a:gd name="connsiteY32" fmla="*/ 20229 h 297638"/>
                                                    <a:gd name="connsiteX33" fmla="*/ 18334 w 244363"/>
                                                    <a:gd name="connsiteY33" fmla="*/ 41414 h 297638"/>
                                                    <a:gd name="connsiteX34" fmla="*/ 24813 w 244363"/>
                                                    <a:gd name="connsiteY34" fmla="*/ 49966 h 297638"/>
                                                    <a:gd name="connsiteX35" fmla="*/ 19824 w 244363"/>
                                                    <a:gd name="connsiteY35" fmla="*/ 69985 h 297638"/>
                                                    <a:gd name="connsiteX36" fmla="*/ 15289 w 244363"/>
                                                    <a:gd name="connsiteY36" fmla="*/ 74714 h 297638"/>
                                                    <a:gd name="connsiteX37" fmla="*/ 16455 w 244363"/>
                                                    <a:gd name="connsiteY37" fmla="*/ 76787 h 297638"/>
                                                    <a:gd name="connsiteX38" fmla="*/ 12827 w 244363"/>
                                                    <a:gd name="connsiteY38" fmla="*/ 84756 h 297638"/>
                                                    <a:gd name="connsiteX39" fmla="*/ 4794 w 244363"/>
                                                    <a:gd name="connsiteY39" fmla="*/ 90003 h 297638"/>
                                                    <a:gd name="connsiteX40" fmla="*/ 4599 w 244363"/>
                                                    <a:gd name="connsiteY40" fmla="*/ 90392 h 297638"/>
                                                    <a:gd name="connsiteX41" fmla="*/ 4923 w 244363"/>
                                                    <a:gd name="connsiteY41" fmla="*/ 90392 h 297638"/>
                                                    <a:gd name="connsiteX42" fmla="*/ 194 w 244363"/>
                                                    <a:gd name="connsiteY42" fmla="*/ 112290 h 297638"/>
                                                    <a:gd name="connsiteX43" fmla="*/ 5247 w 244363"/>
                                                    <a:gd name="connsiteY43" fmla="*/ 119935 h 297638"/>
                                                    <a:gd name="connsiteX44" fmla="*/ 5312 w 244363"/>
                                                    <a:gd name="connsiteY44" fmla="*/ 130430 h 297638"/>
                                                    <a:gd name="connsiteX45" fmla="*/ 10819 w 244363"/>
                                                    <a:gd name="connsiteY45" fmla="*/ 137427 h 297638"/>
                                                    <a:gd name="connsiteX46" fmla="*/ 9005 w 244363"/>
                                                    <a:gd name="connsiteY46" fmla="*/ 141703 h 297638"/>
                                                    <a:gd name="connsiteX47" fmla="*/ 17038 w 244363"/>
                                                    <a:gd name="connsiteY47" fmla="*/ 152716 h 297638"/>
                                                    <a:gd name="connsiteX48" fmla="*/ 17621 w 244363"/>
                                                    <a:gd name="connsiteY48" fmla="*/ 156279 h 297638"/>
                                                    <a:gd name="connsiteX49" fmla="*/ 25655 w 244363"/>
                                                    <a:gd name="connsiteY49" fmla="*/ 159454 h 297638"/>
                                                    <a:gd name="connsiteX50" fmla="*/ 28376 w 244363"/>
                                                    <a:gd name="connsiteY50" fmla="*/ 171698 h 297638"/>
                                                    <a:gd name="connsiteX51" fmla="*/ 33235 w 244363"/>
                                                    <a:gd name="connsiteY51" fmla="*/ 187182 h 297638"/>
                                                    <a:gd name="connsiteX52" fmla="*/ 36539 w 244363"/>
                                                    <a:gd name="connsiteY52" fmla="*/ 200528 h 297638"/>
                                                    <a:gd name="connsiteX53" fmla="*/ 44378 w 244363"/>
                                                    <a:gd name="connsiteY53" fmla="*/ 201759 h 297638"/>
                                                    <a:gd name="connsiteX54" fmla="*/ 46321 w 244363"/>
                                                    <a:gd name="connsiteY54" fmla="*/ 209728 h 297638"/>
                                                    <a:gd name="connsiteX55" fmla="*/ 54614 w 244363"/>
                                                    <a:gd name="connsiteY55" fmla="*/ 207914 h 297638"/>
                                                    <a:gd name="connsiteX56" fmla="*/ 70875 w 244363"/>
                                                    <a:gd name="connsiteY56" fmla="*/ 217502 h 297638"/>
                                                    <a:gd name="connsiteX57" fmla="*/ 77937 w 244363"/>
                                                    <a:gd name="connsiteY57" fmla="*/ 223462 h 297638"/>
                                                    <a:gd name="connsiteX58" fmla="*/ 86035 w 244363"/>
                                                    <a:gd name="connsiteY58" fmla="*/ 228451 h 297638"/>
                                                    <a:gd name="connsiteX59" fmla="*/ 87007 w 244363"/>
                                                    <a:gd name="connsiteY59" fmla="*/ 231496 h 297638"/>
                                                    <a:gd name="connsiteX60" fmla="*/ 92060 w 244363"/>
                                                    <a:gd name="connsiteY60" fmla="*/ 233698 h 297638"/>
                                                    <a:gd name="connsiteX61" fmla="*/ 115707 w 244363"/>
                                                    <a:gd name="connsiteY61" fmla="*/ 238881 h 297638"/>
                                                    <a:gd name="connsiteX62" fmla="*/ 120307 w 244363"/>
                                                    <a:gd name="connsiteY62" fmla="*/ 240954 h 297638"/>
                                                    <a:gd name="connsiteX63" fmla="*/ 122769 w 244363"/>
                                                    <a:gd name="connsiteY63" fmla="*/ 254041 h 297638"/>
                                                    <a:gd name="connsiteX64" fmla="*/ 127887 w 244363"/>
                                                    <a:gd name="connsiteY64" fmla="*/ 272246 h 297638"/>
                                                    <a:gd name="connsiteX65" fmla="*/ 129442 w 244363"/>
                                                    <a:gd name="connsiteY65" fmla="*/ 276068 h 297638"/>
                                                    <a:gd name="connsiteX66" fmla="*/ 128599 w 244363"/>
                                                    <a:gd name="connsiteY66" fmla="*/ 282158 h 297638"/>
                                                    <a:gd name="connsiteX67" fmla="*/ 127304 w 244363"/>
                                                    <a:gd name="connsiteY67" fmla="*/ 288118 h 297638"/>
                                                    <a:gd name="connsiteX68" fmla="*/ 142723 w 244363"/>
                                                    <a:gd name="connsiteY68" fmla="*/ 289349 h 297638"/>
                                                    <a:gd name="connsiteX69" fmla="*/ 160927 w 244363"/>
                                                    <a:gd name="connsiteY69" fmla="*/ 296994 h 297638"/>
                                                    <a:gd name="connsiteX70" fmla="*/ 189304 w 244363"/>
                                                    <a:gd name="connsiteY70" fmla="*/ 292459 h 297638"/>
                                                    <a:gd name="connsiteX71" fmla="*/ 224223 w 244363"/>
                                                    <a:gd name="connsiteY71" fmla="*/ 279955 h 297638"/>
                                                    <a:gd name="connsiteX72" fmla="*/ 242946 w 244363"/>
                                                    <a:gd name="connsiteY72" fmla="*/ 273542 h 297638"/>
                                                    <a:gd name="connsiteX73" fmla="*/ 234330 w 244363"/>
                                                    <a:gd name="connsiteY73" fmla="*/ 249312 h 297638"/>
                                                    <a:gd name="connsiteX74" fmla="*/ 221826 w 244363"/>
                                                    <a:gd name="connsiteY74" fmla="*/ 216789 h 297638"/>
                                                    <a:gd name="connsiteX75" fmla="*/ 243788 w 244363"/>
                                                    <a:gd name="connsiteY75" fmla="*/ 196641 h 297638"/>
                                                    <a:gd name="connsiteX76" fmla="*/ 234654 w 244363"/>
                                                    <a:gd name="connsiteY76" fmla="*/ 183619 h 297638"/>
                                                    <a:gd name="connsiteX77" fmla="*/ 217809 w 244363"/>
                                                    <a:gd name="connsiteY77" fmla="*/ 177853 h 297638"/>
                                                    <a:gd name="connsiteX78" fmla="*/ 212302 w 244363"/>
                                                    <a:gd name="connsiteY78" fmla="*/ 161203 h 297638"/>
                                                    <a:gd name="connsiteX79" fmla="*/ 229730 w 244363"/>
                                                    <a:gd name="connsiteY79" fmla="*/ 97648 h 297638"/>
                                                    <a:gd name="connsiteX80" fmla="*/ 223899 w 244363"/>
                                                    <a:gd name="connsiteY80" fmla="*/ 93372 h 297638"/>
                                                    <a:gd name="connsiteX81" fmla="*/ 219688 w 244363"/>
                                                    <a:gd name="connsiteY81" fmla="*/ 88384 h 29763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44363" h="297638">
                                                      <a:moveTo>
                                                        <a:pt x="219364" y="88449"/>
                                                      </a:moveTo>
                                                      <a:cubicBezTo>
                                                        <a:pt x="217680" y="87023"/>
                                                        <a:pt x="215023" y="86440"/>
                                                        <a:pt x="213404" y="87930"/>
                                                      </a:cubicBezTo>
                                                      <a:cubicBezTo>
                                                        <a:pt x="211395" y="79897"/>
                                                        <a:pt x="199345" y="77046"/>
                                                        <a:pt x="198633" y="68819"/>
                                                      </a:cubicBezTo>
                                                      <a:cubicBezTo>
                                                        <a:pt x="198309" y="64867"/>
                                                        <a:pt x="200641" y="60008"/>
                                                        <a:pt x="197661" y="57352"/>
                                                      </a:cubicBezTo>
                                                      <a:cubicBezTo>
                                                        <a:pt x="195134" y="55084"/>
                                                        <a:pt x="190535" y="56704"/>
                                                        <a:pt x="188202" y="54242"/>
                                                      </a:cubicBezTo>
                                                      <a:cubicBezTo>
                                                        <a:pt x="186453" y="52428"/>
                                                        <a:pt x="186907" y="49318"/>
                                                        <a:pt x="185222" y="47439"/>
                                                      </a:cubicBezTo>
                                                      <a:cubicBezTo>
                                                        <a:pt x="182566" y="44524"/>
                                                        <a:pt x="177254" y="46986"/>
                                                        <a:pt x="174144" y="44653"/>
                                                      </a:cubicBezTo>
                                                      <a:cubicBezTo>
                                                        <a:pt x="171423" y="42645"/>
                                                        <a:pt x="171747" y="37981"/>
                                                        <a:pt x="168961" y="36037"/>
                                                      </a:cubicBezTo>
                                                      <a:cubicBezTo>
                                                        <a:pt x="166305" y="34223"/>
                                                        <a:pt x="162547" y="35908"/>
                                                        <a:pt x="159502" y="34871"/>
                                                      </a:cubicBezTo>
                                                      <a:cubicBezTo>
                                                        <a:pt x="155745" y="33575"/>
                                                        <a:pt x="154579" y="28911"/>
                                                        <a:pt x="153995" y="24959"/>
                                                      </a:cubicBezTo>
                                                      <a:cubicBezTo>
                                                        <a:pt x="147646" y="27032"/>
                                                        <a:pt x="141362" y="22367"/>
                                                        <a:pt x="135596" y="18998"/>
                                                      </a:cubicBezTo>
                                                      <a:cubicBezTo>
                                                        <a:pt x="126202" y="13362"/>
                                                        <a:pt x="115448" y="10706"/>
                                                        <a:pt x="104564" y="8827"/>
                                                      </a:cubicBezTo>
                                                      <a:cubicBezTo>
                                                        <a:pt x="104564" y="9410"/>
                                                        <a:pt x="104758" y="9993"/>
                                                        <a:pt x="104952" y="10576"/>
                                                      </a:cubicBezTo>
                                                      <a:cubicBezTo>
                                                        <a:pt x="106054" y="13427"/>
                                                        <a:pt x="107155" y="16213"/>
                                                        <a:pt x="108257" y="19063"/>
                                                      </a:cubicBezTo>
                                                      <a:cubicBezTo>
                                                        <a:pt x="105276" y="19646"/>
                                                        <a:pt x="102361" y="20359"/>
                                                        <a:pt x="99446" y="21136"/>
                                                      </a:cubicBezTo>
                                                      <a:cubicBezTo>
                                                        <a:pt x="98539" y="21395"/>
                                                        <a:pt x="97567" y="21655"/>
                                                        <a:pt x="97114" y="22432"/>
                                                      </a:cubicBezTo>
                                                      <a:cubicBezTo>
                                                        <a:pt x="96466" y="23404"/>
                                                        <a:pt x="96854" y="24700"/>
                                                        <a:pt x="96854" y="25866"/>
                                                      </a:cubicBezTo>
                                                      <a:cubicBezTo>
                                                        <a:pt x="96854" y="27097"/>
                                                        <a:pt x="96207" y="28328"/>
                                                        <a:pt x="95235" y="29105"/>
                                                      </a:cubicBezTo>
                                                      <a:cubicBezTo>
                                                        <a:pt x="94522" y="29688"/>
                                                        <a:pt x="93615" y="30012"/>
                                                        <a:pt x="92902" y="30595"/>
                                                      </a:cubicBezTo>
                                                      <a:cubicBezTo>
                                                        <a:pt x="90246" y="32603"/>
                                                        <a:pt x="90505" y="36620"/>
                                                        <a:pt x="90959" y="39924"/>
                                                      </a:cubicBezTo>
                                                      <a:cubicBezTo>
                                                        <a:pt x="84415" y="43358"/>
                                                        <a:pt x="76576" y="41673"/>
                                                        <a:pt x="69255" y="42127"/>
                                                      </a:cubicBezTo>
                                                      <a:cubicBezTo>
                                                        <a:pt x="62971" y="42516"/>
                                                        <a:pt x="56169" y="44459"/>
                                                        <a:pt x="50792" y="41220"/>
                                                      </a:cubicBezTo>
                                                      <a:cubicBezTo>
                                                        <a:pt x="51180" y="33899"/>
                                                        <a:pt x="51116" y="26578"/>
                                                        <a:pt x="50533" y="19322"/>
                                                      </a:cubicBezTo>
                                                      <a:cubicBezTo>
                                                        <a:pt x="50533" y="18675"/>
                                                        <a:pt x="50403" y="17962"/>
                                                        <a:pt x="50727" y="17379"/>
                                                      </a:cubicBezTo>
                                                      <a:cubicBezTo>
                                                        <a:pt x="51699" y="15500"/>
                                                        <a:pt x="54549" y="16601"/>
                                                        <a:pt x="56558" y="15889"/>
                                                      </a:cubicBezTo>
                                                      <a:cubicBezTo>
                                                        <a:pt x="58436" y="15241"/>
                                                        <a:pt x="59343" y="12909"/>
                                                        <a:pt x="59084" y="10900"/>
                                                      </a:cubicBezTo>
                                                      <a:cubicBezTo>
                                                        <a:pt x="58890" y="8892"/>
                                                        <a:pt x="57854" y="7078"/>
                                                        <a:pt x="57141" y="5199"/>
                                                      </a:cubicBezTo>
                                                      <a:cubicBezTo>
                                                        <a:pt x="56752" y="4227"/>
                                                        <a:pt x="56493" y="3191"/>
                                                        <a:pt x="56428" y="2089"/>
                                                      </a:cubicBezTo>
                                                      <a:cubicBezTo>
                                                        <a:pt x="52217" y="1506"/>
                                                        <a:pt x="47941" y="923"/>
                                                        <a:pt x="43730" y="405"/>
                                                      </a:cubicBezTo>
                                                      <a:cubicBezTo>
                                                        <a:pt x="40620" y="16"/>
                                                        <a:pt x="37316" y="-437"/>
                                                        <a:pt x="34401" y="858"/>
                                                      </a:cubicBezTo>
                                                      <a:cubicBezTo>
                                                        <a:pt x="31680" y="2089"/>
                                                        <a:pt x="29736" y="4616"/>
                                                        <a:pt x="27987" y="7078"/>
                                                      </a:cubicBezTo>
                                                      <a:cubicBezTo>
                                                        <a:pt x="26951" y="8568"/>
                                                        <a:pt x="25914" y="9993"/>
                                                        <a:pt x="24942" y="11483"/>
                                                      </a:cubicBezTo>
                                                      <a:cubicBezTo>
                                                        <a:pt x="27080" y="13621"/>
                                                        <a:pt x="27469" y="17120"/>
                                                        <a:pt x="27339" y="20229"/>
                                                      </a:cubicBezTo>
                                                      <a:cubicBezTo>
                                                        <a:pt x="27015" y="28198"/>
                                                        <a:pt x="24748" y="37074"/>
                                                        <a:pt x="18334" y="41414"/>
                                                      </a:cubicBezTo>
                                                      <a:cubicBezTo>
                                                        <a:pt x="20990" y="43876"/>
                                                        <a:pt x="23323" y="46662"/>
                                                        <a:pt x="24813" y="49966"/>
                                                      </a:cubicBezTo>
                                                      <a:cubicBezTo>
                                                        <a:pt x="27987" y="56833"/>
                                                        <a:pt x="26562" y="66486"/>
                                                        <a:pt x="19824" y="69985"/>
                                                      </a:cubicBezTo>
                                                      <a:cubicBezTo>
                                                        <a:pt x="17686" y="71086"/>
                                                        <a:pt x="14706" y="72382"/>
                                                        <a:pt x="15289" y="74714"/>
                                                      </a:cubicBezTo>
                                                      <a:cubicBezTo>
                                                        <a:pt x="15483" y="75492"/>
                                                        <a:pt x="16067" y="76075"/>
                                                        <a:pt x="16455" y="76787"/>
                                                      </a:cubicBezTo>
                                                      <a:cubicBezTo>
                                                        <a:pt x="17945" y="79638"/>
                                                        <a:pt x="15548" y="83072"/>
                                                        <a:pt x="12827" y="84756"/>
                                                      </a:cubicBezTo>
                                                      <a:cubicBezTo>
                                                        <a:pt x="10106" y="86440"/>
                                                        <a:pt x="6737" y="87412"/>
                                                        <a:pt x="4794" y="90003"/>
                                                      </a:cubicBezTo>
                                                      <a:cubicBezTo>
                                                        <a:pt x="4729" y="90133"/>
                                                        <a:pt x="4664" y="90263"/>
                                                        <a:pt x="4599" y="90392"/>
                                                      </a:cubicBezTo>
                                                      <a:cubicBezTo>
                                                        <a:pt x="4729" y="90392"/>
                                                        <a:pt x="4794" y="90392"/>
                                                        <a:pt x="4923" y="90392"/>
                                                      </a:cubicBezTo>
                                                      <a:cubicBezTo>
                                                        <a:pt x="2073" y="97389"/>
                                                        <a:pt x="-778" y="104775"/>
                                                        <a:pt x="194" y="112290"/>
                                                      </a:cubicBezTo>
                                                      <a:cubicBezTo>
                                                        <a:pt x="3692" y="111512"/>
                                                        <a:pt x="5766" y="116371"/>
                                                        <a:pt x="5247" y="119935"/>
                                                      </a:cubicBezTo>
                                                      <a:cubicBezTo>
                                                        <a:pt x="4729" y="123498"/>
                                                        <a:pt x="3304" y="127450"/>
                                                        <a:pt x="5312" y="130430"/>
                                                      </a:cubicBezTo>
                                                      <a:cubicBezTo>
                                                        <a:pt x="7061" y="132956"/>
                                                        <a:pt x="11143" y="134382"/>
                                                        <a:pt x="10819" y="137427"/>
                                                      </a:cubicBezTo>
                                                      <a:cubicBezTo>
                                                        <a:pt x="10689" y="138982"/>
                                                        <a:pt x="9329" y="140148"/>
                                                        <a:pt x="9005" y="141703"/>
                                                      </a:cubicBezTo>
                                                      <a:cubicBezTo>
                                                        <a:pt x="8033" y="146367"/>
                                                        <a:pt x="16131" y="148052"/>
                                                        <a:pt x="17038" y="152716"/>
                                                      </a:cubicBezTo>
                                                      <a:cubicBezTo>
                                                        <a:pt x="17298" y="153947"/>
                                                        <a:pt x="17038" y="155243"/>
                                                        <a:pt x="17621" y="156279"/>
                                                      </a:cubicBezTo>
                                                      <a:cubicBezTo>
                                                        <a:pt x="19111" y="158871"/>
                                                        <a:pt x="23970" y="156992"/>
                                                        <a:pt x="25655" y="159454"/>
                                                      </a:cubicBezTo>
                                                      <a:cubicBezTo>
                                                        <a:pt x="24294" y="163535"/>
                                                        <a:pt x="26627" y="167811"/>
                                                        <a:pt x="28376" y="171698"/>
                                                      </a:cubicBezTo>
                                                      <a:cubicBezTo>
                                                        <a:pt x="30579" y="176622"/>
                                                        <a:pt x="31939" y="181934"/>
                                                        <a:pt x="33235" y="187182"/>
                                                      </a:cubicBezTo>
                                                      <a:cubicBezTo>
                                                        <a:pt x="34336" y="191652"/>
                                                        <a:pt x="35438" y="196058"/>
                                                        <a:pt x="36539" y="200528"/>
                                                      </a:cubicBezTo>
                                                      <a:cubicBezTo>
                                                        <a:pt x="39001" y="199038"/>
                                                        <a:pt x="42370" y="199686"/>
                                                        <a:pt x="44378" y="201759"/>
                                                      </a:cubicBezTo>
                                                      <a:cubicBezTo>
                                                        <a:pt x="46386" y="203832"/>
                                                        <a:pt x="46969" y="206942"/>
                                                        <a:pt x="46321" y="209728"/>
                                                      </a:cubicBezTo>
                                                      <a:cubicBezTo>
                                                        <a:pt x="49107" y="209144"/>
                                                        <a:pt x="51893" y="208497"/>
                                                        <a:pt x="54614" y="207914"/>
                                                      </a:cubicBezTo>
                                                      <a:cubicBezTo>
                                                        <a:pt x="56169" y="214781"/>
                                                        <a:pt x="64138" y="219445"/>
                                                        <a:pt x="70875" y="217502"/>
                                                      </a:cubicBezTo>
                                                      <a:cubicBezTo>
                                                        <a:pt x="71005" y="220806"/>
                                                        <a:pt x="74762" y="222620"/>
                                                        <a:pt x="77937" y="223462"/>
                                                      </a:cubicBezTo>
                                                      <a:cubicBezTo>
                                                        <a:pt x="81176" y="224305"/>
                                                        <a:pt x="84934" y="225341"/>
                                                        <a:pt x="86035" y="228451"/>
                                                      </a:cubicBezTo>
                                                      <a:cubicBezTo>
                                                        <a:pt x="86424" y="229422"/>
                                                        <a:pt x="86424" y="230589"/>
                                                        <a:pt x="87007" y="231496"/>
                                                      </a:cubicBezTo>
                                                      <a:cubicBezTo>
                                                        <a:pt x="87979" y="233115"/>
                                                        <a:pt x="90182" y="233439"/>
                                                        <a:pt x="92060" y="233698"/>
                                                      </a:cubicBezTo>
                                                      <a:cubicBezTo>
                                                        <a:pt x="100094" y="234670"/>
                                                        <a:pt x="107998" y="236419"/>
                                                        <a:pt x="115707" y="238881"/>
                                                      </a:cubicBezTo>
                                                      <a:cubicBezTo>
                                                        <a:pt x="117327" y="239399"/>
                                                        <a:pt x="118946" y="239983"/>
                                                        <a:pt x="120307" y="240954"/>
                                                      </a:cubicBezTo>
                                                      <a:cubicBezTo>
                                                        <a:pt x="124323" y="243740"/>
                                                        <a:pt x="125490" y="249959"/>
                                                        <a:pt x="122769" y="254041"/>
                                                      </a:cubicBezTo>
                                                      <a:cubicBezTo>
                                                        <a:pt x="122898" y="259677"/>
                                                        <a:pt x="125425" y="267257"/>
                                                        <a:pt x="127887" y="272246"/>
                                                      </a:cubicBezTo>
                                                      <a:cubicBezTo>
                                                        <a:pt x="128470" y="273477"/>
                                                        <a:pt x="129182" y="274708"/>
                                                        <a:pt x="129442" y="276068"/>
                                                      </a:cubicBezTo>
                                                      <a:cubicBezTo>
                                                        <a:pt x="129830" y="278077"/>
                                                        <a:pt x="129182" y="280150"/>
                                                        <a:pt x="128599" y="282158"/>
                                                      </a:cubicBezTo>
                                                      <a:cubicBezTo>
                                                        <a:pt x="128016" y="284102"/>
                                                        <a:pt x="127757" y="286175"/>
                                                        <a:pt x="127304" y="288118"/>
                                                      </a:cubicBezTo>
                                                      <a:cubicBezTo>
                                                        <a:pt x="132098" y="286434"/>
                                                        <a:pt x="137864" y="287406"/>
                                                        <a:pt x="142723" y="289349"/>
                                                      </a:cubicBezTo>
                                                      <a:cubicBezTo>
                                                        <a:pt x="148813" y="291811"/>
                                                        <a:pt x="154514" y="295569"/>
                                                        <a:pt x="160927" y="296994"/>
                                                      </a:cubicBezTo>
                                                      <a:cubicBezTo>
                                                        <a:pt x="170451" y="299067"/>
                                                        <a:pt x="180169" y="295763"/>
                                                        <a:pt x="189304" y="292459"/>
                                                      </a:cubicBezTo>
                                                      <a:cubicBezTo>
                                                        <a:pt x="200965" y="288312"/>
                                                        <a:pt x="212561" y="284102"/>
                                                        <a:pt x="224223" y="279955"/>
                                                      </a:cubicBezTo>
                                                      <a:cubicBezTo>
                                                        <a:pt x="230378" y="277753"/>
                                                        <a:pt x="236597" y="275550"/>
                                                        <a:pt x="242946" y="273542"/>
                                                      </a:cubicBezTo>
                                                      <a:cubicBezTo>
                                                        <a:pt x="241002" y="265184"/>
                                                        <a:pt x="238152" y="257021"/>
                                                        <a:pt x="234330" y="249312"/>
                                                      </a:cubicBezTo>
                                                      <a:cubicBezTo>
                                                        <a:pt x="229082" y="238816"/>
                                                        <a:pt x="222085" y="228515"/>
                                                        <a:pt x="221826" y="216789"/>
                                                      </a:cubicBezTo>
                                                      <a:cubicBezTo>
                                                        <a:pt x="221632" y="205063"/>
                                                        <a:pt x="232839" y="192365"/>
                                                        <a:pt x="243788" y="196641"/>
                                                      </a:cubicBezTo>
                                                      <a:cubicBezTo>
                                                        <a:pt x="246250" y="191134"/>
                                                        <a:pt x="240355" y="185368"/>
                                                        <a:pt x="234654" y="183619"/>
                                                      </a:cubicBezTo>
                                                      <a:cubicBezTo>
                                                        <a:pt x="228888" y="181870"/>
                                                        <a:pt x="222344" y="181740"/>
                                                        <a:pt x="217809" y="177853"/>
                                                      </a:cubicBezTo>
                                                      <a:cubicBezTo>
                                                        <a:pt x="213274" y="173901"/>
                                                        <a:pt x="212302" y="167228"/>
                                                        <a:pt x="212302" y="161203"/>
                                                      </a:cubicBezTo>
                                                      <a:cubicBezTo>
                                                        <a:pt x="212302" y="139046"/>
                                                        <a:pt x="220919" y="117991"/>
                                                        <a:pt x="229730" y="97648"/>
                                                      </a:cubicBezTo>
                                                      <a:cubicBezTo>
                                                        <a:pt x="227721" y="96288"/>
                                                        <a:pt x="225583" y="95122"/>
                                                        <a:pt x="223899" y="93372"/>
                                                      </a:cubicBezTo>
                                                      <a:cubicBezTo>
                                                        <a:pt x="222409" y="91818"/>
                                                        <a:pt x="221308" y="89809"/>
                                                        <a:pt x="219688" y="8838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6" name="Freeform: Shape 42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930C39A-E4D1-4FB2-B3BE-0B0EDE9174D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745008" y="4279062"/>
                                                  <a:ext cx="136466" cy="13862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25205 w 136466"/>
                                                    <a:gd name="connsiteY0" fmla="*/ 70794 h 138624"/>
                                                    <a:gd name="connsiteX1" fmla="*/ 125982 w 136466"/>
                                                    <a:gd name="connsiteY1" fmla="*/ 60234 h 138624"/>
                                                    <a:gd name="connsiteX2" fmla="*/ 132202 w 136466"/>
                                                    <a:gd name="connsiteY2" fmla="*/ 50646 h 138624"/>
                                                    <a:gd name="connsiteX3" fmla="*/ 132655 w 136466"/>
                                                    <a:gd name="connsiteY3" fmla="*/ 45204 h 138624"/>
                                                    <a:gd name="connsiteX4" fmla="*/ 136348 w 136466"/>
                                                    <a:gd name="connsiteY4" fmla="*/ 34838 h 138624"/>
                                                    <a:gd name="connsiteX5" fmla="*/ 130906 w 136466"/>
                                                    <a:gd name="connsiteY5" fmla="*/ 27388 h 138624"/>
                                                    <a:gd name="connsiteX6" fmla="*/ 129740 w 136466"/>
                                                    <a:gd name="connsiteY6" fmla="*/ 17346 h 138624"/>
                                                    <a:gd name="connsiteX7" fmla="*/ 121059 w 136466"/>
                                                    <a:gd name="connsiteY7" fmla="*/ 9831 h 138624"/>
                                                    <a:gd name="connsiteX8" fmla="*/ 118208 w 136466"/>
                                                    <a:gd name="connsiteY8" fmla="*/ 4000 h 138624"/>
                                                    <a:gd name="connsiteX9" fmla="*/ 104150 w 136466"/>
                                                    <a:gd name="connsiteY9" fmla="*/ 2316 h 138624"/>
                                                    <a:gd name="connsiteX10" fmla="*/ 34375 w 136466"/>
                                                    <a:gd name="connsiteY10" fmla="*/ 2510 h 138624"/>
                                                    <a:gd name="connsiteX11" fmla="*/ 34440 w 136466"/>
                                                    <a:gd name="connsiteY11" fmla="*/ 14301 h 138624"/>
                                                    <a:gd name="connsiteX12" fmla="*/ 28674 w 136466"/>
                                                    <a:gd name="connsiteY12" fmla="*/ 20132 h 138624"/>
                                                    <a:gd name="connsiteX13" fmla="*/ 40595 w 136466"/>
                                                    <a:gd name="connsiteY13" fmla="*/ 45204 h 138624"/>
                                                    <a:gd name="connsiteX14" fmla="*/ 34505 w 136466"/>
                                                    <a:gd name="connsiteY14" fmla="*/ 52136 h 138624"/>
                                                    <a:gd name="connsiteX15" fmla="*/ 428 w 136466"/>
                                                    <a:gd name="connsiteY15" fmla="*/ 130138 h 138624"/>
                                                    <a:gd name="connsiteX16" fmla="*/ 622 w 136466"/>
                                                    <a:gd name="connsiteY16" fmla="*/ 135968 h 138624"/>
                                                    <a:gd name="connsiteX17" fmla="*/ 19863 w 136466"/>
                                                    <a:gd name="connsiteY17" fmla="*/ 136552 h 138624"/>
                                                    <a:gd name="connsiteX18" fmla="*/ 24463 w 136466"/>
                                                    <a:gd name="connsiteY18" fmla="*/ 137782 h 138624"/>
                                                    <a:gd name="connsiteX19" fmla="*/ 25305 w 136466"/>
                                                    <a:gd name="connsiteY19" fmla="*/ 138625 h 138624"/>
                                                    <a:gd name="connsiteX20" fmla="*/ 28350 w 136466"/>
                                                    <a:gd name="connsiteY20" fmla="*/ 134219 h 138624"/>
                                                    <a:gd name="connsiteX21" fmla="*/ 34764 w 136466"/>
                                                    <a:gd name="connsiteY21" fmla="*/ 128000 h 138624"/>
                                                    <a:gd name="connsiteX22" fmla="*/ 44093 w 136466"/>
                                                    <a:gd name="connsiteY22" fmla="*/ 127546 h 138624"/>
                                                    <a:gd name="connsiteX23" fmla="*/ 56791 w 136466"/>
                                                    <a:gd name="connsiteY23" fmla="*/ 129231 h 138624"/>
                                                    <a:gd name="connsiteX24" fmla="*/ 57245 w 136466"/>
                                                    <a:gd name="connsiteY24" fmla="*/ 126445 h 138624"/>
                                                    <a:gd name="connsiteX25" fmla="*/ 62363 w 136466"/>
                                                    <a:gd name="connsiteY25" fmla="*/ 109601 h 138624"/>
                                                    <a:gd name="connsiteX26" fmla="*/ 71886 w 136466"/>
                                                    <a:gd name="connsiteY26" fmla="*/ 106297 h 138624"/>
                                                    <a:gd name="connsiteX27" fmla="*/ 72793 w 136466"/>
                                                    <a:gd name="connsiteY27" fmla="*/ 96255 h 138624"/>
                                                    <a:gd name="connsiteX28" fmla="*/ 93913 w 136466"/>
                                                    <a:gd name="connsiteY28" fmla="*/ 95996 h 138624"/>
                                                    <a:gd name="connsiteX29" fmla="*/ 100522 w 136466"/>
                                                    <a:gd name="connsiteY29" fmla="*/ 94635 h 138624"/>
                                                    <a:gd name="connsiteX30" fmla="*/ 104214 w 136466"/>
                                                    <a:gd name="connsiteY30" fmla="*/ 95089 h 138624"/>
                                                    <a:gd name="connsiteX31" fmla="*/ 108685 w 136466"/>
                                                    <a:gd name="connsiteY31" fmla="*/ 96190 h 138624"/>
                                                    <a:gd name="connsiteX32" fmla="*/ 109656 w 136466"/>
                                                    <a:gd name="connsiteY32" fmla="*/ 93145 h 138624"/>
                                                    <a:gd name="connsiteX33" fmla="*/ 125140 w 136466"/>
                                                    <a:gd name="connsiteY33" fmla="*/ 70600 h 13862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36466" h="138624">
                                                      <a:moveTo>
                                                        <a:pt x="125205" y="70794"/>
                                                      </a:moveTo>
                                                      <a:cubicBezTo>
                                                        <a:pt x="122419" y="68138"/>
                                                        <a:pt x="123715" y="63344"/>
                                                        <a:pt x="125982" y="60234"/>
                                                      </a:cubicBezTo>
                                                      <a:cubicBezTo>
                                                        <a:pt x="128250" y="57124"/>
                                                        <a:pt x="131424" y="54403"/>
                                                        <a:pt x="132202" y="50646"/>
                                                      </a:cubicBezTo>
                                                      <a:cubicBezTo>
                                                        <a:pt x="132591" y="48832"/>
                                                        <a:pt x="132396" y="47018"/>
                                                        <a:pt x="132655" y="45204"/>
                                                      </a:cubicBezTo>
                                                      <a:cubicBezTo>
                                                        <a:pt x="133238" y="41576"/>
                                                        <a:pt x="135635" y="38466"/>
                                                        <a:pt x="136348" y="34838"/>
                                                      </a:cubicBezTo>
                                                      <a:cubicBezTo>
                                                        <a:pt x="137061" y="31210"/>
                                                        <a:pt x="134469" y="26481"/>
                                                        <a:pt x="130906" y="27388"/>
                                                      </a:cubicBezTo>
                                                      <a:cubicBezTo>
                                                        <a:pt x="134016" y="25055"/>
                                                        <a:pt x="132526" y="20002"/>
                                                        <a:pt x="129740" y="17346"/>
                                                      </a:cubicBezTo>
                                                      <a:cubicBezTo>
                                                        <a:pt x="126954" y="14690"/>
                                                        <a:pt x="123132" y="13070"/>
                                                        <a:pt x="121059" y="9831"/>
                                                      </a:cubicBezTo>
                                                      <a:cubicBezTo>
                                                        <a:pt x="119892" y="8017"/>
                                                        <a:pt x="119374" y="5814"/>
                                                        <a:pt x="118208" y="4000"/>
                                                      </a:cubicBezTo>
                                                      <a:cubicBezTo>
                                                        <a:pt x="115292" y="-535"/>
                                                        <a:pt x="108037" y="-1377"/>
                                                        <a:pt x="104150" y="2316"/>
                                                      </a:cubicBezTo>
                                                      <a:lnTo>
                                                        <a:pt x="34375" y="2510"/>
                                                      </a:lnTo>
                                                      <a:cubicBezTo>
                                                        <a:pt x="36448" y="6268"/>
                                                        <a:pt x="37096" y="10997"/>
                                                        <a:pt x="34440" y="14301"/>
                                                      </a:cubicBezTo>
                                                      <a:cubicBezTo>
                                                        <a:pt x="32756" y="16504"/>
                                                        <a:pt x="29970" y="17735"/>
                                                        <a:pt x="28674" y="20132"/>
                                                      </a:cubicBezTo>
                                                      <a:cubicBezTo>
                                                        <a:pt x="24074" y="28878"/>
                                                        <a:pt x="43057" y="35615"/>
                                                        <a:pt x="40595" y="45204"/>
                                                      </a:cubicBezTo>
                                                      <a:cubicBezTo>
                                                        <a:pt x="39817" y="48249"/>
                                                        <a:pt x="37032" y="50257"/>
                                                        <a:pt x="34505" y="52136"/>
                                                      </a:cubicBezTo>
                                                      <a:cubicBezTo>
                                                        <a:pt x="10793" y="69952"/>
                                                        <a:pt x="-2617" y="100660"/>
                                                        <a:pt x="428" y="130138"/>
                                                      </a:cubicBezTo>
                                                      <a:cubicBezTo>
                                                        <a:pt x="622" y="132017"/>
                                                        <a:pt x="751" y="134025"/>
                                                        <a:pt x="622" y="135968"/>
                                                      </a:cubicBezTo>
                                                      <a:cubicBezTo>
                                                        <a:pt x="7036" y="135709"/>
                                                        <a:pt x="13450" y="135968"/>
                                                        <a:pt x="19863" y="136552"/>
                                                      </a:cubicBezTo>
                                                      <a:cubicBezTo>
                                                        <a:pt x="21483" y="136681"/>
                                                        <a:pt x="23103" y="136940"/>
                                                        <a:pt x="24463" y="137782"/>
                                                      </a:cubicBezTo>
                                                      <a:cubicBezTo>
                                                        <a:pt x="24787" y="137977"/>
                                                        <a:pt x="25046" y="138366"/>
                                                        <a:pt x="25305" y="138625"/>
                                                      </a:cubicBezTo>
                                                      <a:cubicBezTo>
                                                        <a:pt x="26277" y="137135"/>
                                                        <a:pt x="27314" y="135645"/>
                                                        <a:pt x="28350" y="134219"/>
                                                      </a:cubicBezTo>
                                                      <a:cubicBezTo>
                                                        <a:pt x="30100" y="131757"/>
                                                        <a:pt x="31978" y="129231"/>
                                                        <a:pt x="34764" y="128000"/>
                                                      </a:cubicBezTo>
                                                      <a:cubicBezTo>
                                                        <a:pt x="37614" y="126704"/>
                                                        <a:pt x="40919" y="127093"/>
                                                        <a:pt x="44093" y="127546"/>
                                                      </a:cubicBezTo>
                                                      <a:cubicBezTo>
                                                        <a:pt x="48304" y="128129"/>
                                                        <a:pt x="52580" y="128713"/>
                                                        <a:pt x="56791" y="129231"/>
                                                      </a:cubicBezTo>
                                                      <a:cubicBezTo>
                                                        <a:pt x="56726" y="128259"/>
                                                        <a:pt x="56791" y="127352"/>
                                                        <a:pt x="57245" y="126445"/>
                                                      </a:cubicBezTo>
                                                      <a:cubicBezTo>
                                                        <a:pt x="61780" y="122299"/>
                                                        <a:pt x="63788" y="115561"/>
                                                        <a:pt x="62363" y="109601"/>
                                                      </a:cubicBezTo>
                                                      <a:cubicBezTo>
                                                        <a:pt x="65602" y="108629"/>
                                                        <a:pt x="69554" y="108823"/>
                                                        <a:pt x="71886" y="106297"/>
                                                      </a:cubicBezTo>
                                                      <a:cubicBezTo>
                                                        <a:pt x="74219" y="103705"/>
                                                        <a:pt x="73570" y="99688"/>
                                                        <a:pt x="72793" y="96255"/>
                                                      </a:cubicBezTo>
                                                      <a:cubicBezTo>
                                                        <a:pt x="79725" y="97939"/>
                                                        <a:pt x="87046" y="97810"/>
                                                        <a:pt x="93913" y="95996"/>
                                                      </a:cubicBezTo>
                                                      <a:cubicBezTo>
                                                        <a:pt x="96116" y="95413"/>
                                                        <a:pt x="98254" y="94700"/>
                                                        <a:pt x="100522" y="94635"/>
                                                      </a:cubicBezTo>
                                                      <a:cubicBezTo>
                                                        <a:pt x="101752" y="94635"/>
                                                        <a:pt x="102983" y="94830"/>
                                                        <a:pt x="104214" y="95089"/>
                                                      </a:cubicBezTo>
                                                      <a:cubicBezTo>
                                                        <a:pt x="105704" y="95413"/>
                                                        <a:pt x="107194" y="95801"/>
                                                        <a:pt x="108685" y="96190"/>
                                                      </a:cubicBezTo>
                                                      <a:cubicBezTo>
                                                        <a:pt x="109008" y="95154"/>
                                                        <a:pt x="109332" y="94182"/>
                                                        <a:pt x="109656" y="93145"/>
                                                      </a:cubicBezTo>
                                                      <a:cubicBezTo>
                                                        <a:pt x="112377" y="84140"/>
                                                        <a:pt x="116329" y="74033"/>
                                                        <a:pt x="125140" y="7060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7" name="Freeform: Shape 42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EC7BA8B-097C-4835-A624-175DDF9D6058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850130" y="4249023"/>
                                                  <a:ext cx="198762" cy="25495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75828 w 198762"/>
                                                    <a:gd name="connsiteY0" fmla="*/ 154605 h 254958"/>
                                                    <a:gd name="connsiteX1" fmla="*/ 176152 w 198762"/>
                                                    <a:gd name="connsiteY1" fmla="*/ 69477 h 254958"/>
                                                    <a:gd name="connsiteX2" fmla="*/ 177577 w 198762"/>
                                                    <a:gd name="connsiteY2" fmla="*/ 59370 h 254958"/>
                                                    <a:gd name="connsiteX3" fmla="*/ 183084 w 198762"/>
                                                    <a:gd name="connsiteY3" fmla="*/ 50171 h 254958"/>
                                                    <a:gd name="connsiteX4" fmla="*/ 183862 w 198762"/>
                                                    <a:gd name="connsiteY4" fmla="*/ 46089 h 254958"/>
                                                    <a:gd name="connsiteX5" fmla="*/ 187295 w 198762"/>
                                                    <a:gd name="connsiteY5" fmla="*/ 41490 h 254958"/>
                                                    <a:gd name="connsiteX6" fmla="*/ 198763 w 198762"/>
                                                    <a:gd name="connsiteY6" fmla="*/ 23350 h 254958"/>
                                                    <a:gd name="connsiteX7" fmla="*/ 189045 w 198762"/>
                                                    <a:gd name="connsiteY7" fmla="*/ 21924 h 254958"/>
                                                    <a:gd name="connsiteX8" fmla="*/ 180039 w 198762"/>
                                                    <a:gd name="connsiteY8" fmla="*/ 16936 h 254958"/>
                                                    <a:gd name="connsiteX9" fmla="*/ 162482 w 198762"/>
                                                    <a:gd name="connsiteY9" fmla="*/ 23350 h 254958"/>
                                                    <a:gd name="connsiteX10" fmla="*/ 152246 w 198762"/>
                                                    <a:gd name="connsiteY10" fmla="*/ 28986 h 254958"/>
                                                    <a:gd name="connsiteX11" fmla="*/ 152246 w 198762"/>
                                                    <a:gd name="connsiteY11" fmla="*/ 33651 h 254958"/>
                                                    <a:gd name="connsiteX12" fmla="*/ 144278 w 198762"/>
                                                    <a:gd name="connsiteY12" fmla="*/ 34946 h 254958"/>
                                                    <a:gd name="connsiteX13" fmla="*/ 138123 w 198762"/>
                                                    <a:gd name="connsiteY13" fmla="*/ 42008 h 254958"/>
                                                    <a:gd name="connsiteX14" fmla="*/ 123482 w 198762"/>
                                                    <a:gd name="connsiteY14" fmla="*/ 43304 h 254958"/>
                                                    <a:gd name="connsiteX15" fmla="*/ 118428 w 198762"/>
                                                    <a:gd name="connsiteY15" fmla="*/ 42721 h 254958"/>
                                                    <a:gd name="connsiteX16" fmla="*/ 114865 w 198762"/>
                                                    <a:gd name="connsiteY16" fmla="*/ 38509 h 254958"/>
                                                    <a:gd name="connsiteX17" fmla="*/ 100353 w 198762"/>
                                                    <a:gd name="connsiteY17" fmla="*/ 33456 h 254958"/>
                                                    <a:gd name="connsiteX18" fmla="*/ 94911 w 198762"/>
                                                    <a:gd name="connsiteY18" fmla="*/ 27301 h 254958"/>
                                                    <a:gd name="connsiteX19" fmla="*/ 85906 w 198762"/>
                                                    <a:gd name="connsiteY19" fmla="*/ 25423 h 254958"/>
                                                    <a:gd name="connsiteX20" fmla="*/ 82083 w 198762"/>
                                                    <a:gd name="connsiteY20" fmla="*/ 13761 h 254958"/>
                                                    <a:gd name="connsiteX21" fmla="*/ 54614 w 198762"/>
                                                    <a:gd name="connsiteY21" fmla="*/ 10587 h 254958"/>
                                                    <a:gd name="connsiteX22" fmla="*/ 49755 w 198762"/>
                                                    <a:gd name="connsiteY22" fmla="*/ 5339 h 254958"/>
                                                    <a:gd name="connsiteX23" fmla="*/ 31745 w 198762"/>
                                                    <a:gd name="connsiteY23" fmla="*/ 610 h 254958"/>
                                                    <a:gd name="connsiteX24" fmla="*/ 23970 w 198762"/>
                                                    <a:gd name="connsiteY24" fmla="*/ 5663 h 254958"/>
                                                    <a:gd name="connsiteX25" fmla="*/ 14253 w 198762"/>
                                                    <a:gd name="connsiteY25" fmla="*/ 8384 h 254958"/>
                                                    <a:gd name="connsiteX26" fmla="*/ 13281 w 198762"/>
                                                    <a:gd name="connsiteY26" fmla="*/ 13113 h 254958"/>
                                                    <a:gd name="connsiteX27" fmla="*/ 5377 w 198762"/>
                                                    <a:gd name="connsiteY27" fmla="*/ 18426 h 254958"/>
                                                    <a:gd name="connsiteX28" fmla="*/ 3692 w 198762"/>
                                                    <a:gd name="connsiteY28" fmla="*/ 23285 h 254958"/>
                                                    <a:gd name="connsiteX29" fmla="*/ 3174 w 198762"/>
                                                    <a:gd name="connsiteY29" fmla="*/ 30346 h 254958"/>
                                                    <a:gd name="connsiteX30" fmla="*/ 13086 w 198762"/>
                                                    <a:gd name="connsiteY30" fmla="*/ 34039 h 254958"/>
                                                    <a:gd name="connsiteX31" fmla="*/ 15937 w 198762"/>
                                                    <a:gd name="connsiteY31" fmla="*/ 39870 h 254958"/>
                                                    <a:gd name="connsiteX32" fmla="*/ 24618 w 198762"/>
                                                    <a:gd name="connsiteY32" fmla="*/ 47385 h 254958"/>
                                                    <a:gd name="connsiteX33" fmla="*/ 25785 w 198762"/>
                                                    <a:gd name="connsiteY33" fmla="*/ 57427 h 254958"/>
                                                    <a:gd name="connsiteX34" fmla="*/ 31226 w 198762"/>
                                                    <a:gd name="connsiteY34" fmla="*/ 64877 h 254958"/>
                                                    <a:gd name="connsiteX35" fmla="*/ 27534 w 198762"/>
                                                    <a:gd name="connsiteY35" fmla="*/ 75243 h 254958"/>
                                                    <a:gd name="connsiteX36" fmla="*/ 27080 w 198762"/>
                                                    <a:gd name="connsiteY36" fmla="*/ 80685 h 254958"/>
                                                    <a:gd name="connsiteX37" fmla="*/ 20861 w 198762"/>
                                                    <a:gd name="connsiteY37" fmla="*/ 90273 h 254958"/>
                                                    <a:gd name="connsiteX38" fmla="*/ 20083 w 198762"/>
                                                    <a:gd name="connsiteY38" fmla="*/ 100833 h 254958"/>
                                                    <a:gd name="connsiteX39" fmla="*/ 4600 w 198762"/>
                                                    <a:gd name="connsiteY39" fmla="*/ 123379 h 254958"/>
                                                    <a:gd name="connsiteX40" fmla="*/ 3628 w 198762"/>
                                                    <a:gd name="connsiteY40" fmla="*/ 126424 h 254958"/>
                                                    <a:gd name="connsiteX41" fmla="*/ 9458 w 198762"/>
                                                    <a:gd name="connsiteY41" fmla="*/ 128367 h 254958"/>
                                                    <a:gd name="connsiteX42" fmla="*/ 14641 w 198762"/>
                                                    <a:gd name="connsiteY42" fmla="*/ 131477 h 254958"/>
                                                    <a:gd name="connsiteX43" fmla="*/ 15937 w 198762"/>
                                                    <a:gd name="connsiteY43" fmla="*/ 137113 h 254958"/>
                                                    <a:gd name="connsiteX44" fmla="*/ 11661 w 198762"/>
                                                    <a:gd name="connsiteY44" fmla="*/ 140612 h 254958"/>
                                                    <a:gd name="connsiteX45" fmla="*/ 4729 w 198762"/>
                                                    <a:gd name="connsiteY45" fmla="*/ 143981 h 254958"/>
                                                    <a:gd name="connsiteX46" fmla="*/ 2786 w 198762"/>
                                                    <a:gd name="connsiteY46" fmla="*/ 145535 h 254958"/>
                                                    <a:gd name="connsiteX47" fmla="*/ 3433 w 198762"/>
                                                    <a:gd name="connsiteY47" fmla="*/ 148904 h 254958"/>
                                                    <a:gd name="connsiteX48" fmla="*/ 5766 w 198762"/>
                                                    <a:gd name="connsiteY48" fmla="*/ 153051 h 254958"/>
                                                    <a:gd name="connsiteX49" fmla="*/ 7709 w 198762"/>
                                                    <a:gd name="connsiteY49" fmla="*/ 157650 h 254958"/>
                                                    <a:gd name="connsiteX50" fmla="*/ 6154 w 198762"/>
                                                    <a:gd name="connsiteY50" fmla="*/ 162121 h 254958"/>
                                                    <a:gd name="connsiteX51" fmla="*/ 0 w 198762"/>
                                                    <a:gd name="connsiteY51" fmla="*/ 165684 h 254958"/>
                                                    <a:gd name="connsiteX52" fmla="*/ 0 w 198762"/>
                                                    <a:gd name="connsiteY52" fmla="*/ 166073 h 254958"/>
                                                    <a:gd name="connsiteX53" fmla="*/ 31032 w 198762"/>
                                                    <a:gd name="connsiteY53" fmla="*/ 176244 h 254958"/>
                                                    <a:gd name="connsiteX54" fmla="*/ 49431 w 198762"/>
                                                    <a:gd name="connsiteY54" fmla="*/ 182204 h 254958"/>
                                                    <a:gd name="connsiteX55" fmla="*/ 54938 w 198762"/>
                                                    <a:gd name="connsiteY55" fmla="*/ 192116 h 254958"/>
                                                    <a:gd name="connsiteX56" fmla="*/ 64397 w 198762"/>
                                                    <a:gd name="connsiteY56" fmla="*/ 193282 h 254958"/>
                                                    <a:gd name="connsiteX57" fmla="*/ 69580 w 198762"/>
                                                    <a:gd name="connsiteY57" fmla="*/ 201899 h 254958"/>
                                                    <a:gd name="connsiteX58" fmla="*/ 80658 w 198762"/>
                                                    <a:gd name="connsiteY58" fmla="*/ 204685 h 254958"/>
                                                    <a:gd name="connsiteX59" fmla="*/ 83638 w 198762"/>
                                                    <a:gd name="connsiteY59" fmla="*/ 211487 h 254958"/>
                                                    <a:gd name="connsiteX60" fmla="*/ 93097 w 198762"/>
                                                    <a:gd name="connsiteY60" fmla="*/ 214597 h 254958"/>
                                                    <a:gd name="connsiteX61" fmla="*/ 94069 w 198762"/>
                                                    <a:gd name="connsiteY61" fmla="*/ 226064 h 254958"/>
                                                    <a:gd name="connsiteX62" fmla="*/ 108840 w 198762"/>
                                                    <a:gd name="connsiteY62" fmla="*/ 245176 h 254958"/>
                                                    <a:gd name="connsiteX63" fmla="*/ 114800 w 198762"/>
                                                    <a:gd name="connsiteY63" fmla="*/ 245694 h 254958"/>
                                                    <a:gd name="connsiteX64" fmla="*/ 119011 w 198762"/>
                                                    <a:gd name="connsiteY64" fmla="*/ 250683 h 254958"/>
                                                    <a:gd name="connsiteX65" fmla="*/ 124842 w 198762"/>
                                                    <a:gd name="connsiteY65" fmla="*/ 254959 h 254958"/>
                                                    <a:gd name="connsiteX66" fmla="*/ 125749 w 198762"/>
                                                    <a:gd name="connsiteY66" fmla="*/ 252885 h 254958"/>
                                                    <a:gd name="connsiteX67" fmla="*/ 137410 w 198762"/>
                                                    <a:gd name="connsiteY67" fmla="*/ 246990 h 254958"/>
                                                    <a:gd name="connsiteX68" fmla="*/ 140585 w 198762"/>
                                                    <a:gd name="connsiteY68" fmla="*/ 233126 h 254958"/>
                                                    <a:gd name="connsiteX69" fmla="*/ 166953 w 198762"/>
                                                    <a:gd name="connsiteY69" fmla="*/ 191533 h 254958"/>
                                                    <a:gd name="connsiteX70" fmla="*/ 180169 w 198762"/>
                                                    <a:gd name="connsiteY70" fmla="*/ 181686 h 254958"/>
                                                    <a:gd name="connsiteX71" fmla="*/ 185741 w 198762"/>
                                                    <a:gd name="connsiteY71" fmla="*/ 172292 h 254958"/>
                                                    <a:gd name="connsiteX72" fmla="*/ 183732 w 198762"/>
                                                    <a:gd name="connsiteY72" fmla="*/ 159270 h 254958"/>
                                                    <a:gd name="connsiteX73" fmla="*/ 175699 w 198762"/>
                                                    <a:gd name="connsiteY73" fmla="*/ 154735 h 25495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98762" h="254958">
                                                      <a:moveTo>
                                                        <a:pt x="175828" y="154605"/>
                                                      </a:moveTo>
                                                      <a:lnTo>
                                                        <a:pt x="176152" y="69477"/>
                                                      </a:lnTo>
                                                      <a:cubicBezTo>
                                                        <a:pt x="174144" y="66497"/>
                                                        <a:pt x="175504" y="62351"/>
                                                        <a:pt x="177577" y="59370"/>
                                                      </a:cubicBezTo>
                                                      <a:cubicBezTo>
                                                        <a:pt x="179651" y="56390"/>
                                                        <a:pt x="182372" y="53669"/>
                                                        <a:pt x="183084" y="50171"/>
                                                      </a:cubicBezTo>
                                                      <a:cubicBezTo>
                                                        <a:pt x="183408" y="48810"/>
                                                        <a:pt x="183344" y="47385"/>
                                                        <a:pt x="183862" y="46089"/>
                                                      </a:cubicBezTo>
                                                      <a:cubicBezTo>
                                                        <a:pt x="184510" y="44275"/>
                                                        <a:pt x="186000" y="42915"/>
                                                        <a:pt x="187295" y="41490"/>
                                                      </a:cubicBezTo>
                                                      <a:cubicBezTo>
                                                        <a:pt x="192348" y="36307"/>
                                                        <a:pt x="196301" y="30087"/>
                                                        <a:pt x="198763" y="23350"/>
                                                      </a:cubicBezTo>
                                                      <a:cubicBezTo>
                                                        <a:pt x="195847" y="25228"/>
                                                        <a:pt x="191960" y="23868"/>
                                                        <a:pt x="189045" y="21924"/>
                                                      </a:cubicBezTo>
                                                      <a:cubicBezTo>
                                                        <a:pt x="186129" y="19981"/>
                                                        <a:pt x="183473" y="17454"/>
                                                        <a:pt x="180039" y="16936"/>
                                                      </a:cubicBezTo>
                                                      <a:cubicBezTo>
                                                        <a:pt x="173820" y="15899"/>
                                                        <a:pt x="168637" y="21665"/>
                                                        <a:pt x="162482" y="23350"/>
                                                      </a:cubicBezTo>
                                                      <a:cubicBezTo>
                                                        <a:pt x="158401" y="24451"/>
                                                        <a:pt x="152635" y="24840"/>
                                                        <a:pt x="152246" y="28986"/>
                                                      </a:cubicBezTo>
                                                      <a:cubicBezTo>
                                                        <a:pt x="152117" y="30541"/>
                                                        <a:pt x="152894" y="32225"/>
                                                        <a:pt x="152246" y="33651"/>
                                                      </a:cubicBezTo>
                                                      <a:cubicBezTo>
                                                        <a:pt x="151015" y="36242"/>
                                                        <a:pt x="147193" y="34817"/>
                                                        <a:pt x="144278" y="34946"/>
                                                      </a:cubicBezTo>
                                                      <a:cubicBezTo>
                                                        <a:pt x="140779" y="35076"/>
                                                        <a:pt x="137734" y="38509"/>
                                                        <a:pt x="138123" y="42008"/>
                                                      </a:cubicBezTo>
                                                      <a:lnTo>
                                                        <a:pt x="123482" y="43304"/>
                                                      </a:lnTo>
                                                      <a:cubicBezTo>
                                                        <a:pt x="121797" y="43433"/>
                                                        <a:pt x="119918" y="43563"/>
                                                        <a:pt x="118428" y="42721"/>
                                                      </a:cubicBezTo>
                                                      <a:cubicBezTo>
                                                        <a:pt x="116808" y="41814"/>
                                                        <a:pt x="115966" y="40000"/>
                                                        <a:pt x="114865" y="38509"/>
                                                      </a:cubicBezTo>
                                                      <a:cubicBezTo>
                                                        <a:pt x="111626" y="34104"/>
                                                        <a:pt x="105601" y="31966"/>
                                                        <a:pt x="100353" y="33456"/>
                                                      </a:cubicBezTo>
                                                      <a:cubicBezTo>
                                                        <a:pt x="101260" y="30541"/>
                                                        <a:pt x="97956" y="27885"/>
                                                        <a:pt x="94911" y="27301"/>
                                                      </a:cubicBezTo>
                                                      <a:cubicBezTo>
                                                        <a:pt x="91866" y="26718"/>
                                                        <a:pt x="88497" y="27107"/>
                                                        <a:pt x="85906" y="25423"/>
                                                      </a:cubicBezTo>
                                                      <a:cubicBezTo>
                                                        <a:pt x="82342" y="23090"/>
                                                        <a:pt x="82019" y="18037"/>
                                                        <a:pt x="82083" y="13761"/>
                                                      </a:cubicBezTo>
                                                      <a:cubicBezTo>
                                                        <a:pt x="72689" y="15575"/>
                                                        <a:pt x="61741" y="16936"/>
                                                        <a:pt x="54614" y="10587"/>
                                                      </a:cubicBezTo>
                                                      <a:cubicBezTo>
                                                        <a:pt x="52865" y="8967"/>
                                                        <a:pt x="51439" y="7024"/>
                                                        <a:pt x="49755" y="5339"/>
                                                      </a:cubicBezTo>
                                                      <a:cubicBezTo>
                                                        <a:pt x="45091" y="804"/>
                                                        <a:pt x="38029" y="-1075"/>
                                                        <a:pt x="31745" y="610"/>
                                                      </a:cubicBezTo>
                                                      <a:cubicBezTo>
                                                        <a:pt x="32587" y="4173"/>
                                                        <a:pt x="27534" y="5987"/>
                                                        <a:pt x="23970" y="5663"/>
                                                      </a:cubicBezTo>
                                                      <a:cubicBezTo>
                                                        <a:pt x="20342" y="5339"/>
                                                        <a:pt x="15613" y="5080"/>
                                                        <a:pt x="14253" y="8384"/>
                                                      </a:cubicBezTo>
                                                      <a:cubicBezTo>
                                                        <a:pt x="13605" y="9874"/>
                                                        <a:pt x="13994" y="11623"/>
                                                        <a:pt x="13281" y="13113"/>
                                                      </a:cubicBezTo>
                                                      <a:cubicBezTo>
                                                        <a:pt x="11920" y="16029"/>
                                                        <a:pt x="7515" y="15964"/>
                                                        <a:pt x="5377" y="18426"/>
                                                      </a:cubicBezTo>
                                                      <a:cubicBezTo>
                                                        <a:pt x="4211" y="19722"/>
                                                        <a:pt x="3887" y="21536"/>
                                                        <a:pt x="3692" y="23285"/>
                                                      </a:cubicBezTo>
                                                      <a:cubicBezTo>
                                                        <a:pt x="3369" y="25617"/>
                                                        <a:pt x="3304" y="28014"/>
                                                        <a:pt x="3174" y="30346"/>
                                                      </a:cubicBezTo>
                                                      <a:cubicBezTo>
                                                        <a:pt x="6802" y="29569"/>
                                                        <a:pt x="11013" y="30865"/>
                                                        <a:pt x="13086" y="34039"/>
                                                      </a:cubicBezTo>
                                                      <a:cubicBezTo>
                                                        <a:pt x="14253" y="35853"/>
                                                        <a:pt x="14771" y="38056"/>
                                                        <a:pt x="15937" y="39870"/>
                                                      </a:cubicBezTo>
                                                      <a:cubicBezTo>
                                                        <a:pt x="18010" y="43109"/>
                                                        <a:pt x="21833" y="44729"/>
                                                        <a:pt x="24618" y="47385"/>
                                                      </a:cubicBezTo>
                                                      <a:cubicBezTo>
                                                        <a:pt x="27404" y="50041"/>
                                                        <a:pt x="28894" y="55159"/>
                                                        <a:pt x="25785" y="57427"/>
                                                      </a:cubicBezTo>
                                                      <a:cubicBezTo>
                                                        <a:pt x="29348" y="56585"/>
                                                        <a:pt x="31874" y="61314"/>
                                                        <a:pt x="31226" y="64877"/>
                                                      </a:cubicBezTo>
                                                      <a:cubicBezTo>
                                                        <a:pt x="30514" y="68505"/>
                                                        <a:pt x="28117" y="71615"/>
                                                        <a:pt x="27534" y="75243"/>
                                                      </a:cubicBezTo>
                                                      <a:cubicBezTo>
                                                        <a:pt x="27275" y="77057"/>
                                                        <a:pt x="27469" y="78936"/>
                                                        <a:pt x="27080" y="80685"/>
                                                      </a:cubicBezTo>
                                                      <a:cubicBezTo>
                                                        <a:pt x="26303" y="84443"/>
                                                        <a:pt x="23128" y="87164"/>
                                                        <a:pt x="20861" y="90273"/>
                                                      </a:cubicBezTo>
                                                      <a:cubicBezTo>
                                                        <a:pt x="18593" y="93383"/>
                                                        <a:pt x="17298" y="98112"/>
                                                        <a:pt x="20083" y="100833"/>
                                                      </a:cubicBezTo>
                                                      <a:cubicBezTo>
                                                        <a:pt x="11273" y="104267"/>
                                                        <a:pt x="7385" y="114309"/>
                                                        <a:pt x="4600" y="123379"/>
                                                      </a:cubicBezTo>
                                                      <a:cubicBezTo>
                                                        <a:pt x="4276" y="124351"/>
                                                        <a:pt x="3952" y="125387"/>
                                                        <a:pt x="3628" y="126424"/>
                                                      </a:cubicBezTo>
                                                      <a:cubicBezTo>
                                                        <a:pt x="5571" y="127007"/>
                                                        <a:pt x="7515" y="127590"/>
                                                        <a:pt x="9458" y="128367"/>
                                                      </a:cubicBezTo>
                                                      <a:cubicBezTo>
                                                        <a:pt x="11338" y="129145"/>
                                                        <a:pt x="13281" y="129987"/>
                                                        <a:pt x="14641" y="131477"/>
                                                      </a:cubicBezTo>
                                                      <a:cubicBezTo>
                                                        <a:pt x="16002" y="132967"/>
                                                        <a:pt x="16714" y="135234"/>
                                                        <a:pt x="15937" y="137113"/>
                                                      </a:cubicBezTo>
                                                      <a:cubicBezTo>
                                                        <a:pt x="15160" y="138862"/>
                                                        <a:pt x="13346" y="139770"/>
                                                        <a:pt x="11661" y="140612"/>
                                                      </a:cubicBezTo>
                                                      <a:cubicBezTo>
                                                        <a:pt x="9329" y="141713"/>
                                                        <a:pt x="7061" y="142879"/>
                                                        <a:pt x="4729" y="143981"/>
                                                      </a:cubicBezTo>
                                                      <a:cubicBezTo>
                                                        <a:pt x="3952" y="144369"/>
                                                        <a:pt x="3174" y="144758"/>
                                                        <a:pt x="2786" y="145535"/>
                                                      </a:cubicBezTo>
                                                      <a:cubicBezTo>
                                                        <a:pt x="2267" y="146637"/>
                                                        <a:pt x="2850" y="147868"/>
                                                        <a:pt x="3433" y="148904"/>
                                                      </a:cubicBezTo>
                                                      <a:lnTo>
                                                        <a:pt x="5766" y="153051"/>
                                                      </a:lnTo>
                                                      <a:cubicBezTo>
                                                        <a:pt x="6608" y="154476"/>
                                                        <a:pt x="7450" y="155966"/>
                                                        <a:pt x="7709" y="157650"/>
                                                      </a:cubicBezTo>
                                                      <a:cubicBezTo>
                                                        <a:pt x="7969" y="159270"/>
                                                        <a:pt x="7515" y="161149"/>
                                                        <a:pt x="6154" y="162121"/>
                                                      </a:cubicBezTo>
                                                      <a:cubicBezTo>
                                                        <a:pt x="4146" y="163611"/>
                                                        <a:pt x="389" y="163222"/>
                                                        <a:pt x="0" y="165684"/>
                                                      </a:cubicBezTo>
                                                      <a:cubicBezTo>
                                                        <a:pt x="0" y="165813"/>
                                                        <a:pt x="0" y="165943"/>
                                                        <a:pt x="0" y="166073"/>
                                                      </a:cubicBezTo>
                                                      <a:cubicBezTo>
                                                        <a:pt x="10884" y="167887"/>
                                                        <a:pt x="21573" y="170607"/>
                                                        <a:pt x="31032" y="176244"/>
                                                      </a:cubicBezTo>
                                                      <a:cubicBezTo>
                                                        <a:pt x="36733" y="179678"/>
                                                        <a:pt x="43082" y="184277"/>
                                                        <a:pt x="49431" y="182204"/>
                                                      </a:cubicBezTo>
                                                      <a:cubicBezTo>
                                                        <a:pt x="50014" y="186156"/>
                                                        <a:pt x="51180" y="190821"/>
                                                        <a:pt x="54938" y="192116"/>
                                                      </a:cubicBezTo>
                                                      <a:cubicBezTo>
                                                        <a:pt x="57983" y="193153"/>
                                                        <a:pt x="61741" y="191468"/>
                                                        <a:pt x="64397" y="193282"/>
                                                      </a:cubicBezTo>
                                                      <a:cubicBezTo>
                                                        <a:pt x="67183" y="195226"/>
                                                        <a:pt x="66859" y="199826"/>
                                                        <a:pt x="69580" y="201899"/>
                                                      </a:cubicBezTo>
                                                      <a:cubicBezTo>
                                                        <a:pt x="72689" y="204231"/>
                                                        <a:pt x="78067" y="201834"/>
                                                        <a:pt x="80658" y="204685"/>
                                                      </a:cubicBezTo>
                                                      <a:cubicBezTo>
                                                        <a:pt x="82342" y="206564"/>
                                                        <a:pt x="81889" y="209673"/>
                                                        <a:pt x="83638" y="211487"/>
                                                      </a:cubicBezTo>
                                                      <a:cubicBezTo>
                                                        <a:pt x="85970" y="213949"/>
                                                        <a:pt x="90570" y="212394"/>
                                                        <a:pt x="93097" y="214597"/>
                                                      </a:cubicBezTo>
                                                      <a:cubicBezTo>
                                                        <a:pt x="96077" y="217253"/>
                                                        <a:pt x="93745" y="222112"/>
                                                        <a:pt x="94069" y="226064"/>
                                                      </a:cubicBezTo>
                                                      <a:cubicBezTo>
                                                        <a:pt x="94781" y="234292"/>
                                                        <a:pt x="106832" y="237207"/>
                                                        <a:pt x="108840" y="245176"/>
                                                      </a:cubicBezTo>
                                                      <a:cubicBezTo>
                                                        <a:pt x="110395" y="243686"/>
                                                        <a:pt x="113116" y="244269"/>
                                                        <a:pt x="114800" y="245694"/>
                                                      </a:cubicBezTo>
                                                      <a:cubicBezTo>
                                                        <a:pt x="116485" y="247119"/>
                                                        <a:pt x="117521" y="249063"/>
                                                        <a:pt x="119011" y="250683"/>
                                                      </a:cubicBezTo>
                                                      <a:cubicBezTo>
                                                        <a:pt x="120695" y="252432"/>
                                                        <a:pt x="122833" y="253598"/>
                                                        <a:pt x="124842" y="254959"/>
                                                      </a:cubicBezTo>
                                                      <a:cubicBezTo>
                                                        <a:pt x="125166" y="254246"/>
                                                        <a:pt x="125425" y="253598"/>
                                                        <a:pt x="125749" y="252885"/>
                                                      </a:cubicBezTo>
                                                      <a:cubicBezTo>
                                                        <a:pt x="130219" y="254505"/>
                                                        <a:pt x="135208" y="251201"/>
                                                        <a:pt x="137410" y="246990"/>
                                                      </a:cubicBezTo>
                                                      <a:cubicBezTo>
                                                        <a:pt x="139613" y="242779"/>
                                                        <a:pt x="139872" y="237855"/>
                                                        <a:pt x="140585" y="233126"/>
                                                      </a:cubicBezTo>
                                                      <a:cubicBezTo>
                                                        <a:pt x="143241" y="216476"/>
                                                        <a:pt x="153024" y="201057"/>
                                                        <a:pt x="166953" y="191533"/>
                                                      </a:cubicBezTo>
                                                      <a:cubicBezTo>
                                                        <a:pt x="171488" y="188424"/>
                                                        <a:pt x="176606" y="185832"/>
                                                        <a:pt x="180169" y="181686"/>
                                                      </a:cubicBezTo>
                                                      <a:cubicBezTo>
                                                        <a:pt x="182566" y="178900"/>
                                                        <a:pt x="184121" y="175596"/>
                                                        <a:pt x="185741" y="172292"/>
                                                      </a:cubicBezTo>
                                                      <a:cubicBezTo>
                                                        <a:pt x="185352" y="167887"/>
                                                        <a:pt x="184833" y="163546"/>
                                                        <a:pt x="183732" y="159270"/>
                                                      </a:cubicBezTo>
                                                      <a:cubicBezTo>
                                                        <a:pt x="180558" y="161149"/>
                                                        <a:pt x="175763" y="158493"/>
                                                        <a:pt x="175699" y="15473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8" name="Freeform: Shape 42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8B9BD214-081F-47B7-BC1F-AB33746B415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16878" y="4280989"/>
                                                  <a:ext cx="164209" cy="23938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27369 w 164209"/>
                                                    <a:gd name="connsiteY0" fmla="*/ 5312 h 239383"/>
                                                    <a:gd name="connsiteX1" fmla="*/ 118882 w 164209"/>
                                                    <a:gd name="connsiteY1" fmla="*/ 15937 h 239383"/>
                                                    <a:gd name="connsiteX2" fmla="*/ 108905 w 164209"/>
                                                    <a:gd name="connsiteY2" fmla="*/ 39390 h 239383"/>
                                                    <a:gd name="connsiteX3" fmla="*/ 106119 w 164209"/>
                                                    <a:gd name="connsiteY3" fmla="*/ 45544 h 239383"/>
                                                    <a:gd name="connsiteX4" fmla="*/ 90117 w 164209"/>
                                                    <a:gd name="connsiteY4" fmla="*/ 48006 h 239383"/>
                                                    <a:gd name="connsiteX5" fmla="*/ 69839 w 164209"/>
                                                    <a:gd name="connsiteY5" fmla="*/ 43925 h 239383"/>
                                                    <a:gd name="connsiteX6" fmla="*/ 43083 w 164209"/>
                                                    <a:gd name="connsiteY6" fmla="*/ 43925 h 239383"/>
                                                    <a:gd name="connsiteX7" fmla="*/ 39973 w 164209"/>
                                                    <a:gd name="connsiteY7" fmla="*/ 45998 h 239383"/>
                                                    <a:gd name="connsiteX8" fmla="*/ 38418 w 164209"/>
                                                    <a:gd name="connsiteY8" fmla="*/ 50144 h 239383"/>
                                                    <a:gd name="connsiteX9" fmla="*/ 40751 w 164209"/>
                                                    <a:gd name="connsiteY9" fmla="*/ 65304 h 239383"/>
                                                    <a:gd name="connsiteX10" fmla="*/ 46192 w 164209"/>
                                                    <a:gd name="connsiteY10" fmla="*/ 67766 h 239383"/>
                                                    <a:gd name="connsiteX11" fmla="*/ 59085 w 164209"/>
                                                    <a:gd name="connsiteY11" fmla="*/ 71653 h 239383"/>
                                                    <a:gd name="connsiteX12" fmla="*/ 69256 w 164209"/>
                                                    <a:gd name="connsiteY12" fmla="*/ 79816 h 239383"/>
                                                    <a:gd name="connsiteX13" fmla="*/ 55975 w 164209"/>
                                                    <a:gd name="connsiteY13" fmla="*/ 96660 h 239383"/>
                                                    <a:gd name="connsiteX14" fmla="*/ 63361 w 164209"/>
                                                    <a:gd name="connsiteY14" fmla="*/ 111496 h 239383"/>
                                                    <a:gd name="connsiteX15" fmla="*/ 74504 w 164209"/>
                                                    <a:gd name="connsiteY15" fmla="*/ 124713 h 239383"/>
                                                    <a:gd name="connsiteX16" fmla="*/ 73532 w 164209"/>
                                                    <a:gd name="connsiteY16" fmla="*/ 133653 h 239383"/>
                                                    <a:gd name="connsiteX17" fmla="*/ 71977 w 164209"/>
                                                    <a:gd name="connsiteY17" fmla="*/ 156782 h 239383"/>
                                                    <a:gd name="connsiteX18" fmla="*/ 67118 w 164209"/>
                                                    <a:gd name="connsiteY18" fmla="*/ 167665 h 239383"/>
                                                    <a:gd name="connsiteX19" fmla="*/ 59992 w 164209"/>
                                                    <a:gd name="connsiteY19" fmla="*/ 177059 h 239383"/>
                                                    <a:gd name="connsiteX20" fmla="*/ 48978 w 164209"/>
                                                    <a:gd name="connsiteY20" fmla="*/ 177643 h 239383"/>
                                                    <a:gd name="connsiteX21" fmla="*/ 44184 w 164209"/>
                                                    <a:gd name="connsiteY21" fmla="*/ 168961 h 239383"/>
                                                    <a:gd name="connsiteX22" fmla="*/ 36215 w 164209"/>
                                                    <a:gd name="connsiteY22" fmla="*/ 164880 h 239383"/>
                                                    <a:gd name="connsiteX23" fmla="*/ 34726 w 164209"/>
                                                    <a:gd name="connsiteY23" fmla="*/ 155745 h 239383"/>
                                                    <a:gd name="connsiteX24" fmla="*/ 26951 w 164209"/>
                                                    <a:gd name="connsiteY24" fmla="*/ 152376 h 239383"/>
                                                    <a:gd name="connsiteX25" fmla="*/ 21963 w 164209"/>
                                                    <a:gd name="connsiteY25" fmla="*/ 165657 h 239383"/>
                                                    <a:gd name="connsiteX26" fmla="*/ 2980 w 164209"/>
                                                    <a:gd name="connsiteY26" fmla="*/ 172136 h 239383"/>
                                                    <a:gd name="connsiteX27" fmla="*/ 4989 w 164209"/>
                                                    <a:gd name="connsiteY27" fmla="*/ 191831 h 239383"/>
                                                    <a:gd name="connsiteX28" fmla="*/ 6285 w 164209"/>
                                                    <a:gd name="connsiteY28" fmla="*/ 197467 h 239383"/>
                                                    <a:gd name="connsiteX29" fmla="*/ 1749 w 164209"/>
                                                    <a:gd name="connsiteY29" fmla="*/ 207120 h 239383"/>
                                                    <a:gd name="connsiteX30" fmla="*/ 12115 w 164209"/>
                                                    <a:gd name="connsiteY30" fmla="*/ 239383 h 239383"/>
                                                    <a:gd name="connsiteX31" fmla="*/ 27145 w 164209"/>
                                                    <a:gd name="connsiteY31" fmla="*/ 231285 h 239383"/>
                                                    <a:gd name="connsiteX32" fmla="*/ 39001 w 164209"/>
                                                    <a:gd name="connsiteY32" fmla="*/ 226685 h 239383"/>
                                                    <a:gd name="connsiteX33" fmla="*/ 58631 w 164209"/>
                                                    <a:gd name="connsiteY33" fmla="*/ 224482 h 239383"/>
                                                    <a:gd name="connsiteX34" fmla="*/ 65175 w 164209"/>
                                                    <a:gd name="connsiteY34" fmla="*/ 220077 h 239383"/>
                                                    <a:gd name="connsiteX35" fmla="*/ 73986 w 164209"/>
                                                    <a:gd name="connsiteY35" fmla="*/ 231609 h 239383"/>
                                                    <a:gd name="connsiteX36" fmla="*/ 86295 w 164209"/>
                                                    <a:gd name="connsiteY36" fmla="*/ 227463 h 239383"/>
                                                    <a:gd name="connsiteX37" fmla="*/ 97373 w 164209"/>
                                                    <a:gd name="connsiteY37" fmla="*/ 219105 h 239383"/>
                                                    <a:gd name="connsiteX38" fmla="*/ 105342 w 164209"/>
                                                    <a:gd name="connsiteY38" fmla="*/ 200123 h 239383"/>
                                                    <a:gd name="connsiteX39" fmla="*/ 108257 w 164209"/>
                                                    <a:gd name="connsiteY39" fmla="*/ 157624 h 239383"/>
                                                    <a:gd name="connsiteX40" fmla="*/ 123158 w 164209"/>
                                                    <a:gd name="connsiteY40" fmla="*/ 124129 h 239383"/>
                                                    <a:gd name="connsiteX41" fmla="*/ 136763 w 164209"/>
                                                    <a:gd name="connsiteY41" fmla="*/ 99446 h 239383"/>
                                                    <a:gd name="connsiteX42" fmla="*/ 150562 w 164209"/>
                                                    <a:gd name="connsiteY42" fmla="*/ 62583 h 239383"/>
                                                    <a:gd name="connsiteX43" fmla="*/ 160993 w 164209"/>
                                                    <a:gd name="connsiteY43" fmla="*/ 31032 h 239383"/>
                                                    <a:gd name="connsiteX44" fmla="*/ 164167 w 164209"/>
                                                    <a:gd name="connsiteY44" fmla="*/ 17427 h 239383"/>
                                                    <a:gd name="connsiteX45" fmla="*/ 162094 w 164209"/>
                                                    <a:gd name="connsiteY45" fmla="*/ 0 h 239383"/>
                                                    <a:gd name="connsiteX46" fmla="*/ 149720 w 164209"/>
                                                    <a:gd name="connsiteY46" fmla="*/ 972 h 239383"/>
                                                    <a:gd name="connsiteX47" fmla="*/ 127434 w 164209"/>
                                                    <a:gd name="connsiteY47" fmla="*/ 5248 h 23938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64209" h="239383">
                                                      <a:moveTo>
                                                        <a:pt x="127369" y="5312"/>
                                                      </a:moveTo>
                                                      <a:cubicBezTo>
                                                        <a:pt x="123611" y="7969"/>
                                                        <a:pt x="121085" y="11921"/>
                                                        <a:pt x="118882" y="15937"/>
                                                      </a:cubicBezTo>
                                                      <a:cubicBezTo>
                                                        <a:pt x="114801" y="23388"/>
                                                        <a:pt x="111432" y="31292"/>
                                                        <a:pt x="108905" y="39390"/>
                                                      </a:cubicBezTo>
                                                      <a:cubicBezTo>
                                                        <a:pt x="108257" y="41593"/>
                                                        <a:pt x="107545" y="43795"/>
                                                        <a:pt x="106119" y="45544"/>
                                                      </a:cubicBezTo>
                                                      <a:cubicBezTo>
                                                        <a:pt x="102427" y="49885"/>
                                                        <a:pt x="95689" y="49108"/>
                                                        <a:pt x="90117" y="48006"/>
                                                      </a:cubicBezTo>
                                                      <a:cubicBezTo>
                                                        <a:pt x="83380" y="46646"/>
                                                        <a:pt x="76642" y="45285"/>
                                                        <a:pt x="69839" y="43925"/>
                                                      </a:cubicBezTo>
                                                      <a:cubicBezTo>
                                                        <a:pt x="60964" y="42111"/>
                                                        <a:pt x="51440" y="40426"/>
                                                        <a:pt x="43083" y="43925"/>
                                                      </a:cubicBezTo>
                                                      <a:cubicBezTo>
                                                        <a:pt x="41917" y="44443"/>
                                                        <a:pt x="40751" y="45026"/>
                                                        <a:pt x="39973" y="45998"/>
                                                      </a:cubicBezTo>
                                                      <a:cubicBezTo>
                                                        <a:pt x="39001" y="47164"/>
                                                        <a:pt x="38677" y="48719"/>
                                                        <a:pt x="38418" y="50144"/>
                                                      </a:cubicBezTo>
                                                      <a:cubicBezTo>
                                                        <a:pt x="37317" y="55392"/>
                                                        <a:pt x="36604" y="61806"/>
                                                        <a:pt x="40751" y="65304"/>
                                                      </a:cubicBezTo>
                                                      <a:cubicBezTo>
                                                        <a:pt x="42305" y="66600"/>
                                                        <a:pt x="44249" y="67183"/>
                                                        <a:pt x="46192" y="67766"/>
                                                      </a:cubicBezTo>
                                                      <a:cubicBezTo>
                                                        <a:pt x="50468" y="69062"/>
                                                        <a:pt x="54744" y="70357"/>
                                                        <a:pt x="59085" y="71653"/>
                                                      </a:cubicBezTo>
                                                      <a:cubicBezTo>
                                                        <a:pt x="63490" y="73014"/>
                                                        <a:pt x="68738" y="75216"/>
                                                        <a:pt x="69256" y="79816"/>
                                                      </a:cubicBezTo>
                                                      <a:cubicBezTo>
                                                        <a:pt x="70098" y="87202"/>
                                                        <a:pt x="58437" y="89663"/>
                                                        <a:pt x="55975" y="96660"/>
                                                      </a:cubicBezTo>
                                                      <a:cubicBezTo>
                                                        <a:pt x="54032" y="102232"/>
                                                        <a:pt x="58696" y="107868"/>
                                                        <a:pt x="63361" y="111496"/>
                                                      </a:cubicBezTo>
                                                      <a:cubicBezTo>
                                                        <a:pt x="68090" y="115124"/>
                                                        <a:pt x="73662" y="118817"/>
                                                        <a:pt x="74504" y="124713"/>
                                                      </a:cubicBezTo>
                                                      <a:cubicBezTo>
                                                        <a:pt x="74957" y="127693"/>
                                                        <a:pt x="73986" y="130673"/>
                                                        <a:pt x="73532" y="133653"/>
                                                      </a:cubicBezTo>
                                                      <a:cubicBezTo>
                                                        <a:pt x="72301" y="141298"/>
                                                        <a:pt x="73986" y="149266"/>
                                                        <a:pt x="71977" y="156782"/>
                                                      </a:cubicBezTo>
                                                      <a:cubicBezTo>
                                                        <a:pt x="70941" y="160604"/>
                                                        <a:pt x="69062" y="164167"/>
                                                        <a:pt x="67118" y="167665"/>
                                                      </a:cubicBezTo>
                                                      <a:cubicBezTo>
                                                        <a:pt x="65239" y="171099"/>
                                                        <a:pt x="63231" y="174727"/>
                                                        <a:pt x="59992" y="177059"/>
                                                      </a:cubicBezTo>
                                                      <a:cubicBezTo>
                                                        <a:pt x="56752" y="179392"/>
                                                        <a:pt x="52088" y="180104"/>
                                                        <a:pt x="48978" y="177643"/>
                                                      </a:cubicBezTo>
                                                      <a:cubicBezTo>
                                                        <a:pt x="46322" y="175569"/>
                                                        <a:pt x="45674" y="171941"/>
                                                        <a:pt x="44184" y="168961"/>
                                                      </a:cubicBezTo>
                                                      <a:cubicBezTo>
                                                        <a:pt x="42694" y="165981"/>
                                                        <a:pt x="39066" y="163195"/>
                                                        <a:pt x="36215" y="164880"/>
                                                      </a:cubicBezTo>
                                                      <a:cubicBezTo>
                                                        <a:pt x="36215" y="161770"/>
                                                        <a:pt x="36215" y="158466"/>
                                                        <a:pt x="34726" y="155745"/>
                                                      </a:cubicBezTo>
                                                      <a:cubicBezTo>
                                                        <a:pt x="33235" y="153024"/>
                                                        <a:pt x="29737" y="151080"/>
                                                        <a:pt x="26951" y="152376"/>
                                                      </a:cubicBezTo>
                                                      <a:cubicBezTo>
                                                        <a:pt x="22481" y="154449"/>
                                                        <a:pt x="23906" y="161122"/>
                                                        <a:pt x="21963" y="165657"/>
                                                      </a:cubicBezTo>
                                                      <a:cubicBezTo>
                                                        <a:pt x="19112" y="172265"/>
                                                        <a:pt x="10107" y="172719"/>
                                                        <a:pt x="2980" y="172136"/>
                                                      </a:cubicBezTo>
                                                      <a:cubicBezTo>
                                                        <a:pt x="5507" y="178355"/>
                                                        <a:pt x="6155" y="185222"/>
                                                        <a:pt x="4989" y="191831"/>
                                                      </a:cubicBezTo>
                                                      <a:cubicBezTo>
                                                        <a:pt x="5896" y="193580"/>
                                                        <a:pt x="6479" y="195523"/>
                                                        <a:pt x="6285" y="197467"/>
                                                      </a:cubicBezTo>
                                                      <a:cubicBezTo>
                                                        <a:pt x="5961" y="201030"/>
                                                        <a:pt x="3304" y="203881"/>
                                                        <a:pt x="1749" y="207120"/>
                                                      </a:cubicBezTo>
                                                      <a:cubicBezTo>
                                                        <a:pt x="-3628" y="218198"/>
                                                        <a:pt x="4406" y="228499"/>
                                                        <a:pt x="12115" y="239383"/>
                                                      </a:cubicBezTo>
                                                      <a:cubicBezTo>
                                                        <a:pt x="17104" y="236662"/>
                                                        <a:pt x="22157" y="234006"/>
                                                        <a:pt x="27145" y="231285"/>
                                                      </a:cubicBezTo>
                                                      <a:cubicBezTo>
                                                        <a:pt x="30903" y="229277"/>
                                                        <a:pt x="34726" y="227204"/>
                                                        <a:pt x="39001" y="226685"/>
                                                      </a:cubicBezTo>
                                                      <a:cubicBezTo>
                                                        <a:pt x="45674" y="225843"/>
                                                        <a:pt x="53319" y="228629"/>
                                                        <a:pt x="58631" y="224482"/>
                                                      </a:cubicBezTo>
                                                      <a:cubicBezTo>
                                                        <a:pt x="60769" y="222798"/>
                                                        <a:pt x="62454" y="220077"/>
                                                        <a:pt x="65175" y="220077"/>
                                                      </a:cubicBezTo>
                                                      <a:cubicBezTo>
                                                        <a:pt x="70293" y="220077"/>
                                                        <a:pt x="69904" y="228499"/>
                                                        <a:pt x="73986" y="231609"/>
                                                      </a:cubicBezTo>
                                                      <a:cubicBezTo>
                                                        <a:pt x="77808" y="234524"/>
                                                        <a:pt x="83250" y="231155"/>
                                                        <a:pt x="86295" y="227463"/>
                                                      </a:cubicBezTo>
                                                      <a:cubicBezTo>
                                                        <a:pt x="89340" y="223770"/>
                                                        <a:pt x="92579" y="219105"/>
                                                        <a:pt x="97373" y="219105"/>
                                                      </a:cubicBezTo>
                                                      <a:cubicBezTo>
                                                        <a:pt x="94523" y="212497"/>
                                                        <a:pt x="101584" y="206278"/>
                                                        <a:pt x="105342" y="200123"/>
                                                      </a:cubicBezTo>
                                                      <a:cubicBezTo>
                                                        <a:pt x="112792" y="187814"/>
                                                        <a:pt x="106638" y="171941"/>
                                                        <a:pt x="108257" y="157624"/>
                                                      </a:cubicBezTo>
                                                      <a:cubicBezTo>
                                                        <a:pt x="109618" y="145379"/>
                                                        <a:pt x="116679" y="134625"/>
                                                        <a:pt x="123158" y="124129"/>
                                                      </a:cubicBezTo>
                                                      <a:cubicBezTo>
                                                        <a:pt x="128082" y="116161"/>
                                                        <a:pt x="132811" y="107998"/>
                                                        <a:pt x="136763" y="99446"/>
                                                      </a:cubicBezTo>
                                                      <a:cubicBezTo>
                                                        <a:pt x="142335" y="87590"/>
                                                        <a:pt x="146481" y="75087"/>
                                                        <a:pt x="150562" y="62583"/>
                                                      </a:cubicBezTo>
                                                      <a:cubicBezTo>
                                                        <a:pt x="154061" y="52088"/>
                                                        <a:pt x="157495" y="41528"/>
                                                        <a:pt x="160993" y="31032"/>
                                                      </a:cubicBezTo>
                                                      <a:cubicBezTo>
                                                        <a:pt x="162483" y="26562"/>
                                                        <a:pt x="163908" y="22092"/>
                                                        <a:pt x="164167" y="17427"/>
                                                      </a:cubicBezTo>
                                                      <a:cubicBezTo>
                                                        <a:pt x="164491" y="11597"/>
                                                        <a:pt x="162871" y="5766"/>
                                                        <a:pt x="162094" y="0"/>
                                                      </a:cubicBezTo>
                                                      <a:cubicBezTo>
                                                        <a:pt x="158013" y="518"/>
                                                        <a:pt x="153866" y="842"/>
                                                        <a:pt x="149720" y="972"/>
                                                      </a:cubicBezTo>
                                                      <a:cubicBezTo>
                                                        <a:pt x="142011" y="1166"/>
                                                        <a:pt x="133718" y="842"/>
                                                        <a:pt x="127434" y="524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29" name="Freeform: Shape 42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2A16CC6-66C1-497F-A023-2F9C7189882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263061" y="4318321"/>
                                                  <a:ext cx="128373" cy="15456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74678 w 128373"/>
                                                    <a:gd name="connsiteY0" fmla="*/ 243 h 154562"/>
                                                    <a:gd name="connsiteX1" fmla="*/ 61008 w 128373"/>
                                                    <a:gd name="connsiteY1" fmla="*/ 9896 h 154562"/>
                                                    <a:gd name="connsiteX2" fmla="*/ 59454 w 128373"/>
                                                    <a:gd name="connsiteY2" fmla="*/ 22724 h 154562"/>
                                                    <a:gd name="connsiteX3" fmla="*/ 56797 w 128373"/>
                                                    <a:gd name="connsiteY3" fmla="*/ 28360 h 154562"/>
                                                    <a:gd name="connsiteX4" fmla="*/ 56020 w 128373"/>
                                                    <a:gd name="connsiteY4" fmla="*/ 33802 h 154562"/>
                                                    <a:gd name="connsiteX5" fmla="*/ 44682 w 128373"/>
                                                    <a:gd name="connsiteY5" fmla="*/ 42937 h 154562"/>
                                                    <a:gd name="connsiteX6" fmla="*/ 29652 w 128373"/>
                                                    <a:gd name="connsiteY6" fmla="*/ 45917 h 154562"/>
                                                    <a:gd name="connsiteX7" fmla="*/ 17278 w 128373"/>
                                                    <a:gd name="connsiteY7" fmla="*/ 52331 h 154562"/>
                                                    <a:gd name="connsiteX8" fmla="*/ 10281 w 128373"/>
                                                    <a:gd name="connsiteY8" fmla="*/ 53821 h 154562"/>
                                                    <a:gd name="connsiteX9" fmla="*/ 11836 w 128373"/>
                                                    <a:gd name="connsiteY9" fmla="*/ 58615 h 154562"/>
                                                    <a:gd name="connsiteX10" fmla="*/ 239 w 128373"/>
                                                    <a:gd name="connsiteY10" fmla="*/ 67231 h 154562"/>
                                                    <a:gd name="connsiteX11" fmla="*/ 14039 w 128373"/>
                                                    <a:gd name="connsiteY11" fmla="*/ 97940 h 154562"/>
                                                    <a:gd name="connsiteX12" fmla="*/ 22072 w 128373"/>
                                                    <a:gd name="connsiteY12" fmla="*/ 106038 h 154562"/>
                                                    <a:gd name="connsiteX13" fmla="*/ 20517 w 128373"/>
                                                    <a:gd name="connsiteY13" fmla="*/ 114784 h 154562"/>
                                                    <a:gd name="connsiteX14" fmla="*/ 35223 w 128373"/>
                                                    <a:gd name="connsiteY14" fmla="*/ 137070 h 154562"/>
                                                    <a:gd name="connsiteX15" fmla="*/ 58158 w 128373"/>
                                                    <a:gd name="connsiteY15" fmla="*/ 153461 h 154562"/>
                                                    <a:gd name="connsiteX16" fmla="*/ 58741 w 128373"/>
                                                    <a:gd name="connsiteY16" fmla="*/ 154563 h 154562"/>
                                                    <a:gd name="connsiteX17" fmla="*/ 56732 w 128373"/>
                                                    <a:gd name="connsiteY17" fmla="*/ 134868 h 154562"/>
                                                    <a:gd name="connsiteX18" fmla="*/ 75715 w 128373"/>
                                                    <a:gd name="connsiteY18" fmla="*/ 128389 h 154562"/>
                                                    <a:gd name="connsiteX19" fmla="*/ 80703 w 128373"/>
                                                    <a:gd name="connsiteY19" fmla="*/ 115108 h 154562"/>
                                                    <a:gd name="connsiteX20" fmla="*/ 88478 w 128373"/>
                                                    <a:gd name="connsiteY20" fmla="*/ 118477 h 154562"/>
                                                    <a:gd name="connsiteX21" fmla="*/ 89967 w 128373"/>
                                                    <a:gd name="connsiteY21" fmla="*/ 127612 h 154562"/>
                                                    <a:gd name="connsiteX22" fmla="*/ 97936 w 128373"/>
                                                    <a:gd name="connsiteY22" fmla="*/ 131693 h 154562"/>
                                                    <a:gd name="connsiteX23" fmla="*/ 102730 w 128373"/>
                                                    <a:gd name="connsiteY23" fmla="*/ 140374 h 154562"/>
                                                    <a:gd name="connsiteX24" fmla="*/ 113744 w 128373"/>
                                                    <a:gd name="connsiteY24" fmla="*/ 139791 h 154562"/>
                                                    <a:gd name="connsiteX25" fmla="*/ 120870 w 128373"/>
                                                    <a:gd name="connsiteY25" fmla="*/ 130398 h 154562"/>
                                                    <a:gd name="connsiteX26" fmla="*/ 125729 w 128373"/>
                                                    <a:gd name="connsiteY26" fmla="*/ 119513 h 154562"/>
                                                    <a:gd name="connsiteX27" fmla="*/ 127284 w 128373"/>
                                                    <a:gd name="connsiteY27" fmla="*/ 96385 h 154562"/>
                                                    <a:gd name="connsiteX28" fmla="*/ 128256 w 128373"/>
                                                    <a:gd name="connsiteY28" fmla="*/ 87445 h 154562"/>
                                                    <a:gd name="connsiteX29" fmla="*/ 117113 w 128373"/>
                                                    <a:gd name="connsiteY29" fmla="*/ 74228 h 154562"/>
                                                    <a:gd name="connsiteX30" fmla="*/ 109727 w 128373"/>
                                                    <a:gd name="connsiteY30" fmla="*/ 59392 h 154562"/>
                                                    <a:gd name="connsiteX31" fmla="*/ 123008 w 128373"/>
                                                    <a:gd name="connsiteY31" fmla="*/ 42548 h 154562"/>
                                                    <a:gd name="connsiteX32" fmla="*/ 112837 w 128373"/>
                                                    <a:gd name="connsiteY32" fmla="*/ 34385 h 154562"/>
                                                    <a:gd name="connsiteX33" fmla="*/ 99945 w 128373"/>
                                                    <a:gd name="connsiteY33" fmla="*/ 30498 h 154562"/>
                                                    <a:gd name="connsiteX34" fmla="*/ 94503 w 128373"/>
                                                    <a:gd name="connsiteY34" fmla="*/ 28036 h 154562"/>
                                                    <a:gd name="connsiteX35" fmla="*/ 92170 w 128373"/>
                                                    <a:gd name="connsiteY35" fmla="*/ 12876 h 154562"/>
                                                    <a:gd name="connsiteX36" fmla="*/ 92948 w 128373"/>
                                                    <a:gd name="connsiteY36" fmla="*/ 10220 h 154562"/>
                                                    <a:gd name="connsiteX37" fmla="*/ 80444 w 128373"/>
                                                    <a:gd name="connsiteY37" fmla="*/ 2964 h 154562"/>
                                                    <a:gd name="connsiteX38" fmla="*/ 74613 w 128373"/>
                                                    <a:gd name="connsiteY38" fmla="*/ 243 h 15456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28373" h="154562">
                                                      <a:moveTo>
                                                        <a:pt x="74678" y="243"/>
                                                      </a:moveTo>
                                                      <a:cubicBezTo>
                                                        <a:pt x="68653" y="-1182"/>
                                                        <a:pt x="62369" y="3871"/>
                                                        <a:pt x="61008" y="9896"/>
                                                      </a:cubicBezTo>
                                                      <a:cubicBezTo>
                                                        <a:pt x="60101" y="14107"/>
                                                        <a:pt x="61008" y="18707"/>
                                                        <a:pt x="59454" y="22724"/>
                                                      </a:cubicBezTo>
                                                      <a:cubicBezTo>
                                                        <a:pt x="58676" y="24667"/>
                                                        <a:pt x="57380" y="26352"/>
                                                        <a:pt x="56797" y="28360"/>
                                                      </a:cubicBezTo>
                                                      <a:cubicBezTo>
                                                        <a:pt x="56279" y="30109"/>
                                                        <a:pt x="56409" y="31988"/>
                                                        <a:pt x="56020" y="33802"/>
                                                      </a:cubicBezTo>
                                                      <a:cubicBezTo>
                                                        <a:pt x="54789" y="38790"/>
                                                        <a:pt x="49671" y="41771"/>
                                                        <a:pt x="44682" y="42937"/>
                                                      </a:cubicBezTo>
                                                      <a:cubicBezTo>
                                                        <a:pt x="39694" y="44103"/>
                                                        <a:pt x="34446" y="44103"/>
                                                        <a:pt x="29652" y="45917"/>
                                                      </a:cubicBezTo>
                                                      <a:cubicBezTo>
                                                        <a:pt x="25311" y="47537"/>
                                                        <a:pt x="21619" y="50646"/>
                                                        <a:pt x="17278" y="52331"/>
                                                      </a:cubicBezTo>
                                                      <a:cubicBezTo>
                                                        <a:pt x="15010" y="53173"/>
                                                        <a:pt x="12678" y="53562"/>
                                                        <a:pt x="10281" y="53821"/>
                                                      </a:cubicBezTo>
                                                      <a:cubicBezTo>
                                                        <a:pt x="11059" y="55376"/>
                                                        <a:pt x="11706" y="56931"/>
                                                        <a:pt x="11836" y="58615"/>
                                                      </a:cubicBezTo>
                                                      <a:cubicBezTo>
                                                        <a:pt x="12354" y="64381"/>
                                                        <a:pt x="5552" y="69369"/>
                                                        <a:pt x="239" y="67231"/>
                                                      </a:cubicBezTo>
                                                      <a:cubicBezTo>
                                                        <a:pt x="-1251" y="78958"/>
                                                        <a:pt x="4321" y="91267"/>
                                                        <a:pt x="14039" y="97940"/>
                                                      </a:cubicBezTo>
                                                      <a:cubicBezTo>
                                                        <a:pt x="17278" y="100143"/>
                                                        <a:pt x="21295" y="102216"/>
                                                        <a:pt x="22072" y="106038"/>
                                                      </a:cubicBezTo>
                                                      <a:cubicBezTo>
                                                        <a:pt x="22655" y="108953"/>
                                                        <a:pt x="21100" y="111869"/>
                                                        <a:pt x="20517" y="114784"/>
                                                      </a:cubicBezTo>
                                                      <a:cubicBezTo>
                                                        <a:pt x="18703" y="124113"/>
                                                        <a:pt x="26931" y="132406"/>
                                                        <a:pt x="35223" y="137070"/>
                                                      </a:cubicBezTo>
                                                      <a:cubicBezTo>
                                                        <a:pt x="43516" y="141735"/>
                                                        <a:pt x="53234" y="145363"/>
                                                        <a:pt x="58158" y="153461"/>
                                                      </a:cubicBezTo>
                                                      <a:cubicBezTo>
                                                        <a:pt x="58352" y="153850"/>
                                                        <a:pt x="58547" y="154174"/>
                                                        <a:pt x="58741" y="154563"/>
                                                      </a:cubicBezTo>
                                                      <a:cubicBezTo>
                                                        <a:pt x="59842" y="147954"/>
                                                        <a:pt x="59259" y="141087"/>
                                                        <a:pt x="56732" y="134868"/>
                                                      </a:cubicBezTo>
                                                      <a:cubicBezTo>
                                                        <a:pt x="63859" y="135451"/>
                                                        <a:pt x="72864" y="134997"/>
                                                        <a:pt x="75715" y="128389"/>
                                                      </a:cubicBezTo>
                                                      <a:cubicBezTo>
                                                        <a:pt x="77658" y="123854"/>
                                                        <a:pt x="76233" y="117181"/>
                                                        <a:pt x="80703" y="115108"/>
                                                      </a:cubicBezTo>
                                                      <a:cubicBezTo>
                                                        <a:pt x="83554" y="113812"/>
                                                        <a:pt x="86988" y="115691"/>
                                                        <a:pt x="88478" y="118477"/>
                                                      </a:cubicBezTo>
                                                      <a:cubicBezTo>
                                                        <a:pt x="89967" y="121198"/>
                                                        <a:pt x="89967" y="124502"/>
                                                        <a:pt x="89967" y="127612"/>
                                                      </a:cubicBezTo>
                                                      <a:cubicBezTo>
                                                        <a:pt x="92883" y="125927"/>
                                                        <a:pt x="96446" y="128648"/>
                                                        <a:pt x="97936" y="131693"/>
                                                      </a:cubicBezTo>
                                                      <a:cubicBezTo>
                                                        <a:pt x="99426" y="134673"/>
                                                        <a:pt x="100139" y="138301"/>
                                                        <a:pt x="102730" y="140374"/>
                                                      </a:cubicBezTo>
                                                      <a:cubicBezTo>
                                                        <a:pt x="105840" y="142836"/>
                                                        <a:pt x="110569" y="142124"/>
                                                        <a:pt x="113744" y="139791"/>
                                                      </a:cubicBezTo>
                                                      <a:cubicBezTo>
                                                        <a:pt x="116919" y="137459"/>
                                                        <a:pt x="118927" y="133896"/>
                                                        <a:pt x="120870" y="130398"/>
                                                      </a:cubicBezTo>
                                                      <a:cubicBezTo>
                                                        <a:pt x="122814" y="126899"/>
                                                        <a:pt x="124693" y="123401"/>
                                                        <a:pt x="125729" y="119513"/>
                                                      </a:cubicBezTo>
                                                      <a:cubicBezTo>
                                                        <a:pt x="127673" y="111998"/>
                                                        <a:pt x="125988" y="104030"/>
                                                        <a:pt x="127284" y="96385"/>
                                                      </a:cubicBezTo>
                                                      <a:cubicBezTo>
                                                        <a:pt x="127738" y="93405"/>
                                                        <a:pt x="128710" y="90425"/>
                                                        <a:pt x="128256" y="87445"/>
                                                      </a:cubicBezTo>
                                                      <a:cubicBezTo>
                                                        <a:pt x="127414" y="81549"/>
                                                        <a:pt x="121842" y="77856"/>
                                                        <a:pt x="117113" y="74228"/>
                                                      </a:cubicBezTo>
                                                      <a:cubicBezTo>
                                                        <a:pt x="112383" y="70600"/>
                                                        <a:pt x="107719" y="64964"/>
                                                        <a:pt x="109727" y="59392"/>
                                                      </a:cubicBezTo>
                                                      <a:cubicBezTo>
                                                        <a:pt x="112189" y="52395"/>
                                                        <a:pt x="123851" y="49934"/>
                                                        <a:pt x="123008" y="42548"/>
                                                      </a:cubicBezTo>
                                                      <a:cubicBezTo>
                                                        <a:pt x="122490" y="37948"/>
                                                        <a:pt x="117242" y="35681"/>
                                                        <a:pt x="112837" y="34385"/>
                                                      </a:cubicBezTo>
                                                      <a:cubicBezTo>
                                                        <a:pt x="108561" y="33089"/>
                                                        <a:pt x="104285" y="31794"/>
                                                        <a:pt x="99945" y="30498"/>
                                                      </a:cubicBezTo>
                                                      <a:cubicBezTo>
                                                        <a:pt x="98001" y="29915"/>
                                                        <a:pt x="96057" y="29332"/>
                                                        <a:pt x="94503" y="28036"/>
                                                      </a:cubicBezTo>
                                                      <a:cubicBezTo>
                                                        <a:pt x="90356" y="24602"/>
                                                        <a:pt x="91069" y="18189"/>
                                                        <a:pt x="92170" y="12876"/>
                                                      </a:cubicBezTo>
                                                      <a:cubicBezTo>
                                                        <a:pt x="92365" y="11969"/>
                                                        <a:pt x="92624" y="11062"/>
                                                        <a:pt x="92948" y="10220"/>
                                                      </a:cubicBezTo>
                                                      <a:cubicBezTo>
                                                        <a:pt x="88737" y="7888"/>
                                                        <a:pt x="84590" y="5491"/>
                                                        <a:pt x="80444" y="2964"/>
                                                      </a:cubicBezTo>
                                                      <a:cubicBezTo>
                                                        <a:pt x="78630" y="1863"/>
                                                        <a:pt x="76751" y="696"/>
                                                        <a:pt x="74613" y="24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0" name="Freeform: Shape 42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FCBEB7A-48C4-43E6-B57A-33B673410B1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268806" y="4320702"/>
                                                  <a:ext cx="55069" cy="5137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6452 w 55069"/>
                                                    <a:gd name="connsiteY0" fmla="*/ 2073 h 51375"/>
                                                    <a:gd name="connsiteX1" fmla="*/ 37318 w 55069"/>
                                                    <a:gd name="connsiteY1" fmla="*/ 713 h 51375"/>
                                                    <a:gd name="connsiteX2" fmla="*/ 21834 w 55069"/>
                                                    <a:gd name="connsiteY2" fmla="*/ 0 h 51375"/>
                                                    <a:gd name="connsiteX3" fmla="*/ 18918 w 55069"/>
                                                    <a:gd name="connsiteY3" fmla="*/ 5118 h 51375"/>
                                                    <a:gd name="connsiteX4" fmla="*/ 8942 w 55069"/>
                                                    <a:gd name="connsiteY4" fmla="*/ 14059 h 51375"/>
                                                    <a:gd name="connsiteX5" fmla="*/ 2787 w 55069"/>
                                                    <a:gd name="connsiteY5" fmla="*/ 48136 h 51375"/>
                                                    <a:gd name="connsiteX6" fmla="*/ 4471 w 55069"/>
                                                    <a:gd name="connsiteY6" fmla="*/ 51375 h 51375"/>
                                                    <a:gd name="connsiteX7" fmla="*/ 11468 w 55069"/>
                                                    <a:gd name="connsiteY7" fmla="*/ 49885 h 51375"/>
                                                    <a:gd name="connsiteX8" fmla="*/ 23842 w 55069"/>
                                                    <a:gd name="connsiteY8" fmla="*/ 43471 h 51375"/>
                                                    <a:gd name="connsiteX9" fmla="*/ 38873 w 55069"/>
                                                    <a:gd name="connsiteY9" fmla="*/ 40491 h 51375"/>
                                                    <a:gd name="connsiteX10" fmla="*/ 50210 w 55069"/>
                                                    <a:gd name="connsiteY10" fmla="*/ 31356 h 51375"/>
                                                    <a:gd name="connsiteX11" fmla="*/ 50987 w 55069"/>
                                                    <a:gd name="connsiteY11" fmla="*/ 25914 h 51375"/>
                                                    <a:gd name="connsiteX12" fmla="*/ 53644 w 55069"/>
                                                    <a:gd name="connsiteY12" fmla="*/ 20278 h 51375"/>
                                                    <a:gd name="connsiteX13" fmla="*/ 55069 w 55069"/>
                                                    <a:gd name="connsiteY13" fmla="*/ 8228 h 51375"/>
                                                    <a:gd name="connsiteX14" fmla="*/ 46388 w 55069"/>
                                                    <a:gd name="connsiteY14" fmla="*/ 1943 h 5137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5069" h="51375">
                                                      <a:moveTo>
                                                        <a:pt x="46452" y="2073"/>
                                                      </a:moveTo>
                                                      <a:cubicBezTo>
                                                        <a:pt x="43537" y="1037"/>
                                                        <a:pt x="40427" y="842"/>
                                                        <a:pt x="37318" y="713"/>
                                                      </a:cubicBezTo>
                                                      <a:cubicBezTo>
                                                        <a:pt x="32135" y="454"/>
                                                        <a:pt x="27017" y="194"/>
                                                        <a:pt x="21834" y="0"/>
                                                      </a:cubicBezTo>
                                                      <a:cubicBezTo>
                                                        <a:pt x="21121" y="1814"/>
                                                        <a:pt x="20214" y="3563"/>
                                                        <a:pt x="18918" y="5118"/>
                                                      </a:cubicBezTo>
                                                      <a:cubicBezTo>
                                                        <a:pt x="16133" y="8616"/>
                                                        <a:pt x="12181" y="10949"/>
                                                        <a:pt x="8942" y="14059"/>
                                                      </a:cubicBezTo>
                                                      <a:cubicBezTo>
                                                        <a:pt x="1" y="22610"/>
                                                        <a:pt x="-2590" y="37057"/>
                                                        <a:pt x="2787" y="48136"/>
                                                      </a:cubicBezTo>
                                                      <a:cubicBezTo>
                                                        <a:pt x="3305" y="49237"/>
                                                        <a:pt x="3889" y="50338"/>
                                                        <a:pt x="4471" y="51375"/>
                                                      </a:cubicBezTo>
                                                      <a:cubicBezTo>
                                                        <a:pt x="6868" y="51181"/>
                                                        <a:pt x="9201" y="50792"/>
                                                        <a:pt x="11468" y="49885"/>
                                                      </a:cubicBezTo>
                                                      <a:cubicBezTo>
                                                        <a:pt x="15809" y="48201"/>
                                                        <a:pt x="19502" y="45156"/>
                                                        <a:pt x="23842" y="43471"/>
                                                      </a:cubicBezTo>
                                                      <a:cubicBezTo>
                                                        <a:pt x="28636" y="41657"/>
                                                        <a:pt x="33884" y="41657"/>
                                                        <a:pt x="38873" y="40491"/>
                                                      </a:cubicBezTo>
                                                      <a:cubicBezTo>
                                                        <a:pt x="43861" y="39325"/>
                                                        <a:pt x="48979" y="36345"/>
                                                        <a:pt x="50210" y="31356"/>
                                                      </a:cubicBezTo>
                                                      <a:cubicBezTo>
                                                        <a:pt x="50664" y="29542"/>
                                                        <a:pt x="50534" y="27663"/>
                                                        <a:pt x="50987" y="25914"/>
                                                      </a:cubicBezTo>
                                                      <a:cubicBezTo>
                                                        <a:pt x="51571" y="23906"/>
                                                        <a:pt x="52867" y="22221"/>
                                                        <a:pt x="53644" y="20278"/>
                                                      </a:cubicBezTo>
                                                      <a:cubicBezTo>
                                                        <a:pt x="55134" y="16520"/>
                                                        <a:pt x="54421" y="12245"/>
                                                        <a:pt x="55069" y="8228"/>
                                                      </a:cubicBezTo>
                                                      <a:cubicBezTo>
                                                        <a:pt x="52542" y="5572"/>
                                                        <a:pt x="49757" y="3174"/>
                                                        <a:pt x="46388" y="194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1" name="Freeform: Shape 43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E01EFE49-BDAF-4693-BFBA-0B83E2626CC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234795" y="4063826"/>
                                                  <a:ext cx="193385" cy="26603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82890 w 193385"/>
                                                    <a:gd name="connsiteY0" fmla="*/ 235497 h 266030"/>
                                                    <a:gd name="connsiteX1" fmla="*/ 174921 w 193385"/>
                                                    <a:gd name="connsiteY1" fmla="*/ 228176 h 266030"/>
                                                    <a:gd name="connsiteX2" fmla="*/ 173043 w 193385"/>
                                                    <a:gd name="connsiteY2" fmla="*/ 218588 h 266030"/>
                                                    <a:gd name="connsiteX3" fmla="*/ 163130 w 193385"/>
                                                    <a:gd name="connsiteY3" fmla="*/ 206473 h 266030"/>
                                                    <a:gd name="connsiteX4" fmla="*/ 159697 w 193385"/>
                                                    <a:gd name="connsiteY4" fmla="*/ 195330 h 266030"/>
                                                    <a:gd name="connsiteX5" fmla="*/ 155486 w 193385"/>
                                                    <a:gd name="connsiteY5" fmla="*/ 192609 h 266030"/>
                                                    <a:gd name="connsiteX6" fmla="*/ 156393 w 193385"/>
                                                    <a:gd name="connsiteY6" fmla="*/ 177449 h 266030"/>
                                                    <a:gd name="connsiteX7" fmla="*/ 149331 w 193385"/>
                                                    <a:gd name="connsiteY7" fmla="*/ 158920 h 266030"/>
                                                    <a:gd name="connsiteX8" fmla="*/ 155486 w 193385"/>
                                                    <a:gd name="connsiteY8" fmla="*/ 148036 h 266030"/>
                                                    <a:gd name="connsiteX9" fmla="*/ 164491 w 193385"/>
                                                    <a:gd name="connsiteY9" fmla="*/ 128860 h 266030"/>
                                                    <a:gd name="connsiteX10" fmla="*/ 173755 w 193385"/>
                                                    <a:gd name="connsiteY10" fmla="*/ 116680 h 266030"/>
                                                    <a:gd name="connsiteX11" fmla="*/ 172460 w 193385"/>
                                                    <a:gd name="connsiteY11" fmla="*/ 91932 h 266030"/>
                                                    <a:gd name="connsiteX12" fmla="*/ 154838 w 193385"/>
                                                    <a:gd name="connsiteY12" fmla="*/ 73274 h 266030"/>
                                                    <a:gd name="connsiteX13" fmla="*/ 146351 w 193385"/>
                                                    <a:gd name="connsiteY13" fmla="*/ 59733 h 266030"/>
                                                    <a:gd name="connsiteX14" fmla="*/ 159243 w 193385"/>
                                                    <a:gd name="connsiteY14" fmla="*/ 51376 h 266030"/>
                                                    <a:gd name="connsiteX15" fmla="*/ 168184 w 193385"/>
                                                    <a:gd name="connsiteY15" fmla="*/ 49756 h 266030"/>
                                                    <a:gd name="connsiteX16" fmla="*/ 172913 w 193385"/>
                                                    <a:gd name="connsiteY16" fmla="*/ 42695 h 266030"/>
                                                    <a:gd name="connsiteX17" fmla="*/ 169868 w 193385"/>
                                                    <a:gd name="connsiteY17" fmla="*/ 37318 h 266030"/>
                                                    <a:gd name="connsiteX18" fmla="*/ 162612 w 193385"/>
                                                    <a:gd name="connsiteY18" fmla="*/ 15809 h 266030"/>
                                                    <a:gd name="connsiteX19" fmla="*/ 162288 w 193385"/>
                                                    <a:gd name="connsiteY19" fmla="*/ 6091 h 266030"/>
                                                    <a:gd name="connsiteX20" fmla="*/ 155680 w 193385"/>
                                                    <a:gd name="connsiteY20" fmla="*/ 1 h 266030"/>
                                                    <a:gd name="connsiteX21" fmla="*/ 148036 w 193385"/>
                                                    <a:gd name="connsiteY21" fmla="*/ 6156 h 266030"/>
                                                    <a:gd name="connsiteX22" fmla="*/ 133329 w 193385"/>
                                                    <a:gd name="connsiteY22" fmla="*/ 33366 h 266030"/>
                                                    <a:gd name="connsiteX23" fmla="*/ 126397 w 193385"/>
                                                    <a:gd name="connsiteY23" fmla="*/ 55069 h 266030"/>
                                                    <a:gd name="connsiteX24" fmla="*/ 118299 w 193385"/>
                                                    <a:gd name="connsiteY24" fmla="*/ 71978 h 266030"/>
                                                    <a:gd name="connsiteX25" fmla="*/ 98345 w 193385"/>
                                                    <a:gd name="connsiteY25" fmla="*/ 109489 h 266030"/>
                                                    <a:gd name="connsiteX26" fmla="*/ 85776 w 193385"/>
                                                    <a:gd name="connsiteY26" fmla="*/ 142918 h 266030"/>
                                                    <a:gd name="connsiteX27" fmla="*/ 59279 w 193385"/>
                                                    <a:gd name="connsiteY27" fmla="*/ 129313 h 266030"/>
                                                    <a:gd name="connsiteX28" fmla="*/ 48719 w 193385"/>
                                                    <a:gd name="connsiteY28" fmla="*/ 133200 h 266030"/>
                                                    <a:gd name="connsiteX29" fmla="*/ 41139 w 193385"/>
                                                    <a:gd name="connsiteY29" fmla="*/ 141752 h 266030"/>
                                                    <a:gd name="connsiteX30" fmla="*/ 32134 w 193385"/>
                                                    <a:gd name="connsiteY30" fmla="*/ 142659 h 266030"/>
                                                    <a:gd name="connsiteX31" fmla="*/ 23582 w 193385"/>
                                                    <a:gd name="connsiteY31" fmla="*/ 157430 h 266030"/>
                                                    <a:gd name="connsiteX32" fmla="*/ 15354 w 193385"/>
                                                    <a:gd name="connsiteY32" fmla="*/ 161512 h 266030"/>
                                                    <a:gd name="connsiteX33" fmla="*/ 12633 w 193385"/>
                                                    <a:gd name="connsiteY33" fmla="*/ 169610 h 266030"/>
                                                    <a:gd name="connsiteX34" fmla="*/ 0 w 193385"/>
                                                    <a:gd name="connsiteY34" fmla="*/ 196431 h 266030"/>
                                                    <a:gd name="connsiteX35" fmla="*/ 35373 w 193385"/>
                                                    <a:gd name="connsiteY35" fmla="*/ 197338 h 266030"/>
                                                    <a:gd name="connsiteX36" fmla="*/ 53578 w 193385"/>
                                                    <a:gd name="connsiteY36" fmla="*/ 226362 h 266030"/>
                                                    <a:gd name="connsiteX37" fmla="*/ 55716 w 193385"/>
                                                    <a:gd name="connsiteY37" fmla="*/ 256811 h 266030"/>
                                                    <a:gd name="connsiteX38" fmla="*/ 71199 w 193385"/>
                                                    <a:gd name="connsiteY38" fmla="*/ 257524 h 266030"/>
                                                    <a:gd name="connsiteX39" fmla="*/ 80334 w 193385"/>
                                                    <a:gd name="connsiteY39" fmla="*/ 258885 h 266030"/>
                                                    <a:gd name="connsiteX40" fmla="*/ 89016 w 193385"/>
                                                    <a:gd name="connsiteY40" fmla="*/ 265169 h 266030"/>
                                                    <a:gd name="connsiteX41" fmla="*/ 89145 w 193385"/>
                                                    <a:gd name="connsiteY41" fmla="*/ 264327 h 266030"/>
                                                    <a:gd name="connsiteX42" fmla="*/ 102815 w 193385"/>
                                                    <a:gd name="connsiteY42" fmla="*/ 254674 h 266030"/>
                                                    <a:gd name="connsiteX43" fmla="*/ 108646 w 193385"/>
                                                    <a:gd name="connsiteY43" fmla="*/ 257395 h 266030"/>
                                                    <a:gd name="connsiteX44" fmla="*/ 121149 w 193385"/>
                                                    <a:gd name="connsiteY44" fmla="*/ 264651 h 266030"/>
                                                    <a:gd name="connsiteX45" fmla="*/ 121927 w 193385"/>
                                                    <a:gd name="connsiteY45" fmla="*/ 263161 h 266030"/>
                                                    <a:gd name="connsiteX46" fmla="*/ 125036 w 193385"/>
                                                    <a:gd name="connsiteY46" fmla="*/ 261087 h 266030"/>
                                                    <a:gd name="connsiteX47" fmla="*/ 151793 w 193385"/>
                                                    <a:gd name="connsiteY47" fmla="*/ 261087 h 266030"/>
                                                    <a:gd name="connsiteX48" fmla="*/ 172071 w 193385"/>
                                                    <a:gd name="connsiteY48" fmla="*/ 265169 h 266030"/>
                                                    <a:gd name="connsiteX49" fmla="*/ 188073 w 193385"/>
                                                    <a:gd name="connsiteY49" fmla="*/ 262707 h 266030"/>
                                                    <a:gd name="connsiteX50" fmla="*/ 190859 w 193385"/>
                                                    <a:gd name="connsiteY50" fmla="*/ 256552 h 266030"/>
                                                    <a:gd name="connsiteX51" fmla="*/ 193386 w 193385"/>
                                                    <a:gd name="connsiteY51" fmla="*/ 249620 h 266030"/>
                                                    <a:gd name="connsiteX52" fmla="*/ 182761 w 193385"/>
                                                    <a:gd name="connsiteY52" fmla="*/ 235497 h 26603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93385" h="266030">
                                                      <a:moveTo>
                                                        <a:pt x="182890" y="235497"/>
                                                      </a:moveTo>
                                                      <a:cubicBezTo>
                                                        <a:pt x="179975" y="233294"/>
                                                        <a:pt x="176412" y="231545"/>
                                                        <a:pt x="174921" y="228176"/>
                                                      </a:cubicBezTo>
                                                      <a:cubicBezTo>
                                                        <a:pt x="173561" y="225196"/>
                                                        <a:pt x="174209" y="221633"/>
                                                        <a:pt x="173043" y="218588"/>
                                                      </a:cubicBezTo>
                                                      <a:cubicBezTo>
                                                        <a:pt x="171164" y="213664"/>
                                                        <a:pt x="165074" y="211397"/>
                                                        <a:pt x="163130" y="206473"/>
                                                      </a:cubicBezTo>
                                                      <a:cubicBezTo>
                                                        <a:pt x="161640" y="202780"/>
                                                        <a:pt x="162677" y="197921"/>
                                                        <a:pt x="159697" y="195330"/>
                                                      </a:cubicBezTo>
                                                      <a:cubicBezTo>
                                                        <a:pt x="158466" y="194228"/>
                                                        <a:pt x="156717" y="193775"/>
                                                        <a:pt x="155486" y="192609"/>
                                                      </a:cubicBezTo>
                                                      <a:cubicBezTo>
                                                        <a:pt x="151728" y="188916"/>
                                                        <a:pt x="156328" y="182761"/>
                                                        <a:pt x="156393" y="177449"/>
                                                      </a:cubicBezTo>
                                                      <a:cubicBezTo>
                                                        <a:pt x="156393" y="170711"/>
                                                        <a:pt x="148813" y="165593"/>
                                                        <a:pt x="149331" y="158920"/>
                                                      </a:cubicBezTo>
                                                      <a:cubicBezTo>
                                                        <a:pt x="149655" y="154709"/>
                                                        <a:pt x="153089" y="151535"/>
                                                        <a:pt x="155486" y="148036"/>
                                                      </a:cubicBezTo>
                                                      <a:cubicBezTo>
                                                        <a:pt x="159502" y="142206"/>
                                                        <a:pt x="160669" y="134820"/>
                                                        <a:pt x="164491" y="128860"/>
                                                      </a:cubicBezTo>
                                                      <a:cubicBezTo>
                                                        <a:pt x="167277" y="124584"/>
                                                        <a:pt x="171293" y="121150"/>
                                                        <a:pt x="173755" y="116680"/>
                                                      </a:cubicBezTo>
                                                      <a:cubicBezTo>
                                                        <a:pt x="177837" y="109100"/>
                                                        <a:pt x="176606" y="99512"/>
                                                        <a:pt x="172460" y="91932"/>
                                                      </a:cubicBezTo>
                                                      <a:cubicBezTo>
                                                        <a:pt x="168314" y="84352"/>
                                                        <a:pt x="161640" y="78521"/>
                                                        <a:pt x="154838" y="73274"/>
                                                      </a:cubicBezTo>
                                                      <a:cubicBezTo>
                                                        <a:pt x="150368" y="69840"/>
                                                        <a:pt x="145249" y="65240"/>
                                                        <a:pt x="146351" y="59733"/>
                                                      </a:cubicBezTo>
                                                      <a:cubicBezTo>
                                                        <a:pt x="147452" y="54356"/>
                                                        <a:pt x="153801" y="51959"/>
                                                        <a:pt x="159243" y="51376"/>
                                                      </a:cubicBezTo>
                                                      <a:cubicBezTo>
                                                        <a:pt x="162288" y="51052"/>
                                                        <a:pt x="165398" y="50987"/>
                                                        <a:pt x="168184" y="49756"/>
                                                      </a:cubicBezTo>
                                                      <a:cubicBezTo>
                                                        <a:pt x="170970" y="48525"/>
                                                        <a:pt x="173302" y="45675"/>
                                                        <a:pt x="172913" y="42695"/>
                                                      </a:cubicBezTo>
                                                      <a:cubicBezTo>
                                                        <a:pt x="172589" y="40622"/>
                                                        <a:pt x="171164" y="39002"/>
                                                        <a:pt x="169868" y="37318"/>
                                                      </a:cubicBezTo>
                                                      <a:cubicBezTo>
                                                        <a:pt x="165139" y="31228"/>
                                                        <a:pt x="162548" y="23518"/>
                                                        <a:pt x="162612" y="15809"/>
                                                      </a:cubicBezTo>
                                                      <a:cubicBezTo>
                                                        <a:pt x="162612" y="12569"/>
                                                        <a:pt x="163130" y="9265"/>
                                                        <a:pt x="162288" y="6091"/>
                                                      </a:cubicBezTo>
                                                      <a:cubicBezTo>
                                                        <a:pt x="161511" y="2981"/>
                                                        <a:pt x="158920" y="-64"/>
                                                        <a:pt x="155680" y="1"/>
                                                      </a:cubicBezTo>
                                                      <a:cubicBezTo>
                                                        <a:pt x="152246" y="1"/>
                                                        <a:pt x="149849" y="3305"/>
                                                        <a:pt x="148036" y="6156"/>
                                                      </a:cubicBezTo>
                                                      <a:cubicBezTo>
                                                        <a:pt x="142529" y="14902"/>
                                                        <a:pt x="136957" y="23713"/>
                                                        <a:pt x="133329" y="33366"/>
                                                      </a:cubicBezTo>
                                                      <a:cubicBezTo>
                                                        <a:pt x="130673" y="40492"/>
                                                        <a:pt x="129053" y="48007"/>
                                                        <a:pt x="126397" y="55069"/>
                                                      </a:cubicBezTo>
                                                      <a:cubicBezTo>
                                                        <a:pt x="124194" y="60900"/>
                                                        <a:pt x="121214" y="66471"/>
                                                        <a:pt x="118299" y="71978"/>
                                                      </a:cubicBezTo>
                                                      <a:cubicBezTo>
                                                        <a:pt x="111626" y="84482"/>
                                                        <a:pt x="105018" y="96985"/>
                                                        <a:pt x="98345" y="109489"/>
                                                      </a:cubicBezTo>
                                                      <a:cubicBezTo>
                                                        <a:pt x="92708" y="120049"/>
                                                        <a:pt x="87007" y="130998"/>
                                                        <a:pt x="85776" y="142918"/>
                                                      </a:cubicBezTo>
                                                      <a:cubicBezTo>
                                                        <a:pt x="75735" y="144732"/>
                                                        <a:pt x="69386" y="130803"/>
                                                        <a:pt x="59279" y="129313"/>
                                                      </a:cubicBezTo>
                                                      <a:cubicBezTo>
                                                        <a:pt x="55392" y="128730"/>
                                                        <a:pt x="51310" y="130220"/>
                                                        <a:pt x="48719" y="133200"/>
                                                      </a:cubicBezTo>
                                                      <a:cubicBezTo>
                                                        <a:pt x="46192" y="136116"/>
                                                        <a:pt x="44767" y="140392"/>
                                                        <a:pt x="41139" y="141752"/>
                                                      </a:cubicBezTo>
                                                      <a:cubicBezTo>
                                                        <a:pt x="38289" y="142789"/>
                                                        <a:pt x="34920" y="141493"/>
                                                        <a:pt x="32134" y="142659"/>
                                                      </a:cubicBezTo>
                                                      <a:cubicBezTo>
                                                        <a:pt x="26757" y="144991"/>
                                                        <a:pt x="28182" y="153802"/>
                                                        <a:pt x="23582" y="157430"/>
                                                      </a:cubicBezTo>
                                                      <a:cubicBezTo>
                                                        <a:pt x="21185" y="159374"/>
                                                        <a:pt x="17557" y="159374"/>
                                                        <a:pt x="15354" y="161512"/>
                                                      </a:cubicBezTo>
                                                      <a:cubicBezTo>
                                                        <a:pt x="13281" y="163520"/>
                                                        <a:pt x="13152" y="166759"/>
                                                        <a:pt x="12633" y="169610"/>
                                                      </a:cubicBezTo>
                                                      <a:cubicBezTo>
                                                        <a:pt x="11014" y="179393"/>
                                                        <a:pt x="4341" y="187491"/>
                                                        <a:pt x="0" y="196431"/>
                                                      </a:cubicBezTo>
                                                      <a:cubicBezTo>
                                                        <a:pt x="12050" y="195006"/>
                                                        <a:pt x="24813" y="191637"/>
                                                        <a:pt x="35373" y="197338"/>
                                                      </a:cubicBezTo>
                                                      <a:cubicBezTo>
                                                        <a:pt x="45739" y="202910"/>
                                                        <a:pt x="50080" y="215219"/>
                                                        <a:pt x="53578" y="226362"/>
                                                      </a:cubicBezTo>
                                                      <a:cubicBezTo>
                                                        <a:pt x="56688" y="236210"/>
                                                        <a:pt x="59408" y="247677"/>
                                                        <a:pt x="55716" y="256811"/>
                                                      </a:cubicBezTo>
                                                      <a:cubicBezTo>
                                                        <a:pt x="60899" y="257071"/>
                                                        <a:pt x="66017" y="257330"/>
                                                        <a:pt x="71199" y="257524"/>
                                                      </a:cubicBezTo>
                                                      <a:cubicBezTo>
                                                        <a:pt x="74309" y="257654"/>
                                                        <a:pt x="77419" y="257848"/>
                                                        <a:pt x="80334" y="258885"/>
                                                      </a:cubicBezTo>
                                                      <a:cubicBezTo>
                                                        <a:pt x="83768" y="260116"/>
                                                        <a:pt x="86489" y="262513"/>
                                                        <a:pt x="89016" y="265169"/>
                                                      </a:cubicBezTo>
                                                      <a:cubicBezTo>
                                                        <a:pt x="89016" y="264910"/>
                                                        <a:pt x="89016" y="264651"/>
                                                        <a:pt x="89145" y="264327"/>
                                                      </a:cubicBezTo>
                                                      <a:cubicBezTo>
                                                        <a:pt x="90506" y="258237"/>
                                                        <a:pt x="96790" y="253248"/>
                                                        <a:pt x="102815" y="254674"/>
                                                      </a:cubicBezTo>
                                                      <a:cubicBezTo>
                                                        <a:pt x="104888" y="255127"/>
                                                        <a:pt x="106767" y="256293"/>
                                                        <a:pt x="108646" y="257395"/>
                                                      </a:cubicBezTo>
                                                      <a:cubicBezTo>
                                                        <a:pt x="112792" y="259921"/>
                                                        <a:pt x="116938" y="262318"/>
                                                        <a:pt x="121149" y="264651"/>
                                                      </a:cubicBezTo>
                                                      <a:cubicBezTo>
                                                        <a:pt x="121344" y="264132"/>
                                                        <a:pt x="121603" y="263549"/>
                                                        <a:pt x="121927" y="263161"/>
                                                      </a:cubicBezTo>
                                                      <a:cubicBezTo>
                                                        <a:pt x="122704" y="262189"/>
                                                        <a:pt x="123870" y="261541"/>
                                                        <a:pt x="125036" y="261087"/>
                                                      </a:cubicBezTo>
                                                      <a:cubicBezTo>
                                                        <a:pt x="133394" y="257589"/>
                                                        <a:pt x="142917" y="259273"/>
                                                        <a:pt x="151793" y="261087"/>
                                                      </a:cubicBezTo>
                                                      <a:cubicBezTo>
                                                        <a:pt x="158531" y="262448"/>
                                                        <a:pt x="165268" y="263808"/>
                                                        <a:pt x="172071" y="265169"/>
                                                      </a:cubicBezTo>
                                                      <a:cubicBezTo>
                                                        <a:pt x="177642" y="266270"/>
                                                        <a:pt x="184380" y="267048"/>
                                                        <a:pt x="188073" y="262707"/>
                                                      </a:cubicBezTo>
                                                      <a:cubicBezTo>
                                                        <a:pt x="189563" y="260958"/>
                                                        <a:pt x="190211" y="258690"/>
                                                        <a:pt x="190859" y="256552"/>
                                                      </a:cubicBezTo>
                                                      <a:cubicBezTo>
                                                        <a:pt x="191571" y="254220"/>
                                                        <a:pt x="192543" y="251953"/>
                                                        <a:pt x="193386" y="249620"/>
                                                      </a:cubicBezTo>
                                                      <a:cubicBezTo>
                                                        <a:pt x="190794" y="244114"/>
                                                        <a:pt x="187555" y="239125"/>
                                                        <a:pt x="182761" y="235497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2" name="Freeform: Shape 43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E964D120-1E26-42FB-8C5C-FB67275913E1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84165" y="4084452"/>
                                                  <a:ext cx="316237" cy="22918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15597 w 316237"/>
                                                    <a:gd name="connsiteY0" fmla="*/ 156046 h 229188"/>
                                                    <a:gd name="connsiteX1" fmla="*/ 308535 w 316237"/>
                                                    <a:gd name="connsiteY1" fmla="*/ 148660 h 229188"/>
                                                    <a:gd name="connsiteX2" fmla="*/ 286897 w 316237"/>
                                                    <a:gd name="connsiteY2" fmla="*/ 122940 h 229188"/>
                                                    <a:gd name="connsiteX3" fmla="*/ 281843 w 316237"/>
                                                    <a:gd name="connsiteY3" fmla="*/ 114518 h 229188"/>
                                                    <a:gd name="connsiteX4" fmla="*/ 270376 w 316237"/>
                                                    <a:gd name="connsiteY4" fmla="*/ 106808 h 229188"/>
                                                    <a:gd name="connsiteX5" fmla="*/ 267461 w 316237"/>
                                                    <a:gd name="connsiteY5" fmla="*/ 94758 h 229188"/>
                                                    <a:gd name="connsiteX6" fmla="*/ 252689 w 316237"/>
                                                    <a:gd name="connsiteY6" fmla="*/ 76035 h 229188"/>
                                                    <a:gd name="connsiteX7" fmla="*/ 218223 w 316237"/>
                                                    <a:gd name="connsiteY7" fmla="*/ 62689 h 229188"/>
                                                    <a:gd name="connsiteX8" fmla="*/ 220167 w 316237"/>
                                                    <a:gd name="connsiteY8" fmla="*/ 53101 h 229188"/>
                                                    <a:gd name="connsiteX9" fmla="*/ 217122 w 316237"/>
                                                    <a:gd name="connsiteY9" fmla="*/ 43059 h 229188"/>
                                                    <a:gd name="connsiteX10" fmla="*/ 221204 w 316237"/>
                                                    <a:gd name="connsiteY10" fmla="*/ 32305 h 229188"/>
                                                    <a:gd name="connsiteX11" fmla="*/ 221009 w 316237"/>
                                                    <a:gd name="connsiteY11" fmla="*/ 21421 h 229188"/>
                                                    <a:gd name="connsiteX12" fmla="*/ 215503 w 316237"/>
                                                    <a:gd name="connsiteY12" fmla="*/ 17534 h 229188"/>
                                                    <a:gd name="connsiteX13" fmla="*/ 212911 w 316237"/>
                                                    <a:gd name="connsiteY13" fmla="*/ 10019 h 229188"/>
                                                    <a:gd name="connsiteX14" fmla="*/ 186090 w 316237"/>
                                                    <a:gd name="connsiteY14" fmla="*/ 2698 h 229188"/>
                                                    <a:gd name="connsiteX15" fmla="*/ 167756 w 316237"/>
                                                    <a:gd name="connsiteY15" fmla="*/ 17469 h 229188"/>
                                                    <a:gd name="connsiteX16" fmla="*/ 160176 w 316237"/>
                                                    <a:gd name="connsiteY16" fmla="*/ 25891 h 229188"/>
                                                    <a:gd name="connsiteX17" fmla="*/ 151948 w 316237"/>
                                                    <a:gd name="connsiteY17" fmla="*/ 38006 h 229188"/>
                                                    <a:gd name="connsiteX18" fmla="*/ 138732 w 316237"/>
                                                    <a:gd name="connsiteY18" fmla="*/ 43966 h 229188"/>
                                                    <a:gd name="connsiteX19" fmla="*/ 134585 w 316237"/>
                                                    <a:gd name="connsiteY19" fmla="*/ 47789 h 229188"/>
                                                    <a:gd name="connsiteX20" fmla="*/ 121175 w 316237"/>
                                                    <a:gd name="connsiteY20" fmla="*/ 51482 h 229188"/>
                                                    <a:gd name="connsiteX21" fmla="*/ 109189 w 316237"/>
                                                    <a:gd name="connsiteY21" fmla="*/ 57766 h 229188"/>
                                                    <a:gd name="connsiteX22" fmla="*/ 105756 w 316237"/>
                                                    <a:gd name="connsiteY22" fmla="*/ 68844 h 229188"/>
                                                    <a:gd name="connsiteX23" fmla="*/ 94936 w 316237"/>
                                                    <a:gd name="connsiteY23" fmla="*/ 75646 h 229188"/>
                                                    <a:gd name="connsiteX24" fmla="*/ 92216 w 316237"/>
                                                    <a:gd name="connsiteY24" fmla="*/ 79598 h 229188"/>
                                                    <a:gd name="connsiteX25" fmla="*/ 86968 w 316237"/>
                                                    <a:gd name="connsiteY25" fmla="*/ 82902 h 229188"/>
                                                    <a:gd name="connsiteX26" fmla="*/ 64098 w 316237"/>
                                                    <a:gd name="connsiteY26" fmla="*/ 89835 h 229188"/>
                                                    <a:gd name="connsiteX27" fmla="*/ 55028 w 316237"/>
                                                    <a:gd name="connsiteY27" fmla="*/ 90418 h 229188"/>
                                                    <a:gd name="connsiteX28" fmla="*/ 47448 w 316237"/>
                                                    <a:gd name="connsiteY28" fmla="*/ 93009 h 229188"/>
                                                    <a:gd name="connsiteX29" fmla="*/ 26199 w 316237"/>
                                                    <a:gd name="connsiteY29" fmla="*/ 93787 h 229188"/>
                                                    <a:gd name="connsiteX30" fmla="*/ 25551 w 316237"/>
                                                    <a:gd name="connsiteY30" fmla="*/ 93787 h 229188"/>
                                                    <a:gd name="connsiteX31" fmla="*/ 24450 w 316237"/>
                                                    <a:gd name="connsiteY31" fmla="*/ 96248 h 229188"/>
                                                    <a:gd name="connsiteX32" fmla="*/ 15185 w 316237"/>
                                                    <a:gd name="connsiteY32" fmla="*/ 108428 h 229188"/>
                                                    <a:gd name="connsiteX33" fmla="*/ 6180 w 316237"/>
                                                    <a:gd name="connsiteY33" fmla="*/ 127605 h 229188"/>
                                                    <a:gd name="connsiteX34" fmla="*/ 25 w 316237"/>
                                                    <a:gd name="connsiteY34" fmla="*/ 138489 h 229188"/>
                                                    <a:gd name="connsiteX35" fmla="*/ 7087 w 316237"/>
                                                    <a:gd name="connsiteY35" fmla="*/ 157017 h 229188"/>
                                                    <a:gd name="connsiteX36" fmla="*/ 6180 w 316237"/>
                                                    <a:gd name="connsiteY36" fmla="*/ 172177 h 229188"/>
                                                    <a:gd name="connsiteX37" fmla="*/ 10391 w 316237"/>
                                                    <a:gd name="connsiteY37" fmla="*/ 174898 h 229188"/>
                                                    <a:gd name="connsiteX38" fmla="*/ 13825 w 316237"/>
                                                    <a:gd name="connsiteY38" fmla="*/ 186041 h 229188"/>
                                                    <a:gd name="connsiteX39" fmla="*/ 23737 w 316237"/>
                                                    <a:gd name="connsiteY39" fmla="*/ 198156 h 229188"/>
                                                    <a:gd name="connsiteX40" fmla="*/ 25616 w 316237"/>
                                                    <a:gd name="connsiteY40" fmla="*/ 207745 h 229188"/>
                                                    <a:gd name="connsiteX41" fmla="*/ 33584 w 316237"/>
                                                    <a:gd name="connsiteY41" fmla="*/ 215065 h 229188"/>
                                                    <a:gd name="connsiteX42" fmla="*/ 44209 w 316237"/>
                                                    <a:gd name="connsiteY42" fmla="*/ 229189 h 229188"/>
                                                    <a:gd name="connsiteX43" fmla="*/ 51660 w 316237"/>
                                                    <a:gd name="connsiteY43" fmla="*/ 212604 h 229188"/>
                                                    <a:gd name="connsiteX44" fmla="*/ 60147 w 316237"/>
                                                    <a:gd name="connsiteY44" fmla="*/ 201979 h 229188"/>
                                                    <a:gd name="connsiteX45" fmla="*/ 82433 w 316237"/>
                                                    <a:gd name="connsiteY45" fmla="*/ 197703 h 229188"/>
                                                    <a:gd name="connsiteX46" fmla="*/ 94807 w 316237"/>
                                                    <a:gd name="connsiteY46" fmla="*/ 196731 h 229188"/>
                                                    <a:gd name="connsiteX47" fmla="*/ 95131 w 316237"/>
                                                    <a:gd name="connsiteY47" fmla="*/ 185847 h 229188"/>
                                                    <a:gd name="connsiteX48" fmla="*/ 116575 w 316237"/>
                                                    <a:gd name="connsiteY48" fmla="*/ 165116 h 229188"/>
                                                    <a:gd name="connsiteX49" fmla="*/ 121887 w 316237"/>
                                                    <a:gd name="connsiteY49" fmla="*/ 163366 h 229188"/>
                                                    <a:gd name="connsiteX50" fmla="*/ 126811 w 316237"/>
                                                    <a:gd name="connsiteY50" fmla="*/ 165310 h 229188"/>
                                                    <a:gd name="connsiteX51" fmla="*/ 178057 w 316237"/>
                                                    <a:gd name="connsiteY51" fmla="*/ 186301 h 229188"/>
                                                    <a:gd name="connsiteX52" fmla="*/ 182332 w 316237"/>
                                                    <a:gd name="connsiteY52" fmla="*/ 186301 h 229188"/>
                                                    <a:gd name="connsiteX53" fmla="*/ 184988 w 316237"/>
                                                    <a:gd name="connsiteY53" fmla="*/ 182090 h 229188"/>
                                                    <a:gd name="connsiteX54" fmla="*/ 205785 w 316237"/>
                                                    <a:gd name="connsiteY54" fmla="*/ 169845 h 229188"/>
                                                    <a:gd name="connsiteX55" fmla="*/ 271348 w 316237"/>
                                                    <a:gd name="connsiteY55" fmla="*/ 155268 h 229188"/>
                                                    <a:gd name="connsiteX56" fmla="*/ 279641 w 316237"/>
                                                    <a:gd name="connsiteY56" fmla="*/ 154296 h 229188"/>
                                                    <a:gd name="connsiteX57" fmla="*/ 291302 w 316237"/>
                                                    <a:gd name="connsiteY57" fmla="*/ 157601 h 229188"/>
                                                    <a:gd name="connsiteX58" fmla="*/ 303482 w 316237"/>
                                                    <a:gd name="connsiteY58" fmla="*/ 159803 h 229188"/>
                                                    <a:gd name="connsiteX59" fmla="*/ 315338 w 316237"/>
                                                    <a:gd name="connsiteY59" fmla="*/ 167124 h 229188"/>
                                                    <a:gd name="connsiteX60" fmla="*/ 315726 w 316237"/>
                                                    <a:gd name="connsiteY60" fmla="*/ 164597 h 229188"/>
                                                    <a:gd name="connsiteX61" fmla="*/ 315661 w 316237"/>
                                                    <a:gd name="connsiteY61" fmla="*/ 156305 h 22918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16237" h="229188">
                                                      <a:moveTo>
                                                        <a:pt x="315597" y="156046"/>
                                                      </a:moveTo>
                                                      <a:cubicBezTo>
                                                        <a:pt x="314366" y="152806"/>
                                                        <a:pt x="311320" y="150733"/>
                                                        <a:pt x="308535" y="148660"/>
                                                      </a:cubicBezTo>
                                                      <a:cubicBezTo>
                                                        <a:pt x="299465" y="141922"/>
                                                        <a:pt x="292014" y="132982"/>
                                                        <a:pt x="286897" y="122940"/>
                                                      </a:cubicBezTo>
                                                      <a:cubicBezTo>
                                                        <a:pt x="285406" y="120025"/>
                                                        <a:pt x="284111" y="116915"/>
                                                        <a:pt x="281843" y="114518"/>
                                                      </a:cubicBezTo>
                                                      <a:cubicBezTo>
                                                        <a:pt x="278669" y="111149"/>
                                                        <a:pt x="274004" y="109659"/>
                                                        <a:pt x="270376" y="106808"/>
                                                      </a:cubicBezTo>
                                                      <a:cubicBezTo>
                                                        <a:pt x="266748" y="103958"/>
                                                        <a:pt x="264351" y="98192"/>
                                                        <a:pt x="267461" y="94758"/>
                                                      </a:cubicBezTo>
                                                      <a:cubicBezTo>
                                                        <a:pt x="258197" y="95212"/>
                                                        <a:pt x="250098" y="84911"/>
                                                        <a:pt x="252689" y="76035"/>
                                                      </a:cubicBezTo>
                                                      <a:cubicBezTo>
                                                        <a:pt x="240186" y="78368"/>
                                                        <a:pt x="230663" y="60227"/>
                                                        <a:pt x="218223" y="62689"/>
                                                      </a:cubicBezTo>
                                                      <a:cubicBezTo>
                                                        <a:pt x="221204" y="60811"/>
                                                        <a:pt x="221269" y="56405"/>
                                                        <a:pt x="220167" y="53101"/>
                                                      </a:cubicBezTo>
                                                      <a:cubicBezTo>
                                                        <a:pt x="219066" y="49732"/>
                                                        <a:pt x="217122" y="46558"/>
                                                        <a:pt x="217122" y="43059"/>
                                                      </a:cubicBezTo>
                                                      <a:cubicBezTo>
                                                        <a:pt x="217122" y="39172"/>
                                                        <a:pt x="219584" y="35803"/>
                                                        <a:pt x="221204" y="32305"/>
                                                      </a:cubicBezTo>
                                                      <a:cubicBezTo>
                                                        <a:pt x="222888" y="28807"/>
                                                        <a:pt x="223666" y="24207"/>
                                                        <a:pt x="221009" y="21421"/>
                                                      </a:cubicBezTo>
                                                      <a:cubicBezTo>
                                                        <a:pt x="219454" y="19801"/>
                                                        <a:pt x="217057" y="19218"/>
                                                        <a:pt x="215503" y="17534"/>
                                                      </a:cubicBezTo>
                                                      <a:cubicBezTo>
                                                        <a:pt x="213689" y="15525"/>
                                                        <a:pt x="213559" y="12610"/>
                                                        <a:pt x="212911" y="10019"/>
                                                      </a:cubicBezTo>
                                                      <a:cubicBezTo>
                                                        <a:pt x="210190" y="-282"/>
                                                        <a:pt x="195419" y="-2485"/>
                                                        <a:pt x="186090" y="2698"/>
                                                      </a:cubicBezTo>
                                                      <a:cubicBezTo>
                                                        <a:pt x="179223" y="6520"/>
                                                        <a:pt x="173457" y="12027"/>
                                                        <a:pt x="167756" y="17469"/>
                                                      </a:cubicBezTo>
                                                      <a:cubicBezTo>
                                                        <a:pt x="165035" y="20060"/>
                                                        <a:pt x="162249" y="22717"/>
                                                        <a:pt x="160176" y="25891"/>
                                                      </a:cubicBezTo>
                                                      <a:cubicBezTo>
                                                        <a:pt x="157519" y="30037"/>
                                                        <a:pt x="155900" y="35091"/>
                                                        <a:pt x="151948" y="38006"/>
                                                      </a:cubicBezTo>
                                                      <a:cubicBezTo>
                                                        <a:pt x="147996" y="40857"/>
                                                        <a:pt x="142554" y="40986"/>
                                                        <a:pt x="138732" y="43966"/>
                                                      </a:cubicBezTo>
                                                      <a:cubicBezTo>
                                                        <a:pt x="137241" y="45132"/>
                                                        <a:pt x="136075" y="46623"/>
                                                        <a:pt x="134585" y="47789"/>
                                                      </a:cubicBezTo>
                                                      <a:cubicBezTo>
                                                        <a:pt x="130892" y="50639"/>
                                                        <a:pt x="125839" y="50834"/>
                                                        <a:pt x="121175" y="51482"/>
                                                      </a:cubicBezTo>
                                                      <a:cubicBezTo>
                                                        <a:pt x="116510" y="52129"/>
                                                        <a:pt x="111392" y="53619"/>
                                                        <a:pt x="109189" y="57766"/>
                                                      </a:cubicBezTo>
                                                      <a:cubicBezTo>
                                                        <a:pt x="107375" y="61199"/>
                                                        <a:pt x="108153" y="65734"/>
                                                        <a:pt x="105756" y="68844"/>
                                                      </a:cubicBezTo>
                                                      <a:cubicBezTo>
                                                        <a:pt x="103099" y="72213"/>
                                                        <a:pt x="97787" y="72407"/>
                                                        <a:pt x="94936" y="75646"/>
                                                      </a:cubicBezTo>
                                                      <a:cubicBezTo>
                                                        <a:pt x="93900" y="76877"/>
                                                        <a:pt x="93252" y="78432"/>
                                                        <a:pt x="92216" y="79598"/>
                                                      </a:cubicBezTo>
                                                      <a:cubicBezTo>
                                                        <a:pt x="90855" y="81153"/>
                                                        <a:pt x="88847" y="82060"/>
                                                        <a:pt x="86968" y="82902"/>
                                                      </a:cubicBezTo>
                                                      <a:cubicBezTo>
                                                        <a:pt x="79647" y="86142"/>
                                                        <a:pt x="72067" y="89446"/>
                                                        <a:pt x="64098" y="89835"/>
                                                      </a:cubicBezTo>
                                                      <a:cubicBezTo>
                                                        <a:pt x="61054" y="90029"/>
                                                        <a:pt x="58008" y="89770"/>
                                                        <a:pt x="55028" y="90418"/>
                                                      </a:cubicBezTo>
                                                      <a:cubicBezTo>
                                                        <a:pt x="52437" y="91001"/>
                                                        <a:pt x="49975" y="92167"/>
                                                        <a:pt x="47448" y="93009"/>
                                                      </a:cubicBezTo>
                                                      <a:cubicBezTo>
                                                        <a:pt x="40646" y="95082"/>
                                                        <a:pt x="33325" y="94046"/>
                                                        <a:pt x="26199" y="93787"/>
                                                      </a:cubicBezTo>
                                                      <a:cubicBezTo>
                                                        <a:pt x="26004" y="93787"/>
                                                        <a:pt x="25745" y="93787"/>
                                                        <a:pt x="25551" y="93787"/>
                                                      </a:cubicBezTo>
                                                      <a:cubicBezTo>
                                                        <a:pt x="25227" y="94629"/>
                                                        <a:pt x="24903" y="95406"/>
                                                        <a:pt x="24450" y="96248"/>
                                                      </a:cubicBezTo>
                                                      <a:cubicBezTo>
                                                        <a:pt x="21988" y="100719"/>
                                                        <a:pt x="17971" y="104152"/>
                                                        <a:pt x="15185" y="108428"/>
                                                      </a:cubicBezTo>
                                                      <a:cubicBezTo>
                                                        <a:pt x="11363" y="114388"/>
                                                        <a:pt x="10132" y="121774"/>
                                                        <a:pt x="6180" y="127605"/>
                                                      </a:cubicBezTo>
                                                      <a:cubicBezTo>
                                                        <a:pt x="3783" y="131103"/>
                                                        <a:pt x="349" y="134278"/>
                                                        <a:pt x="25" y="138489"/>
                                                      </a:cubicBezTo>
                                                      <a:cubicBezTo>
                                                        <a:pt x="-493" y="145162"/>
                                                        <a:pt x="7152" y="150280"/>
                                                        <a:pt x="7087" y="157017"/>
                                                      </a:cubicBezTo>
                                                      <a:cubicBezTo>
                                                        <a:pt x="7087" y="162330"/>
                                                        <a:pt x="2422" y="168420"/>
                                                        <a:pt x="6180" y="172177"/>
                                                      </a:cubicBezTo>
                                                      <a:cubicBezTo>
                                                        <a:pt x="7346" y="173343"/>
                                                        <a:pt x="9095" y="173797"/>
                                                        <a:pt x="10391" y="174898"/>
                                                      </a:cubicBezTo>
                                                      <a:cubicBezTo>
                                                        <a:pt x="13371" y="177554"/>
                                                        <a:pt x="12335" y="182413"/>
                                                        <a:pt x="13825" y="186041"/>
                                                      </a:cubicBezTo>
                                                      <a:cubicBezTo>
                                                        <a:pt x="15768" y="190965"/>
                                                        <a:pt x="21793" y="193233"/>
                                                        <a:pt x="23737" y="198156"/>
                                                      </a:cubicBezTo>
                                                      <a:cubicBezTo>
                                                        <a:pt x="24903" y="201201"/>
                                                        <a:pt x="24255" y="204765"/>
                                                        <a:pt x="25616" y="207745"/>
                                                      </a:cubicBezTo>
                                                      <a:cubicBezTo>
                                                        <a:pt x="27106" y="211049"/>
                                                        <a:pt x="30669" y="212863"/>
                                                        <a:pt x="33584" y="215065"/>
                                                      </a:cubicBezTo>
                                                      <a:cubicBezTo>
                                                        <a:pt x="38379" y="218693"/>
                                                        <a:pt x="41618" y="223747"/>
                                                        <a:pt x="44209" y="229189"/>
                                                      </a:cubicBezTo>
                                                      <a:cubicBezTo>
                                                        <a:pt x="46347" y="223488"/>
                                                        <a:pt x="48744" y="217916"/>
                                                        <a:pt x="51660" y="212604"/>
                                                      </a:cubicBezTo>
                                                      <a:cubicBezTo>
                                                        <a:pt x="53862" y="208587"/>
                                                        <a:pt x="56389" y="204635"/>
                                                        <a:pt x="60147" y="201979"/>
                                                      </a:cubicBezTo>
                                                      <a:cubicBezTo>
                                                        <a:pt x="66431" y="197573"/>
                                                        <a:pt x="74788" y="197897"/>
                                                        <a:pt x="82433" y="197703"/>
                                                      </a:cubicBezTo>
                                                      <a:cubicBezTo>
                                                        <a:pt x="86579" y="197573"/>
                                                        <a:pt x="90660" y="197249"/>
                                                        <a:pt x="94807" y="196731"/>
                                                      </a:cubicBezTo>
                                                      <a:cubicBezTo>
                                                        <a:pt x="94353" y="193038"/>
                                                        <a:pt x="94224" y="189410"/>
                                                        <a:pt x="95131" y="185847"/>
                                                      </a:cubicBezTo>
                                                      <a:cubicBezTo>
                                                        <a:pt x="97787" y="175935"/>
                                                        <a:pt x="107570" y="169974"/>
                                                        <a:pt x="116575" y="165116"/>
                                                      </a:cubicBezTo>
                                                      <a:cubicBezTo>
                                                        <a:pt x="118259" y="164209"/>
                                                        <a:pt x="120008" y="163302"/>
                                                        <a:pt x="121887" y="163366"/>
                                                      </a:cubicBezTo>
                                                      <a:cubicBezTo>
                                                        <a:pt x="123701" y="163431"/>
                                                        <a:pt x="125256" y="164403"/>
                                                        <a:pt x="126811" y="165310"/>
                                                      </a:cubicBezTo>
                                                      <a:cubicBezTo>
                                                        <a:pt x="142748" y="174833"/>
                                                        <a:pt x="160046" y="181960"/>
                                                        <a:pt x="178057" y="186301"/>
                                                      </a:cubicBezTo>
                                                      <a:cubicBezTo>
                                                        <a:pt x="179482" y="186624"/>
                                                        <a:pt x="181036" y="186948"/>
                                                        <a:pt x="182332" y="186301"/>
                                                      </a:cubicBezTo>
                                                      <a:cubicBezTo>
                                                        <a:pt x="183822" y="185458"/>
                                                        <a:pt x="184276" y="183644"/>
                                                        <a:pt x="184988" y="182090"/>
                                                      </a:cubicBezTo>
                                                      <a:cubicBezTo>
                                                        <a:pt x="188228" y="174380"/>
                                                        <a:pt x="197557" y="171659"/>
                                                        <a:pt x="205785" y="169845"/>
                                                      </a:cubicBezTo>
                                                      <a:cubicBezTo>
                                                        <a:pt x="227617" y="164986"/>
                                                        <a:pt x="249515" y="160127"/>
                                                        <a:pt x="271348" y="155268"/>
                                                      </a:cubicBezTo>
                                                      <a:cubicBezTo>
                                                        <a:pt x="274069" y="154685"/>
                                                        <a:pt x="276855" y="154037"/>
                                                        <a:pt x="279641" y="154296"/>
                                                      </a:cubicBezTo>
                                                      <a:cubicBezTo>
                                                        <a:pt x="283657" y="154620"/>
                                                        <a:pt x="287350" y="156629"/>
                                                        <a:pt x="291302" y="157601"/>
                                                      </a:cubicBezTo>
                                                      <a:cubicBezTo>
                                                        <a:pt x="295319" y="158637"/>
                                                        <a:pt x="299530" y="158572"/>
                                                        <a:pt x="303482" y="159803"/>
                                                      </a:cubicBezTo>
                                                      <a:cubicBezTo>
                                                        <a:pt x="307952" y="161229"/>
                                                        <a:pt x="311709" y="164079"/>
                                                        <a:pt x="315338" y="167124"/>
                                                      </a:cubicBezTo>
                                                      <a:cubicBezTo>
                                                        <a:pt x="315467" y="166282"/>
                                                        <a:pt x="315597" y="165440"/>
                                                        <a:pt x="315726" y="164597"/>
                                                      </a:cubicBezTo>
                                                      <a:cubicBezTo>
                                                        <a:pt x="316179" y="161812"/>
                                                        <a:pt x="316633" y="158961"/>
                                                        <a:pt x="315661" y="15630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3" name="Freeform: Shape 43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82579DB-4FB2-4D86-80E5-A7E66DC78EA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098744" y="4009472"/>
                                                  <a:ext cx="288685" cy="25143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86094 w 288685"/>
                                                    <a:gd name="connsiteY0" fmla="*/ 27858 h 251439"/>
                                                    <a:gd name="connsiteX1" fmla="*/ 278385 w 288685"/>
                                                    <a:gd name="connsiteY1" fmla="*/ 17492 h 251439"/>
                                                    <a:gd name="connsiteX2" fmla="*/ 255645 w 288685"/>
                                                    <a:gd name="connsiteY2" fmla="*/ 7645 h 251439"/>
                                                    <a:gd name="connsiteX3" fmla="*/ 249361 w 288685"/>
                                                    <a:gd name="connsiteY3" fmla="*/ 11662 h 251439"/>
                                                    <a:gd name="connsiteX4" fmla="*/ 218004 w 288685"/>
                                                    <a:gd name="connsiteY4" fmla="*/ 13411 h 251439"/>
                                                    <a:gd name="connsiteX5" fmla="*/ 208740 w 288685"/>
                                                    <a:gd name="connsiteY5" fmla="*/ 9005 h 251439"/>
                                                    <a:gd name="connsiteX6" fmla="*/ 190276 w 288685"/>
                                                    <a:gd name="connsiteY6" fmla="*/ 16585 h 251439"/>
                                                    <a:gd name="connsiteX7" fmla="*/ 154968 w 288685"/>
                                                    <a:gd name="connsiteY7" fmla="*/ 28700 h 251439"/>
                                                    <a:gd name="connsiteX8" fmla="*/ 148100 w 288685"/>
                                                    <a:gd name="connsiteY8" fmla="*/ 27404 h 251439"/>
                                                    <a:gd name="connsiteX9" fmla="*/ 144019 w 288685"/>
                                                    <a:gd name="connsiteY9" fmla="*/ 21120 h 251439"/>
                                                    <a:gd name="connsiteX10" fmla="*/ 116161 w 288685"/>
                                                    <a:gd name="connsiteY10" fmla="*/ 18723 h 251439"/>
                                                    <a:gd name="connsiteX11" fmla="*/ 106378 w 288685"/>
                                                    <a:gd name="connsiteY11" fmla="*/ 20861 h 251439"/>
                                                    <a:gd name="connsiteX12" fmla="*/ 94652 w 288685"/>
                                                    <a:gd name="connsiteY12" fmla="*/ 2008 h 251439"/>
                                                    <a:gd name="connsiteX13" fmla="*/ 85259 w 288685"/>
                                                    <a:gd name="connsiteY13" fmla="*/ 0 h 251439"/>
                                                    <a:gd name="connsiteX14" fmla="*/ 64074 w 288685"/>
                                                    <a:gd name="connsiteY14" fmla="*/ 0 h 251439"/>
                                                    <a:gd name="connsiteX15" fmla="*/ 56299 w 288685"/>
                                                    <a:gd name="connsiteY15" fmla="*/ 972 h 251439"/>
                                                    <a:gd name="connsiteX16" fmla="*/ 50080 w 288685"/>
                                                    <a:gd name="connsiteY16" fmla="*/ 5118 h 251439"/>
                                                    <a:gd name="connsiteX17" fmla="*/ 37058 w 288685"/>
                                                    <a:gd name="connsiteY17" fmla="*/ 10301 h 251439"/>
                                                    <a:gd name="connsiteX18" fmla="*/ 28960 w 288685"/>
                                                    <a:gd name="connsiteY18" fmla="*/ 34984 h 251439"/>
                                                    <a:gd name="connsiteX19" fmla="*/ 22093 w 288685"/>
                                                    <a:gd name="connsiteY19" fmla="*/ 46192 h 251439"/>
                                                    <a:gd name="connsiteX20" fmla="*/ 20797 w 288685"/>
                                                    <a:gd name="connsiteY20" fmla="*/ 56364 h 251439"/>
                                                    <a:gd name="connsiteX21" fmla="*/ 22805 w 288685"/>
                                                    <a:gd name="connsiteY21" fmla="*/ 85712 h 251439"/>
                                                    <a:gd name="connsiteX22" fmla="*/ 24878 w 288685"/>
                                                    <a:gd name="connsiteY22" fmla="*/ 95235 h 251439"/>
                                                    <a:gd name="connsiteX23" fmla="*/ 3175 w 288685"/>
                                                    <a:gd name="connsiteY23" fmla="*/ 132228 h 251439"/>
                                                    <a:gd name="connsiteX24" fmla="*/ 5313 w 288685"/>
                                                    <a:gd name="connsiteY24" fmla="*/ 179392 h 251439"/>
                                                    <a:gd name="connsiteX25" fmla="*/ 7062 w 288685"/>
                                                    <a:gd name="connsiteY25" fmla="*/ 193709 h 251439"/>
                                                    <a:gd name="connsiteX26" fmla="*/ 24813 w 288685"/>
                                                    <a:gd name="connsiteY26" fmla="*/ 197337 h 251439"/>
                                                    <a:gd name="connsiteX27" fmla="*/ 50080 w 288685"/>
                                                    <a:gd name="connsiteY27" fmla="*/ 206861 h 251439"/>
                                                    <a:gd name="connsiteX28" fmla="*/ 66147 w 288685"/>
                                                    <a:gd name="connsiteY28" fmla="*/ 224353 h 251439"/>
                                                    <a:gd name="connsiteX29" fmla="*/ 134237 w 288685"/>
                                                    <a:gd name="connsiteY29" fmla="*/ 251045 h 251439"/>
                                                    <a:gd name="connsiteX30" fmla="*/ 136115 w 288685"/>
                                                    <a:gd name="connsiteY30" fmla="*/ 250786 h 251439"/>
                                                    <a:gd name="connsiteX31" fmla="*/ 148749 w 288685"/>
                                                    <a:gd name="connsiteY31" fmla="*/ 223964 h 251439"/>
                                                    <a:gd name="connsiteX32" fmla="*/ 151469 w 288685"/>
                                                    <a:gd name="connsiteY32" fmla="*/ 215866 h 251439"/>
                                                    <a:gd name="connsiteX33" fmla="*/ 159697 w 288685"/>
                                                    <a:gd name="connsiteY33" fmla="*/ 211785 h 251439"/>
                                                    <a:gd name="connsiteX34" fmla="*/ 168249 w 288685"/>
                                                    <a:gd name="connsiteY34" fmla="*/ 197013 h 251439"/>
                                                    <a:gd name="connsiteX35" fmla="*/ 177254 w 288685"/>
                                                    <a:gd name="connsiteY35" fmla="*/ 196106 h 251439"/>
                                                    <a:gd name="connsiteX36" fmla="*/ 184834 w 288685"/>
                                                    <a:gd name="connsiteY36" fmla="*/ 187555 h 251439"/>
                                                    <a:gd name="connsiteX37" fmla="*/ 195394 w 288685"/>
                                                    <a:gd name="connsiteY37" fmla="*/ 183668 h 251439"/>
                                                    <a:gd name="connsiteX38" fmla="*/ 221891 w 288685"/>
                                                    <a:gd name="connsiteY38" fmla="*/ 197273 h 251439"/>
                                                    <a:gd name="connsiteX39" fmla="*/ 234460 w 288685"/>
                                                    <a:gd name="connsiteY39" fmla="*/ 163843 h 251439"/>
                                                    <a:gd name="connsiteX40" fmla="*/ 254414 w 288685"/>
                                                    <a:gd name="connsiteY40" fmla="*/ 126332 h 251439"/>
                                                    <a:gd name="connsiteX41" fmla="*/ 262512 w 288685"/>
                                                    <a:gd name="connsiteY41" fmla="*/ 109423 h 251439"/>
                                                    <a:gd name="connsiteX42" fmla="*/ 269444 w 288685"/>
                                                    <a:gd name="connsiteY42" fmla="*/ 87720 h 251439"/>
                                                    <a:gd name="connsiteX43" fmla="*/ 284150 w 288685"/>
                                                    <a:gd name="connsiteY43" fmla="*/ 60510 h 251439"/>
                                                    <a:gd name="connsiteX44" fmla="*/ 288686 w 288685"/>
                                                    <a:gd name="connsiteY44" fmla="*/ 55457 h 251439"/>
                                                    <a:gd name="connsiteX45" fmla="*/ 287714 w 288685"/>
                                                    <a:gd name="connsiteY45" fmla="*/ 36280 h 251439"/>
                                                    <a:gd name="connsiteX46" fmla="*/ 286094 w 288685"/>
                                                    <a:gd name="connsiteY46" fmla="*/ 27858 h 25143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88685" h="251439">
                                                      <a:moveTo>
                                                        <a:pt x="286094" y="27858"/>
                                                      </a:moveTo>
                                                      <a:cubicBezTo>
                                                        <a:pt x="284539" y="23841"/>
                                                        <a:pt x="281430" y="20602"/>
                                                        <a:pt x="278385" y="17492"/>
                                                      </a:cubicBezTo>
                                                      <a:cubicBezTo>
                                                        <a:pt x="272230" y="11208"/>
                                                        <a:pt x="263808" y="4341"/>
                                                        <a:pt x="255645" y="7645"/>
                                                      </a:cubicBezTo>
                                                      <a:cubicBezTo>
                                                        <a:pt x="253313" y="8617"/>
                                                        <a:pt x="251434" y="10301"/>
                                                        <a:pt x="249361" y="11662"/>
                                                      </a:cubicBezTo>
                                                      <a:cubicBezTo>
                                                        <a:pt x="240291" y="17881"/>
                                                        <a:pt x="227722" y="18593"/>
                                                        <a:pt x="218004" y="13411"/>
                                                      </a:cubicBezTo>
                                                      <a:cubicBezTo>
                                                        <a:pt x="214959" y="11791"/>
                                                        <a:pt x="212109" y="9653"/>
                                                        <a:pt x="208740" y="9005"/>
                                                      </a:cubicBezTo>
                                                      <a:cubicBezTo>
                                                        <a:pt x="202002" y="7710"/>
                                                        <a:pt x="195912" y="12698"/>
                                                        <a:pt x="190276" y="16585"/>
                                                      </a:cubicBezTo>
                                                      <a:cubicBezTo>
                                                        <a:pt x="179910" y="23712"/>
                                                        <a:pt x="167536" y="27923"/>
                                                        <a:pt x="154968" y="28700"/>
                                                      </a:cubicBezTo>
                                                      <a:cubicBezTo>
                                                        <a:pt x="152571" y="28830"/>
                                                        <a:pt x="150044" y="28830"/>
                                                        <a:pt x="148100" y="27404"/>
                                                      </a:cubicBezTo>
                                                      <a:cubicBezTo>
                                                        <a:pt x="146092" y="25914"/>
                                                        <a:pt x="145380" y="23258"/>
                                                        <a:pt x="144019" y="21120"/>
                                                      </a:cubicBezTo>
                                                      <a:cubicBezTo>
                                                        <a:pt x="138642" y="12439"/>
                                                        <a:pt x="125425" y="14318"/>
                                                        <a:pt x="116161" y="18723"/>
                                                      </a:cubicBezTo>
                                                      <a:cubicBezTo>
                                                        <a:pt x="113052" y="20213"/>
                                                        <a:pt x="109618" y="21898"/>
                                                        <a:pt x="106378" y="20861"/>
                                                      </a:cubicBezTo>
                                                      <a:cubicBezTo>
                                                        <a:pt x="99058" y="18529"/>
                                                        <a:pt x="100807" y="6479"/>
                                                        <a:pt x="94652" y="2008"/>
                                                      </a:cubicBezTo>
                                                      <a:cubicBezTo>
                                                        <a:pt x="91996" y="130"/>
                                                        <a:pt x="88498" y="0"/>
                                                        <a:pt x="85259" y="0"/>
                                                      </a:cubicBezTo>
                                                      <a:lnTo>
                                                        <a:pt x="64074" y="0"/>
                                                      </a:lnTo>
                                                      <a:cubicBezTo>
                                                        <a:pt x="61418" y="0"/>
                                                        <a:pt x="58696" y="0"/>
                                                        <a:pt x="56299" y="972"/>
                                                      </a:cubicBezTo>
                                                      <a:cubicBezTo>
                                                        <a:pt x="53967" y="1944"/>
                                                        <a:pt x="52088" y="3693"/>
                                                        <a:pt x="50080" y="5118"/>
                                                      </a:cubicBezTo>
                                                      <a:cubicBezTo>
                                                        <a:pt x="46257" y="7904"/>
                                                        <a:pt x="41722" y="9653"/>
                                                        <a:pt x="37058" y="10301"/>
                                                      </a:cubicBezTo>
                                                      <a:cubicBezTo>
                                                        <a:pt x="36669" y="19047"/>
                                                        <a:pt x="33819" y="27664"/>
                                                        <a:pt x="28960" y="34984"/>
                                                      </a:cubicBezTo>
                                                      <a:cubicBezTo>
                                                        <a:pt x="26498" y="38612"/>
                                                        <a:pt x="23518" y="42046"/>
                                                        <a:pt x="22093" y="46192"/>
                                                      </a:cubicBezTo>
                                                      <a:cubicBezTo>
                                                        <a:pt x="20991" y="49432"/>
                                                        <a:pt x="20862" y="52930"/>
                                                        <a:pt x="20797" y="56364"/>
                                                      </a:cubicBezTo>
                                                      <a:cubicBezTo>
                                                        <a:pt x="20602" y="66211"/>
                                                        <a:pt x="20408" y="76188"/>
                                                        <a:pt x="22805" y="85712"/>
                                                      </a:cubicBezTo>
                                                      <a:cubicBezTo>
                                                        <a:pt x="23582" y="88886"/>
                                                        <a:pt x="24684" y="91996"/>
                                                        <a:pt x="24878" y="95235"/>
                                                      </a:cubicBezTo>
                                                      <a:cubicBezTo>
                                                        <a:pt x="25721" y="109812"/>
                                                        <a:pt x="9459" y="119011"/>
                                                        <a:pt x="3175" y="132228"/>
                                                      </a:cubicBezTo>
                                                      <a:cubicBezTo>
                                                        <a:pt x="-3692" y="146740"/>
                                                        <a:pt x="2268" y="163649"/>
                                                        <a:pt x="5313" y="179392"/>
                                                      </a:cubicBezTo>
                                                      <a:cubicBezTo>
                                                        <a:pt x="6220" y="184121"/>
                                                        <a:pt x="6738" y="188915"/>
                                                        <a:pt x="7062" y="193709"/>
                                                      </a:cubicBezTo>
                                                      <a:cubicBezTo>
                                                        <a:pt x="13022" y="194746"/>
                                                        <a:pt x="18983" y="196042"/>
                                                        <a:pt x="24813" y="197337"/>
                                                      </a:cubicBezTo>
                                                      <a:cubicBezTo>
                                                        <a:pt x="33689" y="199346"/>
                                                        <a:pt x="42759" y="201484"/>
                                                        <a:pt x="50080" y="206861"/>
                                                      </a:cubicBezTo>
                                                      <a:cubicBezTo>
                                                        <a:pt x="56494" y="211590"/>
                                                        <a:pt x="60899" y="218393"/>
                                                        <a:pt x="66147" y="224353"/>
                                                      </a:cubicBezTo>
                                                      <a:cubicBezTo>
                                                        <a:pt x="82862" y="243335"/>
                                                        <a:pt x="109035" y="253636"/>
                                                        <a:pt x="134237" y="251045"/>
                                                      </a:cubicBezTo>
                                                      <a:cubicBezTo>
                                                        <a:pt x="134819" y="251045"/>
                                                        <a:pt x="135468" y="250915"/>
                                                        <a:pt x="136115" y="250786"/>
                                                      </a:cubicBezTo>
                                                      <a:cubicBezTo>
                                                        <a:pt x="140456" y="241845"/>
                                                        <a:pt x="147129" y="233747"/>
                                                        <a:pt x="148749" y="223964"/>
                                                      </a:cubicBezTo>
                                                      <a:cubicBezTo>
                                                        <a:pt x="149202" y="221114"/>
                                                        <a:pt x="149396" y="217939"/>
                                                        <a:pt x="151469" y="215866"/>
                                                      </a:cubicBezTo>
                                                      <a:cubicBezTo>
                                                        <a:pt x="153672" y="213728"/>
                                                        <a:pt x="157300" y="213663"/>
                                                        <a:pt x="159697" y="211785"/>
                                                      </a:cubicBezTo>
                                                      <a:cubicBezTo>
                                                        <a:pt x="164297" y="208157"/>
                                                        <a:pt x="162872" y="199346"/>
                                                        <a:pt x="168249" y="197013"/>
                                                      </a:cubicBezTo>
                                                      <a:cubicBezTo>
                                                        <a:pt x="171035" y="195782"/>
                                                        <a:pt x="174403" y="197078"/>
                                                        <a:pt x="177254" y="196106"/>
                                                      </a:cubicBezTo>
                                                      <a:cubicBezTo>
                                                        <a:pt x="180882" y="194811"/>
                                                        <a:pt x="182243" y="190470"/>
                                                        <a:pt x="184834" y="187555"/>
                                                      </a:cubicBezTo>
                                                      <a:cubicBezTo>
                                                        <a:pt x="187425" y="184639"/>
                                                        <a:pt x="191507" y="183149"/>
                                                        <a:pt x="195394" y="183668"/>
                                                      </a:cubicBezTo>
                                                      <a:cubicBezTo>
                                                        <a:pt x="205501" y="185158"/>
                                                        <a:pt x="211850" y="199022"/>
                                                        <a:pt x="221891" y="197273"/>
                                                      </a:cubicBezTo>
                                                      <a:cubicBezTo>
                                                        <a:pt x="223122" y="185352"/>
                                                        <a:pt x="228824" y="174403"/>
                                                        <a:pt x="234460" y="163843"/>
                                                      </a:cubicBezTo>
                                                      <a:cubicBezTo>
                                                        <a:pt x="241133" y="151340"/>
                                                        <a:pt x="247741" y="138836"/>
                                                        <a:pt x="254414" y="126332"/>
                                                      </a:cubicBezTo>
                                                      <a:cubicBezTo>
                                                        <a:pt x="257329" y="120826"/>
                                                        <a:pt x="260309" y="115254"/>
                                                        <a:pt x="262512" y="109423"/>
                                                      </a:cubicBezTo>
                                                      <a:cubicBezTo>
                                                        <a:pt x="265233" y="102297"/>
                                                        <a:pt x="266788" y="94846"/>
                                                        <a:pt x="269444" y="87720"/>
                                                      </a:cubicBezTo>
                                                      <a:cubicBezTo>
                                                        <a:pt x="273072" y="78067"/>
                                                        <a:pt x="278644" y="69256"/>
                                                        <a:pt x="284150" y="60510"/>
                                                      </a:cubicBezTo>
                                                      <a:cubicBezTo>
                                                        <a:pt x="285381" y="58631"/>
                                                        <a:pt x="286872" y="56623"/>
                                                        <a:pt x="288686" y="55457"/>
                                                      </a:cubicBezTo>
                                                      <a:cubicBezTo>
                                                        <a:pt x="288556" y="49043"/>
                                                        <a:pt x="288297" y="42629"/>
                                                        <a:pt x="287714" y="36280"/>
                                                      </a:cubicBezTo>
                                                      <a:cubicBezTo>
                                                        <a:pt x="287455" y="33429"/>
                                                        <a:pt x="287131" y="30514"/>
                                                        <a:pt x="286094" y="2785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4" name="Freeform: Shape 43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644489B-E74D-4FA8-A843-49252CDF57B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058552" y="4051644"/>
                                                  <a:ext cx="65166" cy="15186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9221 w 65166"/>
                                                    <a:gd name="connsiteY0" fmla="*/ 2141 h 151861"/>
                                                    <a:gd name="connsiteX1" fmla="*/ 33973 w 65166"/>
                                                    <a:gd name="connsiteY1" fmla="*/ 16265 h 151861"/>
                                                    <a:gd name="connsiteX2" fmla="*/ 30021 w 65166"/>
                                                    <a:gd name="connsiteY2" fmla="*/ 19245 h 151861"/>
                                                    <a:gd name="connsiteX3" fmla="*/ 12140 w 65166"/>
                                                    <a:gd name="connsiteY3" fmla="*/ 27861 h 151861"/>
                                                    <a:gd name="connsiteX4" fmla="*/ 220 w 65166"/>
                                                    <a:gd name="connsiteY4" fmla="*/ 42956 h 151861"/>
                                                    <a:gd name="connsiteX5" fmla="*/ 14408 w 65166"/>
                                                    <a:gd name="connsiteY5" fmla="*/ 70490 h 151861"/>
                                                    <a:gd name="connsiteX6" fmla="*/ 19849 w 65166"/>
                                                    <a:gd name="connsiteY6" fmla="*/ 79301 h 151861"/>
                                                    <a:gd name="connsiteX7" fmla="*/ 21016 w 65166"/>
                                                    <a:gd name="connsiteY7" fmla="*/ 87788 h 151861"/>
                                                    <a:gd name="connsiteX8" fmla="*/ 11622 w 65166"/>
                                                    <a:gd name="connsiteY8" fmla="*/ 151861 h 151861"/>
                                                    <a:gd name="connsiteX9" fmla="*/ 15055 w 65166"/>
                                                    <a:gd name="connsiteY9" fmla="*/ 151019 h 151861"/>
                                                    <a:gd name="connsiteX10" fmla="*/ 47319 w 65166"/>
                                                    <a:gd name="connsiteY10" fmla="*/ 151472 h 151861"/>
                                                    <a:gd name="connsiteX11" fmla="*/ 45570 w 65166"/>
                                                    <a:gd name="connsiteY11" fmla="*/ 137155 h 151861"/>
                                                    <a:gd name="connsiteX12" fmla="*/ 43432 w 65166"/>
                                                    <a:gd name="connsiteY12" fmla="*/ 89991 h 151861"/>
                                                    <a:gd name="connsiteX13" fmla="*/ 65135 w 65166"/>
                                                    <a:gd name="connsiteY13" fmla="*/ 52998 h 151861"/>
                                                    <a:gd name="connsiteX14" fmla="*/ 63062 w 65166"/>
                                                    <a:gd name="connsiteY14" fmla="*/ 43475 h 151861"/>
                                                    <a:gd name="connsiteX15" fmla="*/ 61053 w 65166"/>
                                                    <a:gd name="connsiteY15" fmla="*/ 14127 h 151861"/>
                                                    <a:gd name="connsiteX16" fmla="*/ 61766 w 65166"/>
                                                    <a:gd name="connsiteY16" fmla="*/ 6028 h 151861"/>
                                                    <a:gd name="connsiteX17" fmla="*/ 55546 w 65166"/>
                                                    <a:gd name="connsiteY17" fmla="*/ 3243 h 151861"/>
                                                    <a:gd name="connsiteX18" fmla="*/ 39221 w 65166"/>
                                                    <a:gd name="connsiteY18" fmla="*/ 2206 h 15186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5166" h="151861">
                                                      <a:moveTo>
                                                        <a:pt x="39221" y="2141"/>
                                                      </a:moveTo>
                                                      <a:cubicBezTo>
                                                        <a:pt x="35657" y="5769"/>
                                                        <a:pt x="37148" y="12313"/>
                                                        <a:pt x="33973" y="16265"/>
                                                      </a:cubicBezTo>
                                                      <a:cubicBezTo>
                                                        <a:pt x="32936" y="17560"/>
                                                        <a:pt x="31511" y="18467"/>
                                                        <a:pt x="30021" y="19245"/>
                                                      </a:cubicBezTo>
                                                      <a:cubicBezTo>
                                                        <a:pt x="24190" y="22419"/>
                                                        <a:pt x="17841" y="24492"/>
                                                        <a:pt x="12140" y="27861"/>
                                                      </a:cubicBezTo>
                                                      <a:cubicBezTo>
                                                        <a:pt x="6439" y="31230"/>
                                                        <a:pt x="1256" y="36413"/>
                                                        <a:pt x="220" y="42956"/>
                                                      </a:cubicBezTo>
                                                      <a:cubicBezTo>
                                                        <a:pt x="-1530" y="53516"/>
                                                        <a:pt x="7540" y="62262"/>
                                                        <a:pt x="14408" y="70490"/>
                                                      </a:cubicBezTo>
                                                      <a:cubicBezTo>
                                                        <a:pt x="16610" y="73147"/>
                                                        <a:pt x="18748" y="76062"/>
                                                        <a:pt x="19849" y="79301"/>
                                                      </a:cubicBezTo>
                                                      <a:cubicBezTo>
                                                        <a:pt x="20757" y="82022"/>
                                                        <a:pt x="20951" y="84937"/>
                                                        <a:pt x="21016" y="87788"/>
                                                      </a:cubicBezTo>
                                                      <a:cubicBezTo>
                                                        <a:pt x="21469" y="109427"/>
                                                        <a:pt x="14537" y="130482"/>
                                                        <a:pt x="11622" y="151861"/>
                                                      </a:cubicBezTo>
                                                      <a:cubicBezTo>
                                                        <a:pt x="12788" y="151537"/>
                                                        <a:pt x="13889" y="151213"/>
                                                        <a:pt x="15055" y="151019"/>
                                                      </a:cubicBezTo>
                                                      <a:cubicBezTo>
                                                        <a:pt x="25680" y="148881"/>
                                                        <a:pt x="36564" y="149658"/>
                                                        <a:pt x="47319" y="151472"/>
                                                      </a:cubicBezTo>
                                                      <a:cubicBezTo>
                                                        <a:pt x="46995" y="146678"/>
                                                        <a:pt x="46477" y="141884"/>
                                                        <a:pt x="45570" y="137155"/>
                                                      </a:cubicBezTo>
                                                      <a:cubicBezTo>
                                                        <a:pt x="42524" y="121412"/>
                                                        <a:pt x="36564" y="104438"/>
                                                        <a:pt x="43432" y="89991"/>
                                                      </a:cubicBezTo>
                                                      <a:cubicBezTo>
                                                        <a:pt x="49716" y="76774"/>
                                                        <a:pt x="65977" y="67575"/>
                                                        <a:pt x="65135" y="52998"/>
                                                      </a:cubicBezTo>
                                                      <a:cubicBezTo>
                                                        <a:pt x="64940" y="49759"/>
                                                        <a:pt x="63904" y="46649"/>
                                                        <a:pt x="63062" y="43475"/>
                                                      </a:cubicBezTo>
                                                      <a:cubicBezTo>
                                                        <a:pt x="60665" y="33951"/>
                                                        <a:pt x="60859" y="23974"/>
                                                        <a:pt x="61053" y="14127"/>
                                                      </a:cubicBezTo>
                                                      <a:cubicBezTo>
                                                        <a:pt x="61053" y="11406"/>
                                                        <a:pt x="61183" y="8685"/>
                                                        <a:pt x="61766" y="6028"/>
                                                      </a:cubicBezTo>
                                                      <a:cubicBezTo>
                                                        <a:pt x="59693" y="5121"/>
                                                        <a:pt x="57620" y="4214"/>
                                                        <a:pt x="55546" y="3243"/>
                                                      </a:cubicBezTo>
                                                      <a:cubicBezTo>
                                                        <a:pt x="50299" y="651"/>
                                                        <a:pt x="43302" y="-2005"/>
                                                        <a:pt x="39221" y="220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5" name="Freeform: Shape 43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1E9366F-F46E-4019-B7C8-FB53248DC87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030411" y="4087247"/>
                                                  <a:ext cx="49114" cy="12519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095 w 49114"/>
                                                    <a:gd name="connsiteY0" fmla="*/ 357 h 125198"/>
                                                    <a:gd name="connsiteX1" fmla="*/ 633 w 49114"/>
                                                    <a:gd name="connsiteY1" fmla="*/ 1329 h 125198"/>
                                                    <a:gd name="connsiteX2" fmla="*/ 244 w 49114"/>
                                                    <a:gd name="connsiteY2" fmla="*/ 5151 h 125198"/>
                                                    <a:gd name="connsiteX3" fmla="*/ 5557 w 49114"/>
                                                    <a:gd name="connsiteY3" fmla="*/ 56785 h 125198"/>
                                                    <a:gd name="connsiteX4" fmla="*/ 7047 w 49114"/>
                                                    <a:gd name="connsiteY4" fmla="*/ 65726 h 125198"/>
                                                    <a:gd name="connsiteX5" fmla="*/ 13849 w 49114"/>
                                                    <a:gd name="connsiteY5" fmla="*/ 72398 h 125198"/>
                                                    <a:gd name="connsiteX6" fmla="*/ 16765 w 49114"/>
                                                    <a:gd name="connsiteY6" fmla="*/ 86003 h 125198"/>
                                                    <a:gd name="connsiteX7" fmla="*/ 14692 w 49114"/>
                                                    <a:gd name="connsiteY7" fmla="*/ 125199 h 125198"/>
                                                    <a:gd name="connsiteX8" fmla="*/ 19421 w 49114"/>
                                                    <a:gd name="connsiteY8" fmla="*/ 123514 h 125198"/>
                                                    <a:gd name="connsiteX9" fmla="*/ 39699 w 49114"/>
                                                    <a:gd name="connsiteY9" fmla="*/ 116323 h 125198"/>
                                                    <a:gd name="connsiteX10" fmla="*/ 49093 w 49114"/>
                                                    <a:gd name="connsiteY10" fmla="*/ 52250 h 125198"/>
                                                    <a:gd name="connsiteX11" fmla="*/ 47927 w 49114"/>
                                                    <a:gd name="connsiteY11" fmla="*/ 43763 h 125198"/>
                                                    <a:gd name="connsiteX12" fmla="*/ 42485 w 49114"/>
                                                    <a:gd name="connsiteY12" fmla="*/ 34952 h 125198"/>
                                                    <a:gd name="connsiteX13" fmla="*/ 28296 w 49114"/>
                                                    <a:gd name="connsiteY13" fmla="*/ 7418 h 125198"/>
                                                    <a:gd name="connsiteX14" fmla="*/ 29398 w 49114"/>
                                                    <a:gd name="connsiteY14" fmla="*/ 3790 h 125198"/>
                                                    <a:gd name="connsiteX15" fmla="*/ 3095 w 49114"/>
                                                    <a:gd name="connsiteY15" fmla="*/ 421 h 12519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9114" h="125198">
                                                      <a:moveTo>
                                                        <a:pt x="3095" y="357"/>
                                                      </a:moveTo>
                                                      <a:cubicBezTo>
                                                        <a:pt x="2188" y="486"/>
                                                        <a:pt x="1281" y="681"/>
                                                        <a:pt x="633" y="1329"/>
                                                      </a:cubicBezTo>
                                                      <a:cubicBezTo>
                                                        <a:pt x="-274" y="2300"/>
                                                        <a:pt x="-15" y="3855"/>
                                                        <a:pt x="244" y="5151"/>
                                                      </a:cubicBezTo>
                                                      <a:cubicBezTo>
                                                        <a:pt x="4002" y="22060"/>
                                                        <a:pt x="5751" y="39422"/>
                                                        <a:pt x="5557" y="56785"/>
                                                      </a:cubicBezTo>
                                                      <a:cubicBezTo>
                                                        <a:pt x="5557" y="59830"/>
                                                        <a:pt x="5492" y="63134"/>
                                                        <a:pt x="7047" y="65726"/>
                                                      </a:cubicBezTo>
                                                      <a:cubicBezTo>
                                                        <a:pt x="8731" y="68446"/>
                                                        <a:pt x="11841" y="69937"/>
                                                        <a:pt x="13849" y="72398"/>
                                                      </a:cubicBezTo>
                                                      <a:cubicBezTo>
                                                        <a:pt x="16829" y="76091"/>
                                                        <a:pt x="16894" y="81274"/>
                                                        <a:pt x="16765" y="86003"/>
                                                      </a:cubicBezTo>
                                                      <a:cubicBezTo>
                                                        <a:pt x="16505" y="99090"/>
                                                        <a:pt x="16182" y="112242"/>
                                                        <a:pt x="14692" y="125199"/>
                                                      </a:cubicBezTo>
                                                      <a:cubicBezTo>
                                                        <a:pt x="16246" y="124616"/>
                                                        <a:pt x="17866" y="124097"/>
                                                        <a:pt x="19421" y="123514"/>
                                                      </a:cubicBezTo>
                                                      <a:cubicBezTo>
                                                        <a:pt x="26094" y="120923"/>
                                                        <a:pt x="32767" y="118137"/>
                                                        <a:pt x="39699" y="116323"/>
                                                      </a:cubicBezTo>
                                                      <a:cubicBezTo>
                                                        <a:pt x="42614" y="94944"/>
                                                        <a:pt x="49546" y="73824"/>
                                                        <a:pt x="49093" y="52250"/>
                                                      </a:cubicBezTo>
                                                      <a:cubicBezTo>
                                                        <a:pt x="49093" y="49399"/>
                                                        <a:pt x="48833" y="46484"/>
                                                        <a:pt x="47927" y="43763"/>
                                                      </a:cubicBezTo>
                                                      <a:cubicBezTo>
                                                        <a:pt x="46825" y="40459"/>
                                                        <a:pt x="44752" y="37608"/>
                                                        <a:pt x="42485" y="34952"/>
                                                      </a:cubicBezTo>
                                                      <a:cubicBezTo>
                                                        <a:pt x="35617" y="26724"/>
                                                        <a:pt x="26612" y="17978"/>
                                                        <a:pt x="28296" y="7418"/>
                                                      </a:cubicBezTo>
                                                      <a:cubicBezTo>
                                                        <a:pt x="28491" y="6123"/>
                                                        <a:pt x="28880" y="4957"/>
                                                        <a:pt x="29398" y="3790"/>
                                                      </a:cubicBezTo>
                                                      <a:cubicBezTo>
                                                        <a:pt x="21041" y="551"/>
                                                        <a:pt x="11970" y="-745"/>
                                                        <a:pt x="3095" y="42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6" name="Freeform: Shape 43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DB5D71A-A427-430D-867C-2A4DC0D6CCA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948292" y="4087458"/>
                                                  <a:ext cx="98980" cy="14364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7332 w 98980"/>
                                                    <a:gd name="connsiteY0" fmla="*/ 1441 h 143645"/>
                                                    <a:gd name="connsiteX1" fmla="*/ 35847 w 98980"/>
                                                    <a:gd name="connsiteY1" fmla="*/ 81 h 143645"/>
                                                    <a:gd name="connsiteX2" fmla="*/ 20233 w 98980"/>
                                                    <a:gd name="connsiteY2" fmla="*/ 4162 h 143645"/>
                                                    <a:gd name="connsiteX3" fmla="*/ 17124 w 98980"/>
                                                    <a:gd name="connsiteY3" fmla="*/ 11677 h 143645"/>
                                                    <a:gd name="connsiteX4" fmla="*/ 19456 w 98980"/>
                                                    <a:gd name="connsiteY4" fmla="*/ 70373 h 143645"/>
                                                    <a:gd name="connsiteX5" fmla="*/ 15698 w 98980"/>
                                                    <a:gd name="connsiteY5" fmla="*/ 85144 h 143645"/>
                                                    <a:gd name="connsiteX6" fmla="*/ 11617 w 98980"/>
                                                    <a:gd name="connsiteY6" fmla="*/ 89744 h 143645"/>
                                                    <a:gd name="connsiteX7" fmla="*/ 4555 w 98980"/>
                                                    <a:gd name="connsiteY7" fmla="*/ 112225 h 143645"/>
                                                    <a:gd name="connsiteX8" fmla="*/ 1251 w 98980"/>
                                                    <a:gd name="connsiteY8" fmla="*/ 114168 h 143645"/>
                                                    <a:gd name="connsiteX9" fmla="*/ 2871 w 98980"/>
                                                    <a:gd name="connsiteY9" fmla="*/ 124793 h 143645"/>
                                                    <a:gd name="connsiteX10" fmla="*/ 7082 w 98980"/>
                                                    <a:gd name="connsiteY10" fmla="*/ 143646 h 143645"/>
                                                    <a:gd name="connsiteX11" fmla="*/ 96875 w 98980"/>
                                                    <a:gd name="connsiteY11" fmla="*/ 124923 h 143645"/>
                                                    <a:gd name="connsiteX12" fmla="*/ 98948 w 98980"/>
                                                    <a:gd name="connsiteY12" fmla="*/ 85727 h 143645"/>
                                                    <a:gd name="connsiteX13" fmla="*/ 96033 w 98980"/>
                                                    <a:gd name="connsiteY13" fmla="*/ 72122 h 143645"/>
                                                    <a:gd name="connsiteX14" fmla="*/ 89230 w 98980"/>
                                                    <a:gd name="connsiteY14" fmla="*/ 65449 h 143645"/>
                                                    <a:gd name="connsiteX15" fmla="*/ 87740 w 98980"/>
                                                    <a:gd name="connsiteY15" fmla="*/ 56509 h 143645"/>
                                                    <a:gd name="connsiteX16" fmla="*/ 82428 w 98980"/>
                                                    <a:gd name="connsiteY16" fmla="*/ 4940 h 143645"/>
                                                    <a:gd name="connsiteX17" fmla="*/ 77957 w 98980"/>
                                                    <a:gd name="connsiteY17" fmla="*/ 2866 h 143645"/>
                                                    <a:gd name="connsiteX18" fmla="*/ 67332 w 98980"/>
                                                    <a:gd name="connsiteY18" fmla="*/ 1441 h 14364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98980" h="143645">
                                                      <a:moveTo>
                                                        <a:pt x="67332" y="1441"/>
                                                      </a:moveTo>
                                                      <a:cubicBezTo>
                                                        <a:pt x="56837" y="988"/>
                                                        <a:pt x="46342" y="534"/>
                                                        <a:pt x="35847" y="81"/>
                                                      </a:cubicBezTo>
                                                      <a:cubicBezTo>
                                                        <a:pt x="30275" y="-179"/>
                                                        <a:pt x="23926" y="-49"/>
                                                        <a:pt x="20233" y="4162"/>
                                                      </a:cubicBezTo>
                                                      <a:cubicBezTo>
                                                        <a:pt x="18419" y="6235"/>
                                                        <a:pt x="17642" y="8956"/>
                                                        <a:pt x="17124" y="11677"/>
                                                      </a:cubicBezTo>
                                                      <a:cubicBezTo>
                                                        <a:pt x="13172" y="30919"/>
                                                        <a:pt x="19262" y="50743"/>
                                                        <a:pt x="19456" y="70373"/>
                                                      </a:cubicBezTo>
                                                      <a:cubicBezTo>
                                                        <a:pt x="19456" y="75556"/>
                                                        <a:pt x="19003" y="81127"/>
                                                        <a:pt x="15698" y="85144"/>
                                                      </a:cubicBezTo>
                                                      <a:cubicBezTo>
                                                        <a:pt x="14403" y="86764"/>
                                                        <a:pt x="12718" y="88060"/>
                                                        <a:pt x="11617" y="89744"/>
                                                      </a:cubicBezTo>
                                                      <a:cubicBezTo>
                                                        <a:pt x="7082" y="96482"/>
                                                        <a:pt x="11487" y="108014"/>
                                                        <a:pt x="4555" y="112225"/>
                                                      </a:cubicBezTo>
                                                      <a:cubicBezTo>
                                                        <a:pt x="3454" y="112873"/>
                                                        <a:pt x="2158" y="113261"/>
                                                        <a:pt x="1251" y="114168"/>
                                                      </a:cubicBezTo>
                                                      <a:cubicBezTo>
                                                        <a:pt x="-1534" y="116889"/>
                                                        <a:pt x="927" y="121424"/>
                                                        <a:pt x="2871" y="124793"/>
                                                      </a:cubicBezTo>
                                                      <a:cubicBezTo>
                                                        <a:pt x="6175" y="130429"/>
                                                        <a:pt x="7535" y="137102"/>
                                                        <a:pt x="7082" y="143646"/>
                                                      </a:cubicBezTo>
                                                      <a:cubicBezTo>
                                                        <a:pt x="37726" y="141896"/>
                                                        <a:pt x="68045" y="135548"/>
                                                        <a:pt x="96875" y="124923"/>
                                                      </a:cubicBezTo>
                                                      <a:cubicBezTo>
                                                        <a:pt x="98365" y="111966"/>
                                                        <a:pt x="98689" y="98749"/>
                                                        <a:pt x="98948" y="85727"/>
                                                      </a:cubicBezTo>
                                                      <a:cubicBezTo>
                                                        <a:pt x="99078" y="80998"/>
                                                        <a:pt x="98948" y="75815"/>
                                                        <a:pt x="96033" y="72122"/>
                                                      </a:cubicBezTo>
                                                      <a:cubicBezTo>
                                                        <a:pt x="94025" y="69660"/>
                                                        <a:pt x="90915" y="68170"/>
                                                        <a:pt x="89230" y="65449"/>
                                                      </a:cubicBezTo>
                                                      <a:cubicBezTo>
                                                        <a:pt x="87610" y="62858"/>
                                                        <a:pt x="87675" y="59554"/>
                                                        <a:pt x="87740" y="56509"/>
                                                      </a:cubicBezTo>
                                                      <a:cubicBezTo>
                                                        <a:pt x="87935" y="39211"/>
                                                        <a:pt x="86185" y="21849"/>
                                                        <a:pt x="82428" y="4940"/>
                                                      </a:cubicBezTo>
                                                      <a:cubicBezTo>
                                                        <a:pt x="81003" y="4162"/>
                                                        <a:pt x="79512" y="3449"/>
                                                        <a:pt x="77957" y="2866"/>
                                                      </a:cubicBezTo>
                                                      <a:cubicBezTo>
                                                        <a:pt x="74589" y="1765"/>
                                                        <a:pt x="70961" y="1571"/>
                                                        <a:pt x="67332" y="144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7" name="Freeform: Shape 43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BB03A2F2-F0C7-4FCA-BC59-9234A02DA37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817551" y="4100912"/>
                                                  <a:ext cx="150067" cy="14839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20784 w 150067"/>
                                                    <a:gd name="connsiteY0" fmla="*/ 17724 h 148396"/>
                                                    <a:gd name="connsiteX1" fmla="*/ 105171 w 150067"/>
                                                    <a:gd name="connsiteY1" fmla="*/ 20315 h 148396"/>
                                                    <a:gd name="connsiteX2" fmla="*/ 104587 w 150067"/>
                                                    <a:gd name="connsiteY2" fmla="*/ 27118 h 148396"/>
                                                    <a:gd name="connsiteX3" fmla="*/ 94092 w 150067"/>
                                                    <a:gd name="connsiteY3" fmla="*/ 19278 h 148396"/>
                                                    <a:gd name="connsiteX4" fmla="*/ 85087 w 150067"/>
                                                    <a:gd name="connsiteY4" fmla="*/ 9042 h 148396"/>
                                                    <a:gd name="connsiteX5" fmla="*/ 81912 w 150067"/>
                                                    <a:gd name="connsiteY5" fmla="*/ 8071 h 148396"/>
                                                    <a:gd name="connsiteX6" fmla="*/ 80034 w 150067"/>
                                                    <a:gd name="connsiteY6" fmla="*/ 5220 h 148396"/>
                                                    <a:gd name="connsiteX7" fmla="*/ 72519 w 150067"/>
                                                    <a:gd name="connsiteY7" fmla="*/ 2305 h 148396"/>
                                                    <a:gd name="connsiteX8" fmla="*/ 65133 w 150067"/>
                                                    <a:gd name="connsiteY8" fmla="*/ 6451 h 148396"/>
                                                    <a:gd name="connsiteX9" fmla="*/ 61959 w 150067"/>
                                                    <a:gd name="connsiteY9" fmla="*/ 555 h 148396"/>
                                                    <a:gd name="connsiteX10" fmla="*/ 54573 w 150067"/>
                                                    <a:gd name="connsiteY10" fmla="*/ 426 h 148396"/>
                                                    <a:gd name="connsiteX11" fmla="*/ 39089 w 150067"/>
                                                    <a:gd name="connsiteY11" fmla="*/ 10208 h 148396"/>
                                                    <a:gd name="connsiteX12" fmla="*/ 28853 w 150067"/>
                                                    <a:gd name="connsiteY12" fmla="*/ 3212 h 148396"/>
                                                    <a:gd name="connsiteX13" fmla="*/ 17192 w 150067"/>
                                                    <a:gd name="connsiteY13" fmla="*/ 2175 h 148396"/>
                                                    <a:gd name="connsiteX14" fmla="*/ 13240 w 150067"/>
                                                    <a:gd name="connsiteY14" fmla="*/ 8135 h 148396"/>
                                                    <a:gd name="connsiteX15" fmla="*/ 10454 w 150067"/>
                                                    <a:gd name="connsiteY15" fmla="*/ 17788 h 148396"/>
                                                    <a:gd name="connsiteX16" fmla="*/ 19589 w 150067"/>
                                                    <a:gd name="connsiteY16" fmla="*/ 47719 h 148396"/>
                                                    <a:gd name="connsiteX17" fmla="*/ 8057 w 150067"/>
                                                    <a:gd name="connsiteY17" fmla="*/ 68710 h 148396"/>
                                                    <a:gd name="connsiteX18" fmla="*/ 8705 w 150067"/>
                                                    <a:gd name="connsiteY18" fmla="*/ 72986 h 148396"/>
                                                    <a:gd name="connsiteX19" fmla="*/ 24 w 150067"/>
                                                    <a:gd name="connsiteY19" fmla="*/ 86461 h 148396"/>
                                                    <a:gd name="connsiteX20" fmla="*/ 5077 w 150067"/>
                                                    <a:gd name="connsiteY20" fmla="*/ 98317 h 148396"/>
                                                    <a:gd name="connsiteX21" fmla="*/ 4947 w 150067"/>
                                                    <a:gd name="connsiteY21" fmla="*/ 104860 h 148396"/>
                                                    <a:gd name="connsiteX22" fmla="*/ 11102 w 150067"/>
                                                    <a:gd name="connsiteY22" fmla="*/ 118077 h 148396"/>
                                                    <a:gd name="connsiteX23" fmla="*/ 21597 w 150067"/>
                                                    <a:gd name="connsiteY23" fmla="*/ 123648 h 148396"/>
                                                    <a:gd name="connsiteX24" fmla="*/ 29047 w 150067"/>
                                                    <a:gd name="connsiteY24" fmla="*/ 132394 h 148396"/>
                                                    <a:gd name="connsiteX25" fmla="*/ 29501 w 150067"/>
                                                    <a:gd name="connsiteY25" fmla="*/ 140363 h 148396"/>
                                                    <a:gd name="connsiteX26" fmla="*/ 33323 w 150067"/>
                                                    <a:gd name="connsiteY26" fmla="*/ 145222 h 148396"/>
                                                    <a:gd name="connsiteX27" fmla="*/ 34619 w 150067"/>
                                                    <a:gd name="connsiteY27" fmla="*/ 148397 h 148396"/>
                                                    <a:gd name="connsiteX28" fmla="*/ 44790 w 150067"/>
                                                    <a:gd name="connsiteY28" fmla="*/ 142695 h 148396"/>
                                                    <a:gd name="connsiteX29" fmla="*/ 127262 w 150067"/>
                                                    <a:gd name="connsiteY29" fmla="*/ 130580 h 148396"/>
                                                    <a:gd name="connsiteX30" fmla="*/ 137693 w 150067"/>
                                                    <a:gd name="connsiteY30" fmla="*/ 130127 h 148396"/>
                                                    <a:gd name="connsiteX31" fmla="*/ 133482 w 150067"/>
                                                    <a:gd name="connsiteY31" fmla="*/ 111274 h 148396"/>
                                                    <a:gd name="connsiteX32" fmla="*/ 131862 w 150067"/>
                                                    <a:gd name="connsiteY32" fmla="*/ 100649 h 148396"/>
                                                    <a:gd name="connsiteX33" fmla="*/ 135166 w 150067"/>
                                                    <a:gd name="connsiteY33" fmla="*/ 98706 h 148396"/>
                                                    <a:gd name="connsiteX34" fmla="*/ 142228 w 150067"/>
                                                    <a:gd name="connsiteY34" fmla="*/ 76225 h 148396"/>
                                                    <a:gd name="connsiteX35" fmla="*/ 146309 w 150067"/>
                                                    <a:gd name="connsiteY35" fmla="*/ 71625 h 148396"/>
                                                    <a:gd name="connsiteX36" fmla="*/ 150067 w 150067"/>
                                                    <a:gd name="connsiteY36" fmla="*/ 56854 h 148396"/>
                                                    <a:gd name="connsiteX37" fmla="*/ 146634 w 150067"/>
                                                    <a:gd name="connsiteY37" fmla="*/ 17464 h 148396"/>
                                                    <a:gd name="connsiteX38" fmla="*/ 120719 w 150067"/>
                                                    <a:gd name="connsiteY38" fmla="*/ 17659 h 14839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0067" h="148396">
                                                      <a:moveTo>
                                                        <a:pt x="120784" y="17724"/>
                                                      </a:moveTo>
                                                      <a:cubicBezTo>
                                                        <a:pt x="115601" y="19084"/>
                                                        <a:pt x="110353" y="21481"/>
                                                        <a:pt x="105171" y="20315"/>
                                                      </a:cubicBezTo>
                                                      <a:cubicBezTo>
                                                        <a:pt x="104976" y="22583"/>
                                                        <a:pt x="104782" y="24850"/>
                                                        <a:pt x="104587" y="27118"/>
                                                      </a:cubicBezTo>
                                                      <a:cubicBezTo>
                                                        <a:pt x="99988" y="27960"/>
                                                        <a:pt x="96230" y="23490"/>
                                                        <a:pt x="94092" y="19278"/>
                                                      </a:cubicBezTo>
                                                      <a:cubicBezTo>
                                                        <a:pt x="91955" y="15067"/>
                                                        <a:pt x="89622" y="10144"/>
                                                        <a:pt x="85087" y="9042"/>
                                                      </a:cubicBezTo>
                                                      <a:cubicBezTo>
                                                        <a:pt x="83986" y="8783"/>
                                                        <a:pt x="82820" y="8783"/>
                                                        <a:pt x="81912" y="8071"/>
                                                      </a:cubicBezTo>
                                                      <a:cubicBezTo>
                                                        <a:pt x="81006" y="7358"/>
                                                        <a:pt x="80681" y="6192"/>
                                                        <a:pt x="80034" y="5220"/>
                                                      </a:cubicBezTo>
                                                      <a:cubicBezTo>
                                                        <a:pt x="78544" y="2758"/>
                                                        <a:pt x="75305" y="1786"/>
                                                        <a:pt x="72519" y="2305"/>
                                                      </a:cubicBezTo>
                                                      <a:cubicBezTo>
                                                        <a:pt x="69668" y="2823"/>
                                                        <a:pt x="67206" y="4507"/>
                                                        <a:pt x="65133" y="6451"/>
                                                      </a:cubicBezTo>
                                                      <a:cubicBezTo>
                                                        <a:pt x="66105" y="4183"/>
                                                        <a:pt x="64291" y="1462"/>
                                                        <a:pt x="61959" y="555"/>
                                                      </a:cubicBezTo>
                                                      <a:cubicBezTo>
                                                        <a:pt x="59626" y="-352"/>
                                                        <a:pt x="57035" y="37"/>
                                                        <a:pt x="54573" y="426"/>
                                                      </a:cubicBezTo>
                                                      <a:cubicBezTo>
                                                        <a:pt x="48094" y="1462"/>
                                                        <a:pt x="40255" y="3795"/>
                                                        <a:pt x="39089" y="10208"/>
                                                      </a:cubicBezTo>
                                                      <a:cubicBezTo>
                                                        <a:pt x="35267" y="8589"/>
                                                        <a:pt x="32352" y="5414"/>
                                                        <a:pt x="28853" y="3212"/>
                                                      </a:cubicBezTo>
                                                      <a:cubicBezTo>
                                                        <a:pt x="25355" y="1009"/>
                                                        <a:pt x="20561" y="-287"/>
                                                        <a:pt x="17192" y="2175"/>
                                                      </a:cubicBezTo>
                                                      <a:cubicBezTo>
                                                        <a:pt x="15248" y="3600"/>
                                                        <a:pt x="14147" y="5933"/>
                                                        <a:pt x="13240" y="8135"/>
                                                      </a:cubicBezTo>
                                                      <a:cubicBezTo>
                                                        <a:pt x="11879" y="11245"/>
                                                        <a:pt x="10519" y="14419"/>
                                                        <a:pt x="10454" y="17788"/>
                                                      </a:cubicBezTo>
                                                      <a:cubicBezTo>
                                                        <a:pt x="10195" y="28413"/>
                                                        <a:pt x="22310" y="37419"/>
                                                        <a:pt x="19589" y="47719"/>
                                                      </a:cubicBezTo>
                                                      <a:cubicBezTo>
                                                        <a:pt x="17515" y="55623"/>
                                                        <a:pt x="7085" y="60612"/>
                                                        <a:pt x="8057" y="68710"/>
                                                      </a:cubicBezTo>
                                                      <a:cubicBezTo>
                                                        <a:pt x="8251" y="70135"/>
                                                        <a:pt x="8769" y="71496"/>
                                                        <a:pt x="8705" y="72986"/>
                                                      </a:cubicBezTo>
                                                      <a:cubicBezTo>
                                                        <a:pt x="8575" y="78493"/>
                                                        <a:pt x="542" y="81019"/>
                                                        <a:pt x="24" y="86461"/>
                                                      </a:cubicBezTo>
                                                      <a:cubicBezTo>
                                                        <a:pt x="-365" y="90802"/>
                                                        <a:pt x="4170" y="94041"/>
                                                        <a:pt x="5077" y="98317"/>
                                                      </a:cubicBezTo>
                                                      <a:cubicBezTo>
                                                        <a:pt x="5530" y="100455"/>
                                                        <a:pt x="5077" y="102658"/>
                                                        <a:pt x="4947" y="104860"/>
                                                      </a:cubicBezTo>
                                                      <a:cubicBezTo>
                                                        <a:pt x="4818" y="109914"/>
                                                        <a:pt x="7150" y="114967"/>
                                                        <a:pt x="11102" y="118077"/>
                                                      </a:cubicBezTo>
                                                      <a:cubicBezTo>
                                                        <a:pt x="14212" y="120539"/>
                                                        <a:pt x="18099" y="121769"/>
                                                        <a:pt x="21597" y="123648"/>
                                                      </a:cubicBezTo>
                                                      <a:cubicBezTo>
                                                        <a:pt x="25096" y="125527"/>
                                                        <a:pt x="28464" y="128442"/>
                                                        <a:pt x="29047" y="132394"/>
                                                      </a:cubicBezTo>
                                                      <a:cubicBezTo>
                                                        <a:pt x="29436" y="135051"/>
                                                        <a:pt x="28464" y="137901"/>
                                                        <a:pt x="29501" y="140363"/>
                                                      </a:cubicBezTo>
                                                      <a:cubicBezTo>
                                                        <a:pt x="30278" y="142307"/>
                                                        <a:pt x="32092" y="143538"/>
                                                        <a:pt x="33323" y="145222"/>
                                                      </a:cubicBezTo>
                                                      <a:cubicBezTo>
                                                        <a:pt x="33971" y="146194"/>
                                                        <a:pt x="34425" y="147230"/>
                                                        <a:pt x="34619" y="148397"/>
                                                      </a:cubicBezTo>
                                                      <a:cubicBezTo>
                                                        <a:pt x="38118" y="146842"/>
                                                        <a:pt x="41486" y="144639"/>
                                                        <a:pt x="44790" y="142695"/>
                                                      </a:cubicBezTo>
                                                      <a:cubicBezTo>
                                                        <a:pt x="69085" y="128507"/>
                                                        <a:pt x="99146" y="131293"/>
                                                        <a:pt x="127262" y="130580"/>
                                                      </a:cubicBezTo>
                                                      <a:cubicBezTo>
                                                        <a:pt x="130761" y="130516"/>
                                                        <a:pt x="134195" y="130321"/>
                                                        <a:pt x="137693" y="130127"/>
                                                      </a:cubicBezTo>
                                                      <a:cubicBezTo>
                                                        <a:pt x="138082" y="123583"/>
                                                        <a:pt x="136786" y="116975"/>
                                                        <a:pt x="133482" y="111274"/>
                                                      </a:cubicBezTo>
                                                      <a:cubicBezTo>
                                                        <a:pt x="131538" y="107905"/>
                                                        <a:pt x="129012" y="103370"/>
                                                        <a:pt x="131862" y="100649"/>
                                                      </a:cubicBezTo>
                                                      <a:cubicBezTo>
                                                        <a:pt x="132769" y="99742"/>
                                                        <a:pt x="134065" y="99354"/>
                                                        <a:pt x="135166" y="98706"/>
                                                      </a:cubicBezTo>
                                                      <a:cubicBezTo>
                                                        <a:pt x="142099" y="94495"/>
                                                        <a:pt x="137693" y="82963"/>
                                                        <a:pt x="142228" y="76225"/>
                                                      </a:cubicBezTo>
                                                      <a:cubicBezTo>
                                                        <a:pt x="143394" y="74541"/>
                                                        <a:pt x="145014" y="73245"/>
                                                        <a:pt x="146309" y="71625"/>
                                                      </a:cubicBezTo>
                                                      <a:cubicBezTo>
                                                        <a:pt x="149549" y="67609"/>
                                                        <a:pt x="150067" y="62037"/>
                                                        <a:pt x="150067" y="56854"/>
                                                      </a:cubicBezTo>
                                                      <a:cubicBezTo>
                                                        <a:pt x="150002" y="43703"/>
                                                        <a:pt x="147281" y="30486"/>
                                                        <a:pt x="146634" y="17464"/>
                                                      </a:cubicBezTo>
                                                      <a:cubicBezTo>
                                                        <a:pt x="137952" y="16169"/>
                                                        <a:pt x="129141" y="15456"/>
                                                        <a:pt x="120719" y="1765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8" name="Freeform: Shape 43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13B323D-C33A-429E-89E6-537B8B7085C0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705107" y="4112673"/>
                                                  <a:ext cx="69385" cy="87397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4332 w 69385"/>
                                                    <a:gd name="connsiteY0" fmla="*/ 29285 h 87397"/>
                                                    <a:gd name="connsiteX1" fmla="*/ 64203 w 69385"/>
                                                    <a:gd name="connsiteY1" fmla="*/ 22547 h 87397"/>
                                                    <a:gd name="connsiteX2" fmla="*/ 60445 w 69385"/>
                                                    <a:gd name="connsiteY2" fmla="*/ 17429 h 87397"/>
                                                    <a:gd name="connsiteX3" fmla="*/ 54809 w 69385"/>
                                                    <a:gd name="connsiteY3" fmla="*/ 16393 h 87397"/>
                                                    <a:gd name="connsiteX4" fmla="*/ 53189 w 69385"/>
                                                    <a:gd name="connsiteY4" fmla="*/ 13154 h 87397"/>
                                                    <a:gd name="connsiteX5" fmla="*/ 47358 w 69385"/>
                                                    <a:gd name="connsiteY5" fmla="*/ 2982 h 87397"/>
                                                    <a:gd name="connsiteX6" fmla="*/ 41722 w 69385"/>
                                                    <a:gd name="connsiteY6" fmla="*/ 2 h 87397"/>
                                                    <a:gd name="connsiteX7" fmla="*/ 37511 w 69385"/>
                                                    <a:gd name="connsiteY7" fmla="*/ 1427 h 87397"/>
                                                    <a:gd name="connsiteX8" fmla="*/ 25461 w 69385"/>
                                                    <a:gd name="connsiteY8" fmla="*/ 3695 h 87397"/>
                                                    <a:gd name="connsiteX9" fmla="*/ 19306 w 69385"/>
                                                    <a:gd name="connsiteY9" fmla="*/ 4472 h 87397"/>
                                                    <a:gd name="connsiteX10" fmla="*/ 17039 w 69385"/>
                                                    <a:gd name="connsiteY10" fmla="*/ 6999 h 87397"/>
                                                    <a:gd name="connsiteX11" fmla="*/ 4470 w 69385"/>
                                                    <a:gd name="connsiteY11" fmla="*/ 11145 h 87397"/>
                                                    <a:gd name="connsiteX12" fmla="*/ 2203 w 69385"/>
                                                    <a:gd name="connsiteY12" fmla="*/ 28508 h 87397"/>
                                                    <a:gd name="connsiteX13" fmla="*/ 0 w 69385"/>
                                                    <a:gd name="connsiteY13" fmla="*/ 31812 h 87397"/>
                                                    <a:gd name="connsiteX14" fmla="*/ 9848 w 69385"/>
                                                    <a:gd name="connsiteY14" fmla="*/ 48138 h 87397"/>
                                                    <a:gd name="connsiteX15" fmla="*/ 46257 w 69385"/>
                                                    <a:gd name="connsiteY15" fmla="*/ 87398 h 87397"/>
                                                    <a:gd name="connsiteX16" fmla="*/ 49496 w 69385"/>
                                                    <a:gd name="connsiteY16" fmla="*/ 71266 h 87397"/>
                                                    <a:gd name="connsiteX17" fmla="*/ 51051 w 69385"/>
                                                    <a:gd name="connsiteY17" fmla="*/ 68805 h 87397"/>
                                                    <a:gd name="connsiteX18" fmla="*/ 58890 w 69385"/>
                                                    <a:gd name="connsiteY18" fmla="*/ 66278 h 87397"/>
                                                    <a:gd name="connsiteX19" fmla="*/ 63684 w 69385"/>
                                                    <a:gd name="connsiteY19" fmla="*/ 55718 h 87397"/>
                                                    <a:gd name="connsiteX20" fmla="*/ 65887 w 69385"/>
                                                    <a:gd name="connsiteY20" fmla="*/ 54163 h 87397"/>
                                                    <a:gd name="connsiteX21" fmla="*/ 69386 w 69385"/>
                                                    <a:gd name="connsiteY21" fmla="*/ 44380 h 87397"/>
                                                    <a:gd name="connsiteX22" fmla="*/ 69256 w 69385"/>
                                                    <a:gd name="connsiteY22" fmla="*/ 44186 h 87397"/>
                                                    <a:gd name="connsiteX23" fmla="*/ 64203 w 69385"/>
                                                    <a:gd name="connsiteY23" fmla="*/ 29350 h 87397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9385" h="87397">
                                                      <a:moveTo>
                                                        <a:pt x="64332" y="29285"/>
                                                      </a:moveTo>
                                                      <a:cubicBezTo>
                                                        <a:pt x="64268" y="27018"/>
                                                        <a:pt x="64592" y="24815"/>
                                                        <a:pt x="64203" y="22547"/>
                                                      </a:cubicBezTo>
                                                      <a:cubicBezTo>
                                                        <a:pt x="63814" y="20345"/>
                                                        <a:pt x="62583" y="18077"/>
                                                        <a:pt x="60445" y="17429"/>
                                                      </a:cubicBezTo>
                                                      <a:cubicBezTo>
                                                        <a:pt x="58567" y="16846"/>
                                                        <a:pt x="56364" y="17559"/>
                                                        <a:pt x="54809" y="16393"/>
                                                      </a:cubicBezTo>
                                                      <a:cubicBezTo>
                                                        <a:pt x="53837" y="15615"/>
                                                        <a:pt x="53578" y="14320"/>
                                                        <a:pt x="53189" y="13154"/>
                                                      </a:cubicBezTo>
                                                      <a:cubicBezTo>
                                                        <a:pt x="52088" y="9331"/>
                                                        <a:pt x="50080" y="5833"/>
                                                        <a:pt x="47358" y="2982"/>
                                                      </a:cubicBezTo>
                                                      <a:cubicBezTo>
                                                        <a:pt x="45868" y="1363"/>
                                                        <a:pt x="43925" y="-63"/>
                                                        <a:pt x="41722" y="2"/>
                                                      </a:cubicBezTo>
                                                      <a:cubicBezTo>
                                                        <a:pt x="40232" y="2"/>
                                                        <a:pt x="38871" y="780"/>
                                                        <a:pt x="37511" y="1427"/>
                                                      </a:cubicBezTo>
                                                      <a:cubicBezTo>
                                                        <a:pt x="33754" y="3112"/>
                                                        <a:pt x="29607" y="3954"/>
                                                        <a:pt x="25461" y="3695"/>
                                                      </a:cubicBezTo>
                                                      <a:cubicBezTo>
                                                        <a:pt x="23388" y="3565"/>
                                                        <a:pt x="21055" y="3306"/>
                                                        <a:pt x="19306" y="4472"/>
                                                      </a:cubicBezTo>
                                                      <a:cubicBezTo>
                                                        <a:pt x="18334" y="5120"/>
                                                        <a:pt x="17752" y="6092"/>
                                                        <a:pt x="17039" y="6999"/>
                                                      </a:cubicBezTo>
                                                      <a:cubicBezTo>
                                                        <a:pt x="14059" y="10562"/>
                                                        <a:pt x="9005" y="12247"/>
                                                        <a:pt x="4470" y="11145"/>
                                                      </a:cubicBezTo>
                                                      <a:cubicBezTo>
                                                        <a:pt x="4859" y="17041"/>
                                                        <a:pt x="5118" y="23325"/>
                                                        <a:pt x="2203" y="28508"/>
                                                      </a:cubicBezTo>
                                                      <a:cubicBezTo>
                                                        <a:pt x="1555" y="29674"/>
                                                        <a:pt x="777" y="30710"/>
                                                        <a:pt x="0" y="31812"/>
                                                      </a:cubicBezTo>
                                                      <a:cubicBezTo>
                                                        <a:pt x="3304" y="37254"/>
                                                        <a:pt x="6349" y="42825"/>
                                                        <a:pt x="9848" y="48138"/>
                                                      </a:cubicBezTo>
                                                      <a:cubicBezTo>
                                                        <a:pt x="19695" y="63363"/>
                                                        <a:pt x="32199" y="76190"/>
                                                        <a:pt x="46257" y="87398"/>
                                                      </a:cubicBezTo>
                                                      <a:cubicBezTo>
                                                        <a:pt x="46970" y="81891"/>
                                                        <a:pt x="47358" y="76320"/>
                                                        <a:pt x="49496" y="71266"/>
                                                      </a:cubicBezTo>
                                                      <a:cubicBezTo>
                                                        <a:pt x="49885" y="70359"/>
                                                        <a:pt x="50339" y="69452"/>
                                                        <a:pt x="51051" y="68805"/>
                                                      </a:cubicBezTo>
                                                      <a:cubicBezTo>
                                                        <a:pt x="53189" y="66991"/>
                                                        <a:pt x="56688" y="67897"/>
                                                        <a:pt x="58890" y="66278"/>
                                                      </a:cubicBezTo>
                                                      <a:cubicBezTo>
                                                        <a:pt x="62065" y="63946"/>
                                                        <a:pt x="60704" y="58309"/>
                                                        <a:pt x="63684" y="55718"/>
                                                      </a:cubicBezTo>
                                                      <a:cubicBezTo>
                                                        <a:pt x="64397" y="55135"/>
                                                        <a:pt x="65239" y="54746"/>
                                                        <a:pt x="65887" y="54163"/>
                                                      </a:cubicBezTo>
                                                      <a:cubicBezTo>
                                                        <a:pt x="68543" y="51895"/>
                                                        <a:pt x="67766" y="47425"/>
                                                        <a:pt x="69386" y="44380"/>
                                                      </a:cubicBezTo>
                                                      <a:cubicBezTo>
                                                        <a:pt x="69386" y="44316"/>
                                                        <a:pt x="69321" y="44251"/>
                                                        <a:pt x="69256" y="44186"/>
                                                      </a:cubicBezTo>
                                                      <a:cubicBezTo>
                                                        <a:pt x="66859" y="39457"/>
                                                        <a:pt x="64397" y="34598"/>
                                                        <a:pt x="64203" y="2935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39" name="Freeform: Shape 43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5F12A34C-AE23-47BB-994D-127DFA33C6D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655546" y="4043165"/>
                                                  <a:ext cx="182122" cy="14530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64491 w 182122"/>
                                                    <a:gd name="connsiteY0" fmla="*/ 40875 h 145309"/>
                                                    <a:gd name="connsiteX1" fmla="*/ 163908 w 182122"/>
                                                    <a:gd name="connsiteY1" fmla="*/ 29732 h 145309"/>
                                                    <a:gd name="connsiteX2" fmla="*/ 157623 w 182122"/>
                                                    <a:gd name="connsiteY2" fmla="*/ 23707 h 145309"/>
                                                    <a:gd name="connsiteX3" fmla="*/ 152570 w 182122"/>
                                                    <a:gd name="connsiteY3" fmla="*/ 12499 h 145309"/>
                                                    <a:gd name="connsiteX4" fmla="*/ 144666 w 182122"/>
                                                    <a:gd name="connsiteY4" fmla="*/ 3688 h 145309"/>
                                                    <a:gd name="connsiteX5" fmla="*/ 129248 w 182122"/>
                                                    <a:gd name="connsiteY5" fmla="*/ 10944 h 145309"/>
                                                    <a:gd name="connsiteX6" fmla="*/ 120436 w 182122"/>
                                                    <a:gd name="connsiteY6" fmla="*/ 12499 h 145309"/>
                                                    <a:gd name="connsiteX7" fmla="*/ 90635 w 182122"/>
                                                    <a:gd name="connsiteY7" fmla="*/ 11333 h 145309"/>
                                                    <a:gd name="connsiteX8" fmla="*/ 81371 w 182122"/>
                                                    <a:gd name="connsiteY8" fmla="*/ 8936 h 145309"/>
                                                    <a:gd name="connsiteX9" fmla="*/ 53383 w 182122"/>
                                                    <a:gd name="connsiteY9" fmla="*/ 6798 h 145309"/>
                                                    <a:gd name="connsiteX10" fmla="*/ 41592 w 182122"/>
                                                    <a:gd name="connsiteY10" fmla="*/ 1097 h 145309"/>
                                                    <a:gd name="connsiteX11" fmla="*/ 29283 w 182122"/>
                                                    <a:gd name="connsiteY11" fmla="*/ 2457 h 145309"/>
                                                    <a:gd name="connsiteX12" fmla="*/ 26238 w 182122"/>
                                                    <a:gd name="connsiteY12" fmla="*/ 14767 h 145309"/>
                                                    <a:gd name="connsiteX13" fmla="*/ 21509 w 182122"/>
                                                    <a:gd name="connsiteY13" fmla="*/ 26169 h 145309"/>
                                                    <a:gd name="connsiteX14" fmla="*/ 13670 w 182122"/>
                                                    <a:gd name="connsiteY14" fmla="*/ 30056 h 145309"/>
                                                    <a:gd name="connsiteX15" fmla="*/ 13022 w 182122"/>
                                                    <a:gd name="connsiteY15" fmla="*/ 33101 h 145309"/>
                                                    <a:gd name="connsiteX16" fmla="*/ 3757 w 182122"/>
                                                    <a:gd name="connsiteY16" fmla="*/ 40875 h 145309"/>
                                                    <a:gd name="connsiteX17" fmla="*/ 0 w 182122"/>
                                                    <a:gd name="connsiteY17" fmla="*/ 45540 h 145309"/>
                                                    <a:gd name="connsiteX18" fmla="*/ 37640 w 182122"/>
                                                    <a:gd name="connsiteY18" fmla="*/ 84606 h 145309"/>
                                                    <a:gd name="connsiteX19" fmla="*/ 49496 w 182122"/>
                                                    <a:gd name="connsiteY19" fmla="*/ 101126 h 145309"/>
                                                    <a:gd name="connsiteX20" fmla="*/ 51699 w 182122"/>
                                                    <a:gd name="connsiteY20" fmla="*/ 97822 h 145309"/>
                                                    <a:gd name="connsiteX21" fmla="*/ 53966 w 182122"/>
                                                    <a:gd name="connsiteY21" fmla="*/ 80459 h 145309"/>
                                                    <a:gd name="connsiteX22" fmla="*/ 66535 w 182122"/>
                                                    <a:gd name="connsiteY22" fmla="*/ 76313 h 145309"/>
                                                    <a:gd name="connsiteX23" fmla="*/ 68802 w 182122"/>
                                                    <a:gd name="connsiteY23" fmla="*/ 73786 h 145309"/>
                                                    <a:gd name="connsiteX24" fmla="*/ 74957 w 182122"/>
                                                    <a:gd name="connsiteY24" fmla="*/ 73009 h 145309"/>
                                                    <a:gd name="connsiteX25" fmla="*/ 87007 w 182122"/>
                                                    <a:gd name="connsiteY25" fmla="*/ 70741 h 145309"/>
                                                    <a:gd name="connsiteX26" fmla="*/ 91218 w 182122"/>
                                                    <a:gd name="connsiteY26" fmla="*/ 69316 h 145309"/>
                                                    <a:gd name="connsiteX27" fmla="*/ 96855 w 182122"/>
                                                    <a:gd name="connsiteY27" fmla="*/ 72296 h 145309"/>
                                                    <a:gd name="connsiteX28" fmla="*/ 102685 w 182122"/>
                                                    <a:gd name="connsiteY28" fmla="*/ 82468 h 145309"/>
                                                    <a:gd name="connsiteX29" fmla="*/ 104305 w 182122"/>
                                                    <a:gd name="connsiteY29" fmla="*/ 85707 h 145309"/>
                                                    <a:gd name="connsiteX30" fmla="*/ 109941 w 182122"/>
                                                    <a:gd name="connsiteY30" fmla="*/ 86743 h 145309"/>
                                                    <a:gd name="connsiteX31" fmla="*/ 113699 w 182122"/>
                                                    <a:gd name="connsiteY31" fmla="*/ 91862 h 145309"/>
                                                    <a:gd name="connsiteX32" fmla="*/ 113829 w 182122"/>
                                                    <a:gd name="connsiteY32" fmla="*/ 98599 h 145309"/>
                                                    <a:gd name="connsiteX33" fmla="*/ 118882 w 182122"/>
                                                    <a:gd name="connsiteY33" fmla="*/ 113435 h 145309"/>
                                                    <a:gd name="connsiteX34" fmla="*/ 119011 w 182122"/>
                                                    <a:gd name="connsiteY34" fmla="*/ 113630 h 145309"/>
                                                    <a:gd name="connsiteX35" fmla="*/ 119594 w 182122"/>
                                                    <a:gd name="connsiteY35" fmla="*/ 112723 h 145309"/>
                                                    <a:gd name="connsiteX36" fmla="*/ 127822 w 182122"/>
                                                    <a:gd name="connsiteY36" fmla="*/ 110844 h 145309"/>
                                                    <a:gd name="connsiteX37" fmla="*/ 137929 w 182122"/>
                                                    <a:gd name="connsiteY37" fmla="*/ 121274 h 145309"/>
                                                    <a:gd name="connsiteX38" fmla="*/ 137281 w 182122"/>
                                                    <a:gd name="connsiteY38" fmla="*/ 132353 h 145309"/>
                                                    <a:gd name="connsiteX39" fmla="*/ 143889 w 182122"/>
                                                    <a:gd name="connsiteY39" fmla="*/ 139544 h 145309"/>
                                                    <a:gd name="connsiteX40" fmla="*/ 149720 w 182122"/>
                                                    <a:gd name="connsiteY40" fmla="*/ 138507 h 145309"/>
                                                    <a:gd name="connsiteX41" fmla="*/ 151534 w 182122"/>
                                                    <a:gd name="connsiteY41" fmla="*/ 142654 h 145309"/>
                                                    <a:gd name="connsiteX42" fmla="*/ 159373 w 182122"/>
                                                    <a:gd name="connsiteY42" fmla="*/ 145115 h 145309"/>
                                                    <a:gd name="connsiteX43" fmla="*/ 162158 w 182122"/>
                                                    <a:gd name="connsiteY43" fmla="*/ 145310 h 145309"/>
                                                    <a:gd name="connsiteX44" fmla="*/ 162158 w 182122"/>
                                                    <a:gd name="connsiteY44" fmla="*/ 144014 h 145309"/>
                                                    <a:gd name="connsiteX45" fmla="*/ 170840 w 182122"/>
                                                    <a:gd name="connsiteY45" fmla="*/ 130539 h 145309"/>
                                                    <a:gd name="connsiteX46" fmla="*/ 170192 w 182122"/>
                                                    <a:gd name="connsiteY46" fmla="*/ 126263 h 145309"/>
                                                    <a:gd name="connsiteX47" fmla="*/ 181724 w 182122"/>
                                                    <a:gd name="connsiteY47" fmla="*/ 105272 h 145309"/>
                                                    <a:gd name="connsiteX48" fmla="*/ 172589 w 182122"/>
                                                    <a:gd name="connsiteY48" fmla="*/ 75341 h 145309"/>
                                                    <a:gd name="connsiteX49" fmla="*/ 175375 w 182122"/>
                                                    <a:gd name="connsiteY49" fmla="*/ 65688 h 145309"/>
                                                    <a:gd name="connsiteX50" fmla="*/ 178679 w 182122"/>
                                                    <a:gd name="connsiteY50" fmla="*/ 60505 h 145309"/>
                                                    <a:gd name="connsiteX51" fmla="*/ 175245 w 182122"/>
                                                    <a:gd name="connsiteY51" fmla="*/ 54480 h 145309"/>
                                                    <a:gd name="connsiteX52" fmla="*/ 164685 w 182122"/>
                                                    <a:gd name="connsiteY52" fmla="*/ 40681 h 14530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82122" h="145309">
                                                      <a:moveTo>
                                                        <a:pt x="164491" y="40875"/>
                                                      </a:moveTo>
                                                      <a:cubicBezTo>
                                                        <a:pt x="163908" y="37182"/>
                                                        <a:pt x="165592" y="33101"/>
                                                        <a:pt x="163908" y="29732"/>
                                                      </a:cubicBezTo>
                                                      <a:cubicBezTo>
                                                        <a:pt x="162612" y="27076"/>
                                                        <a:pt x="159632" y="25780"/>
                                                        <a:pt x="157623" y="23707"/>
                                                      </a:cubicBezTo>
                                                      <a:cubicBezTo>
                                                        <a:pt x="154773" y="20727"/>
                                                        <a:pt x="153931" y="16386"/>
                                                        <a:pt x="152570" y="12499"/>
                                                      </a:cubicBezTo>
                                                      <a:cubicBezTo>
                                                        <a:pt x="151210" y="8612"/>
                                                        <a:pt x="148748" y="4466"/>
                                                        <a:pt x="144666" y="3688"/>
                                                      </a:cubicBezTo>
                                                      <a:cubicBezTo>
                                                        <a:pt x="138965" y="2652"/>
                                                        <a:pt x="134625" y="8612"/>
                                                        <a:pt x="129248" y="10944"/>
                                                      </a:cubicBezTo>
                                                      <a:cubicBezTo>
                                                        <a:pt x="126461" y="12110"/>
                                                        <a:pt x="123417" y="12370"/>
                                                        <a:pt x="120436" y="12499"/>
                                                      </a:cubicBezTo>
                                                      <a:cubicBezTo>
                                                        <a:pt x="110460" y="13082"/>
                                                        <a:pt x="100353" y="13665"/>
                                                        <a:pt x="90635" y="11333"/>
                                                      </a:cubicBezTo>
                                                      <a:cubicBezTo>
                                                        <a:pt x="87526" y="10556"/>
                                                        <a:pt x="84480" y="9519"/>
                                                        <a:pt x="81371" y="8936"/>
                                                      </a:cubicBezTo>
                                                      <a:cubicBezTo>
                                                        <a:pt x="72107" y="7316"/>
                                                        <a:pt x="62259" y="10037"/>
                                                        <a:pt x="53383" y="6798"/>
                                                      </a:cubicBezTo>
                                                      <a:cubicBezTo>
                                                        <a:pt x="49302" y="5308"/>
                                                        <a:pt x="45674" y="2652"/>
                                                        <a:pt x="41592" y="1097"/>
                                                      </a:cubicBezTo>
                                                      <a:cubicBezTo>
                                                        <a:pt x="37511" y="-458"/>
                                                        <a:pt x="32393" y="-652"/>
                                                        <a:pt x="29283" y="2457"/>
                                                      </a:cubicBezTo>
                                                      <a:cubicBezTo>
                                                        <a:pt x="26173" y="5502"/>
                                                        <a:pt x="26303" y="10426"/>
                                                        <a:pt x="26238" y="14767"/>
                                                      </a:cubicBezTo>
                                                      <a:cubicBezTo>
                                                        <a:pt x="26173" y="19107"/>
                                                        <a:pt x="25396" y="24225"/>
                                                        <a:pt x="21509" y="26169"/>
                                                      </a:cubicBezTo>
                                                      <a:cubicBezTo>
                                                        <a:pt x="18852" y="27529"/>
                                                        <a:pt x="14901" y="27335"/>
                                                        <a:pt x="13670" y="30056"/>
                                                      </a:cubicBezTo>
                                                      <a:cubicBezTo>
                                                        <a:pt x="13216" y="31028"/>
                                                        <a:pt x="13281" y="32129"/>
                                                        <a:pt x="13022" y="33101"/>
                                                      </a:cubicBezTo>
                                                      <a:cubicBezTo>
                                                        <a:pt x="11985" y="37118"/>
                                                        <a:pt x="7126" y="38413"/>
                                                        <a:pt x="3757" y="40875"/>
                                                      </a:cubicBezTo>
                                                      <a:cubicBezTo>
                                                        <a:pt x="2138" y="42106"/>
                                                        <a:pt x="972" y="43726"/>
                                                        <a:pt x="0" y="45540"/>
                                                      </a:cubicBezTo>
                                                      <a:cubicBezTo>
                                                        <a:pt x="6414" y="61477"/>
                                                        <a:pt x="25396" y="71195"/>
                                                        <a:pt x="37640" y="84606"/>
                                                      </a:cubicBezTo>
                                                      <a:cubicBezTo>
                                                        <a:pt x="42240" y="89594"/>
                                                        <a:pt x="45933" y="95295"/>
                                                        <a:pt x="49496" y="101126"/>
                                                      </a:cubicBezTo>
                                                      <a:cubicBezTo>
                                                        <a:pt x="50274" y="100025"/>
                                                        <a:pt x="51051" y="98988"/>
                                                        <a:pt x="51699" y="97822"/>
                                                      </a:cubicBezTo>
                                                      <a:cubicBezTo>
                                                        <a:pt x="54614" y="92704"/>
                                                        <a:pt x="54290" y="86420"/>
                                                        <a:pt x="53966" y="80459"/>
                                                      </a:cubicBezTo>
                                                      <a:cubicBezTo>
                                                        <a:pt x="58501" y="81561"/>
                                                        <a:pt x="63555" y="79876"/>
                                                        <a:pt x="66535" y="76313"/>
                                                      </a:cubicBezTo>
                                                      <a:cubicBezTo>
                                                        <a:pt x="67248" y="75406"/>
                                                        <a:pt x="67895" y="74434"/>
                                                        <a:pt x="68802" y="73786"/>
                                                      </a:cubicBezTo>
                                                      <a:cubicBezTo>
                                                        <a:pt x="70552" y="72620"/>
                                                        <a:pt x="72819" y="72944"/>
                                                        <a:pt x="74957" y="73009"/>
                                                      </a:cubicBezTo>
                                                      <a:cubicBezTo>
                                                        <a:pt x="79039" y="73203"/>
                                                        <a:pt x="83249" y="72426"/>
                                                        <a:pt x="87007" y="70741"/>
                                                      </a:cubicBezTo>
                                                      <a:cubicBezTo>
                                                        <a:pt x="88368" y="70158"/>
                                                        <a:pt x="89728" y="69381"/>
                                                        <a:pt x="91218" y="69316"/>
                                                      </a:cubicBezTo>
                                                      <a:cubicBezTo>
                                                        <a:pt x="93421" y="69316"/>
                                                        <a:pt x="95364" y="70741"/>
                                                        <a:pt x="96855" y="72296"/>
                                                      </a:cubicBezTo>
                                                      <a:cubicBezTo>
                                                        <a:pt x="99576" y="75147"/>
                                                        <a:pt x="101584" y="78710"/>
                                                        <a:pt x="102685" y="82468"/>
                                                      </a:cubicBezTo>
                                                      <a:cubicBezTo>
                                                        <a:pt x="103009" y="83634"/>
                                                        <a:pt x="103333" y="84929"/>
                                                        <a:pt x="104305" y="85707"/>
                                                      </a:cubicBezTo>
                                                      <a:cubicBezTo>
                                                        <a:pt x="105795" y="86938"/>
                                                        <a:pt x="108063" y="86225"/>
                                                        <a:pt x="109941" y="86743"/>
                                                      </a:cubicBezTo>
                                                      <a:cubicBezTo>
                                                        <a:pt x="112079" y="87391"/>
                                                        <a:pt x="113375" y="89659"/>
                                                        <a:pt x="113699" y="91862"/>
                                                      </a:cubicBezTo>
                                                      <a:cubicBezTo>
                                                        <a:pt x="114088" y="94064"/>
                                                        <a:pt x="113699" y="96332"/>
                                                        <a:pt x="113829" y="98599"/>
                                                      </a:cubicBezTo>
                                                      <a:cubicBezTo>
                                                        <a:pt x="114023" y="103847"/>
                                                        <a:pt x="116485" y="108771"/>
                                                        <a:pt x="118882" y="113435"/>
                                                      </a:cubicBezTo>
                                                      <a:cubicBezTo>
                                                        <a:pt x="118882" y="113500"/>
                                                        <a:pt x="118946" y="113565"/>
                                                        <a:pt x="119011" y="113630"/>
                                                      </a:cubicBezTo>
                                                      <a:cubicBezTo>
                                                        <a:pt x="119205" y="113306"/>
                                                        <a:pt x="119335" y="112982"/>
                                                        <a:pt x="119594" y="112723"/>
                                                      </a:cubicBezTo>
                                                      <a:cubicBezTo>
                                                        <a:pt x="121473" y="110390"/>
                                                        <a:pt x="124972" y="110066"/>
                                                        <a:pt x="127822" y="110844"/>
                                                      </a:cubicBezTo>
                                                      <a:cubicBezTo>
                                                        <a:pt x="132811" y="112075"/>
                                                        <a:pt x="137216" y="116156"/>
                                                        <a:pt x="137929" y="121274"/>
                                                      </a:cubicBezTo>
                                                      <a:cubicBezTo>
                                                        <a:pt x="138447" y="124967"/>
                                                        <a:pt x="137086" y="128660"/>
                                                        <a:pt x="137281" y="132353"/>
                                                      </a:cubicBezTo>
                                                      <a:cubicBezTo>
                                                        <a:pt x="137410" y="136045"/>
                                                        <a:pt x="140261" y="140257"/>
                                                        <a:pt x="143889" y="139544"/>
                                                      </a:cubicBezTo>
                                                      <a:cubicBezTo>
                                                        <a:pt x="145897" y="139155"/>
                                                        <a:pt x="148035" y="137341"/>
                                                        <a:pt x="149720" y="138507"/>
                                                      </a:cubicBezTo>
                                                      <a:cubicBezTo>
                                                        <a:pt x="150951" y="139414"/>
                                                        <a:pt x="150821" y="141293"/>
                                                        <a:pt x="151534" y="142654"/>
                                                      </a:cubicBezTo>
                                                      <a:cubicBezTo>
                                                        <a:pt x="152829" y="145245"/>
                                                        <a:pt x="156457" y="145180"/>
                                                        <a:pt x="159373" y="145115"/>
                                                      </a:cubicBezTo>
                                                      <a:cubicBezTo>
                                                        <a:pt x="160280" y="145115"/>
                                                        <a:pt x="161252" y="145245"/>
                                                        <a:pt x="162158" y="145310"/>
                                                      </a:cubicBezTo>
                                                      <a:cubicBezTo>
                                                        <a:pt x="162158" y="144856"/>
                                                        <a:pt x="162094" y="144468"/>
                                                        <a:pt x="162158" y="144014"/>
                                                      </a:cubicBezTo>
                                                      <a:cubicBezTo>
                                                        <a:pt x="162677" y="138572"/>
                                                        <a:pt x="170710" y="135981"/>
                                                        <a:pt x="170840" y="130539"/>
                                                      </a:cubicBezTo>
                                                      <a:cubicBezTo>
                                                        <a:pt x="170840" y="129113"/>
                                                        <a:pt x="170322" y="127688"/>
                                                        <a:pt x="170192" y="126263"/>
                                                      </a:cubicBezTo>
                                                      <a:cubicBezTo>
                                                        <a:pt x="169220" y="118165"/>
                                                        <a:pt x="179586" y="113176"/>
                                                        <a:pt x="181724" y="105272"/>
                                                      </a:cubicBezTo>
                                                      <a:cubicBezTo>
                                                        <a:pt x="184445" y="94971"/>
                                                        <a:pt x="172330" y="85966"/>
                                                        <a:pt x="172589" y="75341"/>
                                                      </a:cubicBezTo>
                                                      <a:cubicBezTo>
                                                        <a:pt x="172654" y="71972"/>
                                                        <a:pt x="174014" y="68798"/>
                                                        <a:pt x="175375" y="65688"/>
                                                      </a:cubicBezTo>
                                                      <a:cubicBezTo>
                                                        <a:pt x="176217" y="63809"/>
                                                        <a:pt x="177189" y="61931"/>
                                                        <a:pt x="178679" y="60505"/>
                                                      </a:cubicBezTo>
                                                      <a:cubicBezTo>
                                                        <a:pt x="177772" y="58367"/>
                                                        <a:pt x="176735" y="56294"/>
                                                        <a:pt x="175245" y="54480"/>
                                                      </a:cubicBezTo>
                                                      <a:cubicBezTo>
                                                        <a:pt x="171552" y="49881"/>
                                                        <a:pt x="165592" y="46512"/>
                                                        <a:pt x="164685" y="4068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0" name="Freeform: Shape 43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4775E84-087B-47DA-847A-EE25793A66E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628254" y="4042700"/>
                                                  <a:ext cx="55797" cy="4606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51781 w 55797"/>
                                                    <a:gd name="connsiteY0" fmla="*/ 1173 h 46069"/>
                                                    <a:gd name="connsiteX1" fmla="*/ 47052 w 55797"/>
                                                    <a:gd name="connsiteY1" fmla="*/ 201 h 46069"/>
                                                    <a:gd name="connsiteX2" fmla="*/ 15371 w 55797"/>
                                                    <a:gd name="connsiteY2" fmla="*/ 2663 h 46069"/>
                                                    <a:gd name="connsiteX3" fmla="*/ 17 w 55797"/>
                                                    <a:gd name="connsiteY3" fmla="*/ 4995 h 46069"/>
                                                    <a:gd name="connsiteX4" fmla="*/ 341 w 55797"/>
                                                    <a:gd name="connsiteY4" fmla="*/ 10372 h 46069"/>
                                                    <a:gd name="connsiteX5" fmla="*/ 15371 w 55797"/>
                                                    <a:gd name="connsiteY5" fmla="*/ 20803 h 46069"/>
                                                    <a:gd name="connsiteX6" fmla="*/ 25543 w 55797"/>
                                                    <a:gd name="connsiteY6" fmla="*/ 38424 h 46069"/>
                                                    <a:gd name="connsiteX7" fmla="*/ 27551 w 55797"/>
                                                    <a:gd name="connsiteY7" fmla="*/ 46069 h 46069"/>
                                                    <a:gd name="connsiteX8" fmla="*/ 31309 w 55797"/>
                                                    <a:gd name="connsiteY8" fmla="*/ 41405 h 46069"/>
                                                    <a:gd name="connsiteX9" fmla="*/ 40573 w 55797"/>
                                                    <a:gd name="connsiteY9" fmla="*/ 33630 h 46069"/>
                                                    <a:gd name="connsiteX10" fmla="*/ 41221 w 55797"/>
                                                    <a:gd name="connsiteY10" fmla="*/ 30585 h 46069"/>
                                                    <a:gd name="connsiteX11" fmla="*/ 49060 w 55797"/>
                                                    <a:gd name="connsiteY11" fmla="*/ 26698 h 46069"/>
                                                    <a:gd name="connsiteX12" fmla="*/ 53789 w 55797"/>
                                                    <a:gd name="connsiteY12" fmla="*/ 15296 h 46069"/>
                                                    <a:gd name="connsiteX13" fmla="*/ 55798 w 55797"/>
                                                    <a:gd name="connsiteY13" fmla="*/ 4477 h 46069"/>
                                                    <a:gd name="connsiteX14" fmla="*/ 51911 w 55797"/>
                                                    <a:gd name="connsiteY14" fmla="*/ 1173 h 4606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5797" h="46069">
                                                      <a:moveTo>
                                                        <a:pt x="51781" y="1173"/>
                                                      </a:moveTo>
                                                      <a:cubicBezTo>
                                                        <a:pt x="50291" y="460"/>
                                                        <a:pt x="48671" y="266"/>
                                                        <a:pt x="47052" y="201"/>
                                                      </a:cubicBezTo>
                                                      <a:cubicBezTo>
                                                        <a:pt x="36492" y="-577"/>
                                                        <a:pt x="25867" y="1043"/>
                                                        <a:pt x="15371" y="2663"/>
                                                      </a:cubicBezTo>
                                                      <a:cubicBezTo>
                                                        <a:pt x="10253" y="3440"/>
                                                        <a:pt x="5135" y="4217"/>
                                                        <a:pt x="17" y="4995"/>
                                                      </a:cubicBezTo>
                                                      <a:cubicBezTo>
                                                        <a:pt x="17" y="6809"/>
                                                        <a:pt x="-113" y="8688"/>
                                                        <a:pt x="341" y="10372"/>
                                                      </a:cubicBezTo>
                                                      <a:cubicBezTo>
                                                        <a:pt x="1961" y="16527"/>
                                                        <a:pt x="9476" y="18406"/>
                                                        <a:pt x="15371" y="20803"/>
                                                      </a:cubicBezTo>
                                                      <a:cubicBezTo>
                                                        <a:pt x="21267" y="23200"/>
                                                        <a:pt x="30013" y="33954"/>
                                                        <a:pt x="25543" y="38424"/>
                                                      </a:cubicBezTo>
                                                      <a:cubicBezTo>
                                                        <a:pt x="25867" y="41145"/>
                                                        <a:pt x="26580" y="43672"/>
                                                        <a:pt x="27551" y="46069"/>
                                                      </a:cubicBezTo>
                                                      <a:cubicBezTo>
                                                        <a:pt x="28523" y="44320"/>
                                                        <a:pt x="29689" y="42636"/>
                                                        <a:pt x="31309" y="41405"/>
                                                      </a:cubicBezTo>
                                                      <a:cubicBezTo>
                                                        <a:pt x="34613" y="38943"/>
                                                        <a:pt x="39537" y="37647"/>
                                                        <a:pt x="40573" y="33630"/>
                                                      </a:cubicBezTo>
                                                      <a:cubicBezTo>
                                                        <a:pt x="40832" y="32594"/>
                                                        <a:pt x="40767" y="31492"/>
                                                        <a:pt x="41221" y="30585"/>
                                                      </a:cubicBezTo>
                                                      <a:cubicBezTo>
                                                        <a:pt x="42452" y="27864"/>
                                                        <a:pt x="46404" y="28059"/>
                                                        <a:pt x="49060" y="26698"/>
                                                      </a:cubicBezTo>
                                                      <a:cubicBezTo>
                                                        <a:pt x="52947" y="24690"/>
                                                        <a:pt x="53724" y="19637"/>
                                                        <a:pt x="53789" y="15296"/>
                                                      </a:cubicBezTo>
                                                      <a:cubicBezTo>
                                                        <a:pt x="53789" y="11603"/>
                                                        <a:pt x="53854" y="7522"/>
                                                        <a:pt x="55798" y="4477"/>
                                                      </a:cubicBezTo>
                                                      <a:cubicBezTo>
                                                        <a:pt x="54631" y="3181"/>
                                                        <a:pt x="53465" y="1950"/>
                                                        <a:pt x="51911" y="117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1" name="Freeform: Shape 44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B6EF279-C443-4014-8818-F4F0576EA90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598495" y="3936856"/>
                                                  <a:ext cx="150666" cy="11796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50537 w 150666"/>
                                                    <a:gd name="connsiteY0" fmla="*/ 100279 h 117965"/>
                                                    <a:gd name="connsiteX1" fmla="*/ 146067 w 150666"/>
                                                    <a:gd name="connsiteY1" fmla="*/ 87192 h 117965"/>
                                                    <a:gd name="connsiteX2" fmla="*/ 140042 w 150666"/>
                                                    <a:gd name="connsiteY2" fmla="*/ 84083 h 117965"/>
                                                    <a:gd name="connsiteX3" fmla="*/ 135765 w 150666"/>
                                                    <a:gd name="connsiteY3" fmla="*/ 73782 h 117965"/>
                                                    <a:gd name="connsiteX4" fmla="*/ 130777 w 150666"/>
                                                    <a:gd name="connsiteY4" fmla="*/ 68210 h 117965"/>
                                                    <a:gd name="connsiteX5" fmla="*/ 126890 w 150666"/>
                                                    <a:gd name="connsiteY5" fmla="*/ 48580 h 117965"/>
                                                    <a:gd name="connsiteX6" fmla="*/ 122938 w 150666"/>
                                                    <a:gd name="connsiteY6" fmla="*/ 44628 h 117965"/>
                                                    <a:gd name="connsiteX7" fmla="*/ 110564 w 150666"/>
                                                    <a:gd name="connsiteY7" fmla="*/ 34781 h 117965"/>
                                                    <a:gd name="connsiteX8" fmla="*/ 103502 w 150666"/>
                                                    <a:gd name="connsiteY8" fmla="*/ 26035 h 117965"/>
                                                    <a:gd name="connsiteX9" fmla="*/ 102271 w 150666"/>
                                                    <a:gd name="connsiteY9" fmla="*/ 20074 h 117965"/>
                                                    <a:gd name="connsiteX10" fmla="*/ 90610 w 150666"/>
                                                    <a:gd name="connsiteY10" fmla="*/ 13985 h 117965"/>
                                                    <a:gd name="connsiteX11" fmla="*/ 83613 w 150666"/>
                                                    <a:gd name="connsiteY11" fmla="*/ 6081 h 117965"/>
                                                    <a:gd name="connsiteX12" fmla="*/ 65473 w 150666"/>
                                                    <a:gd name="connsiteY12" fmla="*/ 639 h 117965"/>
                                                    <a:gd name="connsiteX13" fmla="*/ 28092 w 150666"/>
                                                    <a:gd name="connsiteY13" fmla="*/ 833 h 117965"/>
                                                    <a:gd name="connsiteX14" fmla="*/ 22650 w 150666"/>
                                                    <a:gd name="connsiteY14" fmla="*/ 1481 h 117965"/>
                                                    <a:gd name="connsiteX15" fmla="*/ 23362 w 150666"/>
                                                    <a:gd name="connsiteY15" fmla="*/ 7895 h 117965"/>
                                                    <a:gd name="connsiteX16" fmla="*/ 12155 w 150666"/>
                                                    <a:gd name="connsiteY16" fmla="*/ 11652 h 117965"/>
                                                    <a:gd name="connsiteX17" fmla="*/ 8527 w 150666"/>
                                                    <a:gd name="connsiteY17" fmla="*/ 28496 h 117965"/>
                                                    <a:gd name="connsiteX18" fmla="*/ 234 w 150666"/>
                                                    <a:gd name="connsiteY18" fmla="*/ 44693 h 117965"/>
                                                    <a:gd name="connsiteX19" fmla="*/ 16754 w 150666"/>
                                                    <a:gd name="connsiteY19" fmla="*/ 60630 h 117965"/>
                                                    <a:gd name="connsiteX20" fmla="*/ 18957 w 150666"/>
                                                    <a:gd name="connsiteY20" fmla="*/ 69959 h 117965"/>
                                                    <a:gd name="connsiteX21" fmla="*/ 83808 w 150666"/>
                                                    <a:gd name="connsiteY21" fmla="*/ 76762 h 117965"/>
                                                    <a:gd name="connsiteX22" fmla="*/ 93525 w 150666"/>
                                                    <a:gd name="connsiteY22" fmla="*/ 82981 h 117965"/>
                                                    <a:gd name="connsiteX23" fmla="*/ 86010 w 150666"/>
                                                    <a:gd name="connsiteY23" fmla="*/ 90496 h 117965"/>
                                                    <a:gd name="connsiteX24" fmla="*/ 74478 w 150666"/>
                                                    <a:gd name="connsiteY24" fmla="*/ 87257 h 117965"/>
                                                    <a:gd name="connsiteX25" fmla="*/ 55043 w 150666"/>
                                                    <a:gd name="connsiteY25" fmla="*/ 83824 h 117965"/>
                                                    <a:gd name="connsiteX26" fmla="*/ 46621 w 150666"/>
                                                    <a:gd name="connsiteY26" fmla="*/ 89201 h 117965"/>
                                                    <a:gd name="connsiteX27" fmla="*/ 35218 w 150666"/>
                                                    <a:gd name="connsiteY27" fmla="*/ 85961 h 117965"/>
                                                    <a:gd name="connsiteX28" fmla="*/ 26926 w 150666"/>
                                                    <a:gd name="connsiteY28" fmla="*/ 88942 h 117965"/>
                                                    <a:gd name="connsiteX29" fmla="*/ 16430 w 150666"/>
                                                    <a:gd name="connsiteY29" fmla="*/ 90367 h 117965"/>
                                                    <a:gd name="connsiteX30" fmla="*/ 20188 w 150666"/>
                                                    <a:gd name="connsiteY30" fmla="*/ 98660 h 117965"/>
                                                    <a:gd name="connsiteX31" fmla="*/ 28869 w 150666"/>
                                                    <a:gd name="connsiteY31" fmla="*/ 105203 h 117965"/>
                                                    <a:gd name="connsiteX32" fmla="*/ 29776 w 150666"/>
                                                    <a:gd name="connsiteY32" fmla="*/ 110580 h 117965"/>
                                                    <a:gd name="connsiteX33" fmla="*/ 45130 w 150666"/>
                                                    <a:gd name="connsiteY33" fmla="*/ 108248 h 117965"/>
                                                    <a:gd name="connsiteX34" fmla="*/ 76811 w 150666"/>
                                                    <a:gd name="connsiteY34" fmla="*/ 105786 h 117965"/>
                                                    <a:gd name="connsiteX35" fmla="*/ 81540 w 150666"/>
                                                    <a:gd name="connsiteY35" fmla="*/ 106758 h 117965"/>
                                                    <a:gd name="connsiteX36" fmla="*/ 85427 w 150666"/>
                                                    <a:gd name="connsiteY36" fmla="*/ 110062 h 117965"/>
                                                    <a:gd name="connsiteX37" fmla="*/ 86464 w 150666"/>
                                                    <a:gd name="connsiteY37" fmla="*/ 108572 h 117965"/>
                                                    <a:gd name="connsiteX38" fmla="*/ 98773 w 150666"/>
                                                    <a:gd name="connsiteY38" fmla="*/ 107211 h 117965"/>
                                                    <a:gd name="connsiteX39" fmla="*/ 110564 w 150666"/>
                                                    <a:gd name="connsiteY39" fmla="*/ 112912 h 117965"/>
                                                    <a:gd name="connsiteX40" fmla="*/ 138551 w 150666"/>
                                                    <a:gd name="connsiteY40" fmla="*/ 115050 h 117965"/>
                                                    <a:gd name="connsiteX41" fmla="*/ 147816 w 150666"/>
                                                    <a:gd name="connsiteY41" fmla="*/ 117447 h 117965"/>
                                                    <a:gd name="connsiteX42" fmla="*/ 150667 w 150666"/>
                                                    <a:gd name="connsiteY42" fmla="*/ 117966 h 117965"/>
                                                    <a:gd name="connsiteX43" fmla="*/ 150667 w 150666"/>
                                                    <a:gd name="connsiteY43" fmla="*/ 115828 h 117965"/>
                                                    <a:gd name="connsiteX44" fmla="*/ 150602 w 150666"/>
                                                    <a:gd name="connsiteY44" fmla="*/ 100085 h 11796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0666" h="117965">
                                                      <a:moveTo>
                                                        <a:pt x="150537" y="100279"/>
                                                      </a:moveTo>
                                                      <a:cubicBezTo>
                                                        <a:pt x="150537" y="95485"/>
                                                        <a:pt x="150083" y="89849"/>
                                                        <a:pt x="146067" y="87192"/>
                                                      </a:cubicBezTo>
                                                      <a:cubicBezTo>
                                                        <a:pt x="144188" y="85961"/>
                                                        <a:pt x="141726" y="85638"/>
                                                        <a:pt x="140042" y="84083"/>
                                                      </a:cubicBezTo>
                                                      <a:cubicBezTo>
                                                        <a:pt x="137256" y="81556"/>
                                                        <a:pt x="137709" y="77021"/>
                                                        <a:pt x="135765" y="73782"/>
                                                      </a:cubicBezTo>
                                                      <a:cubicBezTo>
                                                        <a:pt x="134470" y="71644"/>
                                                        <a:pt x="132202" y="70283"/>
                                                        <a:pt x="130777" y="68210"/>
                                                      </a:cubicBezTo>
                                                      <a:cubicBezTo>
                                                        <a:pt x="126955" y="62639"/>
                                                        <a:pt x="130583" y="54281"/>
                                                        <a:pt x="126890" y="48580"/>
                                                      </a:cubicBezTo>
                                                      <a:cubicBezTo>
                                                        <a:pt x="125853" y="47025"/>
                                                        <a:pt x="124364" y="45794"/>
                                                        <a:pt x="122938" y="44628"/>
                                                      </a:cubicBezTo>
                                                      <a:cubicBezTo>
                                                        <a:pt x="118792" y="41324"/>
                                                        <a:pt x="114710" y="38085"/>
                                                        <a:pt x="110564" y="34781"/>
                                                      </a:cubicBezTo>
                                                      <a:cubicBezTo>
                                                        <a:pt x="107584" y="32384"/>
                                                        <a:pt x="104409" y="29792"/>
                                                        <a:pt x="103502" y="26035"/>
                                                      </a:cubicBezTo>
                                                      <a:cubicBezTo>
                                                        <a:pt x="102984" y="24026"/>
                                                        <a:pt x="103243" y="21888"/>
                                                        <a:pt x="102271" y="20074"/>
                                                      </a:cubicBezTo>
                                                      <a:cubicBezTo>
                                                        <a:pt x="100198" y="16058"/>
                                                        <a:pt x="94368" y="16382"/>
                                                        <a:pt x="90610" y="13985"/>
                                                      </a:cubicBezTo>
                                                      <a:cubicBezTo>
                                                        <a:pt x="87630" y="12106"/>
                                                        <a:pt x="86140" y="8543"/>
                                                        <a:pt x="83613" y="6081"/>
                                                      </a:cubicBezTo>
                                                      <a:cubicBezTo>
                                                        <a:pt x="79014" y="1481"/>
                                                        <a:pt x="71887" y="898"/>
                                                        <a:pt x="65473" y="639"/>
                                                      </a:cubicBezTo>
                                                      <a:cubicBezTo>
                                                        <a:pt x="53034" y="56"/>
                                                        <a:pt x="40531" y="-527"/>
                                                        <a:pt x="28092" y="833"/>
                                                      </a:cubicBezTo>
                                                      <a:cubicBezTo>
                                                        <a:pt x="26278" y="1027"/>
                                                        <a:pt x="24464" y="1287"/>
                                                        <a:pt x="22650" y="1481"/>
                                                      </a:cubicBezTo>
                                                      <a:cubicBezTo>
                                                        <a:pt x="23557" y="3619"/>
                                                        <a:pt x="24010" y="5692"/>
                                                        <a:pt x="23362" y="7895"/>
                                                      </a:cubicBezTo>
                                                      <a:cubicBezTo>
                                                        <a:pt x="19799" y="9579"/>
                                                        <a:pt x="16042" y="10875"/>
                                                        <a:pt x="12155" y="11652"/>
                                                      </a:cubicBezTo>
                                                      <a:cubicBezTo>
                                                        <a:pt x="16560" y="16252"/>
                                                        <a:pt x="12867" y="23832"/>
                                                        <a:pt x="8527" y="28496"/>
                                                      </a:cubicBezTo>
                                                      <a:cubicBezTo>
                                                        <a:pt x="4186" y="33161"/>
                                                        <a:pt x="-1191" y="38538"/>
                                                        <a:pt x="234" y="44693"/>
                                                      </a:cubicBezTo>
                                                      <a:cubicBezTo>
                                                        <a:pt x="1983" y="52273"/>
                                                        <a:pt x="12478" y="54087"/>
                                                        <a:pt x="16754" y="60630"/>
                                                      </a:cubicBezTo>
                                                      <a:cubicBezTo>
                                                        <a:pt x="18568" y="63416"/>
                                                        <a:pt x="19087" y="66591"/>
                                                        <a:pt x="18957" y="69959"/>
                                                      </a:cubicBezTo>
                                                      <a:cubicBezTo>
                                                        <a:pt x="40660" y="70996"/>
                                                        <a:pt x="62364" y="73199"/>
                                                        <a:pt x="83808" y="76762"/>
                                                      </a:cubicBezTo>
                                                      <a:cubicBezTo>
                                                        <a:pt x="87889" y="77410"/>
                                                        <a:pt x="92748" y="78965"/>
                                                        <a:pt x="93525" y="82981"/>
                                                      </a:cubicBezTo>
                                                      <a:cubicBezTo>
                                                        <a:pt x="94238" y="86933"/>
                                                        <a:pt x="90027" y="90302"/>
                                                        <a:pt x="86010" y="90496"/>
                                                      </a:cubicBezTo>
                                                      <a:cubicBezTo>
                                                        <a:pt x="81993" y="90691"/>
                                                        <a:pt x="78236" y="88747"/>
                                                        <a:pt x="74478" y="87257"/>
                                                      </a:cubicBezTo>
                                                      <a:cubicBezTo>
                                                        <a:pt x="68324" y="84860"/>
                                                        <a:pt x="61651" y="83694"/>
                                                        <a:pt x="55043" y="83824"/>
                                                      </a:cubicBezTo>
                                                      <a:cubicBezTo>
                                                        <a:pt x="55885" y="87711"/>
                                                        <a:pt x="50508" y="90108"/>
                                                        <a:pt x="46621" y="89201"/>
                                                      </a:cubicBezTo>
                                                      <a:cubicBezTo>
                                                        <a:pt x="42733" y="88294"/>
                                                        <a:pt x="39170" y="85702"/>
                                                        <a:pt x="35218" y="85961"/>
                                                      </a:cubicBezTo>
                                                      <a:cubicBezTo>
                                                        <a:pt x="32238" y="86156"/>
                                                        <a:pt x="29646" y="87840"/>
                                                        <a:pt x="26926" y="88942"/>
                                                      </a:cubicBezTo>
                                                      <a:cubicBezTo>
                                                        <a:pt x="23492" y="90302"/>
                                                        <a:pt x="19993" y="90626"/>
                                                        <a:pt x="16430" y="90367"/>
                                                      </a:cubicBezTo>
                                                      <a:cubicBezTo>
                                                        <a:pt x="16625" y="93606"/>
                                                        <a:pt x="17596" y="96457"/>
                                                        <a:pt x="20188" y="98660"/>
                                                      </a:cubicBezTo>
                                                      <a:cubicBezTo>
                                                        <a:pt x="22974" y="101057"/>
                                                        <a:pt x="27120" y="102028"/>
                                                        <a:pt x="28869" y="105203"/>
                                                      </a:cubicBezTo>
                                                      <a:cubicBezTo>
                                                        <a:pt x="29776" y="106822"/>
                                                        <a:pt x="29776" y="108701"/>
                                                        <a:pt x="29776" y="110580"/>
                                                      </a:cubicBezTo>
                                                      <a:cubicBezTo>
                                                        <a:pt x="34894" y="109803"/>
                                                        <a:pt x="40012" y="109025"/>
                                                        <a:pt x="45130" y="108248"/>
                                                      </a:cubicBezTo>
                                                      <a:cubicBezTo>
                                                        <a:pt x="55626" y="106628"/>
                                                        <a:pt x="66251" y="105073"/>
                                                        <a:pt x="76811" y="105786"/>
                                                      </a:cubicBezTo>
                                                      <a:cubicBezTo>
                                                        <a:pt x="78430" y="105915"/>
                                                        <a:pt x="80115" y="106110"/>
                                                        <a:pt x="81540" y="106758"/>
                                                      </a:cubicBezTo>
                                                      <a:cubicBezTo>
                                                        <a:pt x="83095" y="107470"/>
                                                        <a:pt x="84261" y="108766"/>
                                                        <a:pt x="85427" y="110062"/>
                                                      </a:cubicBezTo>
                                                      <a:cubicBezTo>
                                                        <a:pt x="85751" y="109543"/>
                                                        <a:pt x="86010" y="109025"/>
                                                        <a:pt x="86464" y="108572"/>
                                                      </a:cubicBezTo>
                                                      <a:cubicBezTo>
                                                        <a:pt x="89573" y="105527"/>
                                                        <a:pt x="94692" y="105656"/>
                                                        <a:pt x="98773" y="107211"/>
                                                      </a:cubicBezTo>
                                                      <a:cubicBezTo>
                                                        <a:pt x="102855" y="108766"/>
                                                        <a:pt x="106418" y="111422"/>
                                                        <a:pt x="110564" y="112912"/>
                                                      </a:cubicBezTo>
                                                      <a:cubicBezTo>
                                                        <a:pt x="119375" y="116087"/>
                                                        <a:pt x="129287" y="113366"/>
                                                        <a:pt x="138551" y="115050"/>
                                                      </a:cubicBezTo>
                                                      <a:cubicBezTo>
                                                        <a:pt x="141726" y="115633"/>
                                                        <a:pt x="144706" y="116670"/>
                                                        <a:pt x="147816" y="117447"/>
                                                      </a:cubicBezTo>
                                                      <a:cubicBezTo>
                                                        <a:pt x="148723" y="117707"/>
                                                        <a:pt x="149695" y="117771"/>
                                                        <a:pt x="150667" y="117966"/>
                                                      </a:cubicBezTo>
                                                      <a:cubicBezTo>
                                                        <a:pt x="150667" y="117253"/>
                                                        <a:pt x="150667" y="116540"/>
                                                        <a:pt x="150667" y="115828"/>
                                                      </a:cubicBezTo>
                                                      <a:cubicBezTo>
                                                        <a:pt x="150667" y="110580"/>
                                                        <a:pt x="150667" y="105332"/>
                                                        <a:pt x="150602" y="10008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2" name="Freeform: Shape 44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FE244C1-4D10-4E16-9C78-8403EC53691F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879899" y="3979329"/>
                                                  <a:ext cx="215671" cy="148933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09258 w 215671"/>
                                                    <a:gd name="connsiteY0" fmla="*/ 71281 h 148933"/>
                                                    <a:gd name="connsiteX1" fmla="*/ 193256 w 215671"/>
                                                    <a:gd name="connsiteY1" fmla="*/ 67977 h 148933"/>
                                                    <a:gd name="connsiteX2" fmla="*/ 185287 w 215671"/>
                                                    <a:gd name="connsiteY2" fmla="*/ 57158 h 148933"/>
                                                    <a:gd name="connsiteX3" fmla="*/ 179132 w 215671"/>
                                                    <a:gd name="connsiteY3" fmla="*/ 54761 h 148933"/>
                                                    <a:gd name="connsiteX4" fmla="*/ 176023 w 215671"/>
                                                    <a:gd name="connsiteY4" fmla="*/ 49643 h 148933"/>
                                                    <a:gd name="connsiteX5" fmla="*/ 177642 w 215671"/>
                                                    <a:gd name="connsiteY5" fmla="*/ 46987 h 148933"/>
                                                    <a:gd name="connsiteX6" fmla="*/ 172719 w 215671"/>
                                                    <a:gd name="connsiteY6" fmla="*/ 38046 h 148933"/>
                                                    <a:gd name="connsiteX7" fmla="*/ 169091 w 215671"/>
                                                    <a:gd name="connsiteY7" fmla="*/ 28912 h 148933"/>
                                                    <a:gd name="connsiteX8" fmla="*/ 154967 w 215671"/>
                                                    <a:gd name="connsiteY8" fmla="*/ 15954 h 148933"/>
                                                    <a:gd name="connsiteX9" fmla="*/ 150821 w 215671"/>
                                                    <a:gd name="connsiteY9" fmla="*/ 989 h 148933"/>
                                                    <a:gd name="connsiteX10" fmla="*/ 144083 w 215671"/>
                                                    <a:gd name="connsiteY10" fmla="*/ 82 h 148933"/>
                                                    <a:gd name="connsiteX11" fmla="*/ 132681 w 215671"/>
                                                    <a:gd name="connsiteY11" fmla="*/ 795 h 148933"/>
                                                    <a:gd name="connsiteX12" fmla="*/ 120566 w 215671"/>
                                                    <a:gd name="connsiteY12" fmla="*/ 6561 h 148933"/>
                                                    <a:gd name="connsiteX13" fmla="*/ 119205 w 215671"/>
                                                    <a:gd name="connsiteY13" fmla="*/ 10836 h 148933"/>
                                                    <a:gd name="connsiteX14" fmla="*/ 107609 w 215671"/>
                                                    <a:gd name="connsiteY14" fmla="*/ 12715 h 148933"/>
                                                    <a:gd name="connsiteX15" fmla="*/ 100742 w 215671"/>
                                                    <a:gd name="connsiteY15" fmla="*/ 20684 h 148933"/>
                                                    <a:gd name="connsiteX16" fmla="*/ 91283 w 215671"/>
                                                    <a:gd name="connsiteY16" fmla="*/ 21267 h 148933"/>
                                                    <a:gd name="connsiteX17" fmla="*/ 80075 w 215671"/>
                                                    <a:gd name="connsiteY17" fmla="*/ 29236 h 148933"/>
                                                    <a:gd name="connsiteX18" fmla="*/ 76188 w 215671"/>
                                                    <a:gd name="connsiteY18" fmla="*/ 42970 h 148933"/>
                                                    <a:gd name="connsiteX19" fmla="*/ 66276 w 215671"/>
                                                    <a:gd name="connsiteY19" fmla="*/ 41869 h 148933"/>
                                                    <a:gd name="connsiteX20" fmla="*/ 63749 w 215671"/>
                                                    <a:gd name="connsiteY20" fmla="*/ 39018 h 148933"/>
                                                    <a:gd name="connsiteX21" fmla="*/ 50662 w 215671"/>
                                                    <a:gd name="connsiteY21" fmla="*/ 39277 h 148933"/>
                                                    <a:gd name="connsiteX22" fmla="*/ 44119 w 215671"/>
                                                    <a:gd name="connsiteY22" fmla="*/ 59231 h 148933"/>
                                                    <a:gd name="connsiteX23" fmla="*/ 38742 w 215671"/>
                                                    <a:gd name="connsiteY23" fmla="*/ 71670 h 148933"/>
                                                    <a:gd name="connsiteX24" fmla="*/ 28311 w 215671"/>
                                                    <a:gd name="connsiteY24" fmla="*/ 83656 h 148933"/>
                                                    <a:gd name="connsiteX25" fmla="*/ 21055 w 215671"/>
                                                    <a:gd name="connsiteY25" fmla="*/ 86765 h 148933"/>
                                                    <a:gd name="connsiteX26" fmla="*/ 21055 w 215671"/>
                                                    <a:gd name="connsiteY26" fmla="*/ 93309 h 148933"/>
                                                    <a:gd name="connsiteX27" fmla="*/ 14317 w 215671"/>
                                                    <a:gd name="connsiteY27" fmla="*/ 102379 h 148933"/>
                                                    <a:gd name="connsiteX28" fmla="*/ 11532 w 215671"/>
                                                    <a:gd name="connsiteY28" fmla="*/ 115141 h 148933"/>
                                                    <a:gd name="connsiteX29" fmla="*/ 6932 w 215671"/>
                                                    <a:gd name="connsiteY29" fmla="*/ 116502 h 148933"/>
                                                    <a:gd name="connsiteX30" fmla="*/ 0 w 215671"/>
                                                    <a:gd name="connsiteY30" fmla="*/ 122462 h 148933"/>
                                                    <a:gd name="connsiteX31" fmla="*/ 2851 w 215671"/>
                                                    <a:gd name="connsiteY31" fmla="*/ 128163 h 148933"/>
                                                    <a:gd name="connsiteX32" fmla="*/ 10236 w 215671"/>
                                                    <a:gd name="connsiteY32" fmla="*/ 124017 h 148933"/>
                                                    <a:gd name="connsiteX33" fmla="*/ 17751 w 215671"/>
                                                    <a:gd name="connsiteY33" fmla="*/ 126932 h 148933"/>
                                                    <a:gd name="connsiteX34" fmla="*/ 19630 w 215671"/>
                                                    <a:gd name="connsiteY34" fmla="*/ 129783 h 148933"/>
                                                    <a:gd name="connsiteX35" fmla="*/ 22804 w 215671"/>
                                                    <a:gd name="connsiteY35" fmla="*/ 130755 h 148933"/>
                                                    <a:gd name="connsiteX36" fmla="*/ 31810 w 215671"/>
                                                    <a:gd name="connsiteY36" fmla="*/ 140991 h 148933"/>
                                                    <a:gd name="connsiteX37" fmla="*/ 42305 w 215671"/>
                                                    <a:gd name="connsiteY37" fmla="*/ 148830 h 148933"/>
                                                    <a:gd name="connsiteX38" fmla="*/ 42888 w 215671"/>
                                                    <a:gd name="connsiteY38" fmla="*/ 142028 h 148933"/>
                                                    <a:gd name="connsiteX39" fmla="*/ 58501 w 215671"/>
                                                    <a:gd name="connsiteY39" fmla="*/ 139436 h 148933"/>
                                                    <a:gd name="connsiteX40" fmla="*/ 84416 w 215671"/>
                                                    <a:gd name="connsiteY40" fmla="*/ 139242 h 148933"/>
                                                    <a:gd name="connsiteX41" fmla="*/ 85517 w 215671"/>
                                                    <a:gd name="connsiteY41" fmla="*/ 119936 h 148933"/>
                                                    <a:gd name="connsiteX42" fmla="*/ 88627 w 215671"/>
                                                    <a:gd name="connsiteY42" fmla="*/ 112420 h 148933"/>
                                                    <a:gd name="connsiteX43" fmla="*/ 104240 w 215671"/>
                                                    <a:gd name="connsiteY43" fmla="*/ 108339 h 148933"/>
                                                    <a:gd name="connsiteX44" fmla="*/ 135726 w 215671"/>
                                                    <a:gd name="connsiteY44" fmla="*/ 109699 h 148933"/>
                                                    <a:gd name="connsiteX45" fmla="*/ 146351 w 215671"/>
                                                    <a:gd name="connsiteY45" fmla="*/ 111125 h 148933"/>
                                                    <a:gd name="connsiteX46" fmla="*/ 150821 w 215671"/>
                                                    <a:gd name="connsiteY46" fmla="*/ 113198 h 148933"/>
                                                    <a:gd name="connsiteX47" fmla="*/ 150821 w 215671"/>
                                                    <a:gd name="connsiteY47" fmla="*/ 113198 h 148933"/>
                                                    <a:gd name="connsiteX48" fmla="*/ 151210 w 215671"/>
                                                    <a:gd name="connsiteY48" fmla="*/ 109375 h 148933"/>
                                                    <a:gd name="connsiteX49" fmla="*/ 153672 w 215671"/>
                                                    <a:gd name="connsiteY49" fmla="*/ 108404 h 148933"/>
                                                    <a:gd name="connsiteX50" fmla="*/ 179975 w 215671"/>
                                                    <a:gd name="connsiteY50" fmla="*/ 111773 h 148933"/>
                                                    <a:gd name="connsiteX51" fmla="*/ 190794 w 215671"/>
                                                    <a:gd name="connsiteY51" fmla="*/ 100370 h 148933"/>
                                                    <a:gd name="connsiteX52" fmla="*/ 208675 w 215671"/>
                                                    <a:gd name="connsiteY52" fmla="*/ 91754 h 148933"/>
                                                    <a:gd name="connsiteX53" fmla="*/ 212627 w 215671"/>
                                                    <a:gd name="connsiteY53" fmla="*/ 88774 h 148933"/>
                                                    <a:gd name="connsiteX54" fmla="*/ 215672 w 215671"/>
                                                    <a:gd name="connsiteY54" fmla="*/ 78991 h 148933"/>
                                                    <a:gd name="connsiteX55" fmla="*/ 209193 w 215671"/>
                                                    <a:gd name="connsiteY55" fmla="*/ 71411 h 148933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15671" h="148933">
                                                      <a:moveTo>
                                                        <a:pt x="209258" y="71281"/>
                                                      </a:moveTo>
                                                      <a:cubicBezTo>
                                                        <a:pt x="204269" y="68884"/>
                                                        <a:pt x="197661" y="71281"/>
                                                        <a:pt x="193256" y="67977"/>
                                                      </a:cubicBezTo>
                                                      <a:cubicBezTo>
                                                        <a:pt x="189628" y="65256"/>
                                                        <a:pt x="189045" y="59620"/>
                                                        <a:pt x="185287" y="57158"/>
                                                      </a:cubicBezTo>
                                                      <a:cubicBezTo>
                                                        <a:pt x="183473" y="55927"/>
                                                        <a:pt x="181141" y="55733"/>
                                                        <a:pt x="179132" y="54761"/>
                                                      </a:cubicBezTo>
                                                      <a:cubicBezTo>
                                                        <a:pt x="177124" y="53854"/>
                                                        <a:pt x="175245" y="51716"/>
                                                        <a:pt x="176023" y="49643"/>
                                                      </a:cubicBezTo>
                                                      <a:cubicBezTo>
                                                        <a:pt x="176347" y="48671"/>
                                                        <a:pt x="177189" y="47959"/>
                                                        <a:pt x="177642" y="46987"/>
                                                      </a:cubicBezTo>
                                                      <a:cubicBezTo>
                                                        <a:pt x="179327" y="43683"/>
                                                        <a:pt x="175699" y="40249"/>
                                                        <a:pt x="172719" y="38046"/>
                                                      </a:cubicBezTo>
                                                      <a:cubicBezTo>
                                                        <a:pt x="169738" y="35844"/>
                                                        <a:pt x="166629" y="31697"/>
                                                        <a:pt x="169091" y="28912"/>
                                                      </a:cubicBezTo>
                                                      <a:cubicBezTo>
                                                        <a:pt x="162223" y="28393"/>
                                                        <a:pt x="156069" y="22757"/>
                                                        <a:pt x="154967" y="15954"/>
                                                      </a:cubicBezTo>
                                                      <a:cubicBezTo>
                                                        <a:pt x="154125" y="10642"/>
                                                        <a:pt x="155421" y="3775"/>
                                                        <a:pt x="150821" y="989"/>
                                                      </a:cubicBezTo>
                                                      <a:cubicBezTo>
                                                        <a:pt x="148877" y="-177"/>
                                                        <a:pt x="146416" y="-48"/>
                                                        <a:pt x="144083" y="82"/>
                                                      </a:cubicBezTo>
                                                      <a:cubicBezTo>
                                                        <a:pt x="140261" y="341"/>
                                                        <a:pt x="136504" y="536"/>
                                                        <a:pt x="132681" y="795"/>
                                                      </a:cubicBezTo>
                                                      <a:cubicBezTo>
                                                        <a:pt x="127952" y="1054"/>
                                                        <a:pt x="122186" y="2090"/>
                                                        <a:pt x="120566" y="6561"/>
                                                      </a:cubicBezTo>
                                                      <a:cubicBezTo>
                                                        <a:pt x="120048" y="7986"/>
                                                        <a:pt x="120048" y="9606"/>
                                                        <a:pt x="119205" y="10836"/>
                                                      </a:cubicBezTo>
                                                      <a:cubicBezTo>
                                                        <a:pt x="116808" y="14140"/>
                                                        <a:pt x="111237" y="10966"/>
                                                        <a:pt x="107609" y="12715"/>
                                                      </a:cubicBezTo>
                                                      <a:cubicBezTo>
                                                        <a:pt x="104370" y="14205"/>
                                                        <a:pt x="103786" y="18870"/>
                                                        <a:pt x="100742" y="20684"/>
                                                      </a:cubicBezTo>
                                                      <a:cubicBezTo>
                                                        <a:pt x="98021" y="22368"/>
                                                        <a:pt x="94522" y="21137"/>
                                                        <a:pt x="91283" y="21267"/>
                                                      </a:cubicBezTo>
                                                      <a:cubicBezTo>
                                                        <a:pt x="86489" y="21526"/>
                                                        <a:pt x="82407" y="25025"/>
                                                        <a:pt x="80075" y="29236"/>
                                                      </a:cubicBezTo>
                                                      <a:cubicBezTo>
                                                        <a:pt x="77743" y="33447"/>
                                                        <a:pt x="76965" y="38241"/>
                                                        <a:pt x="76188" y="42970"/>
                                                      </a:cubicBezTo>
                                                      <a:cubicBezTo>
                                                        <a:pt x="72819" y="43618"/>
                                                        <a:pt x="68867" y="44136"/>
                                                        <a:pt x="66276" y="41869"/>
                                                      </a:cubicBezTo>
                                                      <a:cubicBezTo>
                                                        <a:pt x="65304" y="41027"/>
                                                        <a:pt x="64656" y="39925"/>
                                                        <a:pt x="63749" y="39018"/>
                                                      </a:cubicBezTo>
                                                      <a:cubicBezTo>
                                                        <a:pt x="60380" y="35455"/>
                                                        <a:pt x="53902" y="35584"/>
                                                        <a:pt x="50662" y="39277"/>
                                                      </a:cubicBezTo>
                                                      <a:cubicBezTo>
                                                        <a:pt x="48913" y="46080"/>
                                                        <a:pt x="46775" y="52753"/>
                                                        <a:pt x="44119" y="59231"/>
                                                      </a:cubicBezTo>
                                                      <a:cubicBezTo>
                                                        <a:pt x="42435" y="63442"/>
                                                        <a:pt x="40556" y="67524"/>
                                                        <a:pt x="38742" y="71670"/>
                                                      </a:cubicBezTo>
                                                      <a:cubicBezTo>
                                                        <a:pt x="36474" y="76659"/>
                                                        <a:pt x="33624" y="82165"/>
                                                        <a:pt x="28311" y="83656"/>
                                                      </a:cubicBezTo>
                                                      <a:cubicBezTo>
                                                        <a:pt x="25655" y="84368"/>
                                                        <a:pt x="22221" y="84303"/>
                                                        <a:pt x="21055" y="86765"/>
                                                      </a:cubicBezTo>
                                                      <a:cubicBezTo>
                                                        <a:pt x="20083" y="88774"/>
                                                        <a:pt x="21379" y="91106"/>
                                                        <a:pt x="21055" y="93309"/>
                                                      </a:cubicBezTo>
                                                      <a:cubicBezTo>
                                                        <a:pt x="20537" y="97131"/>
                                                        <a:pt x="15872" y="98880"/>
                                                        <a:pt x="14317" y="102379"/>
                                                      </a:cubicBezTo>
                                                      <a:cubicBezTo>
                                                        <a:pt x="12504" y="106525"/>
                                                        <a:pt x="15224" y="112615"/>
                                                        <a:pt x="11532" y="115141"/>
                                                      </a:cubicBezTo>
                                                      <a:cubicBezTo>
                                                        <a:pt x="10171" y="116048"/>
                                                        <a:pt x="8487" y="116113"/>
                                                        <a:pt x="6932" y="116502"/>
                                                      </a:cubicBezTo>
                                                      <a:cubicBezTo>
                                                        <a:pt x="3887" y="117344"/>
                                                        <a:pt x="1555" y="119676"/>
                                                        <a:pt x="0" y="122462"/>
                                                      </a:cubicBezTo>
                                                      <a:cubicBezTo>
                                                        <a:pt x="2138" y="123499"/>
                                                        <a:pt x="3757" y="125961"/>
                                                        <a:pt x="2851" y="128163"/>
                                                      </a:cubicBezTo>
                                                      <a:cubicBezTo>
                                                        <a:pt x="4924" y="126220"/>
                                                        <a:pt x="7385" y="124535"/>
                                                        <a:pt x="10236" y="124017"/>
                                                      </a:cubicBezTo>
                                                      <a:cubicBezTo>
                                                        <a:pt x="13086" y="123499"/>
                                                        <a:pt x="16261" y="124535"/>
                                                        <a:pt x="17751" y="126932"/>
                                                      </a:cubicBezTo>
                                                      <a:cubicBezTo>
                                                        <a:pt x="18334" y="127904"/>
                                                        <a:pt x="18723" y="129135"/>
                                                        <a:pt x="19630" y="129783"/>
                                                      </a:cubicBezTo>
                                                      <a:cubicBezTo>
                                                        <a:pt x="20537" y="130431"/>
                                                        <a:pt x="21703" y="130496"/>
                                                        <a:pt x="22804" y="130755"/>
                                                      </a:cubicBezTo>
                                                      <a:cubicBezTo>
                                                        <a:pt x="27404" y="131856"/>
                                                        <a:pt x="29672" y="136780"/>
                                                        <a:pt x="31810" y="140991"/>
                                                      </a:cubicBezTo>
                                                      <a:cubicBezTo>
                                                        <a:pt x="33948" y="145202"/>
                                                        <a:pt x="37705" y="149672"/>
                                                        <a:pt x="42305" y="148830"/>
                                                      </a:cubicBezTo>
                                                      <a:cubicBezTo>
                                                        <a:pt x="42499" y="146562"/>
                                                        <a:pt x="42694" y="144295"/>
                                                        <a:pt x="42888" y="142028"/>
                                                      </a:cubicBezTo>
                                                      <a:cubicBezTo>
                                                        <a:pt x="48071" y="143194"/>
                                                        <a:pt x="53319" y="140797"/>
                                                        <a:pt x="58501" y="139436"/>
                                                      </a:cubicBezTo>
                                                      <a:cubicBezTo>
                                                        <a:pt x="66923" y="137233"/>
                                                        <a:pt x="75735" y="137946"/>
                                                        <a:pt x="84416" y="139242"/>
                                                      </a:cubicBezTo>
                                                      <a:cubicBezTo>
                                                        <a:pt x="84092" y="132763"/>
                                                        <a:pt x="84221" y="126349"/>
                                                        <a:pt x="85517" y="119936"/>
                                                      </a:cubicBezTo>
                                                      <a:cubicBezTo>
                                                        <a:pt x="86035" y="117215"/>
                                                        <a:pt x="86877" y="114494"/>
                                                        <a:pt x="88627" y="112420"/>
                                                      </a:cubicBezTo>
                                                      <a:cubicBezTo>
                                                        <a:pt x="92255" y="108209"/>
                                                        <a:pt x="98669" y="108145"/>
                                                        <a:pt x="104240" y="108339"/>
                                                      </a:cubicBezTo>
                                                      <a:cubicBezTo>
                                                        <a:pt x="114735" y="108792"/>
                                                        <a:pt x="125231" y="109246"/>
                                                        <a:pt x="135726" y="109699"/>
                                                      </a:cubicBezTo>
                                                      <a:cubicBezTo>
                                                        <a:pt x="139289" y="109829"/>
                                                        <a:pt x="142917" y="110023"/>
                                                        <a:pt x="146351" y="111125"/>
                                                      </a:cubicBezTo>
                                                      <a:cubicBezTo>
                                                        <a:pt x="147906" y="111643"/>
                                                        <a:pt x="149396" y="112356"/>
                                                        <a:pt x="150821" y="113198"/>
                                                      </a:cubicBezTo>
                                                      <a:cubicBezTo>
                                                        <a:pt x="150821" y="113198"/>
                                                        <a:pt x="150821" y="113198"/>
                                                        <a:pt x="150821" y="113198"/>
                                                      </a:cubicBezTo>
                                                      <a:cubicBezTo>
                                                        <a:pt x="150562" y="111902"/>
                                                        <a:pt x="150303" y="110347"/>
                                                        <a:pt x="151210" y="109375"/>
                                                      </a:cubicBezTo>
                                                      <a:cubicBezTo>
                                                        <a:pt x="151793" y="108728"/>
                                                        <a:pt x="152764" y="108533"/>
                                                        <a:pt x="153672" y="108404"/>
                                                      </a:cubicBezTo>
                                                      <a:cubicBezTo>
                                                        <a:pt x="162547" y="107173"/>
                                                        <a:pt x="171682" y="108468"/>
                                                        <a:pt x="179975" y="111773"/>
                                                      </a:cubicBezTo>
                                                      <a:cubicBezTo>
                                                        <a:pt x="181983" y="106978"/>
                                                        <a:pt x="186259" y="103026"/>
                                                        <a:pt x="190794" y="100370"/>
                                                      </a:cubicBezTo>
                                                      <a:cubicBezTo>
                                                        <a:pt x="196495" y="97001"/>
                                                        <a:pt x="202909" y="94928"/>
                                                        <a:pt x="208675" y="91754"/>
                                                      </a:cubicBezTo>
                                                      <a:cubicBezTo>
                                                        <a:pt x="210100" y="90976"/>
                                                        <a:pt x="211590" y="90069"/>
                                                        <a:pt x="212627" y="88774"/>
                                                      </a:cubicBezTo>
                                                      <a:cubicBezTo>
                                                        <a:pt x="214764" y="86117"/>
                                                        <a:pt x="214829" y="82360"/>
                                                        <a:pt x="215672" y="78991"/>
                                                      </a:cubicBezTo>
                                                      <a:cubicBezTo>
                                                        <a:pt x="214052" y="75881"/>
                                                        <a:pt x="212303" y="72901"/>
                                                        <a:pt x="209193" y="7141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3" name="Freeform: Shape 44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AE098B08-CAFF-496D-A6E7-90AAC7A93DF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596599" y="3628483"/>
                                                  <a:ext cx="304095" cy="35986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72804 w 304095"/>
                                                    <a:gd name="connsiteY0" fmla="*/ 39244 h 359868"/>
                                                    <a:gd name="connsiteX1" fmla="*/ 258292 w 304095"/>
                                                    <a:gd name="connsiteY1" fmla="*/ 33478 h 359868"/>
                                                    <a:gd name="connsiteX2" fmla="*/ 246048 w 304095"/>
                                                    <a:gd name="connsiteY2" fmla="*/ 15079 h 359868"/>
                                                    <a:gd name="connsiteX3" fmla="*/ 225899 w 304095"/>
                                                    <a:gd name="connsiteY3" fmla="*/ 12876 h 359868"/>
                                                    <a:gd name="connsiteX4" fmla="*/ 220846 w 304095"/>
                                                    <a:gd name="connsiteY4" fmla="*/ 4519 h 359868"/>
                                                    <a:gd name="connsiteX5" fmla="*/ 212942 w 304095"/>
                                                    <a:gd name="connsiteY5" fmla="*/ 372 h 359868"/>
                                                    <a:gd name="connsiteX6" fmla="*/ 210804 w 304095"/>
                                                    <a:gd name="connsiteY6" fmla="*/ 41382 h 359868"/>
                                                    <a:gd name="connsiteX7" fmla="*/ 129109 w 304095"/>
                                                    <a:gd name="connsiteY7" fmla="*/ 39762 h 359868"/>
                                                    <a:gd name="connsiteX8" fmla="*/ 128721 w 304095"/>
                                                    <a:gd name="connsiteY8" fmla="*/ 102410 h 359868"/>
                                                    <a:gd name="connsiteX9" fmla="*/ 126842 w 304095"/>
                                                    <a:gd name="connsiteY9" fmla="*/ 112322 h 359868"/>
                                                    <a:gd name="connsiteX10" fmla="*/ 119197 w 304095"/>
                                                    <a:gd name="connsiteY10" fmla="*/ 118606 h 359868"/>
                                                    <a:gd name="connsiteX11" fmla="*/ 100604 w 304095"/>
                                                    <a:gd name="connsiteY11" fmla="*/ 168362 h 359868"/>
                                                    <a:gd name="connsiteX12" fmla="*/ 1935 w 304095"/>
                                                    <a:gd name="connsiteY12" fmla="*/ 172119 h 359868"/>
                                                    <a:gd name="connsiteX13" fmla="*/ 510 w 304095"/>
                                                    <a:gd name="connsiteY13" fmla="*/ 185919 h 359868"/>
                                                    <a:gd name="connsiteX14" fmla="*/ 25776 w 304095"/>
                                                    <a:gd name="connsiteY14" fmla="*/ 213712 h 359868"/>
                                                    <a:gd name="connsiteX15" fmla="*/ 26943 w 304095"/>
                                                    <a:gd name="connsiteY15" fmla="*/ 237035 h 359868"/>
                                                    <a:gd name="connsiteX16" fmla="*/ 31672 w 304095"/>
                                                    <a:gd name="connsiteY16" fmla="*/ 247789 h 359868"/>
                                                    <a:gd name="connsiteX17" fmla="*/ 26489 w 304095"/>
                                                    <a:gd name="connsiteY17" fmla="*/ 287762 h 359868"/>
                                                    <a:gd name="connsiteX18" fmla="*/ 20529 w 304095"/>
                                                    <a:gd name="connsiteY18" fmla="*/ 298452 h 359868"/>
                                                    <a:gd name="connsiteX19" fmla="*/ 24675 w 304095"/>
                                                    <a:gd name="connsiteY19" fmla="*/ 309919 h 359868"/>
                                                    <a:gd name="connsiteX20" fmla="*/ 30117 w 304095"/>
                                                    <a:gd name="connsiteY20" fmla="*/ 309271 h 359868"/>
                                                    <a:gd name="connsiteX21" fmla="*/ 67498 w 304095"/>
                                                    <a:gd name="connsiteY21" fmla="*/ 309076 h 359868"/>
                                                    <a:gd name="connsiteX22" fmla="*/ 85638 w 304095"/>
                                                    <a:gd name="connsiteY22" fmla="*/ 314518 h 359868"/>
                                                    <a:gd name="connsiteX23" fmla="*/ 92635 w 304095"/>
                                                    <a:gd name="connsiteY23" fmla="*/ 322422 h 359868"/>
                                                    <a:gd name="connsiteX24" fmla="*/ 104297 w 304095"/>
                                                    <a:gd name="connsiteY24" fmla="*/ 328512 h 359868"/>
                                                    <a:gd name="connsiteX25" fmla="*/ 105528 w 304095"/>
                                                    <a:gd name="connsiteY25" fmla="*/ 334472 h 359868"/>
                                                    <a:gd name="connsiteX26" fmla="*/ 112589 w 304095"/>
                                                    <a:gd name="connsiteY26" fmla="*/ 343218 h 359868"/>
                                                    <a:gd name="connsiteX27" fmla="*/ 124963 w 304095"/>
                                                    <a:gd name="connsiteY27" fmla="*/ 353066 h 359868"/>
                                                    <a:gd name="connsiteX28" fmla="*/ 128915 w 304095"/>
                                                    <a:gd name="connsiteY28" fmla="*/ 357018 h 359868"/>
                                                    <a:gd name="connsiteX29" fmla="*/ 130146 w 304095"/>
                                                    <a:gd name="connsiteY29" fmla="*/ 359868 h 359868"/>
                                                    <a:gd name="connsiteX30" fmla="*/ 134746 w 304095"/>
                                                    <a:gd name="connsiteY30" fmla="*/ 352871 h 359868"/>
                                                    <a:gd name="connsiteX31" fmla="*/ 136754 w 304095"/>
                                                    <a:gd name="connsiteY31" fmla="*/ 350474 h 359868"/>
                                                    <a:gd name="connsiteX32" fmla="*/ 152368 w 304095"/>
                                                    <a:gd name="connsiteY32" fmla="*/ 347689 h 359868"/>
                                                    <a:gd name="connsiteX33" fmla="*/ 155218 w 304095"/>
                                                    <a:gd name="connsiteY33" fmla="*/ 341664 h 359868"/>
                                                    <a:gd name="connsiteX34" fmla="*/ 170507 w 304095"/>
                                                    <a:gd name="connsiteY34" fmla="*/ 341404 h 359868"/>
                                                    <a:gd name="connsiteX35" fmla="*/ 172192 w 304095"/>
                                                    <a:gd name="connsiteY35" fmla="*/ 339007 h 359868"/>
                                                    <a:gd name="connsiteX36" fmla="*/ 182363 w 304095"/>
                                                    <a:gd name="connsiteY36" fmla="*/ 332788 h 359868"/>
                                                    <a:gd name="connsiteX37" fmla="*/ 283364 w 304095"/>
                                                    <a:gd name="connsiteY37" fmla="*/ 333241 h 359868"/>
                                                    <a:gd name="connsiteX38" fmla="*/ 294378 w 304095"/>
                                                    <a:gd name="connsiteY38" fmla="*/ 334084 h 359868"/>
                                                    <a:gd name="connsiteX39" fmla="*/ 295738 w 304095"/>
                                                    <a:gd name="connsiteY39" fmla="*/ 324366 h 359868"/>
                                                    <a:gd name="connsiteX40" fmla="*/ 304096 w 304095"/>
                                                    <a:gd name="connsiteY40" fmla="*/ 321645 h 359868"/>
                                                    <a:gd name="connsiteX41" fmla="*/ 293147 w 304095"/>
                                                    <a:gd name="connsiteY41" fmla="*/ 305578 h 359868"/>
                                                    <a:gd name="connsiteX42" fmla="*/ 287899 w 304095"/>
                                                    <a:gd name="connsiteY42" fmla="*/ 266707 h 359868"/>
                                                    <a:gd name="connsiteX43" fmla="*/ 280319 w 304095"/>
                                                    <a:gd name="connsiteY43" fmla="*/ 170435 h 359868"/>
                                                    <a:gd name="connsiteX44" fmla="*/ 266520 w 304095"/>
                                                    <a:gd name="connsiteY44" fmla="*/ 70471 h 359868"/>
                                                    <a:gd name="connsiteX45" fmla="*/ 288547 w 304095"/>
                                                    <a:gd name="connsiteY45" fmla="*/ 66130 h 359868"/>
                                                    <a:gd name="connsiteX46" fmla="*/ 291138 w 304095"/>
                                                    <a:gd name="connsiteY46" fmla="*/ 65676 h 359868"/>
                                                    <a:gd name="connsiteX47" fmla="*/ 272869 w 304095"/>
                                                    <a:gd name="connsiteY47" fmla="*/ 39244 h 35986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04095" h="359868">
                                                      <a:moveTo>
                                                        <a:pt x="272804" y="39244"/>
                                                      </a:moveTo>
                                                      <a:cubicBezTo>
                                                        <a:pt x="267945" y="37300"/>
                                                        <a:pt x="262179" y="37041"/>
                                                        <a:pt x="258292" y="33478"/>
                                                      </a:cubicBezTo>
                                                      <a:cubicBezTo>
                                                        <a:pt x="252721" y="28425"/>
                                                        <a:pt x="252850" y="18318"/>
                                                        <a:pt x="246048" y="15079"/>
                                                      </a:cubicBezTo>
                                                      <a:cubicBezTo>
                                                        <a:pt x="239828" y="12099"/>
                                                        <a:pt x="231341" y="17087"/>
                                                        <a:pt x="225899" y="12876"/>
                                                      </a:cubicBezTo>
                                                      <a:cubicBezTo>
                                                        <a:pt x="223308" y="10868"/>
                                                        <a:pt x="222401" y="7434"/>
                                                        <a:pt x="220846" y="4519"/>
                                                      </a:cubicBezTo>
                                                      <a:cubicBezTo>
                                                        <a:pt x="219291" y="1603"/>
                                                        <a:pt x="215922" y="-988"/>
                                                        <a:pt x="212942" y="372"/>
                                                      </a:cubicBezTo>
                                                      <a:cubicBezTo>
                                                        <a:pt x="210481" y="13848"/>
                                                        <a:pt x="209768" y="27712"/>
                                                        <a:pt x="210804" y="41382"/>
                                                      </a:cubicBezTo>
                                                      <a:cubicBezTo>
                                                        <a:pt x="183529" y="42094"/>
                                                        <a:pt x="156255" y="41576"/>
                                                        <a:pt x="129109" y="39762"/>
                                                      </a:cubicBezTo>
                                                      <a:cubicBezTo>
                                                        <a:pt x="128980" y="60623"/>
                                                        <a:pt x="128850" y="81549"/>
                                                        <a:pt x="128721" y="102410"/>
                                                      </a:cubicBezTo>
                                                      <a:cubicBezTo>
                                                        <a:pt x="128721" y="105844"/>
                                                        <a:pt x="128591" y="109472"/>
                                                        <a:pt x="126842" y="112322"/>
                                                      </a:cubicBezTo>
                                                      <a:cubicBezTo>
                                                        <a:pt x="125093" y="115173"/>
                                                        <a:pt x="121983" y="116792"/>
                                                        <a:pt x="119197" y="118606"/>
                                                      </a:cubicBezTo>
                                                      <a:cubicBezTo>
                                                        <a:pt x="103390" y="129037"/>
                                                        <a:pt x="95486" y="150157"/>
                                                        <a:pt x="100604" y="168362"/>
                                                      </a:cubicBezTo>
                                                      <a:cubicBezTo>
                                                        <a:pt x="67693" y="169593"/>
                                                        <a:pt x="34846" y="170888"/>
                                                        <a:pt x="1935" y="172119"/>
                                                      </a:cubicBezTo>
                                                      <a:cubicBezTo>
                                                        <a:pt x="186" y="176525"/>
                                                        <a:pt x="-591" y="181060"/>
                                                        <a:pt x="510" y="185919"/>
                                                      </a:cubicBezTo>
                                                      <a:cubicBezTo>
                                                        <a:pt x="13597" y="188705"/>
                                                        <a:pt x="24222" y="200431"/>
                                                        <a:pt x="25776" y="213712"/>
                                                      </a:cubicBezTo>
                                                      <a:cubicBezTo>
                                                        <a:pt x="26683" y="221486"/>
                                                        <a:pt x="24740" y="229519"/>
                                                        <a:pt x="26943" y="237035"/>
                                                      </a:cubicBezTo>
                                                      <a:cubicBezTo>
                                                        <a:pt x="28044" y="240792"/>
                                                        <a:pt x="30117" y="244226"/>
                                                        <a:pt x="31672" y="247789"/>
                                                      </a:cubicBezTo>
                                                      <a:cubicBezTo>
                                                        <a:pt x="37243" y="260746"/>
                                                        <a:pt x="35170" y="276684"/>
                                                        <a:pt x="26489" y="287762"/>
                                                      </a:cubicBezTo>
                                                      <a:cubicBezTo>
                                                        <a:pt x="23897" y="291066"/>
                                                        <a:pt x="20658" y="294305"/>
                                                        <a:pt x="20529" y="298452"/>
                                                      </a:cubicBezTo>
                                                      <a:cubicBezTo>
                                                        <a:pt x="20334" y="302468"/>
                                                        <a:pt x="23120" y="306161"/>
                                                        <a:pt x="24675" y="309919"/>
                                                      </a:cubicBezTo>
                                                      <a:cubicBezTo>
                                                        <a:pt x="26489" y="309660"/>
                                                        <a:pt x="28303" y="309465"/>
                                                        <a:pt x="30117" y="309271"/>
                                                      </a:cubicBezTo>
                                                      <a:cubicBezTo>
                                                        <a:pt x="42491" y="307910"/>
                                                        <a:pt x="55059" y="308493"/>
                                                        <a:pt x="67498" y="309076"/>
                                                      </a:cubicBezTo>
                                                      <a:cubicBezTo>
                                                        <a:pt x="73977" y="309400"/>
                                                        <a:pt x="81103" y="309919"/>
                                                        <a:pt x="85638" y="314518"/>
                                                      </a:cubicBezTo>
                                                      <a:cubicBezTo>
                                                        <a:pt x="88165" y="317045"/>
                                                        <a:pt x="89655" y="320543"/>
                                                        <a:pt x="92635" y="322422"/>
                                                      </a:cubicBezTo>
                                                      <a:cubicBezTo>
                                                        <a:pt x="96393" y="324884"/>
                                                        <a:pt x="102223" y="324560"/>
                                                        <a:pt x="104297" y="328512"/>
                                                      </a:cubicBezTo>
                                                      <a:cubicBezTo>
                                                        <a:pt x="105268" y="330326"/>
                                                        <a:pt x="105009" y="332529"/>
                                                        <a:pt x="105528" y="334472"/>
                                                      </a:cubicBezTo>
                                                      <a:cubicBezTo>
                                                        <a:pt x="106434" y="338165"/>
                                                        <a:pt x="109609" y="340821"/>
                                                        <a:pt x="112589" y="343218"/>
                                                      </a:cubicBezTo>
                                                      <a:cubicBezTo>
                                                        <a:pt x="116735" y="346523"/>
                                                        <a:pt x="120817" y="349762"/>
                                                        <a:pt x="124963" y="353066"/>
                                                      </a:cubicBezTo>
                                                      <a:cubicBezTo>
                                                        <a:pt x="126453" y="354232"/>
                                                        <a:pt x="127943" y="355398"/>
                                                        <a:pt x="128915" y="357018"/>
                                                      </a:cubicBezTo>
                                                      <a:cubicBezTo>
                                                        <a:pt x="129498" y="357925"/>
                                                        <a:pt x="129822" y="358897"/>
                                                        <a:pt x="130146" y="359868"/>
                                                      </a:cubicBezTo>
                                                      <a:lnTo>
                                                        <a:pt x="134746" y="352871"/>
                                                      </a:lnTo>
                                                      <a:cubicBezTo>
                                                        <a:pt x="135329" y="351965"/>
                                                        <a:pt x="135912" y="351122"/>
                                                        <a:pt x="136754" y="350474"/>
                                                      </a:cubicBezTo>
                                                      <a:cubicBezTo>
                                                        <a:pt x="141095" y="347106"/>
                                                        <a:pt x="148999" y="351965"/>
                                                        <a:pt x="152368" y="347689"/>
                                                      </a:cubicBezTo>
                                                      <a:cubicBezTo>
                                                        <a:pt x="153728" y="345939"/>
                                                        <a:pt x="153663" y="343218"/>
                                                        <a:pt x="155218" y="341664"/>
                                                      </a:cubicBezTo>
                                                      <a:cubicBezTo>
                                                        <a:pt x="159041" y="337906"/>
                                                        <a:pt x="166491" y="344968"/>
                                                        <a:pt x="170507" y="341404"/>
                                                      </a:cubicBezTo>
                                                      <a:cubicBezTo>
                                                        <a:pt x="171220" y="340757"/>
                                                        <a:pt x="171674" y="339850"/>
                                                        <a:pt x="172192" y="339007"/>
                                                      </a:cubicBezTo>
                                                      <a:cubicBezTo>
                                                        <a:pt x="174395" y="335509"/>
                                                        <a:pt x="178282" y="333177"/>
                                                        <a:pt x="182363" y="332788"/>
                                                      </a:cubicBezTo>
                                                      <a:lnTo>
                                                        <a:pt x="283364" y="333241"/>
                                                      </a:lnTo>
                                                      <a:cubicBezTo>
                                                        <a:pt x="286928" y="334278"/>
                                                        <a:pt x="290685" y="334537"/>
                                                        <a:pt x="294378" y="334084"/>
                                                      </a:cubicBezTo>
                                                      <a:cubicBezTo>
                                                        <a:pt x="294184" y="330780"/>
                                                        <a:pt x="294119" y="327281"/>
                                                        <a:pt x="295738" y="324366"/>
                                                      </a:cubicBezTo>
                                                      <a:cubicBezTo>
                                                        <a:pt x="297358" y="321450"/>
                                                        <a:pt x="301440" y="319701"/>
                                                        <a:pt x="304096" y="321645"/>
                                                      </a:cubicBezTo>
                                                      <a:cubicBezTo>
                                                        <a:pt x="301828" y="315555"/>
                                                        <a:pt x="296581" y="311085"/>
                                                        <a:pt x="293147" y="305578"/>
                                                      </a:cubicBezTo>
                                                      <a:cubicBezTo>
                                                        <a:pt x="286150" y="294305"/>
                                                        <a:pt x="287381" y="279988"/>
                                                        <a:pt x="287899" y="266707"/>
                                                      </a:cubicBezTo>
                                                      <a:cubicBezTo>
                                                        <a:pt x="289130" y="234508"/>
                                                        <a:pt x="284725" y="202374"/>
                                                        <a:pt x="280319" y="170435"/>
                                                      </a:cubicBezTo>
                                                      <a:cubicBezTo>
                                                        <a:pt x="275719" y="137135"/>
                                                        <a:pt x="271120" y="103771"/>
                                                        <a:pt x="266520" y="70471"/>
                                                      </a:cubicBezTo>
                                                      <a:cubicBezTo>
                                                        <a:pt x="273841" y="69045"/>
                                                        <a:pt x="281226" y="67620"/>
                                                        <a:pt x="288547" y="66130"/>
                                                      </a:cubicBezTo>
                                                      <a:cubicBezTo>
                                                        <a:pt x="289390" y="65935"/>
                                                        <a:pt x="290296" y="65806"/>
                                                        <a:pt x="291138" y="65676"/>
                                                      </a:cubicBezTo>
                                                      <a:cubicBezTo>
                                                        <a:pt x="288741" y="54468"/>
                                                        <a:pt x="283300" y="43390"/>
                                                        <a:pt x="272869" y="39244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4" name="Freeform: Shape 44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2E6999E-0AD2-4934-B25C-86157C4C7C85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596915" y="3614149"/>
                                                  <a:ext cx="217614" cy="18748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7356 w 217614"/>
                                                    <a:gd name="connsiteY0" fmla="*/ 15419 h 187489"/>
                                                    <a:gd name="connsiteX1" fmla="*/ 217356 w 217614"/>
                                                    <a:gd name="connsiteY1" fmla="*/ 15289 h 187489"/>
                                                    <a:gd name="connsiteX2" fmla="*/ 215218 w 217614"/>
                                                    <a:gd name="connsiteY2" fmla="*/ 7191 h 187489"/>
                                                    <a:gd name="connsiteX3" fmla="*/ 213922 w 217614"/>
                                                    <a:gd name="connsiteY3" fmla="*/ 2397 h 187489"/>
                                                    <a:gd name="connsiteX4" fmla="*/ 213145 w 217614"/>
                                                    <a:gd name="connsiteY4" fmla="*/ 0 h 187489"/>
                                                    <a:gd name="connsiteX5" fmla="*/ 211785 w 217614"/>
                                                    <a:gd name="connsiteY5" fmla="*/ 2786 h 187489"/>
                                                    <a:gd name="connsiteX6" fmla="*/ 211785 w 217614"/>
                                                    <a:gd name="connsiteY6" fmla="*/ 2786 h 187489"/>
                                                    <a:gd name="connsiteX7" fmla="*/ 211785 w 217614"/>
                                                    <a:gd name="connsiteY7" fmla="*/ 2980 h 187489"/>
                                                    <a:gd name="connsiteX8" fmla="*/ 210813 w 217614"/>
                                                    <a:gd name="connsiteY8" fmla="*/ 5118 h 187489"/>
                                                    <a:gd name="connsiteX9" fmla="*/ 109552 w 217614"/>
                                                    <a:gd name="connsiteY9" fmla="*/ 4859 h 187489"/>
                                                    <a:gd name="connsiteX10" fmla="*/ 108192 w 217614"/>
                                                    <a:gd name="connsiteY10" fmla="*/ 4859 h 187489"/>
                                                    <a:gd name="connsiteX11" fmla="*/ 107933 w 217614"/>
                                                    <a:gd name="connsiteY11" fmla="*/ 5183 h 187489"/>
                                                    <a:gd name="connsiteX12" fmla="*/ 95300 w 217614"/>
                                                    <a:gd name="connsiteY12" fmla="*/ 25785 h 187489"/>
                                                    <a:gd name="connsiteX13" fmla="*/ 80334 w 217614"/>
                                                    <a:gd name="connsiteY13" fmla="*/ 55716 h 187489"/>
                                                    <a:gd name="connsiteX14" fmla="*/ 73596 w 217614"/>
                                                    <a:gd name="connsiteY14" fmla="*/ 66794 h 187489"/>
                                                    <a:gd name="connsiteX15" fmla="*/ 70486 w 217614"/>
                                                    <a:gd name="connsiteY15" fmla="*/ 69904 h 187489"/>
                                                    <a:gd name="connsiteX16" fmla="*/ 64786 w 217614"/>
                                                    <a:gd name="connsiteY16" fmla="*/ 76836 h 187489"/>
                                                    <a:gd name="connsiteX17" fmla="*/ 62583 w 217614"/>
                                                    <a:gd name="connsiteY17" fmla="*/ 85517 h 187489"/>
                                                    <a:gd name="connsiteX18" fmla="*/ 59862 w 217614"/>
                                                    <a:gd name="connsiteY18" fmla="*/ 94717 h 187489"/>
                                                    <a:gd name="connsiteX19" fmla="*/ 54031 w 217614"/>
                                                    <a:gd name="connsiteY19" fmla="*/ 99705 h 187489"/>
                                                    <a:gd name="connsiteX20" fmla="*/ 47876 w 217614"/>
                                                    <a:gd name="connsiteY20" fmla="*/ 104888 h 187489"/>
                                                    <a:gd name="connsiteX21" fmla="*/ 44248 w 217614"/>
                                                    <a:gd name="connsiteY21" fmla="*/ 115448 h 187489"/>
                                                    <a:gd name="connsiteX22" fmla="*/ 40426 w 217614"/>
                                                    <a:gd name="connsiteY22" fmla="*/ 125749 h 187489"/>
                                                    <a:gd name="connsiteX23" fmla="*/ 33818 w 217614"/>
                                                    <a:gd name="connsiteY23" fmla="*/ 129831 h 187489"/>
                                                    <a:gd name="connsiteX24" fmla="*/ 27793 w 217614"/>
                                                    <a:gd name="connsiteY24" fmla="*/ 133264 h 187489"/>
                                                    <a:gd name="connsiteX25" fmla="*/ 20537 w 217614"/>
                                                    <a:gd name="connsiteY25" fmla="*/ 148100 h 187489"/>
                                                    <a:gd name="connsiteX26" fmla="*/ 18852 w 217614"/>
                                                    <a:gd name="connsiteY26" fmla="*/ 154125 h 187489"/>
                                                    <a:gd name="connsiteX27" fmla="*/ 9329 w 217614"/>
                                                    <a:gd name="connsiteY27" fmla="*/ 171099 h 187489"/>
                                                    <a:gd name="connsiteX28" fmla="*/ 583 w 217614"/>
                                                    <a:gd name="connsiteY28" fmla="*/ 186129 h 187489"/>
                                                    <a:gd name="connsiteX29" fmla="*/ 0 w 217614"/>
                                                    <a:gd name="connsiteY29" fmla="*/ 187490 h 187489"/>
                                                    <a:gd name="connsiteX30" fmla="*/ 1166 w 217614"/>
                                                    <a:gd name="connsiteY30" fmla="*/ 187490 h 187489"/>
                                                    <a:gd name="connsiteX31" fmla="*/ 101389 w 217614"/>
                                                    <a:gd name="connsiteY31" fmla="*/ 183668 h 187489"/>
                                                    <a:gd name="connsiteX32" fmla="*/ 101066 w 217614"/>
                                                    <a:gd name="connsiteY32" fmla="*/ 182437 h 187489"/>
                                                    <a:gd name="connsiteX33" fmla="*/ 119270 w 217614"/>
                                                    <a:gd name="connsiteY33" fmla="*/ 133782 h 187489"/>
                                                    <a:gd name="connsiteX34" fmla="*/ 120631 w 217614"/>
                                                    <a:gd name="connsiteY34" fmla="*/ 132876 h 187489"/>
                                                    <a:gd name="connsiteX35" fmla="*/ 127239 w 217614"/>
                                                    <a:gd name="connsiteY35" fmla="*/ 127174 h 187489"/>
                                                    <a:gd name="connsiteX36" fmla="*/ 129247 w 217614"/>
                                                    <a:gd name="connsiteY36" fmla="*/ 116744 h 187489"/>
                                                    <a:gd name="connsiteX37" fmla="*/ 129636 w 217614"/>
                                                    <a:gd name="connsiteY37" fmla="*/ 55133 h 187489"/>
                                                    <a:gd name="connsiteX38" fmla="*/ 210424 w 217614"/>
                                                    <a:gd name="connsiteY38" fmla="*/ 56688 h 187489"/>
                                                    <a:gd name="connsiteX39" fmla="*/ 211460 w 217614"/>
                                                    <a:gd name="connsiteY39" fmla="*/ 56688 h 187489"/>
                                                    <a:gd name="connsiteX40" fmla="*/ 211395 w 217614"/>
                                                    <a:gd name="connsiteY40" fmla="*/ 55586 h 187489"/>
                                                    <a:gd name="connsiteX41" fmla="*/ 213404 w 217614"/>
                                                    <a:gd name="connsiteY41" fmla="*/ 15419 h 187489"/>
                                                    <a:gd name="connsiteX42" fmla="*/ 215801 w 217614"/>
                                                    <a:gd name="connsiteY42" fmla="*/ 15613 h 187489"/>
                                                    <a:gd name="connsiteX43" fmla="*/ 217615 w 217614"/>
                                                    <a:gd name="connsiteY43" fmla="*/ 16391 h 187489"/>
                                                    <a:gd name="connsiteX44" fmla="*/ 217356 w 217614"/>
                                                    <a:gd name="connsiteY44" fmla="*/ 15419 h 187489"/>
                                                    <a:gd name="connsiteX45" fmla="*/ 211720 w 217614"/>
                                                    <a:gd name="connsiteY45" fmla="*/ 13994 h 187489"/>
                                                    <a:gd name="connsiteX46" fmla="*/ 211590 w 217614"/>
                                                    <a:gd name="connsiteY46" fmla="*/ 14512 h 187489"/>
                                                    <a:gd name="connsiteX47" fmla="*/ 209387 w 217614"/>
                                                    <a:gd name="connsiteY47" fmla="*/ 54744 h 187489"/>
                                                    <a:gd name="connsiteX48" fmla="*/ 128794 w 217614"/>
                                                    <a:gd name="connsiteY48" fmla="*/ 53124 h 187489"/>
                                                    <a:gd name="connsiteX49" fmla="*/ 127757 w 217614"/>
                                                    <a:gd name="connsiteY49" fmla="*/ 53124 h 187489"/>
                                                    <a:gd name="connsiteX50" fmla="*/ 127304 w 217614"/>
                                                    <a:gd name="connsiteY50" fmla="*/ 116744 h 187489"/>
                                                    <a:gd name="connsiteX51" fmla="*/ 125554 w 217614"/>
                                                    <a:gd name="connsiteY51" fmla="*/ 126138 h 187489"/>
                                                    <a:gd name="connsiteX52" fmla="*/ 119594 w 217614"/>
                                                    <a:gd name="connsiteY52" fmla="*/ 131256 h 187489"/>
                                                    <a:gd name="connsiteX53" fmla="*/ 118234 w 217614"/>
                                                    <a:gd name="connsiteY53" fmla="*/ 132163 h 187489"/>
                                                    <a:gd name="connsiteX54" fmla="*/ 98863 w 217614"/>
                                                    <a:gd name="connsiteY54" fmla="*/ 181789 h 187489"/>
                                                    <a:gd name="connsiteX55" fmla="*/ 2980 w 217614"/>
                                                    <a:gd name="connsiteY55" fmla="*/ 185482 h 187489"/>
                                                    <a:gd name="connsiteX56" fmla="*/ 10949 w 217614"/>
                                                    <a:gd name="connsiteY56" fmla="*/ 172200 h 187489"/>
                                                    <a:gd name="connsiteX57" fmla="*/ 20667 w 217614"/>
                                                    <a:gd name="connsiteY57" fmla="*/ 154773 h 187489"/>
                                                    <a:gd name="connsiteX58" fmla="*/ 22416 w 217614"/>
                                                    <a:gd name="connsiteY58" fmla="*/ 148618 h 187489"/>
                                                    <a:gd name="connsiteX59" fmla="*/ 29024 w 217614"/>
                                                    <a:gd name="connsiteY59" fmla="*/ 134754 h 187489"/>
                                                    <a:gd name="connsiteX60" fmla="*/ 34660 w 217614"/>
                                                    <a:gd name="connsiteY60" fmla="*/ 131580 h 187489"/>
                                                    <a:gd name="connsiteX61" fmla="*/ 41851 w 217614"/>
                                                    <a:gd name="connsiteY61" fmla="*/ 127045 h 187489"/>
                                                    <a:gd name="connsiteX62" fmla="*/ 46127 w 217614"/>
                                                    <a:gd name="connsiteY62" fmla="*/ 115772 h 187489"/>
                                                    <a:gd name="connsiteX63" fmla="*/ 49431 w 217614"/>
                                                    <a:gd name="connsiteY63" fmla="*/ 106054 h 187489"/>
                                                    <a:gd name="connsiteX64" fmla="*/ 55068 w 217614"/>
                                                    <a:gd name="connsiteY64" fmla="*/ 101325 h 187489"/>
                                                    <a:gd name="connsiteX65" fmla="*/ 61417 w 217614"/>
                                                    <a:gd name="connsiteY65" fmla="*/ 95883 h 187489"/>
                                                    <a:gd name="connsiteX66" fmla="*/ 64461 w 217614"/>
                                                    <a:gd name="connsiteY66" fmla="*/ 85776 h 187489"/>
                                                    <a:gd name="connsiteX67" fmla="*/ 66470 w 217614"/>
                                                    <a:gd name="connsiteY67" fmla="*/ 77678 h 187489"/>
                                                    <a:gd name="connsiteX68" fmla="*/ 71847 w 217614"/>
                                                    <a:gd name="connsiteY68" fmla="*/ 71264 h 187489"/>
                                                    <a:gd name="connsiteX69" fmla="*/ 75022 w 217614"/>
                                                    <a:gd name="connsiteY69" fmla="*/ 68090 h 187489"/>
                                                    <a:gd name="connsiteX70" fmla="*/ 82083 w 217614"/>
                                                    <a:gd name="connsiteY70" fmla="*/ 56558 h 187489"/>
                                                    <a:gd name="connsiteX71" fmla="*/ 97049 w 217614"/>
                                                    <a:gd name="connsiteY71" fmla="*/ 26627 h 187489"/>
                                                    <a:gd name="connsiteX72" fmla="*/ 109099 w 217614"/>
                                                    <a:gd name="connsiteY72" fmla="*/ 6802 h 187489"/>
                                                    <a:gd name="connsiteX73" fmla="*/ 211460 w 217614"/>
                                                    <a:gd name="connsiteY73" fmla="*/ 7062 h 187489"/>
                                                    <a:gd name="connsiteX74" fmla="*/ 212108 w 217614"/>
                                                    <a:gd name="connsiteY74" fmla="*/ 7062 h 187489"/>
                                                    <a:gd name="connsiteX75" fmla="*/ 212821 w 217614"/>
                                                    <a:gd name="connsiteY75" fmla="*/ 5507 h 187489"/>
                                                    <a:gd name="connsiteX76" fmla="*/ 213339 w 217614"/>
                                                    <a:gd name="connsiteY76" fmla="*/ 7645 h 187489"/>
                                                    <a:gd name="connsiteX77" fmla="*/ 214829 w 217614"/>
                                                    <a:gd name="connsiteY77" fmla="*/ 13346 h 187489"/>
                                                    <a:gd name="connsiteX78" fmla="*/ 212173 w 217614"/>
                                                    <a:gd name="connsiteY78" fmla="*/ 13799 h 187489"/>
                                                    <a:gd name="connsiteX79" fmla="*/ 211720 w 217614"/>
                                                    <a:gd name="connsiteY79" fmla="*/ 13994 h 18748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17614" h="187489">
                                                      <a:moveTo>
                                                        <a:pt x="217356" y="15419"/>
                                                      </a:moveTo>
                                                      <a:lnTo>
                                                        <a:pt x="217356" y="15289"/>
                                                      </a:lnTo>
                                                      <a:lnTo>
                                                        <a:pt x="215218" y="7191"/>
                                                      </a:lnTo>
                                                      <a:cubicBezTo>
                                                        <a:pt x="214829" y="5571"/>
                                                        <a:pt x="214441" y="3952"/>
                                                        <a:pt x="213922" y="2397"/>
                                                      </a:cubicBezTo>
                                                      <a:lnTo>
                                                        <a:pt x="213145" y="0"/>
                                                      </a:lnTo>
                                                      <a:lnTo>
                                                        <a:pt x="211785" y="2786"/>
                                                      </a:lnTo>
                                                      <a:lnTo>
                                                        <a:pt x="211785" y="2786"/>
                                                      </a:lnTo>
                                                      <a:cubicBezTo>
                                                        <a:pt x="211785" y="2786"/>
                                                        <a:pt x="211785" y="2915"/>
                                                        <a:pt x="211785" y="2980"/>
                                                      </a:cubicBezTo>
                                                      <a:lnTo>
                                                        <a:pt x="210813" y="5118"/>
                                                      </a:lnTo>
                                                      <a:lnTo>
                                                        <a:pt x="109552" y="4859"/>
                                                      </a:lnTo>
                                                      <a:lnTo>
                                                        <a:pt x="108192" y="4859"/>
                                                      </a:lnTo>
                                                      <a:lnTo>
                                                        <a:pt x="107933" y="5183"/>
                                                      </a:lnTo>
                                                      <a:cubicBezTo>
                                                        <a:pt x="102426" y="11467"/>
                                                        <a:pt x="98474" y="19371"/>
                                                        <a:pt x="95300" y="25785"/>
                                                      </a:cubicBezTo>
                                                      <a:lnTo>
                                                        <a:pt x="80334" y="55716"/>
                                                      </a:lnTo>
                                                      <a:cubicBezTo>
                                                        <a:pt x="78391" y="59538"/>
                                                        <a:pt x="76447" y="63555"/>
                                                        <a:pt x="73596" y="66794"/>
                                                      </a:cubicBezTo>
                                                      <a:cubicBezTo>
                                                        <a:pt x="72625" y="67831"/>
                                                        <a:pt x="71523" y="68867"/>
                                                        <a:pt x="70486" y="69904"/>
                                                      </a:cubicBezTo>
                                                      <a:cubicBezTo>
                                                        <a:pt x="68349" y="71912"/>
                                                        <a:pt x="66146" y="74050"/>
                                                        <a:pt x="64786" y="76836"/>
                                                      </a:cubicBezTo>
                                                      <a:cubicBezTo>
                                                        <a:pt x="63360" y="79557"/>
                                                        <a:pt x="62972" y="82602"/>
                                                        <a:pt x="62583" y="85517"/>
                                                      </a:cubicBezTo>
                                                      <a:cubicBezTo>
                                                        <a:pt x="62129" y="88951"/>
                                                        <a:pt x="61676" y="92125"/>
                                                        <a:pt x="59862" y="94717"/>
                                                      </a:cubicBezTo>
                                                      <a:cubicBezTo>
                                                        <a:pt x="58372" y="96790"/>
                                                        <a:pt x="56299" y="98215"/>
                                                        <a:pt x="54031" y="99705"/>
                                                      </a:cubicBezTo>
                                                      <a:cubicBezTo>
                                                        <a:pt x="51829" y="101195"/>
                                                        <a:pt x="49561" y="102685"/>
                                                        <a:pt x="47876" y="104888"/>
                                                      </a:cubicBezTo>
                                                      <a:cubicBezTo>
                                                        <a:pt x="45609" y="107933"/>
                                                        <a:pt x="44896" y="111755"/>
                                                        <a:pt x="44248" y="115448"/>
                                                      </a:cubicBezTo>
                                                      <a:cubicBezTo>
                                                        <a:pt x="43536" y="119335"/>
                                                        <a:pt x="42888" y="123028"/>
                                                        <a:pt x="40426" y="125749"/>
                                                      </a:cubicBezTo>
                                                      <a:cubicBezTo>
                                                        <a:pt x="38677" y="127628"/>
                                                        <a:pt x="36345" y="128664"/>
                                                        <a:pt x="33818" y="129831"/>
                                                      </a:cubicBezTo>
                                                      <a:cubicBezTo>
                                                        <a:pt x="31745" y="130738"/>
                                                        <a:pt x="29607" y="131774"/>
                                                        <a:pt x="27793" y="133264"/>
                                                      </a:cubicBezTo>
                                                      <a:cubicBezTo>
                                                        <a:pt x="23323" y="136957"/>
                                                        <a:pt x="21897" y="142593"/>
                                                        <a:pt x="20537" y="148100"/>
                                                      </a:cubicBezTo>
                                                      <a:cubicBezTo>
                                                        <a:pt x="20019" y="150109"/>
                                                        <a:pt x="19500" y="152246"/>
                                                        <a:pt x="18852" y="154125"/>
                                                      </a:cubicBezTo>
                                                      <a:cubicBezTo>
                                                        <a:pt x="16779" y="160021"/>
                                                        <a:pt x="12957" y="165657"/>
                                                        <a:pt x="9329" y="171099"/>
                                                      </a:cubicBezTo>
                                                      <a:cubicBezTo>
                                                        <a:pt x="6025" y="175958"/>
                                                        <a:pt x="2591" y="180946"/>
                                                        <a:pt x="583" y="186129"/>
                                                      </a:cubicBezTo>
                                                      <a:lnTo>
                                                        <a:pt x="0" y="187490"/>
                                                      </a:lnTo>
                                                      <a:lnTo>
                                                        <a:pt x="1166" y="187490"/>
                                                      </a:lnTo>
                                                      <a:cubicBezTo>
                                                        <a:pt x="1166" y="187490"/>
                                                        <a:pt x="101389" y="183668"/>
                                                        <a:pt x="101389" y="183668"/>
                                                      </a:cubicBezTo>
                                                      <a:lnTo>
                                                        <a:pt x="101066" y="182437"/>
                                                      </a:lnTo>
                                                      <a:cubicBezTo>
                                                        <a:pt x="96077" y="164491"/>
                                                        <a:pt x="103722" y="144019"/>
                                                        <a:pt x="119270" y="133782"/>
                                                      </a:cubicBezTo>
                                                      <a:cubicBezTo>
                                                        <a:pt x="119724" y="133459"/>
                                                        <a:pt x="120177" y="133199"/>
                                                        <a:pt x="120631" y="132876"/>
                                                      </a:cubicBezTo>
                                                      <a:cubicBezTo>
                                                        <a:pt x="123093" y="131321"/>
                                                        <a:pt x="125619" y="129701"/>
                                                        <a:pt x="127239" y="127174"/>
                                                      </a:cubicBezTo>
                                                      <a:cubicBezTo>
                                                        <a:pt x="129247" y="123935"/>
                                                        <a:pt x="129247" y="119983"/>
                                                        <a:pt x="129247" y="116744"/>
                                                      </a:cubicBezTo>
                                                      <a:lnTo>
                                                        <a:pt x="129636" y="55133"/>
                                                      </a:lnTo>
                                                      <a:cubicBezTo>
                                                        <a:pt x="156457" y="56882"/>
                                                        <a:pt x="183603" y="57400"/>
                                                        <a:pt x="210424" y="56688"/>
                                                      </a:cubicBezTo>
                                                      <a:lnTo>
                                                        <a:pt x="211460" y="56688"/>
                                                      </a:lnTo>
                                                      <a:cubicBezTo>
                                                        <a:pt x="211460" y="56688"/>
                                                        <a:pt x="211395" y="55586"/>
                                                        <a:pt x="211395" y="55586"/>
                                                      </a:cubicBezTo>
                                                      <a:cubicBezTo>
                                                        <a:pt x="210359" y="42176"/>
                                                        <a:pt x="211072" y="28635"/>
                                                        <a:pt x="213404" y="15419"/>
                                                      </a:cubicBezTo>
                                                      <a:cubicBezTo>
                                                        <a:pt x="214182" y="15160"/>
                                                        <a:pt x="214959" y="15289"/>
                                                        <a:pt x="215801" y="15613"/>
                                                      </a:cubicBezTo>
                                                      <a:lnTo>
                                                        <a:pt x="217615" y="16391"/>
                                                      </a:lnTo>
                                                      <a:lnTo>
                                                        <a:pt x="217356" y="15419"/>
                                                      </a:lnTo>
                                                      <a:close/>
                                                      <a:moveTo>
                                                        <a:pt x="211720" y="13994"/>
                                                      </a:moveTo>
                                                      <a:lnTo>
                                                        <a:pt x="211590" y="14512"/>
                                                      </a:lnTo>
                                                      <a:cubicBezTo>
                                                        <a:pt x="209193" y="27793"/>
                                                        <a:pt x="208480" y="41268"/>
                                                        <a:pt x="209387" y="54744"/>
                                                      </a:cubicBezTo>
                                                      <a:cubicBezTo>
                                                        <a:pt x="182566" y="55457"/>
                                                        <a:pt x="155486" y="54874"/>
                                                        <a:pt x="128794" y="53124"/>
                                                      </a:cubicBezTo>
                                                      <a:lnTo>
                                                        <a:pt x="127757" y="53124"/>
                                                      </a:lnTo>
                                                      <a:cubicBezTo>
                                                        <a:pt x="127757" y="53124"/>
                                                        <a:pt x="127304" y="116744"/>
                                                        <a:pt x="127304" y="116744"/>
                                                      </a:cubicBezTo>
                                                      <a:cubicBezTo>
                                                        <a:pt x="127304" y="119724"/>
                                                        <a:pt x="127304" y="123417"/>
                                                        <a:pt x="125554" y="126138"/>
                                                      </a:cubicBezTo>
                                                      <a:cubicBezTo>
                                                        <a:pt x="124194" y="128340"/>
                                                        <a:pt x="121991" y="129701"/>
                                                        <a:pt x="119594" y="131256"/>
                                                      </a:cubicBezTo>
                                                      <a:cubicBezTo>
                                                        <a:pt x="119141" y="131515"/>
                                                        <a:pt x="118687" y="131839"/>
                                                        <a:pt x="118234" y="132163"/>
                                                      </a:cubicBezTo>
                                                      <a:cubicBezTo>
                                                        <a:pt x="102297" y="142658"/>
                                                        <a:pt x="94328" y="163325"/>
                                                        <a:pt x="98863" y="181789"/>
                                                      </a:cubicBezTo>
                                                      <a:lnTo>
                                                        <a:pt x="2980" y="185482"/>
                                                      </a:lnTo>
                                                      <a:cubicBezTo>
                                                        <a:pt x="4923" y="181011"/>
                                                        <a:pt x="7839" y="176671"/>
                                                        <a:pt x="10949" y="172200"/>
                                                      </a:cubicBezTo>
                                                      <a:cubicBezTo>
                                                        <a:pt x="14641" y="166629"/>
                                                        <a:pt x="18529" y="160928"/>
                                                        <a:pt x="20667" y="154773"/>
                                                      </a:cubicBezTo>
                                                      <a:cubicBezTo>
                                                        <a:pt x="21379" y="152765"/>
                                                        <a:pt x="21897" y="150627"/>
                                                        <a:pt x="22416" y="148618"/>
                                                      </a:cubicBezTo>
                                                      <a:cubicBezTo>
                                                        <a:pt x="23776" y="143176"/>
                                                        <a:pt x="25072" y="137994"/>
                                                        <a:pt x="29024" y="134754"/>
                                                      </a:cubicBezTo>
                                                      <a:cubicBezTo>
                                                        <a:pt x="30644" y="133394"/>
                                                        <a:pt x="32587" y="132552"/>
                                                        <a:pt x="34660" y="131580"/>
                                                      </a:cubicBezTo>
                                                      <a:cubicBezTo>
                                                        <a:pt x="37187" y="130414"/>
                                                        <a:pt x="39843" y="129183"/>
                                                        <a:pt x="41851" y="127045"/>
                                                      </a:cubicBezTo>
                                                      <a:cubicBezTo>
                                                        <a:pt x="44702" y="123935"/>
                                                        <a:pt x="45414" y="119789"/>
                                                        <a:pt x="46127" y="115772"/>
                                                      </a:cubicBezTo>
                                                      <a:cubicBezTo>
                                                        <a:pt x="46775" y="112144"/>
                                                        <a:pt x="47423" y="108775"/>
                                                        <a:pt x="49431" y="106054"/>
                                                      </a:cubicBezTo>
                                                      <a:cubicBezTo>
                                                        <a:pt x="50857" y="104175"/>
                                                        <a:pt x="52930" y="102815"/>
                                                        <a:pt x="55068" y="101325"/>
                                                      </a:cubicBezTo>
                                                      <a:cubicBezTo>
                                                        <a:pt x="57400" y="99835"/>
                                                        <a:pt x="59797" y="98215"/>
                                                        <a:pt x="61417" y="95883"/>
                                                      </a:cubicBezTo>
                                                      <a:cubicBezTo>
                                                        <a:pt x="63490" y="92838"/>
                                                        <a:pt x="64008" y="89275"/>
                                                        <a:pt x="64461" y="85776"/>
                                                      </a:cubicBezTo>
                                                      <a:cubicBezTo>
                                                        <a:pt x="64915" y="82861"/>
                                                        <a:pt x="65239" y="80140"/>
                                                        <a:pt x="66470" y="77678"/>
                                                      </a:cubicBezTo>
                                                      <a:cubicBezTo>
                                                        <a:pt x="67701" y="75216"/>
                                                        <a:pt x="69709" y="73337"/>
                                                        <a:pt x="71847" y="71264"/>
                                                      </a:cubicBezTo>
                                                      <a:cubicBezTo>
                                                        <a:pt x="72948" y="70293"/>
                                                        <a:pt x="74050" y="69191"/>
                                                        <a:pt x="75022" y="68090"/>
                                                      </a:cubicBezTo>
                                                      <a:cubicBezTo>
                                                        <a:pt x="78067" y="64656"/>
                                                        <a:pt x="80075" y="60575"/>
                                                        <a:pt x="82083" y="56558"/>
                                                      </a:cubicBezTo>
                                                      <a:lnTo>
                                                        <a:pt x="97049" y="26627"/>
                                                      </a:lnTo>
                                                      <a:cubicBezTo>
                                                        <a:pt x="100094" y="20472"/>
                                                        <a:pt x="103916" y="12828"/>
                                                        <a:pt x="109099" y="6802"/>
                                                      </a:cubicBezTo>
                                                      <a:lnTo>
                                                        <a:pt x="211460" y="7062"/>
                                                      </a:lnTo>
                                                      <a:lnTo>
                                                        <a:pt x="212108" y="7062"/>
                                                      </a:lnTo>
                                                      <a:lnTo>
                                                        <a:pt x="212821" y="5507"/>
                                                      </a:lnTo>
                                                      <a:cubicBezTo>
                                                        <a:pt x="213015" y="6219"/>
                                                        <a:pt x="213210" y="6932"/>
                                                        <a:pt x="213339" y="7645"/>
                                                      </a:cubicBezTo>
                                                      <a:lnTo>
                                                        <a:pt x="214829" y="13346"/>
                                                      </a:lnTo>
                                                      <a:cubicBezTo>
                                                        <a:pt x="213922" y="13281"/>
                                                        <a:pt x="213015" y="13411"/>
                                                        <a:pt x="212173" y="13799"/>
                                                      </a:cubicBezTo>
                                                      <a:lnTo>
                                                        <a:pt x="211720" y="13994"/>
                                                      </a:ln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5" name="Freeform: Shape 44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3AB049F-CFC4-4A4A-8F83-CDDD2ACC8AED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705625" y="3377573"/>
                                                  <a:ext cx="301854" cy="24279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03268 w 301854"/>
                                                    <a:gd name="connsiteY0" fmla="*/ 229903 h 242795"/>
                                                    <a:gd name="connsiteX1" fmla="*/ 105536 w 301854"/>
                                                    <a:gd name="connsiteY1" fmla="*/ 217853 h 242795"/>
                                                    <a:gd name="connsiteX2" fmla="*/ 113699 w 301854"/>
                                                    <a:gd name="connsiteY2" fmla="*/ 202304 h 242795"/>
                                                    <a:gd name="connsiteX3" fmla="*/ 128211 w 301854"/>
                                                    <a:gd name="connsiteY3" fmla="*/ 199519 h 242795"/>
                                                    <a:gd name="connsiteX4" fmla="*/ 141103 w 301854"/>
                                                    <a:gd name="connsiteY4" fmla="*/ 190319 h 242795"/>
                                                    <a:gd name="connsiteX5" fmla="*/ 149331 w 301854"/>
                                                    <a:gd name="connsiteY5" fmla="*/ 188959 h 242795"/>
                                                    <a:gd name="connsiteX6" fmla="*/ 154255 w 301854"/>
                                                    <a:gd name="connsiteY6" fmla="*/ 184618 h 242795"/>
                                                    <a:gd name="connsiteX7" fmla="*/ 197402 w 301854"/>
                                                    <a:gd name="connsiteY7" fmla="*/ 168033 h 242795"/>
                                                    <a:gd name="connsiteX8" fmla="*/ 213599 w 301854"/>
                                                    <a:gd name="connsiteY8" fmla="*/ 148273 h 242795"/>
                                                    <a:gd name="connsiteX9" fmla="*/ 227463 w 301854"/>
                                                    <a:gd name="connsiteY9" fmla="*/ 150929 h 242795"/>
                                                    <a:gd name="connsiteX10" fmla="*/ 230184 w 301854"/>
                                                    <a:gd name="connsiteY10" fmla="*/ 132919 h 242795"/>
                                                    <a:gd name="connsiteX11" fmla="*/ 246704 w 301854"/>
                                                    <a:gd name="connsiteY11" fmla="*/ 116204 h 242795"/>
                                                    <a:gd name="connsiteX12" fmla="*/ 262577 w 301854"/>
                                                    <a:gd name="connsiteY12" fmla="*/ 110827 h 242795"/>
                                                    <a:gd name="connsiteX13" fmla="*/ 283438 w 301854"/>
                                                    <a:gd name="connsiteY13" fmla="*/ 113289 h 242795"/>
                                                    <a:gd name="connsiteX14" fmla="*/ 301124 w 301854"/>
                                                    <a:gd name="connsiteY14" fmla="*/ 104932 h 242795"/>
                                                    <a:gd name="connsiteX15" fmla="*/ 282595 w 301854"/>
                                                    <a:gd name="connsiteY15" fmla="*/ 64311 h 242795"/>
                                                    <a:gd name="connsiteX16" fmla="*/ 288037 w 301854"/>
                                                    <a:gd name="connsiteY16" fmla="*/ 47985 h 242795"/>
                                                    <a:gd name="connsiteX17" fmla="*/ 283956 w 301854"/>
                                                    <a:gd name="connsiteY17" fmla="*/ 42867 h 242795"/>
                                                    <a:gd name="connsiteX18" fmla="*/ 279551 w 301854"/>
                                                    <a:gd name="connsiteY18" fmla="*/ 28290 h 242795"/>
                                                    <a:gd name="connsiteX19" fmla="*/ 278384 w 301854"/>
                                                    <a:gd name="connsiteY19" fmla="*/ 29780 h 242795"/>
                                                    <a:gd name="connsiteX20" fmla="*/ 227851 w 301854"/>
                                                    <a:gd name="connsiteY20" fmla="*/ 15074 h 242795"/>
                                                    <a:gd name="connsiteX21" fmla="*/ 210942 w 301854"/>
                                                    <a:gd name="connsiteY21" fmla="*/ 16046 h 242795"/>
                                                    <a:gd name="connsiteX22" fmla="*/ 197855 w 301854"/>
                                                    <a:gd name="connsiteY22" fmla="*/ 4838 h 242795"/>
                                                    <a:gd name="connsiteX23" fmla="*/ 182307 w 301854"/>
                                                    <a:gd name="connsiteY23" fmla="*/ 1728 h 242795"/>
                                                    <a:gd name="connsiteX24" fmla="*/ 186324 w 301854"/>
                                                    <a:gd name="connsiteY24" fmla="*/ 20062 h 242795"/>
                                                    <a:gd name="connsiteX25" fmla="*/ 172330 w 301854"/>
                                                    <a:gd name="connsiteY25" fmla="*/ 28549 h 242795"/>
                                                    <a:gd name="connsiteX26" fmla="*/ 150692 w 301854"/>
                                                    <a:gd name="connsiteY26" fmla="*/ 61072 h 242795"/>
                                                    <a:gd name="connsiteX27" fmla="*/ 84027 w 301854"/>
                                                    <a:gd name="connsiteY27" fmla="*/ 171726 h 242795"/>
                                                    <a:gd name="connsiteX28" fmla="*/ 57400 w 301854"/>
                                                    <a:gd name="connsiteY28" fmla="*/ 203471 h 242795"/>
                                                    <a:gd name="connsiteX29" fmla="*/ 48913 w 301854"/>
                                                    <a:gd name="connsiteY29" fmla="*/ 207228 h 242795"/>
                                                    <a:gd name="connsiteX30" fmla="*/ 39066 w 301854"/>
                                                    <a:gd name="connsiteY30" fmla="*/ 222194 h 242795"/>
                                                    <a:gd name="connsiteX31" fmla="*/ 29542 w 301854"/>
                                                    <a:gd name="connsiteY31" fmla="*/ 226923 h 242795"/>
                                                    <a:gd name="connsiteX32" fmla="*/ 6025 w 301854"/>
                                                    <a:gd name="connsiteY32" fmla="*/ 236900 h 242795"/>
                                                    <a:gd name="connsiteX33" fmla="*/ 0 w 301854"/>
                                                    <a:gd name="connsiteY33" fmla="*/ 242537 h 242795"/>
                                                    <a:gd name="connsiteX34" fmla="*/ 102815 w 301854"/>
                                                    <a:gd name="connsiteY34" fmla="*/ 242796 h 242795"/>
                                                    <a:gd name="connsiteX35" fmla="*/ 103074 w 301854"/>
                                                    <a:gd name="connsiteY35" fmla="*/ 242148 h 242795"/>
                                                    <a:gd name="connsiteX36" fmla="*/ 103268 w 301854"/>
                                                    <a:gd name="connsiteY36" fmla="*/ 230033 h 24279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01854" h="242795">
                                                      <a:moveTo>
                                                        <a:pt x="103268" y="229903"/>
                                                      </a:moveTo>
                                                      <a:cubicBezTo>
                                                        <a:pt x="103268" y="225757"/>
                                                        <a:pt x="103268" y="221351"/>
                                                        <a:pt x="105536" y="217853"/>
                                                      </a:cubicBezTo>
                                                      <a:cubicBezTo>
                                                        <a:pt x="108905" y="212541"/>
                                                        <a:pt x="117003" y="207682"/>
                                                        <a:pt x="113699" y="202304"/>
                                                      </a:cubicBezTo>
                                                      <a:cubicBezTo>
                                                        <a:pt x="117910" y="205609"/>
                                                        <a:pt x="124194" y="203017"/>
                                                        <a:pt x="128211" y="199519"/>
                                                      </a:cubicBezTo>
                                                      <a:cubicBezTo>
                                                        <a:pt x="132228" y="196020"/>
                                                        <a:pt x="135856" y="191421"/>
                                                        <a:pt x="141103" y="190319"/>
                                                      </a:cubicBezTo>
                                                      <a:cubicBezTo>
                                                        <a:pt x="143824" y="189736"/>
                                                        <a:pt x="146805" y="190190"/>
                                                        <a:pt x="149331" y="188959"/>
                                                      </a:cubicBezTo>
                                                      <a:cubicBezTo>
                                                        <a:pt x="151274" y="187987"/>
                                                        <a:pt x="152635" y="186108"/>
                                                        <a:pt x="154255" y="184618"/>
                                                      </a:cubicBezTo>
                                                      <a:cubicBezTo>
                                                        <a:pt x="165657" y="173734"/>
                                                        <a:pt x="187684" y="180472"/>
                                                        <a:pt x="197402" y="168033"/>
                                                      </a:cubicBezTo>
                                                      <a:cubicBezTo>
                                                        <a:pt x="202909" y="160971"/>
                                                        <a:pt x="204593" y="148079"/>
                                                        <a:pt x="213599" y="148273"/>
                                                      </a:cubicBezTo>
                                                      <a:cubicBezTo>
                                                        <a:pt x="218393" y="148403"/>
                                                        <a:pt x="223057" y="152938"/>
                                                        <a:pt x="227463" y="150929"/>
                                                      </a:cubicBezTo>
                                                      <a:cubicBezTo>
                                                        <a:pt x="233358" y="148208"/>
                                                        <a:pt x="229665" y="139398"/>
                                                        <a:pt x="230184" y="132919"/>
                                                      </a:cubicBezTo>
                                                      <a:cubicBezTo>
                                                        <a:pt x="230832" y="124691"/>
                                                        <a:pt x="239318" y="119703"/>
                                                        <a:pt x="246704" y="116204"/>
                                                      </a:cubicBezTo>
                                                      <a:cubicBezTo>
                                                        <a:pt x="251757" y="113807"/>
                                                        <a:pt x="257005" y="111281"/>
                                                        <a:pt x="262577" y="110827"/>
                                                      </a:cubicBezTo>
                                                      <a:cubicBezTo>
                                                        <a:pt x="269573" y="110244"/>
                                                        <a:pt x="276441" y="112706"/>
                                                        <a:pt x="283438" y="113289"/>
                                                      </a:cubicBezTo>
                                                      <a:cubicBezTo>
                                                        <a:pt x="290434" y="113807"/>
                                                        <a:pt x="298662" y="111475"/>
                                                        <a:pt x="301124" y="104932"/>
                                                      </a:cubicBezTo>
                                                      <a:cubicBezTo>
                                                        <a:pt x="306696" y="90225"/>
                                                        <a:pt x="278449" y="79536"/>
                                                        <a:pt x="282595" y="64311"/>
                                                      </a:cubicBezTo>
                                                      <a:cubicBezTo>
                                                        <a:pt x="284150" y="58610"/>
                                                        <a:pt x="290305" y="53492"/>
                                                        <a:pt x="288037" y="47985"/>
                                                      </a:cubicBezTo>
                                                      <a:cubicBezTo>
                                                        <a:pt x="287195" y="45977"/>
                                                        <a:pt x="285381" y="44551"/>
                                                        <a:pt x="283956" y="42867"/>
                                                      </a:cubicBezTo>
                                                      <a:cubicBezTo>
                                                        <a:pt x="280457" y="38785"/>
                                                        <a:pt x="279615" y="33732"/>
                                                        <a:pt x="279551" y="28290"/>
                                                      </a:cubicBezTo>
                                                      <a:cubicBezTo>
                                                        <a:pt x="279162" y="28808"/>
                                                        <a:pt x="278773" y="29262"/>
                                                        <a:pt x="278384" y="29780"/>
                                                      </a:cubicBezTo>
                                                      <a:cubicBezTo>
                                                        <a:pt x="265103" y="17341"/>
                                                        <a:pt x="245732" y="11705"/>
                                                        <a:pt x="227851" y="15074"/>
                                                      </a:cubicBezTo>
                                                      <a:cubicBezTo>
                                                        <a:pt x="222215" y="16110"/>
                                                        <a:pt x="216320" y="17989"/>
                                                        <a:pt x="210942" y="16046"/>
                                                      </a:cubicBezTo>
                                                      <a:cubicBezTo>
                                                        <a:pt x="205500" y="14102"/>
                                                        <a:pt x="202067" y="8854"/>
                                                        <a:pt x="197855" y="4838"/>
                                                      </a:cubicBezTo>
                                                      <a:cubicBezTo>
                                                        <a:pt x="193645" y="821"/>
                                                        <a:pt x="186712" y="-1965"/>
                                                        <a:pt x="182307" y="1728"/>
                                                      </a:cubicBezTo>
                                                      <a:cubicBezTo>
                                                        <a:pt x="184898" y="7494"/>
                                                        <a:pt x="187620" y="13778"/>
                                                        <a:pt x="186324" y="20062"/>
                                                      </a:cubicBezTo>
                                                      <a:cubicBezTo>
                                                        <a:pt x="185093" y="26282"/>
                                                        <a:pt x="177902" y="31659"/>
                                                        <a:pt x="172330" y="28549"/>
                                                      </a:cubicBezTo>
                                                      <a:cubicBezTo>
                                                        <a:pt x="164102" y="38656"/>
                                                        <a:pt x="157364" y="49864"/>
                                                        <a:pt x="150692" y="61072"/>
                                                      </a:cubicBezTo>
                                                      <a:cubicBezTo>
                                                        <a:pt x="128794" y="97611"/>
                                                        <a:pt x="105924" y="135251"/>
                                                        <a:pt x="84027" y="171726"/>
                                                      </a:cubicBezTo>
                                                      <a:cubicBezTo>
                                                        <a:pt x="70681" y="176326"/>
                                                        <a:pt x="70098" y="197187"/>
                                                        <a:pt x="57400" y="203471"/>
                                                      </a:cubicBezTo>
                                                      <a:cubicBezTo>
                                                        <a:pt x="54614" y="204831"/>
                                                        <a:pt x="51375" y="205414"/>
                                                        <a:pt x="48913" y="207228"/>
                                                      </a:cubicBezTo>
                                                      <a:cubicBezTo>
                                                        <a:pt x="44054" y="210791"/>
                                                        <a:pt x="43342" y="217983"/>
                                                        <a:pt x="39066" y="222194"/>
                                                      </a:cubicBezTo>
                                                      <a:cubicBezTo>
                                                        <a:pt x="36474" y="224720"/>
                                                        <a:pt x="32976" y="225822"/>
                                                        <a:pt x="29542" y="226923"/>
                                                      </a:cubicBezTo>
                                                      <a:cubicBezTo>
                                                        <a:pt x="21379" y="229450"/>
                                                        <a:pt x="12892" y="231782"/>
                                                        <a:pt x="6025" y="236900"/>
                                                      </a:cubicBezTo>
                                                      <a:cubicBezTo>
                                                        <a:pt x="3823" y="238585"/>
                                                        <a:pt x="1814" y="240463"/>
                                                        <a:pt x="0" y="242537"/>
                                                      </a:cubicBezTo>
                                                      <a:lnTo>
                                                        <a:pt x="102815" y="242796"/>
                                                      </a:lnTo>
                                                      <a:cubicBezTo>
                                                        <a:pt x="102815" y="242796"/>
                                                        <a:pt x="103009" y="242342"/>
                                                        <a:pt x="103074" y="242148"/>
                                                      </a:cubicBezTo>
                                                      <a:cubicBezTo>
                                                        <a:pt x="103333" y="238066"/>
                                                        <a:pt x="103333" y="233920"/>
                                                        <a:pt x="103268" y="23003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6" name="Freeform: Shape 44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B657BF61-6AF4-4D59-A9FA-9982138CD67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033635" y="3740830"/>
                                                  <a:ext cx="384648" cy="31742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34683 w 384648"/>
                                                    <a:gd name="connsiteY0" fmla="*/ 240136 h 317425"/>
                                                    <a:gd name="connsiteX1" fmla="*/ 338764 w 384648"/>
                                                    <a:gd name="connsiteY1" fmla="*/ 234370 h 317425"/>
                                                    <a:gd name="connsiteX2" fmla="*/ 341421 w 384648"/>
                                                    <a:gd name="connsiteY2" fmla="*/ 223551 h 317425"/>
                                                    <a:gd name="connsiteX3" fmla="*/ 350750 w 384648"/>
                                                    <a:gd name="connsiteY3" fmla="*/ 216230 h 317425"/>
                                                    <a:gd name="connsiteX4" fmla="*/ 350685 w 384648"/>
                                                    <a:gd name="connsiteY4" fmla="*/ 207873 h 317425"/>
                                                    <a:gd name="connsiteX5" fmla="*/ 366169 w 384648"/>
                                                    <a:gd name="connsiteY5" fmla="*/ 197637 h 317425"/>
                                                    <a:gd name="connsiteX6" fmla="*/ 378802 w 384648"/>
                                                    <a:gd name="connsiteY6" fmla="*/ 172824 h 317425"/>
                                                    <a:gd name="connsiteX7" fmla="*/ 376211 w 384648"/>
                                                    <a:gd name="connsiteY7" fmla="*/ 117626 h 317425"/>
                                                    <a:gd name="connsiteX8" fmla="*/ 375498 w 384648"/>
                                                    <a:gd name="connsiteY8" fmla="*/ 108232 h 317425"/>
                                                    <a:gd name="connsiteX9" fmla="*/ 381005 w 384648"/>
                                                    <a:gd name="connsiteY9" fmla="*/ 98255 h 317425"/>
                                                    <a:gd name="connsiteX10" fmla="*/ 381005 w 384648"/>
                                                    <a:gd name="connsiteY10" fmla="*/ 71369 h 317425"/>
                                                    <a:gd name="connsiteX11" fmla="*/ 375045 w 384648"/>
                                                    <a:gd name="connsiteY11" fmla="*/ 60550 h 317425"/>
                                                    <a:gd name="connsiteX12" fmla="*/ 374591 w 384648"/>
                                                    <a:gd name="connsiteY12" fmla="*/ 53748 h 317425"/>
                                                    <a:gd name="connsiteX13" fmla="*/ 350685 w 384648"/>
                                                    <a:gd name="connsiteY13" fmla="*/ 22586 h 317425"/>
                                                    <a:gd name="connsiteX14" fmla="*/ 349260 w 384648"/>
                                                    <a:gd name="connsiteY14" fmla="*/ 17144 h 317425"/>
                                                    <a:gd name="connsiteX15" fmla="*/ 337728 w 384648"/>
                                                    <a:gd name="connsiteY15" fmla="*/ 13580 h 317425"/>
                                                    <a:gd name="connsiteX16" fmla="*/ 323410 w 384648"/>
                                                    <a:gd name="connsiteY16" fmla="*/ 1401 h 317425"/>
                                                    <a:gd name="connsiteX17" fmla="*/ 303974 w 384648"/>
                                                    <a:gd name="connsiteY17" fmla="*/ 235 h 317425"/>
                                                    <a:gd name="connsiteX18" fmla="*/ 295229 w 384648"/>
                                                    <a:gd name="connsiteY18" fmla="*/ 1401 h 317425"/>
                                                    <a:gd name="connsiteX19" fmla="*/ 287649 w 384648"/>
                                                    <a:gd name="connsiteY19" fmla="*/ 5288 h 317425"/>
                                                    <a:gd name="connsiteX20" fmla="*/ 258754 w 384648"/>
                                                    <a:gd name="connsiteY20" fmla="*/ 23428 h 317425"/>
                                                    <a:gd name="connsiteX21" fmla="*/ 250138 w 384648"/>
                                                    <a:gd name="connsiteY21" fmla="*/ 29518 h 317425"/>
                                                    <a:gd name="connsiteX22" fmla="*/ 243854 w 384648"/>
                                                    <a:gd name="connsiteY22" fmla="*/ 35737 h 317425"/>
                                                    <a:gd name="connsiteX23" fmla="*/ 217356 w 384648"/>
                                                    <a:gd name="connsiteY23" fmla="*/ 49277 h 317425"/>
                                                    <a:gd name="connsiteX24" fmla="*/ 212756 w 384648"/>
                                                    <a:gd name="connsiteY24" fmla="*/ 50703 h 317425"/>
                                                    <a:gd name="connsiteX25" fmla="*/ 209064 w 384648"/>
                                                    <a:gd name="connsiteY25" fmla="*/ 55756 h 317425"/>
                                                    <a:gd name="connsiteX26" fmla="*/ 185093 w 384648"/>
                                                    <a:gd name="connsiteY26" fmla="*/ 65020 h 317425"/>
                                                    <a:gd name="connsiteX27" fmla="*/ 181205 w 384648"/>
                                                    <a:gd name="connsiteY27" fmla="*/ 76423 h 317425"/>
                                                    <a:gd name="connsiteX28" fmla="*/ 170063 w 384648"/>
                                                    <a:gd name="connsiteY28" fmla="*/ 84262 h 317425"/>
                                                    <a:gd name="connsiteX29" fmla="*/ 166953 w 384648"/>
                                                    <a:gd name="connsiteY29" fmla="*/ 90546 h 317425"/>
                                                    <a:gd name="connsiteX30" fmla="*/ 157494 w 384648"/>
                                                    <a:gd name="connsiteY30" fmla="*/ 94822 h 317425"/>
                                                    <a:gd name="connsiteX31" fmla="*/ 149396 w 384648"/>
                                                    <a:gd name="connsiteY31" fmla="*/ 104540 h 317425"/>
                                                    <a:gd name="connsiteX32" fmla="*/ 122186 w 384648"/>
                                                    <a:gd name="connsiteY32" fmla="*/ 109852 h 317425"/>
                                                    <a:gd name="connsiteX33" fmla="*/ 114606 w 384648"/>
                                                    <a:gd name="connsiteY33" fmla="*/ 120801 h 317425"/>
                                                    <a:gd name="connsiteX34" fmla="*/ 108905 w 384648"/>
                                                    <a:gd name="connsiteY34" fmla="*/ 120801 h 317425"/>
                                                    <a:gd name="connsiteX35" fmla="*/ 97373 w 384648"/>
                                                    <a:gd name="connsiteY35" fmla="*/ 129417 h 317425"/>
                                                    <a:gd name="connsiteX36" fmla="*/ 97179 w 384648"/>
                                                    <a:gd name="connsiteY36" fmla="*/ 129676 h 317425"/>
                                                    <a:gd name="connsiteX37" fmla="*/ 104564 w 384648"/>
                                                    <a:gd name="connsiteY37" fmla="*/ 147946 h 317425"/>
                                                    <a:gd name="connsiteX38" fmla="*/ 103787 w 384648"/>
                                                    <a:gd name="connsiteY38" fmla="*/ 196082 h 317425"/>
                                                    <a:gd name="connsiteX39" fmla="*/ 93745 w 384648"/>
                                                    <a:gd name="connsiteY39" fmla="*/ 201589 h 317425"/>
                                                    <a:gd name="connsiteX40" fmla="*/ 89145 w 384648"/>
                                                    <a:gd name="connsiteY40" fmla="*/ 212991 h 317425"/>
                                                    <a:gd name="connsiteX41" fmla="*/ 62000 w 384648"/>
                                                    <a:gd name="connsiteY41" fmla="*/ 228475 h 317425"/>
                                                    <a:gd name="connsiteX42" fmla="*/ 21574 w 384648"/>
                                                    <a:gd name="connsiteY42" fmla="*/ 234370 h 317425"/>
                                                    <a:gd name="connsiteX43" fmla="*/ 8033 w 384648"/>
                                                    <a:gd name="connsiteY43" fmla="*/ 236962 h 317425"/>
                                                    <a:gd name="connsiteX44" fmla="*/ 0 w 384648"/>
                                                    <a:gd name="connsiteY44" fmla="*/ 243570 h 317425"/>
                                                    <a:gd name="connsiteX45" fmla="*/ 1231 w 384648"/>
                                                    <a:gd name="connsiteY45" fmla="*/ 254518 h 317425"/>
                                                    <a:gd name="connsiteX46" fmla="*/ 15354 w 384648"/>
                                                    <a:gd name="connsiteY46" fmla="*/ 267476 h 317425"/>
                                                    <a:gd name="connsiteX47" fmla="*/ 18982 w 384648"/>
                                                    <a:gd name="connsiteY47" fmla="*/ 276610 h 317425"/>
                                                    <a:gd name="connsiteX48" fmla="*/ 23906 w 384648"/>
                                                    <a:gd name="connsiteY48" fmla="*/ 285551 h 317425"/>
                                                    <a:gd name="connsiteX49" fmla="*/ 22286 w 384648"/>
                                                    <a:gd name="connsiteY49" fmla="*/ 288207 h 317425"/>
                                                    <a:gd name="connsiteX50" fmla="*/ 25396 w 384648"/>
                                                    <a:gd name="connsiteY50" fmla="*/ 293325 h 317425"/>
                                                    <a:gd name="connsiteX51" fmla="*/ 31551 w 384648"/>
                                                    <a:gd name="connsiteY51" fmla="*/ 295722 h 317425"/>
                                                    <a:gd name="connsiteX52" fmla="*/ 39519 w 384648"/>
                                                    <a:gd name="connsiteY52" fmla="*/ 306541 h 317425"/>
                                                    <a:gd name="connsiteX53" fmla="*/ 55521 w 384648"/>
                                                    <a:gd name="connsiteY53" fmla="*/ 309846 h 317425"/>
                                                    <a:gd name="connsiteX54" fmla="*/ 62000 w 384648"/>
                                                    <a:gd name="connsiteY54" fmla="*/ 317425 h 317425"/>
                                                    <a:gd name="connsiteX55" fmla="*/ 64202 w 384648"/>
                                                    <a:gd name="connsiteY55" fmla="*/ 313085 h 317425"/>
                                                    <a:gd name="connsiteX56" fmla="*/ 80529 w 384648"/>
                                                    <a:gd name="connsiteY56" fmla="*/ 314121 h 317425"/>
                                                    <a:gd name="connsiteX57" fmla="*/ 86748 w 384648"/>
                                                    <a:gd name="connsiteY57" fmla="*/ 316907 h 317425"/>
                                                    <a:gd name="connsiteX58" fmla="*/ 87331 w 384648"/>
                                                    <a:gd name="connsiteY58" fmla="*/ 314834 h 317425"/>
                                                    <a:gd name="connsiteX59" fmla="*/ 94198 w 384648"/>
                                                    <a:gd name="connsiteY59" fmla="*/ 303626 h 317425"/>
                                                    <a:gd name="connsiteX60" fmla="*/ 102297 w 384648"/>
                                                    <a:gd name="connsiteY60" fmla="*/ 278943 h 317425"/>
                                                    <a:gd name="connsiteX61" fmla="*/ 115318 w 384648"/>
                                                    <a:gd name="connsiteY61" fmla="*/ 273760 h 317425"/>
                                                    <a:gd name="connsiteX62" fmla="*/ 121538 w 384648"/>
                                                    <a:gd name="connsiteY62" fmla="*/ 269614 h 317425"/>
                                                    <a:gd name="connsiteX63" fmla="*/ 129312 w 384648"/>
                                                    <a:gd name="connsiteY63" fmla="*/ 268642 h 317425"/>
                                                    <a:gd name="connsiteX64" fmla="*/ 150497 w 384648"/>
                                                    <a:gd name="connsiteY64" fmla="*/ 268642 h 317425"/>
                                                    <a:gd name="connsiteX65" fmla="*/ 159891 w 384648"/>
                                                    <a:gd name="connsiteY65" fmla="*/ 270650 h 317425"/>
                                                    <a:gd name="connsiteX66" fmla="*/ 171617 w 384648"/>
                                                    <a:gd name="connsiteY66" fmla="*/ 289503 h 317425"/>
                                                    <a:gd name="connsiteX67" fmla="*/ 181400 w 384648"/>
                                                    <a:gd name="connsiteY67" fmla="*/ 287365 h 317425"/>
                                                    <a:gd name="connsiteX68" fmla="*/ 209258 w 384648"/>
                                                    <a:gd name="connsiteY68" fmla="*/ 289762 h 317425"/>
                                                    <a:gd name="connsiteX69" fmla="*/ 213339 w 384648"/>
                                                    <a:gd name="connsiteY69" fmla="*/ 296046 h 317425"/>
                                                    <a:gd name="connsiteX70" fmla="*/ 220207 w 384648"/>
                                                    <a:gd name="connsiteY70" fmla="*/ 297342 h 317425"/>
                                                    <a:gd name="connsiteX71" fmla="*/ 255515 w 384648"/>
                                                    <a:gd name="connsiteY71" fmla="*/ 285227 h 317425"/>
                                                    <a:gd name="connsiteX72" fmla="*/ 273979 w 384648"/>
                                                    <a:gd name="connsiteY72" fmla="*/ 277647 h 317425"/>
                                                    <a:gd name="connsiteX73" fmla="*/ 283243 w 384648"/>
                                                    <a:gd name="connsiteY73" fmla="*/ 282052 h 317425"/>
                                                    <a:gd name="connsiteX74" fmla="*/ 314599 w 384648"/>
                                                    <a:gd name="connsiteY74" fmla="*/ 280303 h 317425"/>
                                                    <a:gd name="connsiteX75" fmla="*/ 320884 w 384648"/>
                                                    <a:gd name="connsiteY75" fmla="*/ 276287 h 317425"/>
                                                    <a:gd name="connsiteX76" fmla="*/ 329889 w 384648"/>
                                                    <a:gd name="connsiteY76" fmla="*/ 276287 h 317425"/>
                                                    <a:gd name="connsiteX77" fmla="*/ 333646 w 384648"/>
                                                    <a:gd name="connsiteY77" fmla="*/ 247586 h 317425"/>
                                                    <a:gd name="connsiteX78" fmla="*/ 334813 w 384648"/>
                                                    <a:gd name="connsiteY78" fmla="*/ 240266 h 31742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84648" h="317425">
                                                      <a:moveTo>
                                                        <a:pt x="334683" y="240136"/>
                                                      </a:moveTo>
                                                      <a:cubicBezTo>
                                                        <a:pt x="335784" y="238063"/>
                                                        <a:pt x="337728" y="236508"/>
                                                        <a:pt x="338764" y="234370"/>
                                                      </a:cubicBezTo>
                                                      <a:cubicBezTo>
                                                        <a:pt x="340384" y="231001"/>
                                                        <a:pt x="339218" y="226596"/>
                                                        <a:pt x="341421" y="223551"/>
                                                      </a:cubicBezTo>
                                                      <a:cubicBezTo>
                                                        <a:pt x="343818" y="220312"/>
                                                        <a:pt x="349260" y="219923"/>
                                                        <a:pt x="350750" y="216230"/>
                                                      </a:cubicBezTo>
                                                      <a:cubicBezTo>
                                                        <a:pt x="351786" y="213639"/>
                                                        <a:pt x="350296" y="210659"/>
                                                        <a:pt x="350685" y="207873"/>
                                                      </a:cubicBezTo>
                                                      <a:cubicBezTo>
                                                        <a:pt x="351592" y="201394"/>
                                                        <a:pt x="360403" y="200617"/>
                                                        <a:pt x="366169" y="197637"/>
                                                      </a:cubicBezTo>
                                                      <a:cubicBezTo>
                                                        <a:pt x="374785" y="193231"/>
                                                        <a:pt x="377701" y="182477"/>
                                                        <a:pt x="378802" y="172824"/>
                                                      </a:cubicBezTo>
                                                      <a:cubicBezTo>
                                                        <a:pt x="380940" y="154424"/>
                                                        <a:pt x="380098" y="135702"/>
                                                        <a:pt x="376211" y="117626"/>
                                                      </a:cubicBezTo>
                                                      <a:cubicBezTo>
                                                        <a:pt x="375563" y="114517"/>
                                                        <a:pt x="374785" y="111342"/>
                                                        <a:pt x="375498" y="108232"/>
                                                      </a:cubicBezTo>
                                                      <a:cubicBezTo>
                                                        <a:pt x="376340" y="104475"/>
                                                        <a:pt x="379061" y="101560"/>
                                                        <a:pt x="381005" y="98255"/>
                                                      </a:cubicBezTo>
                                                      <a:cubicBezTo>
                                                        <a:pt x="385864" y="90157"/>
                                                        <a:pt x="385864" y="79403"/>
                                                        <a:pt x="381005" y="71369"/>
                                                      </a:cubicBezTo>
                                                      <a:cubicBezTo>
                                                        <a:pt x="378867" y="67806"/>
                                                        <a:pt x="375822" y="64632"/>
                                                        <a:pt x="375045" y="60550"/>
                                                      </a:cubicBezTo>
                                                      <a:cubicBezTo>
                                                        <a:pt x="374591" y="58347"/>
                                                        <a:pt x="374915" y="56015"/>
                                                        <a:pt x="374591" y="53748"/>
                                                      </a:cubicBezTo>
                                                      <a:cubicBezTo>
                                                        <a:pt x="372907" y="40466"/>
                                                        <a:pt x="353601" y="35672"/>
                                                        <a:pt x="350685" y="22586"/>
                                                      </a:cubicBezTo>
                                                      <a:cubicBezTo>
                                                        <a:pt x="350296" y="20772"/>
                                                        <a:pt x="350232" y="18763"/>
                                                        <a:pt x="349260" y="17144"/>
                                                      </a:cubicBezTo>
                                                      <a:cubicBezTo>
                                                        <a:pt x="347122" y="13451"/>
                                                        <a:pt x="341939" y="13257"/>
                                                        <a:pt x="337728" y="13580"/>
                                                      </a:cubicBezTo>
                                                      <a:cubicBezTo>
                                                        <a:pt x="335590" y="7426"/>
                                                        <a:pt x="329630" y="3215"/>
                                                        <a:pt x="323410" y="1401"/>
                                                      </a:cubicBezTo>
                                                      <a:cubicBezTo>
                                                        <a:pt x="317126" y="-348"/>
                                                        <a:pt x="310453" y="-89"/>
                                                        <a:pt x="303974" y="235"/>
                                                      </a:cubicBezTo>
                                                      <a:cubicBezTo>
                                                        <a:pt x="300995" y="364"/>
                                                        <a:pt x="298014" y="494"/>
                                                        <a:pt x="295229" y="1401"/>
                                                      </a:cubicBezTo>
                                                      <a:cubicBezTo>
                                                        <a:pt x="292508" y="2243"/>
                                                        <a:pt x="290046" y="3798"/>
                                                        <a:pt x="287649" y="5288"/>
                                                      </a:cubicBezTo>
                                                      <a:cubicBezTo>
                                                        <a:pt x="277995" y="11313"/>
                                                        <a:pt x="268407" y="17338"/>
                                                        <a:pt x="258754" y="23428"/>
                                                      </a:cubicBezTo>
                                                      <a:cubicBezTo>
                                                        <a:pt x="255774" y="25307"/>
                                                        <a:pt x="252794" y="27185"/>
                                                        <a:pt x="250138" y="29518"/>
                                                      </a:cubicBezTo>
                                                      <a:cubicBezTo>
                                                        <a:pt x="247935" y="31461"/>
                                                        <a:pt x="245991" y="33664"/>
                                                        <a:pt x="243854" y="35737"/>
                                                      </a:cubicBezTo>
                                                      <a:cubicBezTo>
                                                        <a:pt x="236598" y="42734"/>
                                                        <a:pt x="227268" y="47528"/>
                                                        <a:pt x="217356" y="49277"/>
                                                      </a:cubicBezTo>
                                                      <a:cubicBezTo>
                                                        <a:pt x="215801" y="49537"/>
                                                        <a:pt x="214117" y="49796"/>
                                                        <a:pt x="212756" y="50703"/>
                                                      </a:cubicBezTo>
                                                      <a:cubicBezTo>
                                                        <a:pt x="211007" y="51869"/>
                                                        <a:pt x="210230" y="53942"/>
                                                        <a:pt x="209064" y="55756"/>
                                                      </a:cubicBezTo>
                                                      <a:cubicBezTo>
                                                        <a:pt x="204270" y="63206"/>
                                                        <a:pt x="194033" y="64502"/>
                                                        <a:pt x="185093" y="65020"/>
                                                      </a:cubicBezTo>
                                                      <a:cubicBezTo>
                                                        <a:pt x="188202" y="68389"/>
                                                        <a:pt x="185093" y="73961"/>
                                                        <a:pt x="181205" y="76423"/>
                                                      </a:cubicBezTo>
                                                      <a:cubicBezTo>
                                                        <a:pt x="177318" y="78885"/>
                                                        <a:pt x="172395" y="80310"/>
                                                        <a:pt x="170063" y="84262"/>
                                                      </a:cubicBezTo>
                                                      <a:cubicBezTo>
                                                        <a:pt x="168896" y="86270"/>
                                                        <a:pt x="168508" y="88797"/>
                                                        <a:pt x="166953" y="90546"/>
                                                      </a:cubicBezTo>
                                                      <a:cubicBezTo>
                                                        <a:pt x="164620" y="93137"/>
                                                        <a:pt x="160539" y="93137"/>
                                                        <a:pt x="157494" y="94822"/>
                                                      </a:cubicBezTo>
                                                      <a:cubicBezTo>
                                                        <a:pt x="153801" y="96895"/>
                                                        <a:pt x="152052" y="101171"/>
                                                        <a:pt x="149396" y="104540"/>
                                                      </a:cubicBezTo>
                                                      <a:cubicBezTo>
                                                        <a:pt x="143176" y="112508"/>
                                                        <a:pt x="130932" y="114905"/>
                                                        <a:pt x="122186" y="109852"/>
                                                      </a:cubicBezTo>
                                                      <a:cubicBezTo>
                                                        <a:pt x="121149" y="114452"/>
                                                        <a:pt x="119206" y="119894"/>
                                                        <a:pt x="114606" y="120801"/>
                                                      </a:cubicBezTo>
                                                      <a:cubicBezTo>
                                                        <a:pt x="112727" y="121190"/>
                                                        <a:pt x="110783" y="120607"/>
                                                        <a:pt x="108905" y="120801"/>
                                                      </a:cubicBezTo>
                                                      <a:cubicBezTo>
                                                        <a:pt x="103916" y="121060"/>
                                                        <a:pt x="100353" y="125465"/>
                                                        <a:pt x="97373" y="129417"/>
                                                      </a:cubicBezTo>
                                                      <a:cubicBezTo>
                                                        <a:pt x="97373" y="129482"/>
                                                        <a:pt x="97243" y="129612"/>
                                                        <a:pt x="97179" y="129676"/>
                                                      </a:cubicBezTo>
                                                      <a:cubicBezTo>
                                                        <a:pt x="102880" y="132009"/>
                                                        <a:pt x="104694" y="141014"/>
                                                        <a:pt x="104564" y="147946"/>
                                                      </a:cubicBezTo>
                                                      <a:cubicBezTo>
                                                        <a:pt x="104305" y="164013"/>
                                                        <a:pt x="104046" y="180015"/>
                                                        <a:pt x="103787" y="196082"/>
                                                      </a:cubicBezTo>
                                                      <a:cubicBezTo>
                                                        <a:pt x="99835" y="194916"/>
                                                        <a:pt x="95753" y="197960"/>
                                                        <a:pt x="93745" y="201589"/>
                                                      </a:cubicBezTo>
                                                      <a:cubicBezTo>
                                                        <a:pt x="91736" y="205152"/>
                                                        <a:pt x="91024" y="209363"/>
                                                        <a:pt x="89145" y="212991"/>
                                                      </a:cubicBezTo>
                                                      <a:cubicBezTo>
                                                        <a:pt x="84157" y="222579"/>
                                                        <a:pt x="72495" y="226272"/>
                                                        <a:pt x="62000" y="228475"/>
                                                      </a:cubicBezTo>
                                                      <a:cubicBezTo>
                                                        <a:pt x="48654" y="231325"/>
                                                        <a:pt x="35114" y="233269"/>
                                                        <a:pt x="21574" y="234370"/>
                                                      </a:cubicBezTo>
                                                      <a:cubicBezTo>
                                                        <a:pt x="16974" y="234759"/>
                                                        <a:pt x="12245" y="235018"/>
                                                        <a:pt x="8033" y="236962"/>
                                                      </a:cubicBezTo>
                                                      <a:cubicBezTo>
                                                        <a:pt x="4664" y="238516"/>
                                                        <a:pt x="2073" y="240784"/>
                                                        <a:pt x="0" y="243570"/>
                                                      </a:cubicBezTo>
                                                      <a:cubicBezTo>
                                                        <a:pt x="1036" y="246809"/>
                                                        <a:pt x="648" y="250955"/>
                                                        <a:pt x="1231" y="254518"/>
                                                      </a:cubicBezTo>
                                                      <a:cubicBezTo>
                                                        <a:pt x="2332" y="261321"/>
                                                        <a:pt x="8487" y="267022"/>
                                                        <a:pt x="15354" y="267476"/>
                                                      </a:cubicBezTo>
                                                      <a:cubicBezTo>
                                                        <a:pt x="12892" y="270261"/>
                                                        <a:pt x="15937" y="274473"/>
                                                        <a:pt x="18982" y="276610"/>
                                                      </a:cubicBezTo>
                                                      <a:cubicBezTo>
                                                        <a:pt x="21962" y="278813"/>
                                                        <a:pt x="25590" y="282182"/>
                                                        <a:pt x="23906" y="285551"/>
                                                      </a:cubicBezTo>
                                                      <a:cubicBezTo>
                                                        <a:pt x="23452" y="286458"/>
                                                        <a:pt x="22610" y="287235"/>
                                                        <a:pt x="22286" y="288207"/>
                                                      </a:cubicBezTo>
                                                      <a:cubicBezTo>
                                                        <a:pt x="21574" y="290280"/>
                                                        <a:pt x="23388" y="292418"/>
                                                        <a:pt x="25396" y="293325"/>
                                                      </a:cubicBezTo>
                                                      <a:cubicBezTo>
                                                        <a:pt x="27404" y="294232"/>
                                                        <a:pt x="29737" y="294491"/>
                                                        <a:pt x="31551" y="295722"/>
                                                      </a:cubicBezTo>
                                                      <a:cubicBezTo>
                                                        <a:pt x="35373" y="298184"/>
                                                        <a:pt x="35891" y="303821"/>
                                                        <a:pt x="39519" y="306541"/>
                                                      </a:cubicBezTo>
                                                      <a:cubicBezTo>
                                                        <a:pt x="43925" y="309846"/>
                                                        <a:pt x="50533" y="307449"/>
                                                        <a:pt x="55521" y="309846"/>
                                                      </a:cubicBezTo>
                                                      <a:cubicBezTo>
                                                        <a:pt x="58631" y="311336"/>
                                                        <a:pt x="60380" y="314316"/>
                                                        <a:pt x="62000" y="317425"/>
                                                      </a:cubicBezTo>
                                                      <a:cubicBezTo>
                                                        <a:pt x="62454" y="315806"/>
                                                        <a:pt x="63036" y="314251"/>
                                                        <a:pt x="64202" y="313085"/>
                                                      </a:cubicBezTo>
                                                      <a:cubicBezTo>
                                                        <a:pt x="68284" y="308874"/>
                                                        <a:pt x="75281" y="311530"/>
                                                        <a:pt x="80529" y="314121"/>
                                                      </a:cubicBezTo>
                                                      <a:cubicBezTo>
                                                        <a:pt x="82537" y="315093"/>
                                                        <a:pt x="84675" y="316000"/>
                                                        <a:pt x="86748" y="316907"/>
                                                      </a:cubicBezTo>
                                                      <a:cubicBezTo>
                                                        <a:pt x="86877" y="316194"/>
                                                        <a:pt x="87072" y="315482"/>
                                                        <a:pt x="87331" y="314834"/>
                                                      </a:cubicBezTo>
                                                      <a:cubicBezTo>
                                                        <a:pt x="88757" y="310688"/>
                                                        <a:pt x="91736" y="307254"/>
                                                        <a:pt x="94198" y="303626"/>
                                                      </a:cubicBezTo>
                                                      <a:cubicBezTo>
                                                        <a:pt x="99057" y="296370"/>
                                                        <a:pt x="101908" y="287689"/>
                                                        <a:pt x="102297" y="278943"/>
                                                      </a:cubicBezTo>
                                                      <a:cubicBezTo>
                                                        <a:pt x="106961" y="278360"/>
                                                        <a:pt x="111496" y="276546"/>
                                                        <a:pt x="115318" y="273760"/>
                                                      </a:cubicBezTo>
                                                      <a:cubicBezTo>
                                                        <a:pt x="117327" y="272270"/>
                                                        <a:pt x="119206" y="270521"/>
                                                        <a:pt x="121538" y="269614"/>
                                                      </a:cubicBezTo>
                                                      <a:cubicBezTo>
                                                        <a:pt x="124000" y="268642"/>
                                                        <a:pt x="126721" y="268577"/>
                                                        <a:pt x="129312" y="268642"/>
                                                      </a:cubicBezTo>
                                                      <a:lnTo>
                                                        <a:pt x="150497" y="268642"/>
                                                      </a:lnTo>
                                                      <a:cubicBezTo>
                                                        <a:pt x="153736" y="268642"/>
                                                        <a:pt x="157235" y="268771"/>
                                                        <a:pt x="159891" y="270650"/>
                                                      </a:cubicBezTo>
                                                      <a:cubicBezTo>
                                                        <a:pt x="166111" y="275120"/>
                                                        <a:pt x="164361" y="287171"/>
                                                        <a:pt x="171617" y="289503"/>
                                                      </a:cubicBezTo>
                                                      <a:cubicBezTo>
                                                        <a:pt x="174857" y="290539"/>
                                                        <a:pt x="178290" y="288855"/>
                                                        <a:pt x="181400" y="287365"/>
                                                      </a:cubicBezTo>
                                                      <a:cubicBezTo>
                                                        <a:pt x="190664" y="282960"/>
                                                        <a:pt x="203816" y="281081"/>
                                                        <a:pt x="209258" y="289762"/>
                                                      </a:cubicBezTo>
                                                      <a:cubicBezTo>
                                                        <a:pt x="210618" y="291900"/>
                                                        <a:pt x="211331" y="294556"/>
                                                        <a:pt x="213339" y="296046"/>
                                                      </a:cubicBezTo>
                                                      <a:cubicBezTo>
                                                        <a:pt x="215218" y="297471"/>
                                                        <a:pt x="217810" y="297471"/>
                                                        <a:pt x="220207" y="297342"/>
                                                      </a:cubicBezTo>
                                                      <a:cubicBezTo>
                                                        <a:pt x="232775" y="296564"/>
                                                        <a:pt x="245149" y="292353"/>
                                                        <a:pt x="255515" y="285227"/>
                                                      </a:cubicBezTo>
                                                      <a:cubicBezTo>
                                                        <a:pt x="261151" y="281340"/>
                                                        <a:pt x="267241" y="276351"/>
                                                        <a:pt x="273979" y="277647"/>
                                                      </a:cubicBezTo>
                                                      <a:cubicBezTo>
                                                        <a:pt x="277348" y="278295"/>
                                                        <a:pt x="280198" y="280433"/>
                                                        <a:pt x="283243" y="282052"/>
                                                      </a:cubicBezTo>
                                                      <a:cubicBezTo>
                                                        <a:pt x="292961" y="287235"/>
                                                        <a:pt x="305529" y="286523"/>
                                                        <a:pt x="314599" y="280303"/>
                                                      </a:cubicBezTo>
                                                      <a:cubicBezTo>
                                                        <a:pt x="316673" y="278878"/>
                                                        <a:pt x="318551" y="277194"/>
                                                        <a:pt x="320884" y="276287"/>
                                                      </a:cubicBezTo>
                                                      <a:cubicBezTo>
                                                        <a:pt x="323864" y="275056"/>
                                                        <a:pt x="326909" y="275250"/>
                                                        <a:pt x="329889" y="276287"/>
                                                      </a:cubicBezTo>
                                                      <a:cubicBezTo>
                                                        <a:pt x="332221" y="266893"/>
                                                        <a:pt x="333517" y="257240"/>
                                                        <a:pt x="333646" y="247586"/>
                                                      </a:cubicBezTo>
                                                      <a:cubicBezTo>
                                                        <a:pt x="333646" y="245060"/>
                                                        <a:pt x="333646" y="242468"/>
                                                        <a:pt x="334813" y="24026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447" name="Freeform: Shape 44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948309B-885C-49BB-AAAA-34C181B3CAB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6808764" y="3338730"/>
                                                  <a:ext cx="530983" cy="53145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90363 w 530983"/>
                                                    <a:gd name="connsiteY0" fmla="*/ 374152 h 531451"/>
                                                    <a:gd name="connsiteX1" fmla="*/ 484792 w 530983"/>
                                                    <a:gd name="connsiteY1" fmla="*/ 371820 h 531451"/>
                                                    <a:gd name="connsiteX2" fmla="*/ 477860 w 530983"/>
                                                    <a:gd name="connsiteY2" fmla="*/ 362815 h 531451"/>
                                                    <a:gd name="connsiteX3" fmla="*/ 469696 w 530983"/>
                                                    <a:gd name="connsiteY3" fmla="*/ 308136 h 531451"/>
                                                    <a:gd name="connsiteX4" fmla="*/ 471057 w 530983"/>
                                                    <a:gd name="connsiteY4" fmla="*/ 280990 h 531451"/>
                                                    <a:gd name="connsiteX5" fmla="*/ 468012 w 530983"/>
                                                    <a:gd name="connsiteY5" fmla="*/ 272763 h 531451"/>
                                                    <a:gd name="connsiteX6" fmla="*/ 471316 w 530983"/>
                                                    <a:gd name="connsiteY6" fmla="*/ 236871 h 531451"/>
                                                    <a:gd name="connsiteX7" fmla="*/ 462959 w 530983"/>
                                                    <a:gd name="connsiteY7" fmla="*/ 227801 h 531451"/>
                                                    <a:gd name="connsiteX8" fmla="*/ 458424 w 530983"/>
                                                    <a:gd name="connsiteY8" fmla="*/ 210568 h 531451"/>
                                                    <a:gd name="connsiteX9" fmla="*/ 440089 w 530983"/>
                                                    <a:gd name="connsiteY9" fmla="*/ 145847 h 531451"/>
                                                    <a:gd name="connsiteX10" fmla="*/ 431473 w 530983"/>
                                                    <a:gd name="connsiteY10" fmla="*/ 137490 h 531451"/>
                                                    <a:gd name="connsiteX11" fmla="*/ 428299 w 530983"/>
                                                    <a:gd name="connsiteY11" fmla="*/ 126282 h 531451"/>
                                                    <a:gd name="connsiteX12" fmla="*/ 410418 w 530983"/>
                                                    <a:gd name="connsiteY12" fmla="*/ 111058 h 531451"/>
                                                    <a:gd name="connsiteX13" fmla="*/ 411389 w 530983"/>
                                                    <a:gd name="connsiteY13" fmla="*/ 86698 h 531451"/>
                                                    <a:gd name="connsiteX14" fmla="*/ 414953 w 530983"/>
                                                    <a:gd name="connsiteY14" fmla="*/ 79442 h 531451"/>
                                                    <a:gd name="connsiteX15" fmla="*/ 433093 w 530983"/>
                                                    <a:gd name="connsiteY15" fmla="*/ 63958 h 531451"/>
                                                    <a:gd name="connsiteX16" fmla="*/ 434712 w 530983"/>
                                                    <a:gd name="connsiteY16" fmla="*/ 39340 h 531451"/>
                                                    <a:gd name="connsiteX17" fmla="*/ 427197 w 530983"/>
                                                    <a:gd name="connsiteY17" fmla="*/ 14916 h 531451"/>
                                                    <a:gd name="connsiteX18" fmla="*/ 428363 w 530983"/>
                                                    <a:gd name="connsiteY18" fmla="*/ 1375 h 531451"/>
                                                    <a:gd name="connsiteX19" fmla="*/ 410871 w 530983"/>
                                                    <a:gd name="connsiteY19" fmla="*/ 403 h 531451"/>
                                                    <a:gd name="connsiteX20" fmla="*/ 369862 w 530983"/>
                                                    <a:gd name="connsiteY20" fmla="*/ 7465 h 531451"/>
                                                    <a:gd name="connsiteX21" fmla="*/ 362023 w 530983"/>
                                                    <a:gd name="connsiteY21" fmla="*/ 12842 h 531451"/>
                                                    <a:gd name="connsiteX22" fmla="*/ 334100 w 530983"/>
                                                    <a:gd name="connsiteY22" fmla="*/ 6364 h 531451"/>
                                                    <a:gd name="connsiteX23" fmla="*/ 280263 w 530983"/>
                                                    <a:gd name="connsiteY23" fmla="*/ 15563 h 531451"/>
                                                    <a:gd name="connsiteX24" fmla="*/ 251563 w 530983"/>
                                                    <a:gd name="connsiteY24" fmla="*/ 14980 h 531451"/>
                                                    <a:gd name="connsiteX25" fmla="*/ 232840 w 530983"/>
                                                    <a:gd name="connsiteY25" fmla="*/ 33055 h 531451"/>
                                                    <a:gd name="connsiteX26" fmla="*/ 176477 w 530983"/>
                                                    <a:gd name="connsiteY26" fmla="*/ 67003 h 531451"/>
                                                    <a:gd name="connsiteX27" fmla="*/ 180882 w 530983"/>
                                                    <a:gd name="connsiteY27" fmla="*/ 81580 h 531451"/>
                                                    <a:gd name="connsiteX28" fmla="*/ 184964 w 530983"/>
                                                    <a:gd name="connsiteY28" fmla="*/ 86698 h 531451"/>
                                                    <a:gd name="connsiteX29" fmla="*/ 179521 w 530983"/>
                                                    <a:gd name="connsiteY29" fmla="*/ 103024 h 531451"/>
                                                    <a:gd name="connsiteX30" fmla="*/ 198050 w 530983"/>
                                                    <a:gd name="connsiteY30" fmla="*/ 143645 h 531451"/>
                                                    <a:gd name="connsiteX31" fmla="*/ 180364 w 530983"/>
                                                    <a:gd name="connsiteY31" fmla="*/ 152002 h 531451"/>
                                                    <a:gd name="connsiteX32" fmla="*/ 159502 w 530983"/>
                                                    <a:gd name="connsiteY32" fmla="*/ 149540 h 531451"/>
                                                    <a:gd name="connsiteX33" fmla="*/ 143630 w 530983"/>
                                                    <a:gd name="connsiteY33" fmla="*/ 154917 h 531451"/>
                                                    <a:gd name="connsiteX34" fmla="*/ 127110 w 530983"/>
                                                    <a:gd name="connsiteY34" fmla="*/ 171632 h 531451"/>
                                                    <a:gd name="connsiteX35" fmla="*/ 124389 w 530983"/>
                                                    <a:gd name="connsiteY35" fmla="*/ 189643 h 531451"/>
                                                    <a:gd name="connsiteX36" fmla="*/ 110524 w 530983"/>
                                                    <a:gd name="connsiteY36" fmla="*/ 186986 h 531451"/>
                                                    <a:gd name="connsiteX37" fmla="*/ 94328 w 530983"/>
                                                    <a:gd name="connsiteY37" fmla="*/ 206746 h 531451"/>
                                                    <a:gd name="connsiteX38" fmla="*/ 51181 w 530983"/>
                                                    <a:gd name="connsiteY38" fmla="*/ 223331 h 531451"/>
                                                    <a:gd name="connsiteX39" fmla="*/ 46257 w 530983"/>
                                                    <a:gd name="connsiteY39" fmla="*/ 227672 h 531451"/>
                                                    <a:gd name="connsiteX40" fmla="*/ 38029 w 530983"/>
                                                    <a:gd name="connsiteY40" fmla="*/ 229032 h 531451"/>
                                                    <a:gd name="connsiteX41" fmla="*/ 25137 w 530983"/>
                                                    <a:gd name="connsiteY41" fmla="*/ 238232 h 531451"/>
                                                    <a:gd name="connsiteX42" fmla="*/ 10625 w 530983"/>
                                                    <a:gd name="connsiteY42" fmla="*/ 241018 h 531451"/>
                                                    <a:gd name="connsiteX43" fmla="*/ 2462 w 530983"/>
                                                    <a:gd name="connsiteY43" fmla="*/ 256566 h 531451"/>
                                                    <a:gd name="connsiteX44" fmla="*/ 195 w 530983"/>
                                                    <a:gd name="connsiteY44" fmla="*/ 268616 h 531451"/>
                                                    <a:gd name="connsiteX45" fmla="*/ 0 w 530983"/>
                                                    <a:gd name="connsiteY45" fmla="*/ 280731 h 531451"/>
                                                    <a:gd name="connsiteX46" fmla="*/ 1231 w 530983"/>
                                                    <a:gd name="connsiteY46" fmla="*/ 277945 h 531451"/>
                                                    <a:gd name="connsiteX47" fmla="*/ 2527 w 530983"/>
                                                    <a:gd name="connsiteY47" fmla="*/ 282675 h 531451"/>
                                                    <a:gd name="connsiteX48" fmla="*/ 4405 w 530983"/>
                                                    <a:gd name="connsiteY48" fmla="*/ 289996 h 531451"/>
                                                    <a:gd name="connsiteX49" fmla="*/ 8681 w 530983"/>
                                                    <a:gd name="connsiteY49" fmla="*/ 294077 h 531451"/>
                                                    <a:gd name="connsiteX50" fmla="*/ 13735 w 530983"/>
                                                    <a:gd name="connsiteY50" fmla="*/ 302435 h 531451"/>
                                                    <a:gd name="connsiteX51" fmla="*/ 33883 w 530983"/>
                                                    <a:gd name="connsiteY51" fmla="*/ 304637 h 531451"/>
                                                    <a:gd name="connsiteX52" fmla="*/ 46127 w 530983"/>
                                                    <a:gd name="connsiteY52" fmla="*/ 323036 h 531451"/>
                                                    <a:gd name="connsiteX53" fmla="*/ 60640 w 530983"/>
                                                    <a:gd name="connsiteY53" fmla="*/ 328802 h 531451"/>
                                                    <a:gd name="connsiteX54" fmla="*/ 78909 w 530983"/>
                                                    <a:gd name="connsiteY54" fmla="*/ 355235 h 531451"/>
                                                    <a:gd name="connsiteX55" fmla="*/ 85452 w 530983"/>
                                                    <a:gd name="connsiteY55" fmla="*/ 354587 h 531451"/>
                                                    <a:gd name="connsiteX56" fmla="*/ 106573 w 530983"/>
                                                    <a:gd name="connsiteY56" fmla="*/ 364111 h 531451"/>
                                                    <a:gd name="connsiteX57" fmla="*/ 152765 w 530983"/>
                                                    <a:gd name="connsiteY57" fmla="*/ 396827 h 531451"/>
                                                    <a:gd name="connsiteX58" fmla="*/ 165009 w 530983"/>
                                                    <a:gd name="connsiteY58" fmla="*/ 404925 h 531451"/>
                                                    <a:gd name="connsiteX59" fmla="*/ 174468 w 530983"/>
                                                    <a:gd name="connsiteY59" fmla="*/ 410173 h 531451"/>
                                                    <a:gd name="connsiteX60" fmla="*/ 187425 w 530983"/>
                                                    <a:gd name="connsiteY60" fmla="*/ 420021 h 531451"/>
                                                    <a:gd name="connsiteX61" fmla="*/ 220401 w 530983"/>
                                                    <a:gd name="connsiteY61" fmla="*/ 447749 h 531451"/>
                                                    <a:gd name="connsiteX62" fmla="*/ 249490 w 530983"/>
                                                    <a:gd name="connsiteY62" fmla="*/ 472173 h 531451"/>
                                                    <a:gd name="connsiteX63" fmla="*/ 259078 w 530983"/>
                                                    <a:gd name="connsiteY63" fmla="*/ 480206 h 531451"/>
                                                    <a:gd name="connsiteX64" fmla="*/ 280976 w 530983"/>
                                                    <a:gd name="connsiteY64" fmla="*/ 500484 h 531451"/>
                                                    <a:gd name="connsiteX65" fmla="*/ 288556 w 530983"/>
                                                    <a:gd name="connsiteY65" fmla="*/ 502234 h 531451"/>
                                                    <a:gd name="connsiteX66" fmla="*/ 303456 w 530983"/>
                                                    <a:gd name="connsiteY66" fmla="*/ 522447 h 531451"/>
                                                    <a:gd name="connsiteX67" fmla="*/ 308704 w 530983"/>
                                                    <a:gd name="connsiteY67" fmla="*/ 524326 h 531451"/>
                                                    <a:gd name="connsiteX68" fmla="*/ 310389 w 530983"/>
                                                    <a:gd name="connsiteY68" fmla="*/ 529897 h 531451"/>
                                                    <a:gd name="connsiteX69" fmla="*/ 319199 w 530983"/>
                                                    <a:gd name="connsiteY69" fmla="*/ 530869 h 531451"/>
                                                    <a:gd name="connsiteX70" fmla="*/ 322115 w 530983"/>
                                                    <a:gd name="connsiteY70" fmla="*/ 531452 h 531451"/>
                                                    <a:gd name="connsiteX71" fmla="*/ 322309 w 530983"/>
                                                    <a:gd name="connsiteY71" fmla="*/ 531193 h 531451"/>
                                                    <a:gd name="connsiteX72" fmla="*/ 333841 w 530983"/>
                                                    <a:gd name="connsiteY72" fmla="*/ 522576 h 531451"/>
                                                    <a:gd name="connsiteX73" fmla="*/ 339542 w 530983"/>
                                                    <a:gd name="connsiteY73" fmla="*/ 522576 h 531451"/>
                                                    <a:gd name="connsiteX74" fmla="*/ 347122 w 530983"/>
                                                    <a:gd name="connsiteY74" fmla="*/ 511628 h 531451"/>
                                                    <a:gd name="connsiteX75" fmla="*/ 374332 w 530983"/>
                                                    <a:gd name="connsiteY75" fmla="*/ 506315 h 531451"/>
                                                    <a:gd name="connsiteX76" fmla="*/ 382430 w 530983"/>
                                                    <a:gd name="connsiteY76" fmla="*/ 496597 h 531451"/>
                                                    <a:gd name="connsiteX77" fmla="*/ 391889 w 530983"/>
                                                    <a:gd name="connsiteY77" fmla="*/ 492322 h 531451"/>
                                                    <a:gd name="connsiteX78" fmla="*/ 394999 w 530983"/>
                                                    <a:gd name="connsiteY78" fmla="*/ 486037 h 531451"/>
                                                    <a:gd name="connsiteX79" fmla="*/ 406142 w 530983"/>
                                                    <a:gd name="connsiteY79" fmla="*/ 478198 h 531451"/>
                                                    <a:gd name="connsiteX80" fmla="*/ 410029 w 530983"/>
                                                    <a:gd name="connsiteY80" fmla="*/ 466796 h 531451"/>
                                                    <a:gd name="connsiteX81" fmla="*/ 434000 w 530983"/>
                                                    <a:gd name="connsiteY81" fmla="*/ 457531 h 531451"/>
                                                    <a:gd name="connsiteX82" fmla="*/ 437692 w 530983"/>
                                                    <a:gd name="connsiteY82" fmla="*/ 452478 h 531451"/>
                                                    <a:gd name="connsiteX83" fmla="*/ 442292 w 530983"/>
                                                    <a:gd name="connsiteY83" fmla="*/ 451053 h 531451"/>
                                                    <a:gd name="connsiteX84" fmla="*/ 468790 w 530983"/>
                                                    <a:gd name="connsiteY84" fmla="*/ 437513 h 531451"/>
                                                    <a:gd name="connsiteX85" fmla="*/ 475074 w 530983"/>
                                                    <a:gd name="connsiteY85" fmla="*/ 431293 h 531451"/>
                                                    <a:gd name="connsiteX86" fmla="*/ 483690 w 530983"/>
                                                    <a:gd name="connsiteY86" fmla="*/ 425203 h 531451"/>
                                                    <a:gd name="connsiteX87" fmla="*/ 512585 w 530983"/>
                                                    <a:gd name="connsiteY87" fmla="*/ 407064 h 531451"/>
                                                    <a:gd name="connsiteX88" fmla="*/ 520165 w 530983"/>
                                                    <a:gd name="connsiteY88" fmla="*/ 403176 h 531451"/>
                                                    <a:gd name="connsiteX89" fmla="*/ 528911 w 530983"/>
                                                    <a:gd name="connsiteY89" fmla="*/ 402010 h 531451"/>
                                                    <a:gd name="connsiteX90" fmla="*/ 530984 w 530983"/>
                                                    <a:gd name="connsiteY90" fmla="*/ 401945 h 531451"/>
                                                    <a:gd name="connsiteX91" fmla="*/ 524570 w 530983"/>
                                                    <a:gd name="connsiteY91" fmla="*/ 392033 h 531451"/>
                                                    <a:gd name="connsiteX92" fmla="*/ 490493 w 530983"/>
                                                    <a:gd name="connsiteY92" fmla="*/ 373828 h 53145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530983" h="531451">
                                                      <a:moveTo>
                                                        <a:pt x="490363" y="374152"/>
                                                      </a:moveTo>
                                                      <a:cubicBezTo>
                                                        <a:pt x="488420" y="373504"/>
                                                        <a:pt x="486476" y="372921"/>
                                                        <a:pt x="484792" y="371820"/>
                                                      </a:cubicBezTo>
                                                      <a:cubicBezTo>
                                                        <a:pt x="481552" y="369747"/>
                                                        <a:pt x="479544" y="366248"/>
                                                        <a:pt x="477860" y="362815"/>
                                                      </a:cubicBezTo>
                                                      <a:cubicBezTo>
                                                        <a:pt x="469632" y="345970"/>
                                                        <a:pt x="466717" y="326600"/>
                                                        <a:pt x="469696" y="308136"/>
                                                      </a:cubicBezTo>
                                                      <a:cubicBezTo>
                                                        <a:pt x="471122" y="299066"/>
                                                        <a:pt x="473908" y="289672"/>
                                                        <a:pt x="471057" y="280990"/>
                                                      </a:cubicBezTo>
                                                      <a:cubicBezTo>
                                                        <a:pt x="470150" y="278205"/>
                                                        <a:pt x="468660" y="275613"/>
                                                        <a:pt x="468012" y="272763"/>
                                                      </a:cubicBezTo>
                                                      <a:cubicBezTo>
                                                        <a:pt x="465291" y="260713"/>
                                                        <a:pt x="477536" y="247496"/>
                                                        <a:pt x="471316" y="236871"/>
                                                      </a:cubicBezTo>
                                                      <a:cubicBezTo>
                                                        <a:pt x="469243" y="233308"/>
                                                        <a:pt x="465486" y="231105"/>
                                                        <a:pt x="462959" y="227801"/>
                                                      </a:cubicBezTo>
                                                      <a:cubicBezTo>
                                                        <a:pt x="459266" y="223007"/>
                                                        <a:pt x="458683" y="216594"/>
                                                        <a:pt x="458424" y="210568"/>
                                                      </a:cubicBezTo>
                                                      <a:cubicBezTo>
                                                        <a:pt x="457387" y="187440"/>
                                                        <a:pt x="457970" y="160554"/>
                                                        <a:pt x="440089" y="145847"/>
                                                      </a:cubicBezTo>
                                                      <a:cubicBezTo>
                                                        <a:pt x="436980" y="143256"/>
                                                        <a:pt x="433287" y="141118"/>
                                                        <a:pt x="431473" y="137490"/>
                                                      </a:cubicBezTo>
                                                      <a:cubicBezTo>
                                                        <a:pt x="429724" y="133992"/>
                                                        <a:pt x="429983" y="129781"/>
                                                        <a:pt x="428299" y="126282"/>
                                                      </a:cubicBezTo>
                                                      <a:cubicBezTo>
                                                        <a:pt x="424865" y="119156"/>
                                                        <a:pt x="415017" y="117536"/>
                                                        <a:pt x="410418" y="111058"/>
                                                      </a:cubicBezTo>
                                                      <a:cubicBezTo>
                                                        <a:pt x="405494" y="104125"/>
                                                        <a:pt x="408280" y="94602"/>
                                                        <a:pt x="411389" y="86698"/>
                                                      </a:cubicBezTo>
                                                      <a:cubicBezTo>
                                                        <a:pt x="412361" y="84172"/>
                                                        <a:pt x="413398" y="81645"/>
                                                        <a:pt x="414953" y="79442"/>
                                                      </a:cubicBezTo>
                                                      <a:cubicBezTo>
                                                        <a:pt x="419617" y="72964"/>
                                                        <a:pt x="428363" y="70437"/>
                                                        <a:pt x="433093" y="63958"/>
                                                      </a:cubicBezTo>
                                                      <a:cubicBezTo>
                                                        <a:pt x="438146" y="57091"/>
                                                        <a:pt x="437304" y="47503"/>
                                                        <a:pt x="434712" y="39340"/>
                                                      </a:cubicBezTo>
                                                      <a:cubicBezTo>
                                                        <a:pt x="432121" y="31177"/>
                                                        <a:pt x="428039" y="23402"/>
                                                        <a:pt x="427197" y="14916"/>
                                                      </a:cubicBezTo>
                                                      <a:cubicBezTo>
                                                        <a:pt x="426743" y="10316"/>
                                                        <a:pt x="427197" y="5781"/>
                                                        <a:pt x="428363" y="1375"/>
                                                      </a:cubicBezTo>
                                                      <a:cubicBezTo>
                                                        <a:pt x="422533" y="1051"/>
                                                        <a:pt x="416702" y="727"/>
                                                        <a:pt x="410871" y="403"/>
                                                      </a:cubicBezTo>
                                                      <a:cubicBezTo>
                                                        <a:pt x="396748" y="-374"/>
                                                        <a:pt x="381329" y="-892"/>
                                                        <a:pt x="369862" y="7465"/>
                                                      </a:cubicBezTo>
                                                      <a:cubicBezTo>
                                                        <a:pt x="367270" y="9344"/>
                                                        <a:pt x="364938" y="11611"/>
                                                        <a:pt x="362023" y="12842"/>
                                                      </a:cubicBezTo>
                                                      <a:cubicBezTo>
                                                        <a:pt x="352953" y="16600"/>
                                                        <a:pt x="343559" y="9020"/>
                                                        <a:pt x="334100" y="6364"/>
                                                      </a:cubicBezTo>
                                                      <a:cubicBezTo>
                                                        <a:pt x="316349" y="1375"/>
                                                        <a:pt x="298662" y="14268"/>
                                                        <a:pt x="280263" y="15563"/>
                                                      </a:cubicBezTo>
                                                      <a:cubicBezTo>
                                                        <a:pt x="270740" y="16211"/>
                                                        <a:pt x="261087" y="13749"/>
                                                        <a:pt x="251563" y="14980"/>
                                                      </a:cubicBezTo>
                                                      <a:cubicBezTo>
                                                        <a:pt x="242104" y="16276"/>
                                                        <a:pt x="232062" y="23467"/>
                                                        <a:pt x="232840" y="33055"/>
                                                      </a:cubicBezTo>
                                                      <a:cubicBezTo>
                                                        <a:pt x="210489" y="36100"/>
                                                        <a:pt x="189628" y="48734"/>
                                                        <a:pt x="176477" y="67003"/>
                                                      </a:cubicBezTo>
                                                      <a:cubicBezTo>
                                                        <a:pt x="176477" y="72445"/>
                                                        <a:pt x="177383" y="77499"/>
                                                        <a:pt x="180882" y="81580"/>
                                                      </a:cubicBezTo>
                                                      <a:cubicBezTo>
                                                        <a:pt x="182307" y="83264"/>
                                                        <a:pt x="184121" y="84690"/>
                                                        <a:pt x="184964" y="86698"/>
                                                      </a:cubicBezTo>
                                                      <a:cubicBezTo>
                                                        <a:pt x="187166" y="92205"/>
                                                        <a:pt x="181076" y="97323"/>
                                                        <a:pt x="179521" y="103024"/>
                                                      </a:cubicBezTo>
                                                      <a:cubicBezTo>
                                                        <a:pt x="175440" y="118184"/>
                                                        <a:pt x="203621" y="128938"/>
                                                        <a:pt x="198050" y="143645"/>
                                                      </a:cubicBezTo>
                                                      <a:cubicBezTo>
                                                        <a:pt x="195588" y="150188"/>
                                                        <a:pt x="187361" y="152585"/>
                                                        <a:pt x="180364" y="152002"/>
                                                      </a:cubicBezTo>
                                                      <a:cubicBezTo>
                                                        <a:pt x="173367" y="151484"/>
                                                        <a:pt x="166499" y="148957"/>
                                                        <a:pt x="159502" y="149540"/>
                                                      </a:cubicBezTo>
                                                      <a:cubicBezTo>
                                                        <a:pt x="153866" y="150058"/>
                                                        <a:pt x="148683" y="152520"/>
                                                        <a:pt x="143630" y="154917"/>
                                                      </a:cubicBezTo>
                                                      <a:cubicBezTo>
                                                        <a:pt x="136180" y="158481"/>
                                                        <a:pt x="127758" y="163469"/>
                                                        <a:pt x="127110" y="171632"/>
                                                      </a:cubicBezTo>
                                                      <a:cubicBezTo>
                                                        <a:pt x="126592" y="178111"/>
                                                        <a:pt x="130284" y="186986"/>
                                                        <a:pt x="124389" y="189643"/>
                                                      </a:cubicBezTo>
                                                      <a:cubicBezTo>
                                                        <a:pt x="119983" y="191651"/>
                                                        <a:pt x="115319" y="187116"/>
                                                        <a:pt x="110524" y="186986"/>
                                                      </a:cubicBezTo>
                                                      <a:cubicBezTo>
                                                        <a:pt x="101520" y="186792"/>
                                                        <a:pt x="99900" y="199684"/>
                                                        <a:pt x="94328" y="206746"/>
                                                      </a:cubicBezTo>
                                                      <a:cubicBezTo>
                                                        <a:pt x="84610" y="219185"/>
                                                        <a:pt x="62583" y="212447"/>
                                                        <a:pt x="51181" y="223331"/>
                                                      </a:cubicBezTo>
                                                      <a:cubicBezTo>
                                                        <a:pt x="49626" y="224821"/>
                                                        <a:pt x="48265" y="226700"/>
                                                        <a:pt x="46257" y="227672"/>
                                                      </a:cubicBezTo>
                                                      <a:cubicBezTo>
                                                        <a:pt x="43730" y="228903"/>
                                                        <a:pt x="40750" y="228449"/>
                                                        <a:pt x="38029" y="229032"/>
                                                      </a:cubicBezTo>
                                                      <a:cubicBezTo>
                                                        <a:pt x="32782" y="230134"/>
                                                        <a:pt x="29218" y="234733"/>
                                                        <a:pt x="25137" y="238232"/>
                                                      </a:cubicBezTo>
                                                      <a:cubicBezTo>
                                                        <a:pt x="21120" y="241730"/>
                                                        <a:pt x="14836" y="244322"/>
                                                        <a:pt x="10625" y="241018"/>
                                                      </a:cubicBezTo>
                                                      <a:cubicBezTo>
                                                        <a:pt x="13929" y="246395"/>
                                                        <a:pt x="5831" y="251254"/>
                                                        <a:pt x="2462" y="256566"/>
                                                      </a:cubicBezTo>
                                                      <a:cubicBezTo>
                                                        <a:pt x="259" y="260065"/>
                                                        <a:pt x="130" y="264470"/>
                                                        <a:pt x="195" y="268616"/>
                                                      </a:cubicBezTo>
                                                      <a:cubicBezTo>
                                                        <a:pt x="195" y="272568"/>
                                                        <a:pt x="195" y="276650"/>
                                                        <a:pt x="0" y="280731"/>
                                                      </a:cubicBezTo>
                                                      <a:cubicBezTo>
                                                        <a:pt x="389" y="279824"/>
                                                        <a:pt x="842" y="278853"/>
                                                        <a:pt x="1231" y="277945"/>
                                                      </a:cubicBezTo>
                                                      <a:cubicBezTo>
                                                        <a:pt x="1749" y="279500"/>
                                                        <a:pt x="2138" y="281055"/>
                                                        <a:pt x="2527" y="282675"/>
                                                      </a:cubicBezTo>
                                                      <a:cubicBezTo>
                                                        <a:pt x="3175" y="285137"/>
                                                        <a:pt x="3823" y="287534"/>
                                                        <a:pt x="4405" y="289996"/>
                                                      </a:cubicBezTo>
                                                      <a:cubicBezTo>
                                                        <a:pt x="6155" y="290708"/>
                                                        <a:pt x="7710" y="292328"/>
                                                        <a:pt x="8681" y="294077"/>
                                                      </a:cubicBezTo>
                                                      <a:cubicBezTo>
                                                        <a:pt x="10236" y="296928"/>
                                                        <a:pt x="11143" y="300426"/>
                                                        <a:pt x="13735" y="302435"/>
                                                      </a:cubicBezTo>
                                                      <a:cubicBezTo>
                                                        <a:pt x="19177" y="306710"/>
                                                        <a:pt x="27664" y="301722"/>
                                                        <a:pt x="33883" y="304637"/>
                                                      </a:cubicBezTo>
                                                      <a:cubicBezTo>
                                                        <a:pt x="40686" y="307877"/>
                                                        <a:pt x="40556" y="317983"/>
                                                        <a:pt x="46127" y="323036"/>
                                                      </a:cubicBezTo>
                                                      <a:cubicBezTo>
                                                        <a:pt x="50015" y="326600"/>
                                                        <a:pt x="55781" y="326859"/>
                                                        <a:pt x="60640" y="328802"/>
                                                      </a:cubicBezTo>
                                                      <a:cubicBezTo>
                                                        <a:pt x="71070" y="332949"/>
                                                        <a:pt x="76512" y="344027"/>
                                                        <a:pt x="78909" y="355235"/>
                                                      </a:cubicBezTo>
                                                      <a:cubicBezTo>
                                                        <a:pt x="81112" y="354846"/>
                                                        <a:pt x="83250" y="354522"/>
                                                        <a:pt x="85452" y="354587"/>
                                                      </a:cubicBezTo>
                                                      <a:cubicBezTo>
                                                        <a:pt x="93292" y="354846"/>
                                                        <a:pt x="100159" y="359575"/>
                                                        <a:pt x="106573" y="364111"/>
                                                      </a:cubicBezTo>
                                                      <a:cubicBezTo>
                                                        <a:pt x="121992" y="374995"/>
                                                        <a:pt x="137411" y="385943"/>
                                                        <a:pt x="152765" y="396827"/>
                                                      </a:cubicBezTo>
                                                      <a:cubicBezTo>
                                                        <a:pt x="156782" y="399678"/>
                                                        <a:pt x="160733" y="402464"/>
                                                        <a:pt x="165009" y="404925"/>
                                                      </a:cubicBezTo>
                                                      <a:cubicBezTo>
                                                        <a:pt x="168119" y="406739"/>
                                                        <a:pt x="171358" y="408294"/>
                                                        <a:pt x="174468" y="410173"/>
                                                      </a:cubicBezTo>
                                                      <a:cubicBezTo>
                                                        <a:pt x="179068" y="413024"/>
                                                        <a:pt x="183279" y="416522"/>
                                                        <a:pt x="187425" y="420021"/>
                                                      </a:cubicBezTo>
                                                      <a:cubicBezTo>
                                                        <a:pt x="198439" y="429285"/>
                                                        <a:pt x="209387" y="438485"/>
                                                        <a:pt x="220401" y="447749"/>
                                                      </a:cubicBezTo>
                                                      <a:cubicBezTo>
                                                        <a:pt x="230119" y="455912"/>
                                                        <a:pt x="239772" y="464010"/>
                                                        <a:pt x="249490" y="472173"/>
                                                      </a:cubicBezTo>
                                                      <a:cubicBezTo>
                                                        <a:pt x="252664" y="474829"/>
                                                        <a:pt x="255904" y="477550"/>
                                                        <a:pt x="259078" y="480206"/>
                                                      </a:cubicBezTo>
                                                      <a:cubicBezTo>
                                                        <a:pt x="261605" y="490443"/>
                                                        <a:pt x="270610" y="498735"/>
                                                        <a:pt x="280976" y="500484"/>
                                                      </a:cubicBezTo>
                                                      <a:cubicBezTo>
                                                        <a:pt x="283567" y="500938"/>
                                                        <a:pt x="286288" y="501003"/>
                                                        <a:pt x="288556" y="502234"/>
                                                      </a:cubicBezTo>
                                                      <a:cubicBezTo>
                                                        <a:pt x="296201" y="506315"/>
                                                        <a:pt x="295099" y="520179"/>
                                                        <a:pt x="303456" y="522447"/>
                                                      </a:cubicBezTo>
                                                      <a:cubicBezTo>
                                                        <a:pt x="305270" y="522965"/>
                                                        <a:pt x="307538" y="522836"/>
                                                        <a:pt x="308704" y="524326"/>
                                                      </a:cubicBezTo>
                                                      <a:cubicBezTo>
                                                        <a:pt x="309935" y="525880"/>
                                                        <a:pt x="309287" y="528278"/>
                                                        <a:pt x="310389" y="529897"/>
                                                      </a:cubicBezTo>
                                                      <a:cubicBezTo>
                                                        <a:pt x="312138" y="532489"/>
                                                        <a:pt x="316090" y="530869"/>
                                                        <a:pt x="319199" y="530869"/>
                                                      </a:cubicBezTo>
                                                      <a:cubicBezTo>
                                                        <a:pt x="320236" y="530869"/>
                                                        <a:pt x="321208" y="531063"/>
                                                        <a:pt x="322115" y="531452"/>
                                                      </a:cubicBezTo>
                                                      <a:cubicBezTo>
                                                        <a:pt x="322115" y="531387"/>
                                                        <a:pt x="322244" y="531258"/>
                                                        <a:pt x="322309" y="531193"/>
                                                      </a:cubicBezTo>
                                                      <a:cubicBezTo>
                                                        <a:pt x="325289" y="527176"/>
                                                        <a:pt x="328852" y="522836"/>
                                                        <a:pt x="333841" y="522576"/>
                                                      </a:cubicBezTo>
                                                      <a:cubicBezTo>
                                                        <a:pt x="335720" y="522447"/>
                                                        <a:pt x="337663" y="522965"/>
                                                        <a:pt x="339542" y="522576"/>
                                                      </a:cubicBezTo>
                                                      <a:cubicBezTo>
                                                        <a:pt x="344207" y="521669"/>
                                                        <a:pt x="346086" y="516227"/>
                                                        <a:pt x="347122" y="511628"/>
                                                      </a:cubicBezTo>
                                                      <a:cubicBezTo>
                                                        <a:pt x="355868" y="516681"/>
                                                        <a:pt x="368112" y="514284"/>
                                                        <a:pt x="374332" y="506315"/>
                                                      </a:cubicBezTo>
                                                      <a:cubicBezTo>
                                                        <a:pt x="376923" y="502946"/>
                                                        <a:pt x="378673" y="498670"/>
                                                        <a:pt x="382430" y="496597"/>
                                                      </a:cubicBezTo>
                                                      <a:cubicBezTo>
                                                        <a:pt x="385475" y="494913"/>
                                                        <a:pt x="389557" y="494913"/>
                                                        <a:pt x="391889" y="492322"/>
                                                      </a:cubicBezTo>
                                                      <a:cubicBezTo>
                                                        <a:pt x="393444" y="490572"/>
                                                        <a:pt x="393833" y="488046"/>
                                                        <a:pt x="394999" y="486037"/>
                                                      </a:cubicBezTo>
                                                      <a:cubicBezTo>
                                                        <a:pt x="397331" y="482085"/>
                                                        <a:pt x="402255" y="480660"/>
                                                        <a:pt x="406142" y="478198"/>
                                                      </a:cubicBezTo>
                                                      <a:cubicBezTo>
                                                        <a:pt x="410029" y="475736"/>
                                                        <a:pt x="413139" y="470165"/>
                                                        <a:pt x="410029" y="466796"/>
                                                      </a:cubicBezTo>
                                                      <a:cubicBezTo>
                                                        <a:pt x="418905" y="466278"/>
                                                        <a:pt x="429141" y="465047"/>
                                                        <a:pt x="434000" y="457531"/>
                                                      </a:cubicBezTo>
                                                      <a:cubicBezTo>
                                                        <a:pt x="435166" y="455782"/>
                                                        <a:pt x="435943" y="453709"/>
                                                        <a:pt x="437692" y="452478"/>
                                                      </a:cubicBezTo>
                                                      <a:cubicBezTo>
                                                        <a:pt x="438988" y="451571"/>
                                                        <a:pt x="440673" y="451312"/>
                                                        <a:pt x="442292" y="451053"/>
                                                      </a:cubicBezTo>
                                                      <a:cubicBezTo>
                                                        <a:pt x="452205" y="449304"/>
                                                        <a:pt x="461534" y="444510"/>
                                                        <a:pt x="468790" y="437513"/>
                                                      </a:cubicBezTo>
                                                      <a:cubicBezTo>
                                                        <a:pt x="470927" y="435504"/>
                                                        <a:pt x="472806" y="433237"/>
                                                        <a:pt x="475074" y="431293"/>
                                                      </a:cubicBezTo>
                                                      <a:cubicBezTo>
                                                        <a:pt x="477730" y="428961"/>
                                                        <a:pt x="480710" y="427082"/>
                                                        <a:pt x="483690" y="425203"/>
                                                      </a:cubicBezTo>
                                                      <a:cubicBezTo>
                                                        <a:pt x="493343" y="419178"/>
                                                        <a:pt x="502932" y="413153"/>
                                                        <a:pt x="512585" y="407064"/>
                                                      </a:cubicBezTo>
                                                      <a:cubicBezTo>
                                                        <a:pt x="514982" y="405573"/>
                                                        <a:pt x="517443" y="404019"/>
                                                        <a:pt x="520165" y="403176"/>
                                                      </a:cubicBezTo>
                                                      <a:cubicBezTo>
                                                        <a:pt x="523015" y="402269"/>
                                                        <a:pt x="525995" y="402140"/>
                                                        <a:pt x="528911" y="402010"/>
                                                      </a:cubicBezTo>
                                                      <a:cubicBezTo>
                                                        <a:pt x="529623" y="402010"/>
                                                        <a:pt x="530271" y="402010"/>
                                                        <a:pt x="530984" y="401945"/>
                                                      </a:cubicBezTo>
                                                      <a:cubicBezTo>
                                                        <a:pt x="529364" y="398382"/>
                                                        <a:pt x="527226" y="395078"/>
                                                        <a:pt x="524570" y="392033"/>
                                                      </a:cubicBezTo>
                                                      <a:cubicBezTo>
                                                        <a:pt x="515889" y="382315"/>
                                                        <a:pt x="502932" y="377845"/>
                                                        <a:pt x="490493" y="373828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48" name="Freeform: Shape 204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7F3646A9-C12F-4D4D-8039-D5720C7AD232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266475" y="3460218"/>
                                                  <a:ext cx="373036" cy="381880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49331 w 373036"/>
                                                    <a:gd name="connsiteY0" fmla="*/ 282207 h 381880"/>
                                                    <a:gd name="connsiteX1" fmla="*/ 156522 w 373036"/>
                                                    <a:gd name="connsiteY1" fmla="*/ 280652 h 381880"/>
                                                    <a:gd name="connsiteX2" fmla="*/ 161899 w 373036"/>
                                                    <a:gd name="connsiteY2" fmla="*/ 283243 h 381880"/>
                                                    <a:gd name="connsiteX3" fmla="*/ 177124 w 373036"/>
                                                    <a:gd name="connsiteY3" fmla="*/ 284409 h 381880"/>
                                                    <a:gd name="connsiteX4" fmla="*/ 182631 w 373036"/>
                                                    <a:gd name="connsiteY4" fmla="*/ 290953 h 381880"/>
                                                    <a:gd name="connsiteX5" fmla="*/ 199216 w 373036"/>
                                                    <a:gd name="connsiteY5" fmla="*/ 295423 h 381880"/>
                                                    <a:gd name="connsiteX6" fmla="*/ 215607 w 373036"/>
                                                    <a:gd name="connsiteY6" fmla="*/ 310648 h 381880"/>
                                                    <a:gd name="connsiteX7" fmla="*/ 228305 w 373036"/>
                                                    <a:gd name="connsiteY7" fmla="*/ 315247 h 381880"/>
                                                    <a:gd name="connsiteX8" fmla="*/ 234460 w 373036"/>
                                                    <a:gd name="connsiteY8" fmla="*/ 323022 h 381880"/>
                                                    <a:gd name="connsiteX9" fmla="*/ 249166 w 373036"/>
                                                    <a:gd name="connsiteY9" fmla="*/ 327557 h 381880"/>
                                                    <a:gd name="connsiteX10" fmla="*/ 252729 w 373036"/>
                                                    <a:gd name="connsiteY10" fmla="*/ 332804 h 381880"/>
                                                    <a:gd name="connsiteX11" fmla="*/ 266010 w 373036"/>
                                                    <a:gd name="connsiteY11" fmla="*/ 337404 h 381880"/>
                                                    <a:gd name="connsiteX12" fmla="*/ 273979 w 373036"/>
                                                    <a:gd name="connsiteY12" fmla="*/ 345437 h 381880"/>
                                                    <a:gd name="connsiteX13" fmla="*/ 286223 w 373036"/>
                                                    <a:gd name="connsiteY13" fmla="*/ 351268 h 381880"/>
                                                    <a:gd name="connsiteX14" fmla="*/ 293998 w 373036"/>
                                                    <a:gd name="connsiteY14" fmla="*/ 352758 h 381880"/>
                                                    <a:gd name="connsiteX15" fmla="*/ 300087 w 373036"/>
                                                    <a:gd name="connsiteY15" fmla="*/ 361180 h 381880"/>
                                                    <a:gd name="connsiteX16" fmla="*/ 310324 w 373036"/>
                                                    <a:gd name="connsiteY16" fmla="*/ 364096 h 381880"/>
                                                    <a:gd name="connsiteX17" fmla="*/ 324447 w 373036"/>
                                                    <a:gd name="connsiteY17" fmla="*/ 378025 h 381880"/>
                                                    <a:gd name="connsiteX18" fmla="*/ 354507 w 373036"/>
                                                    <a:gd name="connsiteY18" fmla="*/ 378025 h 381880"/>
                                                    <a:gd name="connsiteX19" fmla="*/ 373036 w 373036"/>
                                                    <a:gd name="connsiteY19" fmla="*/ 371611 h 381880"/>
                                                    <a:gd name="connsiteX20" fmla="*/ 373036 w 373036"/>
                                                    <a:gd name="connsiteY20" fmla="*/ 28376 h 381880"/>
                                                    <a:gd name="connsiteX21" fmla="*/ 352823 w 373036"/>
                                                    <a:gd name="connsiteY21" fmla="*/ 21898 h 381880"/>
                                                    <a:gd name="connsiteX22" fmla="*/ 326714 w 373036"/>
                                                    <a:gd name="connsiteY22" fmla="*/ 21250 h 381880"/>
                                                    <a:gd name="connsiteX23" fmla="*/ 322503 w 373036"/>
                                                    <a:gd name="connsiteY23" fmla="*/ 7126 h 381880"/>
                                                    <a:gd name="connsiteX24" fmla="*/ 309481 w 373036"/>
                                                    <a:gd name="connsiteY24" fmla="*/ 3628 h 381880"/>
                                                    <a:gd name="connsiteX25" fmla="*/ 304234 w 373036"/>
                                                    <a:gd name="connsiteY25" fmla="*/ 13216 h 381880"/>
                                                    <a:gd name="connsiteX26" fmla="*/ 279421 w 373036"/>
                                                    <a:gd name="connsiteY26" fmla="*/ 32004 h 381880"/>
                                                    <a:gd name="connsiteX27" fmla="*/ 259402 w 373036"/>
                                                    <a:gd name="connsiteY27" fmla="*/ 18658 h 381880"/>
                                                    <a:gd name="connsiteX28" fmla="*/ 244631 w 373036"/>
                                                    <a:gd name="connsiteY28" fmla="*/ 27275 h 381880"/>
                                                    <a:gd name="connsiteX29" fmla="*/ 240355 w 373036"/>
                                                    <a:gd name="connsiteY29" fmla="*/ 34855 h 381880"/>
                                                    <a:gd name="connsiteX30" fmla="*/ 248907 w 373036"/>
                                                    <a:gd name="connsiteY30" fmla="*/ 46905 h 381880"/>
                                                    <a:gd name="connsiteX31" fmla="*/ 240355 w 373036"/>
                                                    <a:gd name="connsiteY31" fmla="*/ 77613 h 381880"/>
                                                    <a:gd name="connsiteX32" fmla="*/ 176800 w 373036"/>
                                                    <a:gd name="connsiteY32" fmla="*/ 50403 h 381880"/>
                                                    <a:gd name="connsiteX33" fmla="*/ 164037 w 373036"/>
                                                    <a:gd name="connsiteY33" fmla="*/ 53254 h 381880"/>
                                                    <a:gd name="connsiteX34" fmla="*/ 154384 w 373036"/>
                                                    <a:gd name="connsiteY34" fmla="*/ 46516 h 381880"/>
                                                    <a:gd name="connsiteX35" fmla="*/ 138188 w 373036"/>
                                                    <a:gd name="connsiteY35" fmla="*/ 29218 h 381880"/>
                                                    <a:gd name="connsiteX36" fmla="*/ 111691 w 373036"/>
                                                    <a:gd name="connsiteY36" fmla="*/ 18205 h 381880"/>
                                                    <a:gd name="connsiteX37" fmla="*/ 109747 w 373036"/>
                                                    <a:gd name="connsiteY37" fmla="*/ 5507 h 381880"/>
                                                    <a:gd name="connsiteX38" fmla="*/ 62907 w 373036"/>
                                                    <a:gd name="connsiteY38" fmla="*/ 2073 h 381880"/>
                                                    <a:gd name="connsiteX39" fmla="*/ 53189 w 373036"/>
                                                    <a:gd name="connsiteY39" fmla="*/ 0 h 381880"/>
                                                    <a:gd name="connsiteX40" fmla="*/ 52801 w 373036"/>
                                                    <a:gd name="connsiteY40" fmla="*/ 1231 h 381880"/>
                                                    <a:gd name="connsiteX41" fmla="*/ 49561 w 373036"/>
                                                    <a:gd name="connsiteY41" fmla="*/ 12374 h 381880"/>
                                                    <a:gd name="connsiteX42" fmla="*/ 39066 w 373036"/>
                                                    <a:gd name="connsiteY42" fmla="*/ 19177 h 381880"/>
                                                    <a:gd name="connsiteX43" fmla="*/ 30838 w 373036"/>
                                                    <a:gd name="connsiteY43" fmla="*/ 28052 h 381880"/>
                                                    <a:gd name="connsiteX44" fmla="*/ 30320 w 373036"/>
                                                    <a:gd name="connsiteY44" fmla="*/ 33106 h 381880"/>
                                                    <a:gd name="connsiteX45" fmla="*/ 21314 w 373036"/>
                                                    <a:gd name="connsiteY45" fmla="*/ 37252 h 381880"/>
                                                    <a:gd name="connsiteX46" fmla="*/ 17557 w 373036"/>
                                                    <a:gd name="connsiteY46" fmla="*/ 46451 h 381880"/>
                                                    <a:gd name="connsiteX47" fmla="*/ 8487 w 373036"/>
                                                    <a:gd name="connsiteY47" fmla="*/ 72171 h 381880"/>
                                                    <a:gd name="connsiteX48" fmla="*/ 3045 w 373036"/>
                                                    <a:gd name="connsiteY48" fmla="*/ 77613 h 381880"/>
                                                    <a:gd name="connsiteX49" fmla="*/ 0 w 373036"/>
                                                    <a:gd name="connsiteY49" fmla="*/ 78196 h 381880"/>
                                                    <a:gd name="connsiteX50" fmla="*/ 454 w 373036"/>
                                                    <a:gd name="connsiteY50" fmla="*/ 89210 h 381880"/>
                                                    <a:gd name="connsiteX51" fmla="*/ 4989 w 373036"/>
                                                    <a:gd name="connsiteY51" fmla="*/ 106443 h 381880"/>
                                                    <a:gd name="connsiteX52" fmla="*/ 13346 w 373036"/>
                                                    <a:gd name="connsiteY52" fmla="*/ 115513 h 381880"/>
                                                    <a:gd name="connsiteX53" fmla="*/ 10042 w 373036"/>
                                                    <a:gd name="connsiteY53" fmla="*/ 151404 h 381880"/>
                                                    <a:gd name="connsiteX54" fmla="*/ 13087 w 373036"/>
                                                    <a:gd name="connsiteY54" fmla="*/ 159632 h 381880"/>
                                                    <a:gd name="connsiteX55" fmla="*/ 11726 w 373036"/>
                                                    <a:gd name="connsiteY55" fmla="*/ 186777 h 381880"/>
                                                    <a:gd name="connsiteX56" fmla="*/ 19889 w 373036"/>
                                                    <a:gd name="connsiteY56" fmla="*/ 241456 h 381880"/>
                                                    <a:gd name="connsiteX57" fmla="*/ 26821 w 373036"/>
                                                    <a:gd name="connsiteY57" fmla="*/ 250462 h 381880"/>
                                                    <a:gd name="connsiteX58" fmla="*/ 32393 w 373036"/>
                                                    <a:gd name="connsiteY58" fmla="*/ 252794 h 381880"/>
                                                    <a:gd name="connsiteX59" fmla="*/ 66470 w 373036"/>
                                                    <a:gd name="connsiteY59" fmla="*/ 270999 h 381880"/>
                                                    <a:gd name="connsiteX60" fmla="*/ 72884 w 373036"/>
                                                    <a:gd name="connsiteY60" fmla="*/ 280911 h 381880"/>
                                                    <a:gd name="connsiteX61" fmla="*/ 90246 w 373036"/>
                                                    <a:gd name="connsiteY61" fmla="*/ 282207 h 381880"/>
                                                    <a:gd name="connsiteX62" fmla="*/ 104564 w 373036"/>
                                                    <a:gd name="connsiteY62" fmla="*/ 294386 h 381880"/>
                                                    <a:gd name="connsiteX63" fmla="*/ 116096 w 373036"/>
                                                    <a:gd name="connsiteY63" fmla="*/ 297950 h 381880"/>
                                                    <a:gd name="connsiteX64" fmla="*/ 116744 w 373036"/>
                                                    <a:gd name="connsiteY64" fmla="*/ 299828 h 381880"/>
                                                    <a:gd name="connsiteX65" fmla="*/ 120631 w 373036"/>
                                                    <a:gd name="connsiteY65" fmla="*/ 297172 h 381880"/>
                                                    <a:gd name="connsiteX66" fmla="*/ 149007 w 373036"/>
                                                    <a:gd name="connsiteY66" fmla="*/ 282466 h 381880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73036" h="381880">
                                                      <a:moveTo>
                                                        <a:pt x="149331" y="282207"/>
                                                      </a:moveTo>
                                                      <a:cubicBezTo>
                                                        <a:pt x="151599" y="281170"/>
                                                        <a:pt x="154125" y="280069"/>
                                                        <a:pt x="156522" y="280652"/>
                                                      </a:cubicBezTo>
                                                      <a:cubicBezTo>
                                                        <a:pt x="158466" y="281105"/>
                                                        <a:pt x="160021" y="282531"/>
                                                        <a:pt x="161899" y="283243"/>
                                                      </a:cubicBezTo>
                                                      <a:cubicBezTo>
                                                        <a:pt x="166758" y="285057"/>
                                                        <a:pt x="172654" y="281818"/>
                                                        <a:pt x="177124" y="284409"/>
                                                      </a:cubicBezTo>
                                                      <a:cubicBezTo>
                                                        <a:pt x="179586" y="285835"/>
                                                        <a:pt x="180882" y="288685"/>
                                                        <a:pt x="182631" y="290953"/>
                                                      </a:cubicBezTo>
                                                      <a:cubicBezTo>
                                                        <a:pt x="186453" y="295682"/>
                                                        <a:pt x="193515" y="297561"/>
                                                        <a:pt x="199216" y="295423"/>
                                                      </a:cubicBezTo>
                                                      <a:cubicBezTo>
                                                        <a:pt x="201872" y="302679"/>
                                                        <a:pt x="208157" y="308510"/>
                                                        <a:pt x="215607" y="310648"/>
                                                      </a:cubicBezTo>
                                                      <a:cubicBezTo>
                                                        <a:pt x="220012" y="311879"/>
                                                        <a:pt x="225001" y="312073"/>
                                                        <a:pt x="228305" y="315247"/>
                                                      </a:cubicBezTo>
                                                      <a:cubicBezTo>
                                                        <a:pt x="230702" y="317515"/>
                                                        <a:pt x="231739" y="321078"/>
                                                        <a:pt x="234460" y="323022"/>
                                                      </a:cubicBezTo>
                                                      <a:cubicBezTo>
                                                        <a:pt x="238735" y="326002"/>
                                                        <a:pt x="245473" y="323864"/>
                                                        <a:pt x="249166" y="327557"/>
                                                      </a:cubicBezTo>
                                                      <a:cubicBezTo>
                                                        <a:pt x="250656" y="329047"/>
                                                        <a:pt x="251304" y="331249"/>
                                                        <a:pt x="252729" y="332804"/>
                                                      </a:cubicBezTo>
                                                      <a:cubicBezTo>
                                                        <a:pt x="255968" y="336238"/>
                                                        <a:pt x="261799" y="335201"/>
                                                        <a:pt x="266010" y="337404"/>
                                                      </a:cubicBezTo>
                                                      <a:cubicBezTo>
                                                        <a:pt x="269379" y="339153"/>
                                                        <a:pt x="271323" y="342716"/>
                                                        <a:pt x="273979" y="345437"/>
                                                      </a:cubicBezTo>
                                                      <a:cubicBezTo>
                                                        <a:pt x="277218" y="348742"/>
                                                        <a:pt x="281623" y="350815"/>
                                                        <a:pt x="286223" y="351268"/>
                                                      </a:cubicBezTo>
                                                      <a:cubicBezTo>
                                                        <a:pt x="288880" y="351527"/>
                                                        <a:pt x="291795" y="351268"/>
                                                        <a:pt x="293998" y="352758"/>
                                                      </a:cubicBezTo>
                                                      <a:cubicBezTo>
                                                        <a:pt x="296913" y="354767"/>
                                                        <a:pt x="297431" y="358978"/>
                                                        <a:pt x="300087" y="361180"/>
                                                      </a:cubicBezTo>
                                                      <a:cubicBezTo>
                                                        <a:pt x="302873" y="363448"/>
                                                        <a:pt x="306955" y="362930"/>
                                                        <a:pt x="310324" y="364096"/>
                                                      </a:cubicBezTo>
                                                      <a:cubicBezTo>
                                                        <a:pt x="316673" y="366298"/>
                                                        <a:pt x="319199" y="373879"/>
                                                        <a:pt x="324447" y="378025"/>
                                                      </a:cubicBezTo>
                                                      <a:cubicBezTo>
                                                        <a:pt x="332610" y="384633"/>
                                                        <a:pt x="344595" y="381458"/>
                                                        <a:pt x="354507" y="378025"/>
                                                      </a:cubicBezTo>
                                                      <a:cubicBezTo>
                                                        <a:pt x="360662" y="375887"/>
                                                        <a:pt x="366882" y="373749"/>
                                                        <a:pt x="373036" y="371611"/>
                                                      </a:cubicBezTo>
                                                      <a:lnTo>
                                                        <a:pt x="373036" y="28376"/>
                                                      </a:lnTo>
                                                      <a:cubicBezTo>
                                                        <a:pt x="366882" y="25137"/>
                                                        <a:pt x="360079" y="23452"/>
                                                        <a:pt x="352823" y="21898"/>
                                                      </a:cubicBezTo>
                                                      <a:cubicBezTo>
                                                        <a:pt x="344271" y="20019"/>
                                                        <a:pt x="335396" y="19824"/>
                                                        <a:pt x="326714" y="21250"/>
                                                      </a:cubicBezTo>
                                                      <a:cubicBezTo>
                                                        <a:pt x="326131" y="16326"/>
                                                        <a:pt x="325419" y="11143"/>
                                                        <a:pt x="322503" y="7126"/>
                                                      </a:cubicBezTo>
                                                      <a:cubicBezTo>
                                                        <a:pt x="319588" y="3110"/>
                                                        <a:pt x="313627" y="842"/>
                                                        <a:pt x="309481" y="3628"/>
                                                      </a:cubicBezTo>
                                                      <a:cubicBezTo>
                                                        <a:pt x="306372" y="5701"/>
                                                        <a:pt x="305335" y="9653"/>
                                                        <a:pt x="304234" y="13216"/>
                                                      </a:cubicBezTo>
                                                      <a:cubicBezTo>
                                                        <a:pt x="300800" y="24359"/>
                                                        <a:pt x="290305" y="36151"/>
                                                        <a:pt x="279421" y="32004"/>
                                                      </a:cubicBezTo>
                                                      <a:cubicBezTo>
                                                        <a:pt x="271776" y="29089"/>
                                                        <a:pt x="267500" y="19241"/>
                                                        <a:pt x="259402" y="18658"/>
                                                      </a:cubicBezTo>
                                                      <a:cubicBezTo>
                                                        <a:pt x="253507" y="18205"/>
                                                        <a:pt x="248648" y="22934"/>
                                                        <a:pt x="244631" y="27275"/>
                                                      </a:cubicBezTo>
                                                      <a:cubicBezTo>
                                                        <a:pt x="242623" y="29478"/>
                                                        <a:pt x="240485" y="31940"/>
                                                        <a:pt x="240355" y="34855"/>
                                                      </a:cubicBezTo>
                                                      <a:cubicBezTo>
                                                        <a:pt x="240096" y="39908"/>
                                                        <a:pt x="245473" y="43147"/>
                                                        <a:pt x="248907" y="46905"/>
                                                      </a:cubicBezTo>
                                                      <a:cubicBezTo>
                                                        <a:pt x="257458" y="56234"/>
                                                        <a:pt x="252535" y="74050"/>
                                                        <a:pt x="240355" y="77613"/>
                                                      </a:cubicBezTo>
                                                      <a:cubicBezTo>
                                                        <a:pt x="217356" y="84351"/>
                                                        <a:pt x="200512" y="47099"/>
                                                        <a:pt x="176800" y="50403"/>
                                                      </a:cubicBezTo>
                                                      <a:cubicBezTo>
                                                        <a:pt x="172460" y="50986"/>
                                                        <a:pt x="168378" y="52995"/>
                                                        <a:pt x="164037" y="53254"/>
                                                      </a:cubicBezTo>
                                                      <a:cubicBezTo>
                                                        <a:pt x="159697" y="53513"/>
                                                        <a:pt x="154579" y="50857"/>
                                                        <a:pt x="154384" y="46516"/>
                                                      </a:cubicBezTo>
                                                      <a:cubicBezTo>
                                                        <a:pt x="149007" y="40750"/>
                                                        <a:pt x="143565" y="34984"/>
                                                        <a:pt x="138188" y="29218"/>
                                                      </a:cubicBezTo>
                                                      <a:cubicBezTo>
                                                        <a:pt x="131126" y="21703"/>
                                                        <a:pt x="120890" y="13540"/>
                                                        <a:pt x="111691" y="18205"/>
                                                      </a:cubicBezTo>
                                                      <a:cubicBezTo>
                                                        <a:pt x="111043" y="13994"/>
                                                        <a:pt x="110395" y="9718"/>
                                                        <a:pt x="109747" y="5507"/>
                                                      </a:cubicBezTo>
                                                      <a:cubicBezTo>
                                                        <a:pt x="94133" y="4341"/>
                                                        <a:pt x="78520" y="3239"/>
                                                        <a:pt x="62907" y="2073"/>
                                                      </a:cubicBezTo>
                                                      <a:cubicBezTo>
                                                        <a:pt x="59603" y="1814"/>
                                                        <a:pt x="56169" y="1361"/>
                                                        <a:pt x="53189" y="0"/>
                                                      </a:cubicBezTo>
                                                      <a:cubicBezTo>
                                                        <a:pt x="53060" y="389"/>
                                                        <a:pt x="52930" y="777"/>
                                                        <a:pt x="52801" y="1231"/>
                                                      </a:cubicBezTo>
                                                      <a:cubicBezTo>
                                                        <a:pt x="51958" y="5053"/>
                                                        <a:pt x="51829" y="9200"/>
                                                        <a:pt x="49561" y="12374"/>
                                                      </a:cubicBezTo>
                                                      <a:cubicBezTo>
                                                        <a:pt x="47164" y="15873"/>
                                                        <a:pt x="42888" y="17363"/>
                                                        <a:pt x="39066" y="19177"/>
                                                      </a:cubicBezTo>
                                                      <a:cubicBezTo>
                                                        <a:pt x="35243" y="20991"/>
                                                        <a:pt x="31292" y="23841"/>
                                                        <a:pt x="30838" y="28052"/>
                                                      </a:cubicBezTo>
                                                      <a:cubicBezTo>
                                                        <a:pt x="30644" y="29737"/>
                                                        <a:pt x="31097" y="31615"/>
                                                        <a:pt x="30320" y="33106"/>
                                                      </a:cubicBezTo>
                                                      <a:cubicBezTo>
                                                        <a:pt x="28765" y="36151"/>
                                                        <a:pt x="24165" y="35373"/>
                                                        <a:pt x="21314" y="37252"/>
                                                      </a:cubicBezTo>
                                                      <a:cubicBezTo>
                                                        <a:pt x="18464" y="39131"/>
                                                        <a:pt x="18010" y="43018"/>
                                                        <a:pt x="17557" y="46451"/>
                                                      </a:cubicBezTo>
                                                      <a:cubicBezTo>
                                                        <a:pt x="16391" y="55521"/>
                                                        <a:pt x="13281" y="64332"/>
                                                        <a:pt x="8487" y="72171"/>
                                                      </a:cubicBezTo>
                                                      <a:cubicBezTo>
                                                        <a:pt x="7126" y="74374"/>
                                                        <a:pt x="5442" y="76642"/>
                                                        <a:pt x="3045" y="77613"/>
                                                      </a:cubicBezTo>
                                                      <a:cubicBezTo>
                                                        <a:pt x="2073" y="78002"/>
                                                        <a:pt x="1036" y="78132"/>
                                                        <a:pt x="0" y="78196"/>
                                                      </a:cubicBezTo>
                                                      <a:cubicBezTo>
                                                        <a:pt x="130" y="81889"/>
                                                        <a:pt x="259" y="85582"/>
                                                        <a:pt x="454" y="89210"/>
                                                      </a:cubicBezTo>
                                                      <a:cubicBezTo>
                                                        <a:pt x="713" y="95235"/>
                                                        <a:pt x="1361" y="101649"/>
                                                        <a:pt x="4989" y="106443"/>
                                                      </a:cubicBezTo>
                                                      <a:cubicBezTo>
                                                        <a:pt x="7515" y="109682"/>
                                                        <a:pt x="11273" y="111950"/>
                                                        <a:pt x="13346" y="115513"/>
                                                      </a:cubicBezTo>
                                                      <a:cubicBezTo>
                                                        <a:pt x="19565" y="126138"/>
                                                        <a:pt x="7321" y="139354"/>
                                                        <a:pt x="10042" y="151404"/>
                                                      </a:cubicBezTo>
                                                      <a:cubicBezTo>
                                                        <a:pt x="10690" y="154255"/>
                                                        <a:pt x="12180" y="156846"/>
                                                        <a:pt x="13087" y="159632"/>
                                                      </a:cubicBezTo>
                                                      <a:cubicBezTo>
                                                        <a:pt x="15937" y="168313"/>
                                                        <a:pt x="13216" y="177772"/>
                                                        <a:pt x="11726" y="186777"/>
                                                      </a:cubicBezTo>
                                                      <a:cubicBezTo>
                                                        <a:pt x="8811" y="205241"/>
                                                        <a:pt x="11726" y="224612"/>
                                                        <a:pt x="19889" y="241456"/>
                                                      </a:cubicBezTo>
                                                      <a:cubicBezTo>
                                                        <a:pt x="21574" y="244890"/>
                                                        <a:pt x="23582" y="248388"/>
                                                        <a:pt x="26821" y="250462"/>
                                                      </a:cubicBezTo>
                                                      <a:cubicBezTo>
                                                        <a:pt x="28506" y="251563"/>
                                                        <a:pt x="30514" y="252211"/>
                                                        <a:pt x="32393" y="252794"/>
                                                      </a:cubicBezTo>
                                                      <a:cubicBezTo>
                                                        <a:pt x="44832" y="256746"/>
                                                        <a:pt x="57789" y="261281"/>
                                                        <a:pt x="66470" y="270999"/>
                                                      </a:cubicBezTo>
                                                      <a:cubicBezTo>
                                                        <a:pt x="69191" y="274044"/>
                                                        <a:pt x="71264" y="277412"/>
                                                        <a:pt x="72884" y="280911"/>
                                                      </a:cubicBezTo>
                                                      <a:cubicBezTo>
                                                        <a:pt x="78715" y="280652"/>
                                                        <a:pt x="84610" y="280587"/>
                                                        <a:pt x="90246" y="282207"/>
                                                      </a:cubicBezTo>
                                                      <a:cubicBezTo>
                                                        <a:pt x="96531" y="283956"/>
                                                        <a:pt x="102491" y="288232"/>
                                                        <a:pt x="104564" y="294386"/>
                                                      </a:cubicBezTo>
                                                      <a:cubicBezTo>
                                                        <a:pt x="108840" y="294062"/>
                                                        <a:pt x="114023" y="294257"/>
                                                        <a:pt x="116096" y="297950"/>
                                                      </a:cubicBezTo>
                                                      <a:cubicBezTo>
                                                        <a:pt x="116420" y="298533"/>
                                                        <a:pt x="116549" y="299181"/>
                                                        <a:pt x="116744" y="299828"/>
                                                      </a:cubicBezTo>
                                                      <a:cubicBezTo>
                                                        <a:pt x="118039" y="298921"/>
                                                        <a:pt x="119270" y="298014"/>
                                                        <a:pt x="120631" y="297172"/>
                                                      </a:cubicBezTo>
                                                      <a:cubicBezTo>
                                                        <a:pt x="129571" y="291406"/>
                                                        <a:pt x="139289" y="286936"/>
                                                        <a:pt x="149007" y="28246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49" name="Freeform: Shape 2048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C8BAE10D-20A0-4045-9AC9-80FB4DDB358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63718" y="3740773"/>
                                                  <a:ext cx="254219" cy="43769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7486 w 254219"/>
                                                    <a:gd name="connsiteY0" fmla="*/ 327394 h 437694"/>
                                                    <a:gd name="connsiteX1" fmla="*/ 205954 w 254219"/>
                                                    <a:gd name="connsiteY1" fmla="*/ 296557 h 437694"/>
                                                    <a:gd name="connsiteX2" fmla="*/ 202585 w 254219"/>
                                                    <a:gd name="connsiteY2" fmla="*/ 283081 h 437694"/>
                                                    <a:gd name="connsiteX3" fmla="*/ 194227 w 254219"/>
                                                    <a:gd name="connsiteY3" fmla="*/ 264552 h 437694"/>
                                                    <a:gd name="connsiteX4" fmla="*/ 208157 w 254219"/>
                                                    <a:gd name="connsiteY4" fmla="*/ 256389 h 437694"/>
                                                    <a:gd name="connsiteX5" fmla="*/ 212367 w 254219"/>
                                                    <a:gd name="connsiteY5" fmla="*/ 233714 h 437694"/>
                                                    <a:gd name="connsiteX6" fmla="*/ 225195 w 254219"/>
                                                    <a:gd name="connsiteY6" fmla="*/ 224126 h 437694"/>
                                                    <a:gd name="connsiteX7" fmla="*/ 225584 w 254219"/>
                                                    <a:gd name="connsiteY7" fmla="*/ 215510 h 437694"/>
                                                    <a:gd name="connsiteX8" fmla="*/ 237116 w 254219"/>
                                                    <a:gd name="connsiteY8" fmla="*/ 212918 h 437694"/>
                                                    <a:gd name="connsiteX9" fmla="*/ 247611 w 254219"/>
                                                    <a:gd name="connsiteY9" fmla="*/ 198341 h 437694"/>
                                                    <a:gd name="connsiteX10" fmla="*/ 254219 w 254219"/>
                                                    <a:gd name="connsiteY10" fmla="*/ 197694 h 437694"/>
                                                    <a:gd name="connsiteX11" fmla="*/ 254089 w 254219"/>
                                                    <a:gd name="connsiteY11" fmla="*/ 98701 h 437694"/>
                                                    <a:gd name="connsiteX12" fmla="*/ 227527 w 254219"/>
                                                    <a:gd name="connsiteY12" fmla="*/ 97535 h 437694"/>
                                                    <a:gd name="connsiteX13" fmla="*/ 213404 w 254219"/>
                                                    <a:gd name="connsiteY13" fmla="*/ 83606 h 437694"/>
                                                    <a:gd name="connsiteX14" fmla="*/ 203168 w 254219"/>
                                                    <a:gd name="connsiteY14" fmla="*/ 80691 h 437694"/>
                                                    <a:gd name="connsiteX15" fmla="*/ 197078 w 254219"/>
                                                    <a:gd name="connsiteY15" fmla="*/ 72268 h 437694"/>
                                                    <a:gd name="connsiteX16" fmla="*/ 189304 w 254219"/>
                                                    <a:gd name="connsiteY16" fmla="*/ 70778 h 437694"/>
                                                    <a:gd name="connsiteX17" fmla="*/ 177059 w 254219"/>
                                                    <a:gd name="connsiteY17" fmla="*/ 64948 h 437694"/>
                                                    <a:gd name="connsiteX18" fmla="*/ 169091 w 254219"/>
                                                    <a:gd name="connsiteY18" fmla="*/ 56914 h 437694"/>
                                                    <a:gd name="connsiteX19" fmla="*/ 155810 w 254219"/>
                                                    <a:gd name="connsiteY19" fmla="*/ 52314 h 437694"/>
                                                    <a:gd name="connsiteX20" fmla="*/ 152246 w 254219"/>
                                                    <a:gd name="connsiteY20" fmla="*/ 47067 h 437694"/>
                                                    <a:gd name="connsiteX21" fmla="*/ 137540 w 254219"/>
                                                    <a:gd name="connsiteY21" fmla="*/ 42532 h 437694"/>
                                                    <a:gd name="connsiteX22" fmla="*/ 131385 w 254219"/>
                                                    <a:gd name="connsiteY22" fmla="*/ 34757 h 437694"/>
                                                    <a:gd name="connsiteX23" fmla="*/ 118687 w 254219"/>
                                                    <a:gd name="connsiteY23" fmla="*/ 30158 h 437694"/>
                                                    <a:gd name="connsiteX24" fmla="*/ 102297 w 254219"/>
                                                    <a:gd name="connsiteY24" fmla="*/ 14933 h 437694"/>
                                                    <a:gd name="connsiteX25" fmla="*/ 85711 w 254219"/>
                                                    <a:gd name="connsiteY25" fmla="*/ 10463 h 437694"/>
                                                    <a:gd name="connsiteX26" fmla="*/ 80205 w 254219"/>
                                                    <a:gd name="connsiteY26" fmla="*/ 3919 h 437694"/>
                                                    <a:gd name="connsiteX27" fmla="*/ 64980 w 254219"/>
                                                    <a:gd name="connsiteY27" fmla="*/ 2753 h 437694"/>
                                                    <a:gd name="connsiteX28" fmla="*/ 59603 w 254219"/>
                                                    <a:gd name="connsiteY28" fmla="*/ 162 h 437694"/>
                                                    <a:gd name="connsiteX29" fmla="*/ 52411 w 254219"/>
                                                    <a:gd name="connsiteY29" fmla="*/ 1717 h 437694"/>
                                                    <a:gd name="connsiteX30" fmla="*/ 24035 w 254219"/>
                                                    <a:gd name="connsiteY30" fmla="*/ 16423 h 437694"/>
                                                    <a:gd name="connsiteX31" fmla="*/ 20148 w 254219"/>
                                                    <a:gd name="connsiteY31" fmla="*/ 19079 h 437694"/>
                                                    <a:gd name="connsiteX32" fmla="*/ 20926 w 254219"/>
                                                    <a:gd name="connsiteY32" fmla="*/ 22643 h 437694"/>
                                                    <a:gd name="connsiteX33" fmla="*/ 44832 w 254219"/>
                                                    <a:gd name="connsiteY33" fmla="*/ 53805 h 437694"/>
                                                    <a:gd name="connsiteX34" fmla="*/ 45285 w 254219"/>
                                                    <a:gd name="connsiteY34" fmla="*/ 60607 h 437694"/>
                                                    <a:gd name="connsiteX35" fmla="*/ 51245 w 254219"/>
                                                    <a:gd name="connsiteY35" fmla="*/ 71426 h 437694"/>
                                                    <a:gd name="connsiteX36" fmla="*/ 51245 w 254219"/>
                                                    <a:gd name="connsiteY36" fmla="*/ 98312 h 437694"/>
                                                    <a:gd name="connsiteX37" fmla="*/ 45739 w 254219"/>
                                                    <a:gd name="connsiteY37" fmla="*/ 108289 h 437694"/>
                                                    <a:gd name="connsiteX38" fmla="*/ 46451 w 254219"/>
                                                    <a:gd name="connsiteY38" fmla="*/ 117683 h 437694"/>
                                                    <a:gd name="connsiteX39" fmla="*/ 49043 w 254219"/>
                                                    <a:gd name="connsiteY39" fmla="*/ 172881 h 437694"/>
                                                    <a:gd name="connsiteX40" fmla="*/ 36410 w 254219"/>
                                                    <a:gd name="connsiteY40" fmla="*/ 197694 h 437694"/>
                                                    <a:gd name="connsiteX41" fmla="*/ 20926 w 254219"/>
                                                    <a:gd name="connsiteY41" fmla="*/ 207930 h 437694"/>
                                                    <a:gd name="connsiteX42" fmla="*/ 20991 w 254219"/>
                                                    <a:gd name="connsiteY42" fmla="*/ 216287 h 437694"/>
                                                    <a:gd name="connsiteX43" fmla="*/ 11661 w 254219"/>
                                                    <a:gd name="connsiteY43" fmla="*/ 223608 h 437694"/>
                                                    <a:gd name="connsiteX44" fmla="*/ 9005 w 254219"/>
                                                    <a:gd name="connsiteY44" fmla="*/ 234427 h 437694"/>
                                                    <a:gd name="connsiteX45" fmla="*/ 4924 w 254219"/>
                                                    <a:gd name="connsiteY45" fmla="*/ 240193 h 437694"/>
                                                    <a:gd name="connsiteX46" fmla="*/ 3758 w 254219"/>
                                                    <a:gd name="connsiteY46" fmla="*/ 247514 h 437694"/>
                                                    <a:gd name="connsiteX47" fmla="*/ 0 w 254219"/>
                                                    <a:gd name="connsiteY47" fmla="*/ 276214 h 437694"/>
                                                    <a:gd name="connsiteX48" fmla="*/ 13735 w 254219"/>
                                                    <a:gd name="connsiteY48" fmla="*/ 286126 h 437694"/>
                                                    <a:gd name="connsiteX49" fmla="*/ 21444 w 254219"/>
                                                    <a:gd name="connsiteY49" fmla="*/ 296492 h 437694"/>
                                                    <a:gd name="connsiteX50" fmla="*/ 23064 w 254219"/>
                                                    <a:gd name="connsiteY50" fmla="*/ 304914 h 437694"/>
                                                    <a:gd name="connsiteX51" fmla="*/ 24035 w 254219"/>
                                                    <a:gd name="connsiteY51" fmla="*/ 324091 h 437694"/>
                                                    <a:gd name="connsiteX52" fmla="*/ 27145 w 254219"/>
                                                    <a:gd name="connsiteY52" fmla="*/ 322989 h 437694"/>
                                                    <a:gd name="connsiteX53" fmla="*/ 33753 w 254219"/>
                                                    <a:gd name="connsiteY53" fmla="*/ 329079 h 437694"/>
                                                    <a:gd name="connsiteX54" fmla="*/ 34077 w 254219"/>
                                                    <a:gd name="connsiteY54" fmla="*/ 338797 h 437694"/>
                                                    <a:gd name="connsiteX55" fmla="*/ 41333 w 254219"/>
                                                    <a:gd name="connsiteY55" fmla="*/ 360306 h 437694"/>
                                                    <a:gd name="connsiteX56" fmla="*/ 44378 w 254219"/>
                                                    <a:gd name="connsiteY56" fmla="*/ 365683 h 437694"/>
                                                    <a:gd name="connsiteX57" fmla="*/ 39649 w 254219"/>
                                                    <a:gd name="connsiteY57" fmla="*/ 372744 h 437694"/>
                                                    <a:gd name="connsiteX58" fmla="*/ 30708 w 254219"/>
                                                    <a:gd name="connsiteY58" fmla="*/ 374364 h 437694"/>
                                                    <a:gd name="connsiteX59" fmla="*/ 17816 w 254219"/>
                                                    <a:gd name="connsiteY59" fmla="*/ 382722 h 437694"/>
                                                    <a:gd name="connsiteX60" fmla="*/ 26303 w 254219"/>
                                                    <a:gd name="connsiteY60" fmla="*/ 396262 h 437694"/>
                                                    <a:gd name="connsiteX61" fmla="*/ 43925 w 254219"/>
                                                    <a:gd name="connsiteY61" fmla="*/ 414920 h 437694"/>
                                                    <a:gd name="connsiteX62" fmla="*/ 46322 w 254219"/>
                                                    <a:gd name="connsiteY62" fmla="*/ 437206 h 437694"/>
                                                    <a:gd name="connsiteX63" fmla="*/ 46970 w 254219"/>
                                                    <a:gd name="connsiteY63" fmla="*/ 437206 h 437694"/>
                                                    <a:gd name="connsiteX64" fmla="*/ 68219 w 254219"/>
                                                    <a:gd name="connsiteY64" fmla="*/ 436429 h 437694"/>
                                                    <a:gd name="connsiteX65" fmla="*/ 75799 w 254219"/>
                                                    <a:gd name="connsiteY65" fmla="*/ 433838 h 437694"/>
                                                    <a:gd name="connsiteX66" fmla="*/ 84869 w 254219"/>
                                                    <a:gd name="connsiteY66" fmla="*/ 433255 h 437694"/>
                                                    <a:gd name="connsiteX67" fmla="*/ 107739 w 254219"/>
                                                    <a:gd name="connsiteY67" fmla="*/ 426322 h 437694"/>
                                                    <a:gd name="connsiteX68" fmla="*/ 112986 w 254219"/>
                                                    <a:gd name="connsiteY68" fmla="*/ 423018 h 437694"/>
                                                    <a:gd name="connsiteX69" fmla="*/ 115707 w 254219"/>
                                                    <a:gd name="connsiteY69" fmla="*/ 419066 h 437694"/>
                                                    <a:gd name="connsiteX70" fmla="*/ 126526 w 254219"/>
                                                    <a:gd name="connsiteY70" fmla="*/ 412264 h 437694"/>
                                                    <a:gd name="connsiteX71" fmla="*/ 129960 w 254219"/>
                                                    <a:gd name="connsiteY71" fmla="*/ 401185 h 437694"/>
                                                    <a:gd name="connsiteX72" fmla="*/ 141945 w 254219"/>
                                                    <a:gd name="connsiteY72" fmla="*/ 394901 h 437694"/>
                                                    <a:gd name="connsiteX73" fmla="*/ 155356 w 254219"/>
                                                    <a:gd name="connsiteY73" fmla="*/ 391208 h 437694"/>
                                                    <a:gd name="connsiteX74" fmla="*/ 159502 w 254219"/>
                                                    <a:gd name="connsiteY74" fmla="*/ 387386 h 437694"/>
                                                    <a:gd name="connsiteX75" fmla="*/ 172719 w 254219"/>
                                                    <a:gd name="connsiteY75" fmla="*/ 381426 h 437694"/>
                                                    <a:gd name="connsiteX76" fmla="*/ 180946 w 254219"/>
                                                    <a:gd name="connsiteY76" fmla="*/ 369311 h 437694"/>
                                                    <a:gd name="connsiteX77" fmla="*/ 188526 w 254219"/>
                                                    <a:gd name="connsiteY77" fmla="*/ 360889 h 437694"/>
                                                    <a:gd name="connsiteX78" fmla="*/ 206861 w 254219"/>
                                                    <a:gd name="connsiteY78" fmla="*/ 346118 h 437694"/>
                                                    <a:gd name="connsiteX79" fmla="*/ 223705 w 254219"/>
                                                    <a:gd name="connsiteY79" fmla="*/ 344368 h 437694"/>
                                                    <a:gd name="connsiteX80" fmla="*/ 217874 w 254219"/>
                                                    <a:gd name="connsiteY80" fmla="*/ 327265 h 43769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54219" h="437694">
                                                      <a:moveTo>
                                                        <a:pt x="217486" y="327394"/>
                                                      </a:moveTo>
                                                      <a:cubicBezTo>
                                                        <a:pt x="211849" y="317936"/>
                                                        <a:pt x="207897" y="307376"/>
                                                        <a:pt x="205954" y="296557"/>
                                                      </a:cubicBezTo>
                                                      <a:cubicBezTo>
                                                        <a:pt x="205111" y="291957"/>
                                                        <a:pt x="204593" y="287227"/>
                                                        <a:pt x="202585" y="283081"/>
                                                      </a:cubicBezTo>
                                                      <a:cubicBezTo>
                                                        <a:pt x="199540" y="276862"/>
                                                        <a:pt x="193191" y="271420"/>
                                                        <a:pt x="194227" y="264552"/>
                                                      </a:cubicBezTo>
                                                      <a:cubicBezTo>
                                                        <a:pt x="198892" y="261831"/>
                                                        <a:pt x="203492" y="259110"/>
                                                        <a:pt x="208157" y="256389"/>
                                                      </a:cubicBezTo>
                                                      <a:cubicBezTo>
                                                        <a:pt x="202844" y="249522"/>
                                                        <a:pt x="204917" y="238185"/>
                                                        <a:pt x="212367" y="233714"/>
                                                      </a:cubicBezTo>
                                                      <a:cubicBezTo>
                                                        <a:pt x="217097" y="230864"/>
                                                        <a:pt x="224158" y="229568"/>
                                                        <a:pt x="225195" y="224126"/>
                                                      </a:cubicBezTo>
                                                      <a:cubicBezTo>
                                                        <a:pt x="225713" y="221276"/>
                                                        <a:pt x="224158" y="218036"/>
                                                        <a:pt x="225584" y="215510"/>
                                                      </a:cubicBezTo>
                                                      <a:cubicBezTo>
                                                        <a:pt x="227592" y="211882"/>
                                                        <a:pt x="232969" y="213242"/>
                                                        <a:pt x="237116" y="212918"/>
                                                      </a:cubicBezTo>
                                                      <a:cubicBezTo>
                                                        <a:pt x="243918" y="212400"/>
                                                        <a:pt x="249230" y="204950"/>
                                                        <a:pt x="247611" y="198341"/>
                                                      </a:cubicBezTo>
                                                      <a:cubicBezTo>
                                                        <a:pt x="249814" y="198147"/>
                                                        <a:pt x="252016" y="197888"/>
                                                        <a:pt x="254219" y="197694"/>
                                                      </a:cubicBezTo>
                                                      <a:lnTo>
                                                        <a:pt x="254089" y="98701"/>
                                                      </a:lnTo>
                                                      <a:cubicBezTo>
                                                        <a:pt x="244955" y="101552"/>
                                                        <a:pt x="234719" y="103366"/>
                                                        <a:pt x="227527" y="97535"/>
                                                      </a:cubicBezTo>
                                                      <a:cubicBezTo>
                                                        <a:pt x="222280" y="93324"/>
                                                        <a:pt x="219753" y="85809"/>
                                                        <a:pt x="213404" y="83606"/>
                                                      </a:cubicBezTo>
                                                      <a:cubicBezTo>
                                                        <a:pt x="210035" y="82440"/>
                                                        <a:pt x="205954" y="82958"/>
                                                        <a:pt x="203168" y="80691"/>
                                                      </a:cubicBezTo>
                                                      <a:cubicBezTo>
                                                        <a:pt x="200447" y="78488"/>
                                                        <a:pt x="199929" y="74212"/>
                                                        <a:pt x="197078" y="72268"/>
                                                      </a:cubicBezTo>
                                                      <a:cubicBezTo>
                                                        <a:pt x="194876" y="70778"/>
                                                        <a:pt x="191960" y="71038"/>
                                                        <a:pt x="189304" y="70778"/>
                                                      </a:cubicBezTo>
                                                      <a:cubicBezTo>
                                                        <a:pt x="184704" y="70390"/>
                                                        <a:pt x="180299" y="68252"/>
                                                        <a:pt x="177059" y="64948"/>
                                                      </a:cubicBezTo>
                                                      <a:cubicBezTo>
                                                        <a:pt x="174403" y="62227"/>
                                                        <a:pt x="172460" y="58663"/>
                                                        <a:pt x="169091" y="56914"/>
                                                      </a:cubicBezTo>
                                                      <a:cubicBezTo>
                                                        <a:pt x="164880" y="54711"/>
                                                        <a:pt x="159049" y="55813"/>
                                                        <a:pt x="155810" y="52314"/>
                                                      </a:cubicBezTo>
                                                      <a:cubicBezTo>
                                                        <a:pt x="154384" y="50760"/>
                                                        <a:pt x="153736" y="48557"/>
                                                        <a:pt x="152246" y="47067"/>
                                                      </a:cubicBezTo>
                                                      <a:cubicBezTo>
                                                        <a:pt x="148554" y="43374"/>
                                                        <a:pt x="141816" y="45512"/>
                                                        <a:pt x="137540" y="42532"/>
                                                      </a:cubicBezTo>
                                                      <a:cubicBezTo>
                                                        <a:pt x="134819" y="40653"/>
                                                        <a:pt x="133782" y="37090"/>
                                                        <a:pt x="131385" y="34757"/>
                                                      </a:cubicBezTo>
                                                      <a:cubicBezTo>
                                                        <a:pt x="128081" y="31583"/>
                                                        <a:pt x="123028" y="31389"/>
                                                        <a:pt x="118687" y="30158"/>
                                                      </a:cubicBezTo>
                                                      <a:cubicBezTo>
                                                        <a:pt x="111237" y="28020"/>
                                                        <a:pt x="104953" y="22189"/>
                                                        <a:pt x="102297" y="14933"/>
                                                      </a:cubicBezTo>
                                                      <a:cubicBezTo>
                                                        <a:pt x="96595" y="17136"/>
                                                        <a:pt x="89534" y="15257"/>
                                                        <a:pt x="85711" y="10463"/>
                                                      </a:cubicBezTo>
                                                      <a:cubicBezTo>
                                                        <a:pt x="83898" y="8195"/>
                                                        <a:pt x="82667" y="5345"/>
                                                        <a:pt x="80205" y="3919"/>
                                                      </a:cubicBezTo>
                                                      <a:cubicBezTo>
                                                        <a:pt x="75735" y="1328"/>
                                                        <a:pt x="69774" y="4632"/>
                                                        <a:pt x="64980" y="2753"/>
                                                      </a:cubicBezTo>
                                                      <a:cubicBezTo>
                                                        <a:pt x="63101" y="2041"/>
                                                        <a:pt x="61546" y="615"/>
                                                        <a:pt x="59603" y="162"/>
                                                      </a:cubicBezTo>
                                                      <a:cubicBezTo>
                                                        <a:pt x="57141" y="-421"/>
                                                        <a:pt x="54679" y="680"/>
                                                        <a:pt x="52411" y="1717"/>
                                                      </a:cubicBezTo>
                                                      <a:cubicBezTo>
                                                        <a:pt x="42758" y="6187"/>
                                                        <a:pt x="32976" y="10657"/>
                                                        <a:pt x="24035" y="16423"/>
                                                      </a:cubicBezTo>
                                                      <a:cubicBezTo>
                                                        <a:pt x="22740" y="17265"/>
                                                        <a:pt x="21444" y="18237"/>
                                                        <a:pt x="20148" y="19079"/>
                                                      </a:cubicBezTo>
                                                      <a:cubicBezTo>
                                                        <a:pt x="20472" y="20246"/>
                                                        <a:pt x="20667" y="21476"/>
                                                        <a:pt x="20926" y="22643"/>
                                                      </a:cubicBezTo>
                                                      <a:cubicBezTo>
                                                        <a:pt x="23841" y="35729"/>
                                                        <a:pt x="43147" y="40523"/>
                                                        <a:pt x="44832" y="53805"/>
                                                      </a:cubicBezTo>
                                                      <a:cubicBezTo>
                                                        <a:pt x="45091" y="56072"/>
                                                        <a:pt x="44832" y="58404"/>
                                                        <a:pt x="45285" y="60607"/>
                                                      </a:cubicBezTo>
                                                      <a:cubicBezTo>
                                                        <a:pt x="46063" y="64688"/>
                                                        <a:pt x="49108" y="67863"/>
                                                        <a:pt x="51245" y="71426"/>
                                                      </a:cubicBezTo>
                                                      <a:cubicBezTo>
                                                        <a:pt x="56104" y="79524"/>
                                                        <a:pt x="56104" y="90279"/>
                                                        <a:pt x="51245" y="98312"/>
                                                      </a:cubicBezTo>
                                                      <a:cubicBezTo>
                                                        <a:pt x="49302" y="101616"/>
                                                        <a:pt x="46516" y="104532"/>
                                                        <a:pt x="45739" y="108289"/>
                                                      </a:cubicBezTo>
                                                      <a:cubicBezTo>
                                                        <a:pt x="45091" y="111399"/>
                                                        <a:pt x="45804" y="114574"/>
                                                        <a:pt x="46451" y="117683"/>
                                                      </a:cubicBezTo>
                                                      <a:cubicBezTo>
                                                        <a:pt x="50274" y="135758"/>
                                                        <a:pt x="51180" y="154481"/>
                                                        <a:pt x="49043" y="172881"/>
                                                      </a:cubicBezTo>
                                                      <a:cubicBezTo>
                                                        <a:pt x="47941" y="182469"/>
                                                        <a:pt x="45026" y="193288"/>
                                                        <a:pt x="36410" y="197694"/>
                                                      </a:cubicBezTo>
                                                      <a:cubicBezTo>
                                                        <a:pt x="30579" y="200674"/>
                                                        <a:pt x="21768" y="201451"/>
                                                        <a:pt x="20926" y="207930"/>
                                                      </a:cubicBezTo>
                                                      <a:cubicBezTo>
                                                        <a:pt x="20537" y="210716"/>
                                                        <a:pt x="22027" y="213696"/>
                                                        <a:pt x="20991" y="216287"/>
                                                      </a:cubicBezTo>
                                                      <a:cubicBezTo>
                                                        <a:pt x="19501" y="220045"/>
                                                        <a:pt x="14058" y="220369"/>
                                                        <a:pt x="11661" y="223608"/>
                                                      </a:cubicBezTo>
                                                      <a:cubicBezTo>
                                                        <a:pt x="9458" y="226653"/>
                                                        <a:pt x="10625" y="231058"/>
                                                        <a:pt x="9005" y="234427"/>
                                                      </a:cubicBezTo>
                                                      <a:cubicBezTo>
                                                        <a:pt x="7969" y="236565"/>
                                                        <a:pt x="6025" y="238055"/>
                                                        <a:pt x="4924" y="240193"/>
                                                      </a:cubicBezTo>
                                                      <a:cubicBezTo>
                                                        <a:pt x="3758" y="242396"/>
                                                        <a:pt x="3822" y="245052"/>
                                                        <a:pt x="3758" y="247514"/>
                                                      </a:cubicBezTo>
                                                      <a:cubicBezTo>
                                                        <a:pt x="3628" y="257167"/>
                                                        <a:pt x="2332" y="266820"/>
                                                        <a:pt x="0" y="276214"/>
                                                      </a:cubicBezTo>
                                                      <a:cubicBezTo>
                                                        <a:pt x="5053" y="277898"/>
                                                        <a:pt x="9847" y="282109"/>
                                                        <a:pt x="13735" y="286126"/>
                                                      </a:cubicBezTo>
                                                      <a:cubicBezTo>
                                                        <a:pt x="16779" y="289236"/>
                                                        <a:pt x="19889" y="292475"/>
                                                        <a:pt x="21444" y="296492"/>
                                                      </a:cubicBezTo>
                                                      <a:cubicBezTo>
                                                        <a:pt x="22480" y="299148"/>
                                                        <a:pt x="22804" y="302063"/>
                                                        <a:pt x="23064" y="304914"/>
                                                      </a:cubicBezTo>
                                                      <a:cubicBezTo>
                                                        <a:pt x="23647" y="311328"/>
                                                        <a:pt x="23906" y="317677"/>
                                                        <a:pt x="24035" y="324091"/>
                                                      </a:cubicBezTo>
                                                      <a:cubicBezTo>
                                                        <a:pt x="25007" y="323443"/>
                                                        <a:pt x="25979" y="322989"/>
                                                        <a:pt x="27145" y="322989"/>
                                                      </a:cubicBezTo>
                                                      <a:cubicBezTo>
                                                        <a:pt x="30385" y="322989"/>
                                                        <a:pt x="32976" y="325969"/>
                                                        <a:pt x="33753" y="329079"/>
                                                      </a:cubicBezTo>
                                                      <a:cubicBezTo>
                                                        <a:pt x="34531" y="332253"/>
                                                        <a:pt x="34077" y="335558"/>
                                                        <a:pt x="34077" y="338797"/>
                                                      </a:cubicBezTo>
                                                      <a:cubicBezTo>
                                                        <a:pt x="34013" y="346506"/>
                                                        <a:pt x="36604" y="354216"/>
                                                        <a:pt x="41333" y="360306"/>
                                                      </a:cubicBezTo>
                                                      <a:cubicBezTo>
                                                        <a:pt x="42629" y="361925"/>
                                                        <a:pt x="44119" y="363610"/>
                                                        <a:pt x="44378" y="365683"/>
                                                      </a:cubicBezTo>
                                                      <a:cubicBezTo>
                                                        <a:pt x="44832" y="368728"/>
                                                        <a:pt x="42435" y="371514"/>
                                                        <a:pt x="39649" y="372744"/>
                                                      </a:cubicBezTo>
                                                      <a:cubicBezTo>
                                                        <a:pt x="36863" y="373975"/>
                                                        <a:pt x="33753" y="374105"/>
                                                        <a:pt x="30708" y="374364"/>
                                                      </a:cubicBezTo>
                                                      <a:cubicBezTo>
                                                        <a:pt x="25266" y="374947"/>
                                                        <a:pt x="18852" y="377344"/>
                                                        <a:pt x="17816" y="382722"/>
                                                      </a:cubicBezTo>
                                                      <a:cubicBezTo>
                                                        <a:pt x="16715" y="388228"/>
                                                        <a:pt x="21833" y="392828"/>
                                                        <a:pt x="26303" y="396262"/>
                                                      </a:cubicBezTo>
                                                      <a:cubicBezTo>
                                                        <a:pt x="33105" y="401509"/>
                                                        <a:pt x="39779" y="407340"/>
                                                        <a:pt x="43925" y="414920"/>
                                                      </a:cubicBezTo>
                                                      <a:cubicBezTo>
                                                        <a:pt x="47617" y="421658"/>
                                                        <a:pt x="48978" y="430080"/>
                                                        <a:pt x="46322" y="437206"/>
                                                      </a:cubicBezTo>
                                                      <a:cubicBezTo>
                                                        <a:pt x="46516" y="437206"/>
                                                        <a:pt x="46775" y="437206"/>
                                                        <a:pt x="46970" y="437206"/>
                                                      </a:cubicBezTo>
                                                      <a:cubicBezTo>
                                                        <a:pt x="54096" y="437466"/>
                                                        <a:pt x="61417" y="438502"/>
                                                        <a:pt x="68219" y="436429"/>
                                                      </a:cubicBezTo>
                                                      <a:cubicBezTo>
                                                        <a:pt x="70746" y="435652"/>
                                                        <a:pt x="73208" y="434421"/>
                                                        <a:pt x="75799" y="433838"/>
                                                      </a:cubicBezTo>
                                                      <a:cubicBezTo>
                                                        <a:pt x="78779" y="433190"/>
                                                        <a:pt x="81824" y="433449"/>
                                                        <a:pt x="84869" y="433255"/>
                                                      </a:cubicBezTo>
                                                      <a:cubicBezTo>
                                                        <a:pt x="92902" y="432801"/>
                                                        <a:pt x="100418" y="429562"/>
                                                        <a:pt x="107739" y="426322"/>
                                                      </a:cubicBezTo>
                                                      <a:cubicBezTo>
                                                        <a:pt x="109682" y="425480"/>
                                                        <a:pt x="111626" y="424573"/>
                                                        <a:pt x="112986" y="423018"/>
                                                      </a:cubicBezTo>
                                                      <a:cubicBezTo>
                                                        <a:pt x="114023" y="421787"/>
                                                        <a:pt x="114671" y="420233"/>
                                                        <a:pt x="115707" y="419066"/>
                                                      </a:cubicBezTo>
                                                      <a:cubicBezTo>
                                                        <a:pt x="118558" y="415827"/>
                                                        <a:pt x="123870" y="415633"/>
                                                        <a:pt x="126526" y="412264"/>
                                                      </a:cubicBezTo>
                                                      <a:cubicBezTo>
                                                        <a:pt x="128923" y="409154"/>
                                                        <a:pt x="128211" y="404619"/>
                                                        <a:pt x="129960" y="401185"/>
                                                      </a:cubicBezTo>
                                                      <a:cubicBezTo>
                                                        <a:pt x="132098" y="397039"/>
                                                        <a:pt x="137281" y="395484"/>
                                                        <a:pt x="141945" y="394901"/>
                                                      </a:cubicBezTo>
                                                      <a:cubicBezTo>
                                                        <a:pt x="146610" y="394318"/>
                                                        <a:pt x="151598" y="394124"/>
                                                        <a:pt x="155356" y="391208"/>
                                                      </a:cubicBezTo>
                                                      <a:cubicBezTo>
                                                        <a:pt x="156846" y="390042"/>
                                                        <a:pt x="158012" y="388552"/>
                                                        <a:pt x="159502" y="387386"/>
                                                      </a:cubicBezTo>
                                                      <a:cubicBezTo>
                                                        <a:pt x="163389" y="384406"/>
                                                        <a:pt x="168832" y="384341"/>
                                                        <a:pt x="172719" y="381426"/>
                                                      </a:cubicBezTo>
                                                      <a:cubicBezTo>
                                                        <a:pt x="176670" y="378510"/>
                                                        <a:pt x="178290" y="373392"/>
                                                        <a:pt x="180946" y="369311"/>
                                                      </a:cubicBezTo>
                                                      <a:cubicBezTo>
                                                        <a:pt x="183020" y="366136"/>
                                                        <a:pt x="185741" y="363480"/>
                                                        <a:pt x="188526" y="360889"/>
                                                      </a:cubicBezTo>
                                                      <a:cubicBezTo>
                                                        <a:pt x="194227" y="355447"/>
                                                        <a:pt x="199929" y="349940"/>
                                                        <a:pt x="206861" y="346118"/>
                                                      </a:cubicBezTo>
                                                      <a:cubicBezTo>
                                                        <a:pt x="211785" y="343332"/>
                                                        <a:pt x="218328" y="342814"/>
                                                        <a:pt x="223705" y="344368"/>
                                                      </a:cubicBezTo>
                                                      <a:cubicBezTo>
                                                        <a:pt x="224288" y="337696"/>
                                                        <a:pt x="223446" y="330439"/>
                                                        <a:pt x="217874" y="32726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0" name="Freeform: Shape 2049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09EA1E49-CC4A-45A4-8A59-2398E74D1354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025297" y="4071148"/>
                                                  <a:ext cx="238748" cy="349972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48214 w 238748"/>
                                                    <a:gd name="connsiteY0" fmla="*/ 21768 h 349972"/>
                                                    <a:gd name="connsiteX1" fmla="*/ 51259 w 238748"/>
                                                    <a:gd name="connsiteY1" fmla="*/ 39519 h 349972"/>
                                                    <a:gd name="connsiteX2" fmla="*/ 55664 w 238748"/>
                                                    <a:gd name="connsiteY2" fmla="*/ 43406 h 349972"/>
                                                    <a:gd name="connsiteX3" fmla="*/ 59033 w 238748"/>
                                                    <a:gd name="connsiteY3" fmla="*/ 51893 h 349972"/>
                                                    <a:gd name="connsiteX4" fmla="*/ 64799 w 238748"/>
                                                    <a:gd name="connsiteY4" fmla="*/ 53124 h 349972"/>
                                                    <a:gd name="connsiteX5" fmla="*/ 84623 w 238748"/>
                                                    <a:gd name="connsiteY5" fmla="*/ 69450 h 349972"/>
                                                    <a:gd name="connsiteX6" fmla="*/ 94665 w 238748"/>
                                                    <a:gd name="connsiteY6" fmla="*/ 70228 h 349972"/>
                                                    <a:gd name="connsiteX7" fmla="*/ 99135 w 238748"/>
                                                    <a:gd name="connsiteY7" fmla="*/ 75281 h 349972"/>
                                                    <a:gd name="connsiteX8" fmla="*/ 121422 w 238748"/>
                                                    <a:gd name="connsiteY8" fmla="*/ 82602 h 349972"/>
                                                    <a:gd name="connsiteX9" fmla="*/ 128872 w 238748"/>
                                                    <a:gd name="connsiteY9" fmla="*/ 88886 h 349972"/>
                                                    <a:gd name="connsiteX10" fmla="*/ 167614 w 238748"/>
                                                    <a:gd name="connsiteY10" fmla="*/ 99835 h 349972"/>
                                                    <a:gd name="connsiteX11" fmla="*/ 148696 w 238748"/>
                                                    <a:gd name="connsiteY11" fmla="*/ 127045 h 349972"/>
                                                    <a:gd name="connsiteX12" fmla="*/ 139302 w 238748"/>
                                                    <a:gd name="connsiteY12" fmla="*/ 130608 h 349972"/>
                                                    <a:gd name="connsiteX13" fmla="*/ 132500 w 238748"/>
                                                    <a:gd name="connsiteY13" fmla="*/ 137994 h 349972"/>
                                                    <a:gd name="connsiteX14" fmla="*/ 106067 w 238748"/>
                                                    <a:gd name="connsiteY14" fmla="*/ 167924 h 349972"/>
                                                    <a:gd name="connsiteX15" fmla="*/ 68492 w 238748"/>
                                                    <a:gd name="connsiteY15" fmla="*/ 177837 h 349972"/>
                                                    <a:gd name="connsiteX16" fmla="*/ 60847 w 238748"/>
                                                    <a:gd name="connsiteY16" fmla="*/ 186842 h 349972"/>
                                                    <a:gd name="connsiteX17" fmla="*/ 48538 w 238748"/>
                                                    <a:gd name="connsiteY17" fmla="*/ 191183 h 349972"/>
                                                    <a:gd name="connsiteX18" fmla="*/ 45233 w 238748"/>
                                                    <a:gd name="connsiteY18" fmla="*/ 195912 h 349972"/>
                                                    <a:gd name="connsiteX19" fmla="*/ 23595 w 238748"/>
                                                    <a:gd name="connsiteY19" fmla="*/ 197532 h 349972"/>
                                                    <a:gd name="connsiteX20" fmla="*/ 22170 w 238748"/>
                                                    <a:gd name="connsiteY20" fmla="*/ 201678 h 349972"/>
                                                    <a:gd name="connsiteX21" fmla="*/ 23595 w 238748"/>
                                                    <a:gd name="connsiteY21" fmla="*/ 201160 h 349972"/>
                                                    <a:gd name="connsiteX22" fmla="*/ 12128 w 238748"/>
                                                    <a:gd name="connsiteY22" fmla="*/ 219299 h 349972"/>
                                                    <a:gd name="connsiteX23" fmla="*/ 8694 w 238748"/>
                                                    <a:gd name="connsiteY23" fmla="*/ 223899 h 349972"/>
                                                    <a:gd name="connsiteX24" fmla="*/ 7917 w 238748"/>
                                                    <a:gd name="connsiteY24" fmla="*/ 227981 h 349972"/>
                                                    <a:gd name="connsiteX25" fmla="*/ 2410 w 238748"/>
                                                    <a:gd name="connsiteY25" fmla="*/ 237180 h 349972"/>
                                                    <a:gd name="connsiteX26" fmla="*/ 985 w 238748"/>
                                                    <a:gd name="connsiteY26" fmla="*/ 247287 h 349972"/>
                                                    <a:gd name="connsiteX27" fmla="*/ 661 w 238748"/>
                                                    <a:gd name="connsiteY27" fmla="*/ 332415 h 349972"/>
                                                    <a:gd name="connsiteX28" fmla="*/ 8694 w 238748"/>
                                                    <a:gd name="connsiteY28" fmla="*/ 336950 h 349972"/>
                                                    <a:gd name="connsiteX29" fmla="*/ 10703 w 238748"/>
                                                    <a:gd name="connsiteY29" fmla="*/ 349972 h 349972"/>
                                                    <a:gd name="connsiteX30" fmla="*/ 15951 w 238748"/>
                                                    <a:gd name="connsiteY30" fmla="*/ 340902 h 349972"/>
                                                    <a:gd name="connsiteX31" fmla="*/ 27677 w 238748"/>
                                                    <a:gd name="connsiteY31" fmla="*/ 330407 h 349972"/>
                                                    <a:gd name="connsiteX32" fmla="*/ 36164 w 238748"/>
                                                    <a:gd name="connsiteY32" fmla="*/ 319588 h 349972"/>
                                                    <a:gd name="connsiteX33" fmla="*/ 71342 w 238748"/>
                                                    <a:gd name="connsiteY33" fmla="*/ 269444 h 349972"/>
                                                    <a:gd name="connsiteX34" fmla="*/ 146882 w 238748"/>
                                                    <a:gd name="connsiteY34" fmla="*/ 210683 h 349972"/>
                                                    <a:gd name="connsiteX35" fmla="*/ 155175 w 238748"/>
                                                    <a:gd name="connsiteY35" fmla="*/ 185676 h 349972"/>
                                                    <a:gd name="connsiteX36" fmla="*/ 185689 w 238748"/>
                                                    <a:gd name="connsiteY36" fmla="*/ 147906 h 349972"/>
                                                    <a:gd name="connsiteX37" fmla="*/ 204930 w 238748"/>
                                                    <a:gd name="connsiteY37" fmla="*/ 116290 h 349972"/>
                                                    <a:gd name="connsiteX38" fmla="*/ 213094 w 238748"/>
                                                    <a:gd name="connsiteY38" fmla="*/ 110719 h 349972"/>
                                                    <a:gd name="connsiteX39" fmla="*/ 216980 w 238748"/>
                                                    <a:gd name="connsiteY39" fmla="*/ 101066 h 349972"/>
                                                    <a:gd name="connsiteX40" fmla="*/ 238748 w 238748"/>
                                                    <a:gd name="connsiteY40" fmla="*/ 0 h 349972"/>
                                                    <a:gd name="connsiteX41" fmla="*/ 126928 w 238748"/>
                                                    <a:gd name="connsiteY41" fmla="*/ 22481 h 349972"/>
                                                    <a:gd name="connsiteX42" fmla="*/ 89806 w 238748"/>
                                                    <a:gd name="connsiteY42" fmla="*/ 29477 h 349972"/>
                                                    <a:gd name="connsiteX43" fmla="*/ 64929 w 238748"/>
                                                    <a:gd name="connsiteY43" fmla="*/ 5248 h 349972"/>
                                                    <a:gd name="connsiteX44" fmla="*/ 61365 w 238748"/>
                                                    <a:gd name="connsiteY44" fmla="*/ 5442 h 349972"/>
                                                    <a:gd name="connsiteX45" fmla="*/ 60070 w 238748"/>
                                                    <a:gd name="connsiteY45" fmla="*/ 6673 h 349972"/>
                                                    <a:gd name="connsiteX46" fmla="*/ 48279 w 238748"/>
                                                    <a:gd name="connsiteY46" fmla="*/ 21703 h 349972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38748" h="349972">
                                                      <a:moveTo>
                                                        <a:pt x="48214" y="21768"/>
                                                      </a:moveTo>
                                                      <a:cubicBezTo>
                                                        <a:pt x="45817" y="27728"/>
                                                        <a:pt x="46335" y="35373"/>
                                                        <a:pt x="51259" y="39519"/>
                                                      </a:cubicBezTo>
                                                      <a:cubicBezTo>
                                                        <a:pt x="52749" y="40815"/>
                                                        <a:pt x="54627" y="41722"/>
                                                        <a:pt x="55664" y="43406"/>
                                                      </a:cubicBezTo>
                                                      <a:cubicBezTo>
                                                        <a:pt x="57284" y="46063"/>
                                                        <a:pt x="56571" y="50015"/>
                                                        <a:pt x="59033" y="51893"/>
                                                      </a:cubicBezTo>
                                                      <a:cubicBezTo>
                                                        <a:pt x="60653" y="53060"/>
                                                        <a:pt x="62791" y="52800"/>
                                                        <a:pt x="64799" y="53124"/>
                                                      </a:cubicBezTo>
                                                      <a:cubicBezTo>
                                                        <a:pt x="73480" y="54679"/>
                                                        <a:pt x="75942" y="68090"/>
                                                        <a:pt x="84623" y="69450"/>
                                                      </a:cubicBezTo>
                                                      <a:cubicBezTo>
                                                        <a:pt x="87992" y="69968"/>
                                                        <a:pt x="91685" y="68543"/>
                                                        <a:pt x="94665" y="70228"/>
                                                      </a:cubicBezTo>
                                                      <a:cubicBezTo>
                                                        <a:pt x="96609" y="71394"/>
                                                        <a:pt x="97645" y="73596"/>
                                                        <a:pt x="99135" y="75281"/>
                                                      </a:cubicBezTo>
                                                      <a:cubicBezTo>
                                                        <a:pt x="104513" y="81176"/>
                                                        <a:pt x="114425" y="78779"/>
                                                        <a:pt x="121422" y="82602"/>
                                                      </a:cubicBezTo>
                                                      <a:cubicBezTo>
                                                        <a:pt x="124272" y="84157"/>
                                                        <a:pt x="126475" y="86683"/>
                                                        <a:pt x="128872" y="88886"/>
                                                      </a:cubicBezTo>
                                                      <a:cubicBezTo>
                                                        <a:pt x="139108" y="98345"/>
                                                        <a:pt x="153944" y="102556"/>
                                                        <a:pt x="167614" y="99835"/>
                                                      </a:cubicBezTo>
                                                      <a:cubicBezTo>
                                                        <a:pt x="167614" y="111626"/>
                                                        <a:pt x="159710" y="122963"/>
                                                        <a:pt x="148696" y="127045"/>
                                                      </a:cubicBezTo>
                                                      <a:cubicBezTo>
                                                        <a:pt x="145522" y="128211"/>
                                                        <a:pt x="142153" y="128859"/>
                                                        <a:pt x="139302" y="130608"/>
                                                      </a:cubicBezTo>
                                                      <a:cubicBezTo>
                                                        <a:pt x="136452" y="132422"/>
                                                        <a:pt x="134444" y="135208"/>
                                                        <a:pt x="132500" y="137994"/>
                                                      </a:cubicBezTo>
                                                      <a:cubicBezTo>
                                                        <a:pt x="124726" y="148877"/>
                                                        <a:pt x="116692" y="159891"/>
                                                        <a:pt x="106067" y="167924"/>
                                                      </a:cubicBezTo>
                                                      <a:cubicBezTo>
                                                        <a:pt x="95378" y="175958"/>
                                                        <a:pt x="81514" y="180817"/>
                                                        <a:pt x="68492" y="177837"/>
                                                      </a:cubicBezTo>
                                                      <a:cubicBezTo>
                                                        <a:pt x="69917" y="182048"/>
                                                        <a:pt x="65188" y="185805"/>
                                                        <a:pt x="60847" y="186842"/>
                                                      </a:cubicBezTo>
                                                      <a:cubicBezTo>
                                                        <a:pt x="56506" y="187879"/>
                                                        <a:pt x="51583" y="187943"/>
                                                        <a:pt x="48538" y="191183"/>
                                                      </a:cubicBezTo>
                                                      <a:cubicBezTo>
                                                        <a:pt x="47242" y="192608"/>
                                                        <a:pt x="46464" y="194422"/>
                                                        <a:pt x="45233" y="195912"/>
                                                      </a:cubicBezTo>
                                                      <a:cubicBezTo>
                                                        <a:pt x="40375" y="201872"/>
                                                        <a:pt x="30916" y="199993"/>
                                                        <a:pt x="23595" y="197532"/>
                                                      </a:cubicBezTo>
                                                      <a:cubicBezTo>
                                                        <a:pt x="23336" y="199022"/>
                                                        <a:pt x="22818" y="200382"/>
                                                        <a:pt x="22170" y="201678"/>
                                                      </a:cubicBezTo>
                                                      <a:cubicBezTo>
                                                        <a:pt x="22623" y="201548"/>
                                                        <a:pt x="23142" y="201419"/>
                                                        <a:pt x="23595" y="201160"/>
                                                      </a:cubicBezTo>
                                                      <a:cubicBezTo>
                                                        <a:pt x="21069" y="207897"/>
                                                        <a:pt x="17181" y="214182"/>
                                                        <a:pt x="12128" y="219299"/>
                                                      </a:cubicBezTo>
                                                      <a:cubicBezTo>
                                                        <a:pt x="10767" y="220660"/>
                                                        <a:pt x="9277" y="222085"/>
                                                        <a:pt x="8694" y="223899"/>
                                                      </a:cubicBezTo>
                                                      <a:cubicBezTo>
                                                        <a:pt x="8241" y="225195"/>
                                                        <a:pt x="8241" y="226620"/>
                                                        <a:pt x="7917" y="227981"/>
                                                      </a:cubicBezTo>
                                                      <a:cubicBezTo>
                                                        <a:pt x="7139" y="231544"/>
                                                        <a:pt x="4419" y="234200"/>
                                                        <a:pt x="2410" y="237180"/>
                                                      </a:cubicBezTo>
                                                      <a:cubicBezTo>
                                                        <a:pt x="337" y="240161"/>
                                                        <a:pt x="-1024" y="244307"/>
                                                        <a:pt x="985" y="247287"/>
                                                      </a:cubicBezTo>
                                                      <a:lnTo>
                                                        <a:pt x="661" y="332415"/>
                                                      </a:lnTo>
                                                      <a:cubicBezTo>
                                                        <a:pt x="661" y="336108"/>
                                                        <a:pt x="5520" y="338829"/>
                                                        <a:pt x="8694" y="336950"/>
                                                      </a:cubicBezTo>
                                                      <a:cubicBezTo>
                                                        <a:pt x="9861" y="341226"/>
                                                        <a:pt x="10314" y="345567"/>
                                                        <a:pt x="10703" y="349972"/>
                                                      </a:cubicBezTo>
                                                      <a:cubicBezTo>
                                                        <a:pt x="12193" y="346798"/>
                                                        <a:pt x="13748" y="343623"/>
                                                        <a:pt x="15951" y="340902"/>
                                                      </a:cubicBezTo>
                                                      <a:cubicBezTo>
                                                        <a:pt x="19254" y="336821"/>
                                                        <a:pt x="23919" y="334100"/>
                                                        <a:pt x="27677" y="330407"/>
                                                      </a:cubicBezTo>
                                                      <a:cubicBezTo>
                                                        <a:pt x="30981" y="327233"/>
                                                        <a:pt x="33572" y="323410"/>
                                                        <a:pt x="36164" y="319588"/>
                                                      </a:cubicBezTo>
                                                      <a:cubicBezTo>
                                                        <a:pt x="48019" y="302096"/>
                                                        <a:pt x="59486" y="287001"/>
                                                        <a:pt x="71342" y="269444"/>
                                                      </a:cubicBezTo>
                                                      <a:cubicBezTo>
                                                        <a:pt x="105095" y="267047"/>
                                                        <a:pt x="136257" y="242817"/>
                                                        <a:pt x="146882" y="210683"/>
                                                      </a:cubicBezTo>
                                                      <a:cubicBezTo>
                                                        <a:pt x="149668" y="202326"/>
                                                        <a:pt x="151158" y="193450"/>
                                                        <a:pt x="155175" y="185676"/>
                                                      </a:cubicBezTo>
                                                      <a:cubicBezTo>
                                                        <a:pt x="162560" y="171229"/>
                                                        <a:pt x="177526" y="161964"/>
                                                        <a:pt x="185689" y="147906"/>
                                                      </a:cubicBezTo>
                                                      <a:cubicBezTo>
                                                        <a:pt x="191973" y="137151"/>
                                                        <a:pt x="194500" y="123287"/>
                                                        <a:pt x="204930" y="116290"/>
                                                      </a:cubicBezTo>
                                                      <a:cubicBezTo>
                                                        <a:pt x="207651" y="114476"/>
                                                        <a:pt x="210891" y="113181"/>
                                                        <a:pt x="213094" y="110719"/>
                                                      </a:cubicBezTo>
                                                      <a:cubicBezTo>
                                                        <a:pt x="215426" y="108063"/>
                                                        <a:pt x="216203" y="104499"/>
                                                        <a:pt x="216980" y="101066"/>
                                                      </a:cubicBezTo>
                                                      <a:cubicBezTo>
                                                        <a:pt x="224236" y="67377"/>
                                                        <a:pt x="231492" y="33688"/>
                                                        <a:pt x="238748" y="0"/>
                                                      </a:cubicBezTo>
                                                      <a:cubicBezTo>
                                                        <a:pt x="200784" y="2980"/>
                                                        <a:pt x="163144" y="10560"/>
                                                        <a:pt x="126928" y="22481"/>
                                                      </a:cubicBezTo>
                                                      <a:cubicBezTo>
                                                        <a:pt x="114878" y="26497"/>
                                                        <a:pt x="102375" y="31032"/>
                                                        <a:pt x="89806" y="29477"/>
                                                      </a:cubicBezTo>
                                                      <a:cubicBezTo>
                                                        <a:pt x="77173" y="27923"/>
                                                        <a:pt x="64540" y="17946"/>
                                                        <a:pt x="64929" y="5248"/>
                                                      </a:cubicBezTo>
                                                      <a:cubicBezTo>
                                                        <a:pt x="63762" y="5312"/>
                                                        <a:pt x="62596" y="5377"/>
                                                        <a:pt x="61365" y="5442"/>
                                                      </a:cubicBezTo>
                                                      <a:lnTo>
                                                        <a:pt x="60070" y="6673"/>
                                                      </a:lnTo>
                                                      <a:cubicBezTo>
                                                        <a:pt x="55470" y="11143"/>
                                                        <a:pt x="50676" y="15743"/>
                                                        <a:pt x="48279" y="21703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1" name="Freeform: Shape 2050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68B4F82-BC4A-43AE-A7A7-41418739B43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8042898" y="4040413"/>
                                                  <a:ext cx="43699" cy="64358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9469 w 43699"/>
                                                    <a:gd name="connsiteY0" fmla="*/ 221 h 64358"/>
                                                    <a:gd name="connsiteX1" fmla="*/ 1524 w 43699"/>
                                                    <a:gd name="connsiteY1" fmla="*/ 11105 h 64358"/>
                                                    <a:gd name="connsiteX2" fmla="*/ 746 w 43699"/>
                                                    <a:gd name="connsiteY2" fmla="*/ 16936 h 64358"/>
                                                    <a:gd name="connsiteX3" fmla="*/ 33 w 43699"/>
                                                    <a:gd name="connsiteY3" fmla="*/ 30864 h 64358"/>
                                                    <a:gd name="connsiteX4" fmla="*/ 811 w 43699"/>
                                                    <a:gd name="connsiteY4" fmla="*/ 36242 h 64358"/>
                                                    <a:gd name="connsiteX5" fmla="*/ 3467 w 43699"/>
                                                    <a:gd name="connsiteY5" fmla="*/ 39546 h 64358"/>
                                                    <a:gd name="connsiteX6" fmla="*/ 3921 w 43699"/>
                                                    <a:gd name="connsiteY6" fmla="*/ 45636 h 64358"/>
                                                    <a:gd name="connsiteX7" fmla="*/ 10140 w 43699"/>
                                                    <a:gd name="connsiteY7" fmla="*/ 59241 h 64358"/>
                                                    <a:gd name="connsiteX8" fmla="*/ 24004 w 43699"/>
                                                    <a:gd name="connsiteY8" fmla="*/ 64100 h 64358"/>
                                                    <a:gd name="connsiteX9" fmla="*/ 29900 w 43699"/>
                                                    <a:gd name="connsiteY9" fmla="*/ 64359 h 64358"/>
                                                    <a:gd name="connsiteX10" fmla="*/ 30612 w 43699"/>
                                                    <a:gd name="connsiteY10" fmla="*/ 52503 h 64358"/>
                                                    <a:gd name="connsiteX11" fmla="*/ 42403 w 43699"/>
                                                    <a:gd name="connsiteY11" fmla="*/ 37473 h 64358"/>
                                                    <a:gd name="connsiteX12" fmla="*/ 43699 w 43699"/>
                                                    <a:gd name="connsiteY12" fmla="*/ 36242 h 64358"/>
                                                    <a:gd name="connsiteX13" fmla="*/ 33463 w 43699"/>
                                                    <a:gd name="connsiteY13" fmla="*/ 34298 h 64358"/>
                                                    <a:gd name="connsiteX14" fmla="*/ 29964 w 43699"/>
                                                    <a:gd name="connsiteY14" fmla="*/ 22442 h 64358"/>
                                                    <a:gd name="connsiteX15" fmla="*/ 39358 w 43699"/>
                                                    <a:gd name="connsiteY15" fmla="*/ 8319 h 64358"/>
                                                    <a:gd name="connsiteX16" fmla="*/ 33463 w 43699"/>
                                                    <a:gd name="connsiteY16" fmla="*/ 869 h 64358"/>
                                                    <a:gd name="connsiteX17" fmla="*/ 19405 w 43699"/>
                                                    <a:gd name="connsiteY17" fmla="*/ 221 h 64358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3699" h="64358">
                                                      <a:moveTo>
                                                        <a:pt x="19469" y="221"/>
                                                      </a:moveTo>
                                                      <a:cubicBezTo>
                                                        <a:pt x="12084" y="869"/>
                                                        <a:pt x="3791" y="4043"/>
                                                        <a:pt x="1524" y="11105"/>
                                                      </a:cubicBezTo>
                                                      <a:cubicBezTo>
                                                        <a:pt x="940" y="12984"/>
                                                        <a:pt x="811" y="14992"/>
                                                        <a:pt x="746" y="16936"/>
                                                      </a:cubicBezTo>
                                                      <a:cubicBezTo>
                                                        <a:pt x="487" y="21600"/>
                                                        <a:pt x="293" y="26200"/>
                                                        <a:pt x="33" y="30864"/>
                                                      </a:cubicBezTo>
                                                      <a:cubicBezTo>
                                                        <a:pt x="-31" y="32743"/>
                                                        <a:pt x="-96" y="34687"/>
                                                        <a:pt x="811" y="36242"/>
                                                      </a:cubicBezTo>
                                                      <a:cubicBezTo>
                                                        <a:pt x="1524" y="37473"/>
                                                        <a:pt x="2819" y="38315"/>
                                                        <a:pt x="3467" y="39546"/>
                                                      </a:cubicBezTo>
                                                      <a:cubicBezTo>
                                                        <a:pt x="4439" y="41360"/>
                                                        <a:pt x="4050" y="43562"/>
                                                        <a:pt x="3921" y="45636"/>
                                                      </a:cubicBezTo>
                                                      <a:cubicBezTo>
                                                        <a:pt x="3726" y="50818"/>
                                                        <a:pt x="6123" y="56001"/>
                                                        <a:pt x="10140" y="59241"/>
                                                      </a:cubicBezTo>
                                                      <a:cubicBezTo>
                                                        <a:pt x="14027" y="62350"/>
                                                        <a:pt x="19080" y="63581"/>
                                                        <a:pt x="24004" y="64100"/>
                                                      </a:cubicBezTo>
                                                      <a:cubicBezTo>
                                                        <a:pt x="25948" y="64294"/>
                                                        <a:pt x="27891" y="64359"/>
                                                        <a:pt x="29900" y="64359"/>
                                                      </a:cubicBezTo>
                                                      <a:cubicBezTo>
                                                        <a:pt x="28733" y="60601"/>
                                                        <a:pt x="29122" y="56196"/>
                                                        <a:pt x="30612" y="52503"/>
                                                      </a:cubicBezTo>
                                                      <a:cubicBezTo>
                                                        <a:pt x="33009" y="46543"/>
                                                        <a:pt x="37803" y="41943"/>
                                                        <a:pt x="42403" y="37473"/>
                                                      </a:cubicBezTo>
                                                      <a:lnTo>
                                                        <a:pt x="43699" y="36242"/>
                                                      </a:lnTo>
                                                      <a:cubicBezTo>
                                                        <a:pt x="40136" y="36306"/>
                                                        <a:pt x="36508" y="36047"/>
                                                        <a:pt x="33463" y="34298"/>
                                                      </a:cubicBezTo>
                                                      <a:cubicBezTo>
                                                        <a:pt x="29381" y="31966"/>
                                                        <a:pt x="26984" y="26070"/>
                                                        <a:pt x="29964" y="22442"/>
                                                      </a:cubicBezTo>
                                                      <a:cubicBezTo>
                                                        <a:pt x="36378" y="26848"/>
                                                        <a:pt x="42986" y="15186"/>
                                                        <a:pt x="39358" y="8319"/>
                                                      </a:cubicBezTo>
                                                      <a:cubicBezTo>
                                                        <a:pt x="37868" y="5533"/>
                                                        <a:pt x="35730" y="3201"/>
                                                        <a:pt x="33463" y="869"/>
                                                      </a:cubicBezTo>
                                                      <a:cubicBezTo>
                                                        <a:pt x="28863" y="26"/>
                                                        <a:pt x="24134" y="-233"/>
                                                        <a:pt x="19405" y="221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2" name="Freeform: Shape 2051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F10F7B04-A6D7-4AD4-B4D8-7A71B4C106EE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916976" y="3889100"/>
                                                  <a:ext cx="159449" cy="152375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3765 w 159449"/>
                                                    <a:gd name="connsiteY0" fmla="*/ 17881 h 152375"/>
                                                    <a:gd name="connsiteX1" fmla="*/ 24501 w 159449"/>
                                                    <a:gd name="connsiteY1" fmla="*/ 23712 h 152375"/>
                                                    <a:gd name="connsiteX2" fmla="*/ 22557 w 159449"/>
                                                    <a:gd name="connsiteY2" fmla="*/ 33365 h 152375"/>
                                                    <a:gd name="connsiteX3" fmla="*/ 11479 w 159449"/>
                                                    <a:gd name="connsiteY3" fmla="*/ 41268 h 152375"/>
                                                    <a:gd name="connsiteX4" fmla="*/ 8305 w 159449"/>
                                                    <a:gd name="connsiteY4" fmla="*/ 56040 h 152375"/>
                                                    <a:gd name="connsiteX5" fmla="*/ 5195 w 159449"/>
                                                    <a:gd name="connsiteY5" fmla="*/ 62324 h 152375"/>
                                                    <a:gd name="connsiteX6" fmla="*/ 400 w 159449"/>
                                                    <a:gd name="connsiteY6" fmla="*/ 97632 h 152375"/>
                                                    <a:gd name="connsiteX7" fmla="*/ 8952 w 159449"/>
                                                    <a:gd name="connsiteY7" fmla="*/ 109617 h 152375"/>
                                                    <a:gd name="connsiteX8" fmla="*/ 14071 w 159449"/>
                                                    <a:gd name="connsiteY8" fmla="*/ 107026 h 152375"/>
                                                    <a:gd name="connsiteX9" fmla="*/ 31368 w 159449"/>
                                                    <a:gd name="connsiteY9" fmla="*/ 104564 h 152375"/>
                                                    <a:gd name="connsiteX10" fmla="*/ 33053 w 159449"/>
                                                    <a:gd name="connsiteY10" fmla="*/ 95948 h 152375"/>
                                                    <a:gd name="connsiteX11" fmla="*/ 40374 w 159449"/>
                                                    <a:gd name="connsiteY11" fmla="*/ 92320 h 152375"/>
                                                    <a:gd name="connsiteX12" fmla="*/ 52100 w 159449"/>
                                                    <a:gd name="connsiteY12" fmla="*/ 101325 h 152375"/>
                                                    <a:gd name="connsiteX13" fmla="*/ 59485 w 159449"/>
                                                    <a:gd name="connsiteY13" fmla="*/ 94717 h 152375"/>
                                                    <a:gd name="connsiteX14" fmla="*/ 65186 w 159449"/>
                                                    <a:gd name="connsiteY14" fmla="*/ 97179 h 152375"/>
                                                    <a:gd name="connsiteX15" fmla="*/ 84233 w 159449"/>
                                                    <a:gd name="connsiteY15" fmla="*/ 102750 h 152375"/>
                                                    <a:gd name="connsiteX16" fmla="*/ 92331 w 159449"/>
                                                    <a:gd name="connsiteY16" fmla="*/ 103074 h 152375"/>
                                                    <a:gd name="connsiteX17" fmla="*/ 96802 w 159449"/>
                                                    <a:gd name="connsiteY17" fmla="*/ 107479 h 152375"/>
                                                    <a:gd name="connsiteX18" fmla="*/ 142152 w 159449"/>
                                                    <a:gd name="connsiteY18" fmla="*/ 152182 h 152375"/>
                                                    <a:gd name="connsiteX19" fmla="*/ 145391 w 159449"/>
                                                    <a:gd name="connsiteY19" fmla="*/ 151728 h 152375"/>
                                                    <a:gd name="connsiteX20" fmla="*/ 159450 w 159449"/>
                                                    <a:gd name="connsiteY20" fmla="*/ 152376 h 152375"/>
                                                    <a:gd name="connsiteX21" fmla="*/ 150833 w 159449"/>
                                                    <a:gd name="connsiteY21" fmla="*/ 141751 h 152375"/>
                                                    <a:gd name="connsiteX22" fmla="*/ 147594 w 159449"/>
                                                    <a:gd name="connsiteY22" fmla="*/ 132098 h 152375"/>
                                                    <a:gd name="connsiteX23" fmla="*/ 136580 w 159449"/>
                                                    <a:gd name="connsiteY23" fmla="*/ 121344 h 152375"/>
                                                    <a:gd name="connsiteX24" fmla="*/ 118959 w 159449"/>
                                                    <a:gd name="connsiteY24" fmla="*/ 108322 h 152375"/>
                                                    <a:gd name="connsiteX25" fmla="*/ 80670 w 159449"/>
                                                    <a:gd name="connsiteY25" fmla="*/ 55975 h 152375"/>
                                                    <a:gd name="connsiteX26" fmla="*/ 76653 w 159449"/>
                                                    <a:gd name="connsiteY26" fmla="*/ 48913 h 152375"/>
                                                    <a:gd name="connsiteX27" fmla="*/ 44973 w 159449"/>
                                                    <a:gd name="connsiteY27" fmla="*/ 0 h 152375"/>
                                                    <a:gd name="connsiteX28" fmla="*/ 33830 w 159449"/>
                                                    <a:gd name="connsiteY28" fmla="*/ 18140 h 152375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159449" h="152375">
                                                      <a:moveTo>
                                                        <a:pt x="33765" y="17881"/>
                                                      </a:moveTo>
                                                      <a:cubicBezTo>
                                                        <a:pt x="30850" y="20084"/>
                                                        <a:pt x="27222" y="21250"/>
                                                        <a:pt x="24501" y="23712"/>
                                                      </a:cubicBezTo>
                                                      <a:cubicBezTo>
                                                        <a:pt x="21780" y="26173"/>
                                                        <a:pt x="20225" y="30579"/>
                                                        <a:pt x="22557" y="33365"/>
                                                      </a:cubicBezTo>
                                                      <a:cubicBezTo>
                                                        <a:pt x="17699" y="31939"/>
                                                        <a:pt x="13034" y="36474"/>
                                                        <a:pt x="11479" y="41268"/>
                                                      </a:cubicBezTo>
                                                      <a:cubicBezTo>
                                                        <a:pt x="9924" y="46063"/>
                                                        <a:pt x="10118" y="51310"/>
                                                        <a:pt x="8305" y="56040"/>
                                                      </a:cubicBezTo>
                                                      <a:cubicBezTo>
                                                        <a:pt x="7462" y="58242"/>
                                                        <a:pt x="6231" y="60186"/>
                                                        <a:pt x="5195" y="62324"/>
                                                      </a:cubicBezTo>
                                                      <a:cubicBezTo>
                                                        <a:pt x="-247" y="73078"/>
                                                        <a:pt x="-506" y="85647"/>
                                                        <a:pt x="400" y="97632"/>
                                                      </a:cubicBezTo>
                                                      <a:cubicBezTo>
                                                        <a:pt x="789" y="103139"/>
                                                        <a:pt x="3446" y="110395"/>
                                                        <a:pt x="8952" y="109617"/>
                                                      </a:cubicBezTo>
                                                      <a:cubicBezTo>
                                                        <a:pt x="10896" y="109358"/>
                                                        <a:pt x="12451" y="108063"/>
                                                        <a:pt x="14071" y="107026"/>
                                                      </a:cubicBezTo>
                                                      <a:cubicBezTo>
                                                        <a:pt x="19124" y="103787"/>
                                                        <a:pt x="25602" y="102880"/>
                                                        <a:pt x="31368" y="104564"/>
                                                      </a:cubicBezTo>
                                                      <a:cubicBezTo>
                                                        <a:pt x="31498" y="101649"/>
                                                        <a:pt x="31627" y="98539"/>
                                                        <a:pt x="33053" y="95948"/>
                                                      </a:cubicBezTo>
                                                      <a:cubicBezTo>
                                                        <a:pt x="34478" y="93356"/>
                                                        <a:pt x="37523" y="91413"/>
                                                        <a:pt x="40374" y="92320"/>
                                                      </a:cubicBezTo>
                                                      <a:cubicBezTo>
                                                        <a:pt x="45362" y="93874"/>
                                                        <a:pt x="47111" y="102750"/>
                                                        <a:pt x="52100" y="101325"/>
                                                      </a:cubicBezTo>
                                                      <a:cubicBezTo>
                                                        <a:pt x="55339" y="100353"/>
                                                        <a:pt x="56181" y="95365"/>
                                                        <a:pt x="59485" y="94717"/>
                                                      </a:cubicBezTo>
                                                      <a:cubicBezTo>
                                                        <a:pt x="61558" y="94328"/>
                                                        <a:pt x="63502" y="95883"/>
                                                        <a:pt x="65186" y="97179"/>
                                                      </a:cubicBezTo>
                                                      <a:cubicBezTo>
                                                        <a:pt x="70564" y="101260"/>
                                                        <a:pt x="77496" y="103268"/>
                                                        <a:pt x="84233" y="102750"/>
                                                      </a:cubicBezTo>
                                                      <a:cubicBezTo>
                                                        <a:pt x="86955" y="102556"/>
                                                        <a:pt x="89805" y="101908"/>
                                                        <a:pt x="92331" y="103074"/>
                                                      </a:cubicBezTo>
                                                      <a:cubicBezTo>
                                                        <a:pt x="94275" y="103981"/>
                                                        <a:pt x="95571" y="105795"/>
                                                        <a:pt x="96802" y="107479"/>
                                                      </a:cubicBezTo>
                                                      <a:cubicBezTo>
                                                        <a:pt x="109370" y="124648"/>
                                                        <a:pt x="124789" y="139807"/>
                                                        <a:pt x="142152" y="152182"/>
                                                      </a:cubicBezTo>
                                                      <a:cubicBezTo>
                                                        <a:pt x="143253" y="151987"/>
                                                        <a:pt x="144290" y="151793"/>
                                                        <a:pt x="145391" y="151728"/>
                                                      </a:cubicBezTo>
                                                      <a:cubicBezTo>
                                                        <a:pt x="150056" y="151339"/>
                                                        <a:pt x="154785" y="151534"/>
                                                        <a:pt x="159450" y="152376"/>
                                                      </a:cubicBezTo>
                                                      <a:cubicBezTo>
                                                        <a:pt x="156146" y="149072"/>
                                                        <a:pt x="152647" y="145962"/>
                                                        <a:pt x="150833" y="141751"/>
                                                      </a:cubicBezTo>
                                                      <a:cubicBezTo>
                                                        <a:pt x="149472" y="138641"/>
                                                        <a:pt x="149084" y="135143"/>
                                                        <a:pt x="147594" y="132098"/>
                                                      </a:cubicBezTo>
                                                      <a:cubicBezTo>
                                                        <a:pt x="145327" y="127433"/>
                                                        <a:pt x="140856" y="124259"/>
                                                        <a:pt x="136580" y="121344"/>
                                                      </a:cubicBezTo>
                                                      <a:cubicBezTo>
                                                        <a:pt x="130555" y="117197"/>
                                                        <a:pt x="124465" y="113116"/>
                                                        <a:pt x="118959" y="108322"/>
                                                      </a:cubicBezTo>
                                                      <a:cubicBezTo>
                                                        <a:pt x="102503" y="94134"/>
                                                        <a:pt x="91425" y="74827"/>
                                                        <a:pt x="80670" y="55975"/>
                                                      </a:cubicBezTo>
                                                      <a:cubicBezTo>
                                                        <a:pt x="79310" y="53643"/>
                                                        <a:pt x="78014" y="51246"/>
                                                        <a:pt x="76653" y="48913"/>
                                                      </a:cubicBezTo>
                                                      <a:cubicBezTo>
                                                        <a:pt x="67065" y="32004"/>
                                                        <a:pt x="57218" y="14965"/>
                                                        <a:pt x="44973" y="0"/>
                                                      </a:cubicBezTo>
                                                      <a:cubicBezTo>
                                                        <a:pt x="41799" y="6543"/>
                                                        <a:pt x="39531" y="13799"/>
                                                        <a:pt x="33830" y="1814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3" name="Freeform: Shape 2052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9D18CA50-C498-47E1-834B-CD0AC036C817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828058" y="3980805"/>
                                                  <a:ext cx="364917" cy="311421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81869 w 364917"/>
                                                    <a:gd name="connsiteY0" fmla="*/ 50630 h 311421"/>
                                                    <a:gd name="connsiteX1" fmla="*/ 70790 w 364917"/>
                                                    <a:gd name="connsiteY1" fmla="*/ 59635 h 311421"/>
                                                    <a:gd name="connsiteX2" fmla="*/ 64441 w 364917"/>
                                                    <a:gd name="connsiteY2" fmla="*/ 71555 h 311421"/>
                                                    <a:gd name="connsiteX3" fmla="*/ 55631 w 364917"/>
                                                    <a:gd name="connsiteY3" fmla="*/ 75637 h 311421"/>
                                                    <a:gd name="connsiteX4" fmla="*/ 49152 w 364917"/>
                                                    <a:gd name="connsiteY4" fmla="*/ 92352 h 311421"/>
                                                    <a:gd name="connsiteX5" fmla="*/ 46302 w 364917"/>
                                                    <a:gd name="connsiteY5" fmla="*/ 109520 h 311421"/>
                                                    <a:gd name="connsiteX6" fmla="*/ 38397 w 364917"/>
                                                    <a:gd name="connsiteY6" fmla="*/ 116258 h 311421"/>
                                                    <a:gd name="connsiteX7" fmla="*/ 34899 w 364917"/>
                                                    <a:gd name="connsiteY7" fmla="*/ 126753 h 311421"/>
                                                    <a:gd name="connsiteX8" fmla="*/ 30234 w 364917"/>
                                                    <a:gd name="connsiteY8" fmla="*/ 136211 h 311421"/>
                                                    <a:gd name="connsiteX9" fmla="*/ 33215 w 364917"/>
                                                    <a:gd name="connsiteY9" fmla="*/ 143791 h 311421"/>
                                                    <a:gd name="connsiteX10" fmla="*/ 29975 w 364917"/>
                                                    <a:gd name="connsiteY10" fmla="*/ 163875 h 311421"/>
                                                    <a:gd name="connsiteX11" fmla="*/ 11058 w 364917"/>
                                                    <a:gd name="connsiteY11" fmla="*/ 172686 h 311421"/>
                                                    <a:gd name="connsiteX12" fmla="*/ 4515 w 364917"/>
                                                    <a:gd name="connsiteY12" fmla="*/ 173593 h 311421"/>
                                                    <a:gd name="connsiteX13" fmla="*/ 433 w 364917"/>
                                                    <a:gd name="connsiteY13" fmla="*/ 183764 h 311421"/>
                                                    <a:gd name="connsiteX14" fmla="*/ 9374 w 364917"/>
                                                    <a:gd name="connsiteY14" fmla="*/ 190955 h 311421"/>
                                                    <a:gd name="connsiteX15" fmla="*/ 16371 w 364917"/>
                                                    <a:gd name="connsiteY15" fmla="*/ 192445 h 311421"/>
                                                    <a:gd name="connsiteX16" fmla="*/ 23108 w 364917"/>
                                                    <a:gd name="connsiteY16" fmla="*/ 208253 h 311421"/>
                                                    <a:gd name="connsiteX17" fmla="*/ 33603 w 364917"/>
                                                    <a:gd name="connsiteY17" fmla="*/ 213954 h 311421"/>
                                                    <a:gd name="connsiteX18" fmla="*/ 41831 w 364917"/>
                                                    <a:gd name="connsiteY18" fmla="*/ 224255 h 311421"/>
                                                    <a:gd name="connsiteX19" fmla="*/ 72345 w 364917"/>
                                                    <a:gd name="connsiteY19" fmla="*/ 255028 h 311421"/>
                                                    <a:gd name="connsiteX20" fmla="*/ 67486 w 364917"/>
                                                    <a:gd name="connsiteY20" fmla="*/ 270253 h 311421"/>
                                                    <a:gd name="connsiteX21" fmla="*/ 71892 w 364917"/>
                                                    <a:gd name="connsiteY21" fmla="*/ 273363 h 311421"/>
                                                    <a:gd name="connsiteX22" fmla="*/ 76750 w 364917"/>
                                                    <a:gd name="connsiteY22" fmla="*/ 278611 h 311421"/>
                                                    <a:gd name="connsiteX23" fmla="*/ 104220 w 364917"/>
                                                    <a:gd name="connsiteY23" fmla="*/ 281785 h 311421"/>
                                                    <a:gd name="connsiteX24" fmla="*/ 108042 w 364917"/>
                                                    <a:gd name="connsiteY24" fmla="*/ 293446 h 311421"/>
                                                    <a:gd name="connsiteX25" fmla="*/ 117047 w 364917"/>
                                                    <a:gd name="connsiteY25" fmla="*/ 295325 h 311421"/>
                                                    <a:gd name="connsiteX26" fmla="*/ 122490 w 364917"/>
                                                    <a:gd name="connsiteY26" fmla="*/ 301480 h 311421"/>
                                                    <a:gd name="connsiteX27" fmla="*/ 137002 w 364917"/>
                                                    <a:gd name="connsiteY27" fmla="*/ 306533 h 311421"/>
                                                    <a:gd name="connsiteX28" fmla="*/ 140565 w 364917"/>
                                                    <a:gd name="connsiteY28" fmla="*/ 310744 h 311421"/>
                                                    <a:gd name="connsiteX29" fmla="*/ 145618 w 364917"/>
                                                    <a:gd name="connsiteY29" fmla="*/ 311327 h 311421"/>
                                                    <a:gd name="connsiteX30" fmla="*/ 160259 w 364917"/>
                                                    <a:gd name="connsiteY30" fmla="*/ 310032 h 311421"/>
                                                    <a:gd name="connsiteX31" fmla="*/ 166414 w 364917"/>
                                                    <a:gd name="connsiteY31" fmla="*/ 302970 h 311421"/>
                                                    <a:gd name="connsiteX32" fmla="*/ 174383 w 364917"/>
                                                    <a:gd name="connsiteY32" fmla="*/ 301674 h 311421"/>
                                                    <a:gd name="connsiteX33" fmla="*/ 174383 w 364917"/>
                                                    <a:gd name="connsiteY33" fmla="*/ 297010 h 311421"/>
                                                    <a:gd name="connsiteX34" fmla="*/ 184619 w 364917"/>
                                                    <a:gd name="connsiteY34" fmla="*/ 291373 h 311421"/>
                                                    <a:gd name="connsiteX35" fmla="*/ 202176 w 364917"/>
                                                    <a:gd name="connsiteY35" fmla="*/ 284959 h 311421"/>
                                                    <a:gd name="connsiteX36" fmla="*/ 211181 w 364917"/>
                                                    <a:gd name="connsiteY36" fmla="*/ 289948 h 311421"/>
                                                    <a:gd name="connsiteX37" fmla="*/ 219474 w 364917"/>
                                                    <a:gd name="connsiteY37" fmla="*/ 291827 h 311421"/>
                                                    <a:gd name="connsiteX38" fmla="*/ 220899 w 364917"/>
                                                    <a:gd name="connsiteY38" fmla="*/ 287680 h 311421"/>
                                                    <a:gd name="connsiteX39" fmla="*/ 242537 w 364917"/>
                                                    <a:gd name="connsiteY39" fmla="*/ 286061 h 311421"/>
                                                    <a:gd name="connsiteX40" fmla="*/ 245841 w 364917"/>
                                                    <a:gd name="connsiteY40" fmla="*/ 281331 h 311421"/>
                                                    <a:gd name="connsiteX41" fmla="*/ 258150 w 364917"/>
                                                    <a:gd name="connsiteY41" fmla="*/ 276991 h 311421"/>
                                                    <a:gd name="connsiteX42" fmla="*/ 265796 w 364917"/>
                                                    <a:gd name="connsiteY42" fmla="*/ 267986 h 311421"/>
                                                    <a:gd name="connsiteX43" fmla="*/ 303371 w 364917"/>
                                                    <a:gd name="connsiteY43" fmla="*/ 258073 h 311421"/>
                                                    <a:gd name="connsiteX44" fmla="*/ 329804 w 364917"/>
                                                    <a:gd name="connsiteY44" fmla="*/ 228142 h 311421"/>
                                                    <a:gd name="connsiteX45" fmla="*/ 336606 w 364917"/>
                                                    <a:gd name="connsiteY45" fmla="*/ 220757 h 311421"/>
                                                    <a:gd name="connsiteX46" fmla="*/ 346000 w 364917"/>
                                                    <a:gd name="connsiteY46" fmla="*/ 217194 h 311421"/>
                                                    <a:gd name="connsiteX47" fmla="*/ 364918 w 364917"/>
                                                    <a:gd name="connsiteY47" fmla="*/ 189984 h 311421"/>
                                                    <a:gd name="connsiteX48" fmla="*/ 326175 w 364917"/>
                                                    <a:gd name="connsiteY48" fmla="*/ 179035 h 311421"/>
                                                    <a:gd name="connsiteX49" fmla="*/ 318725 w 364917"/>
                                                    <a:gd name="connsiteY49" fmla="*/ 172751 h 311421"/>
                                                    <a:gd name="connsiteX50" fmla="*/ 296439 w 364917"/>
                                                    <a:gd name="connsiteY50" fmla="*/ 165430 h 311421"/>
                                                    <a:gd name="connsiteX51" fmla="*/ 291969 w 364917"/>
                                                    <a:gd name="connsiteY51" fmla="*/ 160377 h 311421"/>
                                                    <a:gd name="connsiteX52" fmla="*/ 281927 w 364917"/>
                                                    <a:gd name="connsiteY52" fmla="*/ 159599 h 311421"/>
                                                    <a:gd name="connsiteX53" fmla="*/ 262103 w 364917"/>
                                                    <a:gd name="connsiteY53" fmla="*/ 143273 h 311421"/>
                                                    <a:gd name="connsiteX54" fmla="*/ 256337 w 364917"/>
                                                    <a:gd name="connsiteY54" fmla="*/ 142042 h 311421"/>
                                                    <a:gd name="connsiteX55" fmla="*/ 252968 w 364917"/>
                                                    <a:gd name="connsiteY55" fmla="*/ 133555 h 311421"/>
                                                    <a:gd name="connsiteX56" fmla="*/ 248562 w 364917"/>
                                                    <a:gd name="connsiteY56" fmla="*/ 129668 h 311421"/>
                                                    <a:gd name="connsiteX57" fmla="*/ 244805 w 364917"/>
                                                    <a:gd name="connsiteY57" fmla="*/ 123773 h 311421"/>
                                                    <a:gd name="connsiteX58" fmla="*/ 238909 w 364917"/>
                                                    <a:gd name="connsiteY58" fmla="*/ 123513 h 311421"/>
                                                    <a:gd name="connsiteX59" fmla="*/ 225045 w 364917"/>
                                                    <a:gd name="connsiteY59" fmla="*/ 118655 h 311421"/>
                                                    <a:gd name="connsiteX60" fmla="*/ 218826 w 364917"/>
                                                    <a:gd name="connsiteY60" fmla="*/ 105050 h 311421"/>
                                                    <a:gd name="connsiteX61" fmla="*/ 218372 w 364917"/>
                                                    <a:gd name="connsiteY61" fmla="*/ 98960 h 311421"/>
                                                    <a:gd name="connsiteX62" fmla="*/ 215716 w 364917"/>
                                                    <a:gd name="connsiteY62" fmla="*/ 95656 h 311421"/>
                                                    <a:gd name="connsiteX63" fmla="*/ 214939 w 364917"/>
                                                    <a:gd name="connsiteY63" fmla="*/ 90278 h 311421"/>
                                                    <a:gd name="connsiteX64" fmla="*/ 215651 w 364917"/>
                                                    <a:gd name="connsiteY64" fmla="*/ 76349 h 311421"/>
                                                    <a:gd name="connsiteX65" fmla="*/ 216429 w 364917"/>
                                                    <a:gd name="connsiteY65" fmla="*/ 70519 h 311421"/>
                                                    <a:gd name="connsiteX66" fmla="*/ 231135 w 364917"/>
                                                    <a:gd name="connsiteY66" fmla="*/ 60088 h 311421"/>
                                                    <a:gd name="connsiteX67" fmla="*/ 185785 w 364917"/>
                                                    <a:gd name="connsiteY67" fmla="*/ 15386 h 311421"/>
                                                    <a:gd name="connsiteX68" fmla="*/ 181315 w 364917"/>
                                                    <a:gd name="connsiteY68" fmla="*/ 10981 h 311421"/>
                                                    <a:gd name="connsiteX69" fmla="*/ 173217 w 364917"/>
                                                    <a:gd name="connsiteY69" fmla="*/ 10657 h 311421"/>
                                                    <a:gd name="connsiteX70" fmla="*/ 154169 w 364917"/>
                                                    <a:gd name="connsiteY70" fmla="*/ 5085 h 311421"/>
                                                    <a:gd name="connsiteX71" fmla="*/ 148468 w 364917"/>
                                                    <a:gd name="connsiteY71" fmla="*/ 2623 h 311421"/>
                                                    <a:gd name="connsiteX72" fmla="*/ 141083 w 364917"/>
                                                    <a:gd name="connsiteY72" fmla="*/ 9231 h 311421"/>
                                                    <a:gd name="connsiteX73" fmla="*/ 129357 w 364917"/>
                                                    <a:gd name="connsiteY73" fmla="*/ 226 h 311421"/>
                                                    <a:gd name="connsiteX74" fmla="*/ 122036 w 364917"/>
                                                    <a:gd name="connsiteY74" fmla="*/ 3854 h 311421"/>
                                                    <a:gd name="connsiteX75" fmla="*/ 120352 w 364917"/>
                                                    <a:gd name="connsiteY75" fmla="*/ 12471 h 311421"/>
                                                    <a:gd name="connsiteX76" fmla="*/ 103054 w 364917"/>
                                                    <a:gd name="connsiteY76" fmla="*/ 14933 h 311421"/>
                                                    <a:gd name="connsiteX77" fmla="*/ 97936 w 364917"/>
                                                    <a:gd name="connsiteY77" fmla="*/ 17524 h 311421"/>
                                                    <a:gd name="connsiteX78" fmla="*/ 94372 w 364917"/>
                                                    <a:gd name="connsiteY78" fmla="*/ 16747 h 311421"/>
                                                    <a:gd name="connsiteX79" fmla="*/ 84136 w 364917"/>
                                                    <a:gd name="connsiteY79" fmla="*/ 43697 h 311421"/>
                                                    <a:gd name="connsiteX80" fmla="*/ 81934 w 364917"/>
                                                    <a:gd name="connsiteY80" fmla="*/ 50306 h 311421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64917" h="311421">
                                                      <a:moveTo>
                                                        <a:pt x="81869" y="50630"/>
                                                      </a:moveTo>
                                                      <a:cubicBezTo>
                                                        <a:pt x="79472" y="54776"/>
                                                        <a:pt x="74742" y="56914"/>
                                                        <a:pt x="70790" y="59635"/>
                                                      </a:cubicBezTo>
                                                      <a:cubicBezTo>
                                                        <a:pt x="66838" y="62356"/>
                                                        <a:pt x="63081" y="66891"/>
                                                        <a:pt x="64441" y="71555"/>
                                                      </a:cubicBezTo>
                                                      <a:cubicBezTo>
                                                        <a:pt x="61202" y="72203"/>
                                                        <a:pt x="58157" y="73564"/>
                                                        <a:pt x="55631" y="75637"/>
                                                      </a:cubicBezTo>
                                                      <a:cubicBezTo>
                                                        <a:pt x="56214" y="81727"/>
                                                        <a:pt x="52327" y="87169"/>
                                                        <a:pt x="49152" y="92352"/>
                                                      </a:cubicBezTo>
                                                      <a:cubicBezTo>
                                                        <a:pt x="45977" y="97534"/>
                                                        <a:pt x="43321" y="104207"/>
                                                        <a:pt x="46302" y="109520"/>
                                                      </a:cubicBezTo>
                                                      <a:cubicBezTo>
                                                        <a:pt x="42609" y="109520"/>
                                                        <a:pt x="39693" y="112824"/>
                                                        <a:pt x="38397" y="116258"/>
                                                      </a:cubicBezTo>
                                                      <a:cubicBezTo>
                                                        <a:pt x="37037" y="119691"/>
                                                        <a:pt x="36648" y="123513"/>
                                                        <a:pt x="34899" y="126753"/>
                                                      </a:cubicBezTo>
                                                      <a:cubicBezTo>
                                                        <a:pt x="33215" y="129862"/>
                                                        <a:pt x="30234" y="132648"/>
                                                        <a:pt x="30234" y="136211"/>
                                                      </a:cubicBezTo>
                                                      <a:cubicBezTo>
                                                        <a:pt x="30234" y="138933"/>
                                                        <a:pt x="32049" y="141265"/>
                                                        <a:pt x="33215" y="143791"/>
                                                      </a:cubicBezTo>
                                                      <a:cubicBezTo>
                                                        <a:pt x="36259" y="150270"/>
                                                        <a:pt x="34575" y="158433"/>
                                                        <a:pt x="29975" y="163875"/>
                                                      </a:cubicBezTo>
                                                      <a:cubicBezTo>
                                                        <a:pt x="25375" y="169317"/>
                                                        <a:pt x="18184" y="172362"/>
                                                        <a:pt x="11058" y="172686"/>
                                                      </a:cubicBezTo>
                                                      <a:cubicBezTo>
                                                        <a:pt x="8855" y="172815"/>
                                                        <a:pt x="6523" y="172686"/>
                                                        <a:pt x="4515" y="173593"/>
                                                      </a:cubicBezTo>
                                                      <a:cubicBezTo>
                                                        <a:pt x="822" y="175212"/>
                                                        <a:pt x="-863" y="180007"/>
                                                        <a:pt x="433" y="183764"/>
                                                      </a:cubicBezTo>
                                                      <a:cubicBezTo>
                                                        <a:pt x="1729" y="187586"/>
                                                        <a:pt x="5422" y="190243"/>
                                                        <a:pt x="9374" y="190955"/>
                                                      </a:cubicBezTo>
                                                      <a:cubicBezTo>
                                                        <a:pt x="11706" y="191344"/>
                                                        <a:pt x="14297" y="191214"/>
                                                        <a:pt x="16371" y="192445"/>
                                                      </a:cubicBezTo>
                                                      <a:cubicBezTo>
                                                        <a:pt x="21424" y="195490"/>
                                                        <a:pt x="19350" y="203783"/>
                                                        <a:pt x="23108" y="208253"/>
                                                      </a:cubicBezTo>
                                                      <a:cubicBezTo>
                                                        <a:pt x="25700" y="211363"/>
                                                        <a:pt x="30234" y="211816"/>
                                                        <a:pt x="33603" y="213954"/>
                                                      </a:cubicBezTo>
                                                      <a:cubicBezTo>
                                                        <a:pt x="37361" y="216287"/>
                                                        <a:pt x="39564" y="220433"/>
                                                        <a:pt x="41831" y="224255"/>
                                                      </a:cubicBezTo>
                                                      <a:cubicBezTo>
                                                        <a:pt x="49346" y="236759"/>
                                                        <a:pt x="59906" y="247449"/>
                                                        <a:pt x="72345" y="255028"/>
                                                      </a:cubicBezTo>
                                                      <a:cubicBezTo>
                                                        <a:pt x="69883" y="259758"/>
                                                        <a:pt x="68264" y="264941"/>
                                                        <a:pt x="67486" y="270253"/>
                                                      </a:cubicBezTo>
                                                      <a:cubicBezTo>
                                                        <a:pt x="69106" y="271095"/>
                                                        <a:pt x="70596" y="272067"/>
                                                        <a:pt x="71892" y="273363"/>
                                                      </a:cubicBezTo>
                                                      <a:cubicBezTo>
                                                        <a:pt x="73576" y="275047"/>
                                                        <a:pt x="75002" y="276991"/>
                                                        <a:pt x="76750" y="278611"/>
                                                      </a:cubicBezTo>
                                                      <a:cubicBezTo>
                                                        <a:pt x="83877" y="285024"/>
                                                        <a:pt x="94826" y="283599"/>
                                                        <a:pt x="104220" y="281785"/>
                                                      </a:cubicBezTo>
                                                      <a:cubicBezTo>
                                                        <a:pt x="104155" y="286061"/>
                                                        <a:pt x="104479" y="291114"/>
                                                        <a:pt x="108042" y="293446"/>
                                                      </a:cubicBezTo>
                                                      <a:cubicBezTo>
                                                        <a:pt x="110634" y="295131"/>
                                                        <a:pt x="114002" y="294807"/>
                                                        <a:pt x="117047" y="295325"/>
                                                      </a:cubicBezTo>
                                                      <a:cubicBezTo>
                                                        <a:pt x="120092" y="295908"/>
                                                        <a:pt x="123396" y="298500"/>
                                                        <a:pt x="122490" y="301480"/>
                                                      </a:cubicBezTo>
                                                      <a:cubicBezTo>
                                                        <a:pt x="127737" y="299990"/>
                                                        <a:pt x="133827" y="302128"/>
                                                        <a:pt x="137002" y="306533"/>
                                                      </a:cubicBezTo>
                                                      <a:cubicBezTo>
                                                        <a:pt x="138103" y="308023"/>
                                                        <a:pt x="138945" y="309837"/>
                                                        <a:pt x="140565" y="310744"/>
                                                      </a:cubicBezTo>
                                                      <a:cubicBezTo>
                                                        <a:pt x="142055" y="311586"/>
                                                        <a:pt x="143869" y="311457"/>
                                                        <a:pt x="145618" y="311327"/>
                                                      </a:cubicBezTo>
                                                      <a:lnTo>
                                                        <a:pt x="160259" y="310032"/>
                                                      </a:lnTo>
                                                      <a:cubicBezTo>
                                                        <a:pt x="159871" y="306533"/>
                                                        <a:pt x="162851" y="303035"/>
                                                        <a:pt x="166414" y="302970"/>
                                                      </a:cubicBezTo>
                                                      <a:cubicBezTo>
                                                        <a:pt x="169265" y="302905"/>
                                                        <a:pt x="173087" y="304266"/>
                                                        <a:pt x="174383" y="301674"/>
                                                      </a:cubicBezTo>
                                                      <a:cubicBezTo>
                                                        <a:pt x="175096" y="300249"/>
                                                        <a:pt x="174253" y="298564"/>
                                                        <a:pt x="174383" y="297010"/>
                                                      </a:cubicBezTo>
                                                      <a:cubicBezTo>
                                                        <a:pt x="174836" y="292863"/>
                                                        <a:pt x="180602" y="292410"/>
                                                        <a:pt x="184619" y="291373"/>
                                                      </a:cubicBezTo>
                                                      <a:cubicBezTo>
                                                        <a:pt x="190709" y="289754"/>
                                                        <a:pt x="195892" y="283988"/>
                                                        <a:pt x="202176" y="284959"/>
                                                      </a:cubicBezTo>
                                                      <a:cubicBezTo>
                                                        <a:pt x="205609" y="285543"/>
                                                        <a:pt x="208266" y="288069"/>
                                                        <a:pt x="211181" y="289948"/>
                                                      </a:cubicBezTo>
                                                      <a:cubicBezTo>
                                                        <a:pt x="213643" y="291568"/>
                                                        <a:pt x="216753" y="292669"/>
                                                        <a:pt x="219474" y="291827"/>
                                                      </a:cubicBezTo>
                                                      <a:cubicBezTo>
                                                        <a:pt x="220121" y="290531"/>
                                                        <a:pt x="220640" y="289171"/>
                                                        <a:pt x="220899" y="287680"/>
                                                      </a:cubicBezTo>
                                                      <a:cubicBezTo>
                                                        <a:pt x="228220" y="290142"/>
                                                        <a:pt x="237678" y="292021"/>
                                                        <a:pt x="242537" y="286061"/>
                                                      </a:cubicBezTo>
                                                      <a:cubicBezTo>
                                                        <a:pt x="243768" y="284571"/>
                                                        <a:pt x="244481" y="282692"/>
                                                        <a:pt x="245841" y="281331"/>
                                                      </a:cubicBezTo>
                                                      <a:cubicBezTo>
                                                        <a:pt x="248886" y="278092"/>
                                                        <a:pt x="253875" y="278027"/>
                                                        <a:pt x="258150" y="276991"/>
                                                      </a:cubicBezTo>
                                                      <a:cubicBezTo>
                                                        <a:pt x="262491" y="275954"/>
                                                        <a:pt x="267156" y="272197"/>
                                                        <a:pt x="265796" y="267986"/>
                                                      </a:cubicBezTo>
                                                      <a:cubicBezTo>
                                                        <a:pt x="278817" y="270966"/>
                                                        <a:pt x="292681" y="266107"/>
                                                        <a:pt x="303371" y="258073"/>
                                                      </a:cubicBezTo>
                                                      <a:cubicBezTo>
                                                        <a:pt x="314061" y="250040"/>
                                                        <a:pt x="322094" y="239026"/>
                                                        <a:pt x="329804" y="228142"/>
                                                      </a:cubicBezTo>
                                                      <a:cubicBezTo>
                                                        <a:pt x="331747" y="225421"/>
                                                        <a:pt x="333756" y="222571"/>
                                                        <a:pt x="336606" y="220757"/>
                                                      </a:cubicBezTo>
                                                      <a:cubicBezTo>
                                                        <a:pt x="339457" y="218943"/>
                                                        <a:pt x="342825" y="218360"/>
                                                        <a:pt x="346000" y="217194"/>
                                                      </a:cubicBezTo>
                                                      <a:cubicBezTo>
                                                        <a:pt x="357078" y="213112"/>
                                                        <a:pt x="364982" y="201775"/>
                                                        <a:pt x="364918" y="189984"/>
                                                      </a:cubicBezTo>
                                                      <a:cubicBezTo>
                                                        <a:pt x="351248" y="192705"/>
                                                        <a:pt x="336412" y="188494"/>
                                                        <a:pt x="326175" y="179035"/>
                                                      </a:cubicBezTo>
                                                      <a:cubicBezTo>
                                                        <a:pt x="323778" y="176832"/>
                                                        <a:pt x="321576" y="174305"/>
                                                        <a:pt x="318725" y="172751"/>
                                                      </a:cubicBezTo>
                                                      <a:cubicBezTo>
                                                        <a:pt x="311728" y="168928"/>
                                                        <a:pt x="301816" y="171325"/>
                                                        <a:pt x="296439" y="165430"/>
                                                      </a:cubicBezTo>
                                                      <a:cubicBezTo>
                                                        <a:pt x="294884" y="163745"/>
                                                        <a:pt x="293912" y="161543"/>
                                                        <a:pt x="291969" y="160377"/>
                                                      </a:cubicBezTo>
                                                      <a:cubicBezTo>
                                                        <a:pt x="289053" y="158692"/>
                                                        <a:pt x="285296" y="160117"/>
                                                        <a:pt x="281927" y="159599"/>
                                                      </a:cubicBezTo>
                                                      <a:cubicBezTo>
                                                        <a:pt x="273246" y="158174"/>
                                                        <a:pt x="270784" y="144763"/>
                                                        <a:pt x="262103" y="143273"/>
                                                      </a:cubicBezTo>
                                                      <a:cubicBezTo>
                                                        <a:pt x="260159" y="142949"/>
                                                        <a:pt x="257956" y="143273"/>
                                                        <a:pt x="256337" y="142042"/>
                                                      </a:cubicBezTo>
                                                      <a:cubicBezTo>
                                                        <a:pt x="253875" y="140163"/>
                                                        <a:pt x="254587" y="136211"/>
                                                        <a:pt x="252968" y="133555"/>
                                                      </a:cubicBezTo>
                                                      <a:cubicBezTo>
                                                        <a:pt x="251931" y="131871"/>
                                                        <a:pt x="250052" y="130964"/>
                                                        <a:pt x="248562" y="129668"/>
                                                      </a:cubicBezTo>
                                                      <a:cubicBezTo>
                                                        <a:pt x="246749" y="128113"/>
                                                        <a:pt x="245518" y="126040"/>
                                                        <a:pt x="244805" y="123773"/>
                                                      </a:cubicBezTo>
                                                      <a:cubicBezTo>
                                                        <a:pt x="242861" y="123773"/>
                                                        <a:pt x="240853" y="123773"/>
                                                        <a:pt x="238909" y="123513"/>
                                                      </a:cubicBezTo>
                                                      <a:cubicBezTo>
                                                        <a:pt x="233986" y="123060"/>
                                                        <a:pt x="228932" y="121764"/>
                                                        <a:pt x="225045" y="118655"/>
                                                      </a:cubicBezTo>
                                                      <a:cubicBezTo>
                                                        <a:pt x="221028" y="115415"/>
                                                        <a:pt x="218631" y="110232"/>
                                                        <a:pt x="218826" y="105050"/>
                                                      </a:cubicBezTo>
                                                      <a:cubicBezTo>
                                                        <a:pt x="218890" y="102976"/>
                                                        <a:pt x="219344" y="100774"/>
                                                        <a:pt x="218372" y="98960"/>
                                                      </a:cubicBezTo>
                                                      <a:cubicBezTo>
                                                        <a:pt x="217659" y="97729"/>
                                                        <a:pt x="216429" y="96886"/>
                                                        <a:pt x="215716" y="95656"/>
                                                      </a:cubicBezTo>
                                                      <a:cubicBezTo>
                                                        <a:pt x="214744" y="94101"/>
                                                        <a:pt x="214809" y="92092"/>
                                                        <a:pt x="214939" y="90278"/>
                                                      </a:cubicBezTo>
                                                      <a:cubicBezTo>
                                                        <a:pt x="215198" y="85614"/>
                                                        <a:pt x="215392" y="81014"/>
                                                        <a:pt x="215651" y="76349"/>
                                                      </a:cubicBezTo>
                                                      <a:cubicBezTo>
                                                        <a:pt x="215781" y="74406"/>
                                                        <a:pt x="215846" y="72397"/>
                                                        <a:pt x="216429" y="70519"/>
                                                      </a:cubicBezTo>
                                                      <a:cubicBezTo>
                                                        <a:pt x="218372" y="64429"/>
                                                        <a:pt x="224721" y="61254"/>
                                                        <a:pt x="231135" y="60088"/>
                                                      </a:cubicBezTo>
                                                      <a:cubicBezTo>
                                                        <a:pt x="213772" y="47714"/>
                                                        <a:pt x="198418" y="32619"/>
                                                        <a:pt x="185785" y="15386"/>
                                                      </a:cubicBezTo>
                                                      <a:cubicBezTo>
                                                        <a:pt x="184554" y="13702"/>
                                                        <a:pt x="183194" y="11888"/>
                                                        <a:pt x="181315" y="10981"/>
                                                      </a:cubicBezTo>
                                                      <a:cubicBezTo>
                                                        <a:pt x="178853" y="9814"/>
                                                        <a:pt x="175938" y="10398"/>
                                                        <a:pt x="173217" y="10657"/>
                                                      </a:cubicBezTo>
                                                      <a:cubicBezTo>
                                                        <a:pt x="166479" y="11240"/>
                                                        <a:pt x="159547" y="9167"/>
                                                        <a:pt x="154169" y="5085"/>
                                                      </a:cubicBezTo>
                                                      <a:cubicBezTo>
                                                        <a:pt x="152485" y="3789"/>
                                                        <a:pt x="150606" y="2235"/>
                                                        <a:pt x="148468" y="2623"/>
                                                      </a:cubicBezTo>
                                                      <a:cubicBezTo>
                                                        <a:pt x="145165" y="3271"/>
                                                        <a:pt x="144322" y="8324"/>
                                                        <a:pt x="141083" y="9231"/>
                                                      </a:cubicBezTo>
                                                      <a:cubicBezTo>
                                                        <a:pt x="136094" y="10657"/>
                                                        <a:pt x="134280" y="1781"/>
                                                        <a:pt x="129357" y="226"/>
                                                      </a:cubicBezTo>
                                                      <a:cubicBezTo>
                                                        <a:pt x="126571" y="-681"/>
                                                        <a:pt x="123461" y="1263"/>
                                                        <a:pt x="122036" y="3854"/>
                                                      </a:cubicBezTo>
                                                      <a:cubicBezTo>
                                                        <a:pt x="120611" y="6446"/>
                                                        <a:pt x="120481" y="9491"/>
                                                        <a:pt x="120352" y="12471"/>
                                                      </a:cubicBezTo>
                                                      <a:cubicBezTo>
                                                        <a:pt x="114586" y="10851"/>
                                                        <a:pt x="108107" y="11758"/>
                                                        <a:pt x="103054" y="14933"/>
                                                      </a:cubicBezTo>
                                                      <a:cubicBezTo>
                                                        <a:pt x="101434" y="15969"/>
                                                        <a:pt x="99815" y="17265"/>
                                                        <a:pt x="97936" y="17524"/>
                                                      </a:cubicBezTo>
                                                      <a:cubicBezTo>
                                                        <a:pt x="96575" y="17718"/>
                                                        <a:pt x="95409" y="17394"/>
                                                        <a:pt x="94372" y="16747"/>
                                                      </a:cubicBezTo>
                                                      <a:cubicBezTo>
                                                        <a:pt x="89902" y="25298"/>
                                                        <a:pt x="86339" y="34303"/>
                                                        <a:pt x="84136" y="43697"/>
                                                      </a:cubicBezTo>
                                                      <a:cubicBezTo>
                                                        <a:pt x="83618" y="45965"/>
                                                        <a:pt x="83100" y="48297"/>
                                                        <a:pt x="81934" y="50306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4" name="Freeform: Shape 2053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631FDC0D-12B5-4B0C-AE1C-D8F064186253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557899" y="3740093"/>
                                                  <a:ext cx="403856" cy="54128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326179 w 403856"/>
                                                    <a:gd name="connsiteY0" fmla="*/ 13994 h 541284"/>
                                                    <a:gd name="connsiteX1" fmla="*/ 321449 w 403856"/>
                                                    <a:gd name="connsiteY1" fmla="*/ 24230 h 541284"/>
                                                    <a:gd name="connsiteX2" fmla="*/ 307844 w 403856"/>
                                                    <a:gd name="connsiteY2" fmla="*/ 26627 h 541284"/>
                                                    <a:gd name="connsiteX3" fmla="*/ 307002 w 403856"/>
                                                    <a:gd name="connsiteY3" fmla="*/ 34207 h 541284"/>
                                                    <a:gd name="connsiteX4" fmla="*/ 298969 w 403856"/>
                                                    <a:gd name="connsiteY4" fmla="*/ 42435 h 541284"/>
                                                    <a:gd name="connsiteX5" fmla="*/ 286854 w 403856"/>
                                                    <a:gd name="connsiteY5" fmla="*/ 42499 h 541284"/>
                                                    <a:gd name="connsiteX6" fmla="*/ 272666 w 403856"/>
                                                    <a:gd name="connsiteY6" fmla="*/ 40685 h 541284"/>
                                                    <a:gd name="connsiteX7" fmla="*/ 259060 w 403856"/>
                                                    <a:gd name="connsiteY7" fmla="*/ 38418 h 541284"/>
                                                    <a:gd name="connsiteX8" fmla="*/ 231526 w 403856"/>
                                                    <a:gd name="connsiteY8" fmla="*/ 36410 h 541284"/>
                                                    <a:gd name="connsiteX9" fmla="*/ 225501 w 403856"/>
                                                    <a:gd name="connsiteY9" fmla="*/ 40426 h 541284"/>
                                                    <a:gd name="connsiteX10" fmla="*/ 218894 w 403856"/>
                                                    <a:gd name="connsiteY10" fmla="*/ 39454 h 541284"/>
                                                    <a:gd name="connsiteX11" fmla="*/ 82001 w 403856"/>
                                                    <a:gd name="connsiteY11" fmla="*/ 39454 h 541284"/>
                                                    <a:gd name="connsiteX12" fmla="*/ 82001 w 403856"/>
                                                    <a:gd name="connsiteY12" fmla="*/ 91737 h 541284"/>
                                                    <a:gd name="connsiteX13" fmla="*/ 63472 w 403856"/>
                                                    <a:gd name="connsiteY13" fmla="*/ 98150 h 541284"/>
                                                    <a:gd name="connsiteX14" fmla="*/ 59974 w 403856"/>
                                                    <a:gd name="connsiteY14" fmla="*/ 99316 h 541284"/>
                                                    <a:gd name="connsiteX15" fmla="*/ 60104 w 403856"/>
                                                    <a:gd name="connsiteY15" fmla="*/ 198309 h 541284"/>
                                                    <a:gd name="connsiteX16" fmla="*/ 53495 w 403856"/>
                                                    <a:gd name="connsiteY16" fmla="*/ 198957 h 541284"/>
                                                    <a:gd name="connsiteX17" fmla="*/ 43000 w 403856"/>
                                                    <a:gd name="connsiteY17" fmla="*/ 213534 h 541284"/>
                                                    <a:gd name="connsiteX18" fmla="*/ 31469 w 403856"/>
                                                    <a:gd name="connsiteY18" fmla="*/ 216125 h 541284"/>
                                                    <a:gd name="connsiteX19" fmla="*/ 31079 w 403856"/>
                                                    <a:gd name="connsiteY19" fmla="*/ 224742 h 541284"/>
                                                    <a:gd name="connsiteX20" fmla="*/ 18252 w 403856"/>
                                                    <a:gd name="connsiteY20" fmla="*/ 234330 h 541284"/>
                                                    <a:gd name="connsiteX21" fmla="*/ 14041 w 403856"/>
                                                    <a:gd name="connsiteY21" fmla="*/ 257005 h 541284"/>
                                                    <a:gd name="connsiteX22" fmla="*/ 112 w 403856"/>
                                                    <a:gd name="connsiteY22" fmla="*/ 265168 h 541284"/>
                                                    <a:gd name="connsiteX23" fmla="*/ 8469 w 403856"/>
                                                    <a:gd name="connsiteY23" fmla="*/ 283697 h 541284"/>
                                                    <a:gd name="connsiteX24" fmla="*/ 11838 w 403856"/>
                                                    <a:gd name="connsiteY24" fmla="*/ 297172 h 541284"/>
                                                    <a:gd name="connsiteX25" fmla="*/ 23370 w 403856"/>
                                                    <a:gd name="connsiteY25" fmla="*/ 328010 h 541284"/>
                                                    <a:gd name="connsiteX26" fmla="*/ 29201 w 403856"/>
                                                    <a:gd name="connsiteY26" fmla="*/ 345113 h 541284"/>
                                                    <a:gd name="connsiteX27" fmla="*/ 39178 w 403856"/>
                                                    <a:gd name="connsiteY27" fmla="*/ 354248 h 541284"/>
                                                    <a:gd name="connsiteX28" fmla="*/ 41769 w 403856"/>
                                                    <a:gd name="connsiteY28" fmla="*/ 361763 h 541284"/>
                                                    <a:gd name="connsiteX29" fmla="*/ 47276 w 403856"/>
                                                    <a:gd name="connsiteY29" fmla="*/ 365651 h 541284"/>
                                                    <a:gd name="connsiteX30" fmla="*/ 47470 w 403856"/>
                                                    <a:gd name="connsiteY30" fmla="*/ 376535 h 541284"/>
                                                    <a:gd name="connsiteX31" fmla="*/ 43389 w 403856"/>
                                                    <a:gd name="connsiteY31" fmla="*/ 387289 h 541284"/>
                                                    <a:gd name="connsiteX32" fmla="*/ 46434 w 403856"/>
                                                    <a:gd name="connsiteY32" fmla="*/ 397331 h 541284"/>
                                                    <a:gd name="connsiteX33" fmla="*/ 44490 w 403856"/>
                                                    <a:gd name="connsiteY33" fmla="*/ 406919 h 541284"/>
                                                    <a:gd name="connsiteX34" fmla="*/ 78956 w 403856"/>
                                                    <a:gd name="connsiteY34" fmla="*/ 420265 h 541284"/>
                                                    <a:gd name="connsiteX35" fmla="*/ 93728 w 403856"/>
                                                    <a:gd name="connsiteY35" fmla="*/ 438988 h 541284"/>
                                                    <a:gd name="connsiteX36" fmla="*/ 96643 w 403856"/>
                                                    <a:gd name="connsiteY36" fmla="*/ 451038 h 541284"/>
                                                    <a:gd name="connsiteX37" fmla="*/ 108110 w 403856"/>
                                                    <a:gd name="connsiteY37" fmla="*/ 458748 h 541284"/>
                                                    <a:gd name="connsiteX38" fmla="*/ 113163 w 403856"/>
                                                    <a:gd name="connsiteY38" fmla="*/ 467170 h 541284"/>
                                                    <a:gd name="connsiteX39" fmla="*/ 134801 w 403856"/>
                                                    <a:gd name="connsiteY39" fmla="*/ 492890 h 541284"/>
                                                    <a:gd name="connsiteX40" fmla="*/ 141863 w 403856"/>
                                                    <a:gd name="connsiteY40" fmla="*/ 500275 h 541284"/>
                                                    <a:gd name="connsiteX41" fmla="*/ 141928 w 403856"/>
                                                    <a:gd name="connsiteY41" fmla="*/ 508568 h 541284"/>
                                                    <a:gd name="connsiteX42" fmla="*/ 141539 w 403856"/>
                                                    <a:gd name="connsiteY42" fmla="*/ 511094 h 541284"/>
                                                    <a:gd name="connsiteX43" fmla="*/ 155598 w 403856"/>
                                                    <a:gd name="connsiteY43" fmla="*/ 520488 h 541284"/>
                                                    <a:gd name="connsiteX44" fmla="*/ 199198 w 403856"/>
                                                    <a:gd name="connsiteY44" fmla="*/ 521719 h 541284"/>
                                                    <a:gd name="connsiteX45" fmla="*/ 208981 w 403856"/>
                                                    <a:gd name="connsiteY45" fmla="*/ 529753 h 541284"/>
                                                    <a:gd name="connsiteX46" fmla="*/ 220189 w 403856"/>
                                                    <a:gd name="connsiteY46" fmla="*/ 539406 h 541284"/>
                                                    <a:gd name="connsiteX47" fmla="*/ 221420 w 403856"/>
                                                    <a:gd name="connsiteY47" fmla="*/ 541285 h 541284"/>
                                                    <a:gd name="connsiteX48" fmla="*/ 291194 w 403856"/>
                                                    <a:gd name="connsiteY48" fmla="*/ 541090 h 541284"/>
                                                    <a:gd name="connsiteX49" fmla="*/ 295341 w 403856"/>
                                                    <a:gd name="connsiteY49" fmla="*/ 539017 h 541284"/>
                                                    <a:gd name="connsiteX50" fmla="*/ 295859 w 403856"/>
                                                    <a:gd name="connsiteY50" fmla="*/ 531955 h 541284"/>
                                                    <a:gd name="connsiteX51" fmla="*/ 297543 w 403856"/>
                                                    <a:gd name="connsiteY51" fmla="*/ 527097 h 541284"/>
                                                    <a:gd name="connsiteX52" fmla="*/ 305447 w 403856"/>
                                                    <a:gd name="connsiteY52" fmla="*/ 521784 h 541284"/>
                                                    <a:gd name="connsiteX53" fmla="*/ 306419 w 403856"/>
                                                    <a:gd name="connsiteY53" fmla="*/ 517055 h 541284"/>
                                                    <a:gd name="connsiteX54" fmla="*/ 316137 w 403856"/>
                                                    <a:gd name="connsiteY54" fmla="*/ 514334 h 541284"/>
                                                    <a:gd name="connsiteX55" fmla="*/ 323911 w 403856"/>
                                                    <a:gd name="connsiteY55" fmla="*/ 509280 h 541284"/>
                                                    <a:gd name="connsiteX56" fmla="*/ 337516 w 403856"/>
                                                    <a:gd name="connsiteY56" fmla="*/ 510965 h 541284"/>
                                                    <a:gd name="connsiteX57" fmla="*/ 342375 w 403856"/>
                                                    <a:gd name="connsiteY57" fmla="*/ 495740 h 541284"/>
                                                    <a:gd name="connsiteX58" fmla="*/ 311861 w 403856"/>
                                                    <a:gd name="connsiteY58" fmla="*/ 464967 h 541284"/>
                                                    <a:gd name="connsiteX59" fmla="*/ 303633 w 403856"/>
                                                    <a:gd name="connsiteY59" fmla="*/ 454666 h 541284"/>
                                                    <a:gd name="connsiteX60" fmla="*/ 293138 w 403856"/>
                                                    <a:gd name="connsiteY60" fmla="*/ 448965 h 541284"/>
                                                    <a:gd name="connsiteX61" fmla="*/ 286400 w 403856"/>
                                                    <a:gd name="connsiteY61" fmla="*/ 433157 h 541284"/>
                                                    <a:gd name="connsiteX62" fmla="*/ 279403 w 403856"/>
                                                    <a:gd name="connsiteY62" fmla="*/ 431667 h 541284"/>
                                                    <a:gd name="connsiteX63" fmla="*/ 270463 w 403856"/>
                                                    <a:gd name="connsiteY63" fmla="*/ 424476 h 541284"/>
                                                    <a:gd name="connsiteX64" fmla="*/ 274544 w 403856"/>
                                                    <a:gd name="connsiteY64" fmla="*/ 414305 h 541284"/>
                                                    <a:gd name="connsiteX65" fmla="*/ 281088 w 403856"/>
                                                    <a:gd name="connsiteY65" fmla="*/ 413398 h 541284"/>
                                                    <a:gd name="connsiteX66" fmla="*/ 300005 w 403856"/>
                                                    <a:gd name="connsiteY66" fmla="*/ 404587 h 541284"/>
                                                    <a:gd name="connsiteX67" fmla="*/ 303244 w 403856"/>
                                                    <a:gd name="connsiteY67" fmla="*/ 384503 h 541284"/>
                                                    <a:gd name="connsiteX68" fmla="*/ 300264 w 403856"/>
                                                    <a:gd name="connsiteY68" fmla="*/ 376923 h 541284"/>
                                                    <a:gd name="connsiteX69" fmla="*/ 304929 w 403856"/>
                                                    <a:gd name="connsiteY69" fmla="*/ 367465 h 541284"/>
                                                    <a:gd name="connsiteX70" fmla="*/ 308428 w 403856"/>
                                                    <a:gd name="connsiteY70" fmla="*/ 356969 h 541284"/>
                                                    <a:gd name="connsiteX71" fmla="*/ 316331 w 403856"/>
                                                    <a:gd name="connsiteY71" fmla="*/ 350232 h 541284"/>
                                                    <a:gd name="connsiteX72" fmla="*/ 319182 w 403856"/>
                                                    <a:gd name="connsiteY72" fmla="*/ 333063 h 541284"/>
                                                    <a:gd name="connsiteX73" fmla="*/ 325660 w 403856"/>
                                                    <a:gd name="connsiteY73" fmla="*/ 316349 h 541284"/>
                                                    <a:gd name="connsiteX74" fmla="*/ 334471 w 403856"/>
                                                    <a:gd name="connsiteY74" fmla="*/ 312267 h 541284"/>
                                                    <a:gd name="connsiteX75" fmla="*/ 340820 w 403856"/>
                                                    <a:gd name="connsiteY75" fmla="*/ 300346 h 541284"/>
                                                    <a:gd name="connsiteX76" fmla="*/ 351898 w 403856"/>
                                                    <a:gd name="connsiteY76" fmla="*/ 291341 h 541284"/>
                                                    <a:gd name="connsiteX77" fmla="*/ 354101 w 403856"/>
                                                    <a:gd name="connsiteY77" fmla="*/ 284733 h 541284"/>
                                                    <a:gd name="connsiteX78" fmla="*/ 364337 w 403856"/>
                                                    <a:gd name="connsiteY78" fmla="*/ 257782 h 541284"/>
                                                    <a:gd name="connsiteX79" fmla="*/ 359349 w 403856"/>
                                                    <a:gd name="connsiteY79" fmla="*/ 246574 h 541284"/>
                                                    <a:gd name="connsiteX80" fmla="*/ 364143 w 403856"/>
                                                    <a:gd name="connsiteY80" fmla="*/ 211266 h 541284"/>
                                                    <a:gd name="connsiteX81" fmla="*/ 367253 w 403856"/>
                                                    <a:gd name="connsiteY81" fmla="*/ 204982 h 541284"/>
                                                    <a:gd name="connsiteX82" fmla="*/ 370427 w 403856"/>
                                                    <a:gd name="connsiteY82" fmla="*/ 190211 h 541284"/>
                                                    <a:gd name="connsiteX83" fmla="*/ 381506 w 403856"/>
                                                    <a:gd name="connsiteY83" fmla="*/ 182307 h 541284"/>
                                                    <a:gd name="connsiteX84" fmla="*/ 383449 w 403856"/>
                                                    <a:gd name="connsiteY84" fmla="*/ 172654 h 541284"/>
                                                    <a:gd name="connsiteX85" fmla="*/ 392713 w 403856"/>
                                                    <a:gd name="connsiteY85" fmla="*/ 166823 h 541284"/>
                                                    <a:gd name="connsiteX86" fmla="*/ 403857 w 403856"/>
                                                    <a:gd name="connsiteY86" fmla="*/ 148683 h 541284"/>
                                                    <a:gd name="connsiteX87" fmla="*/ 391807 w 403856"/>
                                                    <a:gd name="connsiteY87" fmla="*/ 135532 h 541284"/>
                                                    <a:gd name="connsiteX88" fmla="*/ 382607 w 403856"/>
                                                    <a:gd name="connsiteY88" fmla="*/ 125231 h 541284"/>
                                                    <a:gd name="connsiteX89" fmla="*/ 378590 w 403856"/>
                                                    <a:gd name="connsiteY89" fmla="*/ 108646 h 541284"/>
                                                    <a:gd name="connsiteX90" fmla="*/ 377100 w 403856"/>
                                                    <a:gd name="connsiteY90" fmla="*/ 64786 h 541284"/>
                                                    <a:gd name="connsiteX91" fmla="*/ 356693 w 403856"/>
                                                    <a:gd name="connsiteY91" fmla="*/ 27404 h 541284"/>
                                                    <a:gd name="connsiteX92" fmla="*/ 347169 w 403856"/>
                                                    <a:gd name="connsiteY92" fmla="*/ 21055 h 541284"/>
                                                    <a:gd name="connsiteX93" fmla="*/ 340820 w 403856"/>
                                                    <a:gd name="connsiteY93" fmla="*/ 10819 h 541284"/>
                                                    <a:gd name="connsiteX94" fmla="*/ 335832 w 403856"/>
                                                    <a:gd name="connsiteY94" fmla="*/ 0 h 541284"/>
                                                    <a:gd name="connsiteX95" fmla="*/ 325919 w 403856"/>
                                                    <a:gd name="connsiteY95" fmla="*/ 13799 h 54128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403856" h="541284">
                                                      <a:moveTo>
                                                        <a:pt x="326179" y="13994"/>
                                                      </a:moveTo>
                                                      <a:cubicBezTo>
                                                        <a:pt x="325207" y="17751"/>
                                                        <a:pt x="324883" y="22416"/>
                                                        <a:pt x="321449" y="24230"/>
                                                      </a:cubicBezTo>
                                                      <a:cubicBezTo>
                                                        <a:pt x="317238" y="26432"/>
                                                        <a:pt x="310630" y="22740"/>
                                                        <a:pt x="307844" y="26627"/>
                                                      </a:cubicBezTo>
                                                      <a:cubicBezTo>
                                                        <a:pt x="306354" y="28700"/>
                                                        <a:pt x="307261" y="31615"/>
                                                        <a:pt x="307002" y="34207"/>
                                                      </a:cubicBezTo>
                                                      <a:cubicBezTo>
                                                        <a:pt x="306548" y="38224"/>
                                                        <a:pt x="302856" y="41333"/>
                                                        <a:pt x="298969" y="42435"/>
                                                      </a:cubicBezTo>
                                                      <a:cubicBezTo>
                                                        <a:pt x="295081" y="43536"/>
                                                        <a:pt x="290870" y="43018"/>
                                                        <a:pt x="286854" y="42499"/>
                                                      </a:cubicBezTo>
                                                      <a:lnTo>
                                                        <a:pt x="272666" y="40685"/>
                                                      </a:lnTo>
                                                      <a:cubicBezTo>
                                                        <a:pt x="268131" y="40102"/>
                                                        <a:pt x="263531" y="39519"/>
                                                        <a:pt x="259060" y="38418"/>
                                                      </a:cubicBezTo>
                                                      <a:cubicBezTo>
                                                        <a:pt x="249861" y="36086"/>
                                                        <a:pt x="239690" y="31615"/>
                                                        <a:pt x="231526" y="36410"/>
                                                      </a:cubicBezTo>
                                                      <a:cubicBezTo>
                                                        <a:pt x="229454" y="37640"/>
                                                        <a:pt x="227704" y="39390"/>
                                                        <a:pt x="225501" y="40426"/>
                                                      </a:cubicBezTo>
                                                      <a:cubicBezTo>
                                                        <a:pt x="223299" y="41463"/>
                                                        <a:pt x="220319" y="41398"/>
                                                        <a:pt x="218894" y="39454"/>
                                                      </a:cubicBezTo>
                                                      <a:lnTo>
                                                        <a:pt x="82001" y="39454"/>
                                                      </a:lnTo>
                                                      <a:cubicBezTo>
                                                        <a:pt x="82001" y="39454"/>
                                                        <a:pt x="82001" y="91737"/>
                                                        <a:pt x="82001" y="91737"/>
                                                      </a:cubicBezTo>
                                                      <a:cubicBezTo>
                                                        <a:pt x="75847" y="93874"/>
                                                        <a:pt x="69627" y="96012"/>
                                                        <a:pt x="63472" y="98150"/>
                                                      </a:cubicBezTo>
                                                      <a:cubicBezTo>
                                                        <a:pt x="62306" y="98539"/>
                                                        <a:pt x="61140" y="98928"/>
                                                        <a:pt x="59974" y="99316"/>
                                                      </a:cubicBezTo>
                                                      <a:lnTo>
                                                        <a:pt x="60104" y="198309"/>
                                                      </a:lnTo>
                                                      <a:cubicBezTo>
                                                        <a:pt x="57901" y="198503"/>
                                                        <a:pt x="55698" y="198763"/>
                                                        <a:pt x="53495" y="198957"/>
                                                      </a:cubicBezTo>
                                                      <a:cubicBezTo>
                                                        <a:pt x="55180" y="205565"/>
                                                        <a:pt x="49803" y="213015"/>
                                                        <a:pt x="43000" y="213534"/>
                                                      </a:cubicBezTo>
                                                      <a:cubicBezTo>
                                                        <a:pt x="38854" y="213858"/>
                                                        <a:pt x="33541" y="212497"/>
                                                        <a:pt x="31469" y="216125"/>
                                                      </a:cubicBezTo>
                                                      <a:cubicBezTo>
                                                        <a:pt x="30043" y="218652"/>
                                                        <a:pt x="31598" y="221826"/>
                                                        <a:pt x="31079" y="224742"/>
                                                      </a:cubicBezTo>
                                                      <a:cubicBezTo>
                                                        <a:pt x="30108" y="230184"/>
                                                        <a:pt x="23046" y="231479"/>
                                                        <a:pt x="18252" y="234330"/>
                                                      </a:cubicBezTo>
                                                      <a:cubicBezTo>
                                                        <a:pt x="10802" y="238865"/>
                                                        <a:pt x="8729" y="250138"/>
                                                        <a:pt x="14041" y="257005"/>
                                                      </a:cubicBezTo>
                                                      <a:cubicBezTo>
                                                        <a:pt x="9376" y="259726"/>
                                                        <a:pt x="4776" y="262447"/>
                                                        <a:pt x="112" y="265168"/>
                                                      </a:cubicBezTo>
                                                      <a:cubicBezTo>
                                                        <a:pt x="-924" y="272035"/>
                                                        <a:pt x="5489" y="277412"/>
                                                        <a:pt x="8469" y="283697"/>
                                                      </a:cubicBezTo>
                                                      <a:cubicBezTo>
                                                        <a:pt x="10478" y="287908"/>
                                                        <a:pt x="10996" y="292637"/>
                                                        <a:pt x="11838" y="297172"/>
                                                      </a:cubicBezTo>
                                                      <a:cubicBezTo>
                                                        <a:pt x="13782" y="308056"/>
                                                        <a:pt x="17734" y="318551"/>
                                                        <a:pt x="23370" y="328010"/>
                                                      </a:cubicBezTo>
                                                      <a:cubicBezTo>
                                                        <a:pt x="28942" y="331185"/>
                                                        <a:pt x="29784" y="338505"/>
                                                        <a:pt x="29201" y="345113"/>
                                                      </a:cubicBezTo>
                                                      <a:cubicBezTo>
                                                        <a:pt x="33930" y="346474"/>
                                                        <a:pt x="37882" y="349454"/>
                                                        <a:pt x="39178" y="354248"/>
                                                      </a:cubicBezTo>
                                                      <a:cubicBezTo>
                                                        <a:pt x="39891" y="356840"/>
                                                        <a:pt x="39955" y="359755"/>
                                                        <a:pt x="41769" y="361763"/>
                                                      </a:cubicBezTo>
                                                      <a:cubicBezTo>
                                                        <a:pt x="43324" y="363448"/>
                                                        <a:pt x="45721" y="364031"/>
                                                        <a:pt x="47276" y="365651"/>
                                                      </a:cubicBezTo>
                                                      <a:cubicBezTo>
                                                        <a:pt x="49997" y="368436"/>
                                                        <a:pt x="49155" y="373036"/>
                                                        <a:pt x="47470" y="376535"/>
                                                      </a:cubicBezTo>
                                                      <a:cubicBezTo>
                                                        <a:pt x="45786" y="380033"/>
                                                        <a:pt x="43389" y="383402"/>
                                                        <a:pt x="43389" y="387289"/>
                                                      </a:cubicBezTo>
                                                      <a:cubicBezTo>
                                                        <a:pt x="43389" y="390787"/>
                                                        <a:pt x="45332" y="393962"/>
                                                        <a:pt x="46434" y="397331"/>
                                                      </a:cubicBezTo>
                                                      <a:cubicBezTo>
                                                        <a:pt x="47535" y="400700"/>
                                                        <a:pt x="47470" y="405040"/>
                                                        <a:pt x="44490" y="406919"/>
                                                      </a:cubicBezTo>
                                                      <a:cubicBezTo>
                                                        <a:pt x="56929" y="404392"/>
                                                        <a:pt x="66453" y="422532"/>
                                                        <a:pt x="78956" y="420265"/>
                                                      </a:cubicBezTo>
                                                      <a:cubicBezTo>
                                                        <a:pt x="76365" y="429205"/>
                                                        <a:pt x="84398" y="439441"/>
                                                        <a:pt x="93728" y="438988"/>
                                                      </a:cubicBezTo>
                                                      <a:cubicBezTo>
                                                        <a:pt x="90618" y="442422"/>
                                                        <a:pt x="93015" y="448123"/>
                                                        <a:pt x="96643" y="451038"/>
                                                      </a:cubicBezTo>
                                                      <a:cubicBezTo>
                                                        <a:pt x="100271" y="453889"/>
                                                        <a:pt x="104935" y="455444"/>
                                                        <a:pt x="108110" y="458748"/>
                                                      </a:cubicBezTo>
                                                      <a:cubicBezTo>
                                                        <a:pt x="110378" y="461145"/>
                                                        <a:pt x="111738" y="464254"/>
                                                        <a:pt x="113163" y="467170"/>
                                                      </a:cubicBezTo>
                                                      <a:cubicBezTo>
                                                        <a:pt x="118281" y="477276"/>
                                                        <a:pt x="125732" y="486152"/>
                                                        <a:pt x="134801" y="492890"/>
                                                      </a:cubicBezTo>
                                                      <a:cubicBezTo>
                                                        <a:pt x="137587" y="494963"/>
                                                        <a:pt x="140697" y="497036"/>
                                                        <a:pt x="141863" y="500275"/>
                                                      </a:cubicBezTo>
                                                      <a:cubicBezTo>
                                                        <a:pt x="142835" y="502867"/>
                                                        <a:pt x="142382" y="505782"/>
                                                        <a:pt x="141928" y="508568"/>
                                                      </a:cubicBezTo>
                                                      <a:cubicBezTo>
                                                        <a:pt x="141798" y="509410"/>
                                                        <a:pt x="141669" y="510252"/>
                                                        <a:pt x="141539" y="511094"/>
                                                      </a:cubicBezTo>
                                                      <a:cubicBezTo>
                                                        <a:pt x="145945" y="514787"/>
                                                        <a:pt x="150285" y="518674"/>
                                                        <a:pt x="155598" y="520488"/>
                                                      </a:cubicBezTo>
                                                      <a:cubicBezTo>
                                                        <a:pt x="169591" y="525283"/>
                                                        <a:pt x="186241" y="514658"/>
                                                        <a:pt x="199198" y="521719"/>
                                                      </a:cubicBezTo>
                                                      <a:cubicBezTo>
                                                        <a:pt x="202891" y="523728"/>
                                                        <a:pt x="205742" y="527032"/>
                                                        <a:pt x="208981" y="529753"/>
                                                      </a:cubicBezTo>
                                                      <a:cubicBezTo>
                                                        <a:pt x="212739" y="532927"/>
                                                        <a:pt x="217144" y="535519"/>
                                                        <a:pt x="220189" y="539406"/>
                                                      </a:cubicBezTo>
                                                      <a:cubicBezTo>
                                                        <a:pt x="220643" y="539989"/>
                                                        <a:pt x="221031" y="540637"/>
                                                        <a:pt x="221420" y="541285"/>
                                                      </a:cubicBezTo>
                                                      <a:lnTo>
                                                        <a:pt x="291194" y="541090"/>
                                                      </a:lnTo>
                                                      <a:cubicBezTo>
                                                        <a:pt x="292360" y="539989"/>
                                                        <a:pt x="293786" y="539341"/>
                                                        <a:pt x="295341" y="539017"/>
                                                      </a:cubicBezTo>
                                                      <a:cubicBezTo>
                                                        <a:pt x="295470" y="536685"/>
                                                        <a:pt x="295535" y="534288"/>
                                                        <a:pt x="295859" y="531955"/>
                                                      </a:cubicBezTo>
                                                      <a:cubicBezTo>
                                                        <a:pt x="296118" y="530206"/>
                                                        <a:pt x="296442" y="528392"/>
                                                        <a:pt x="297543" y="527097"/>
                                                      </a:cubicBezTo>
                                                      <a:cubicBezTo>
                                                        <a:pt x="299681" y="524699"/>
                                                        <a:pt x="304087" y="524699"/>
                                                        <a:pt x="305447" y="521784"/>
                                                      </a:cubicBezTo>
                                                      <a:cubicBezTo>
                                                        <a:pt x="306160" y="520294"/>
                                                        <a:pt x="305771" y="518545"/>
                                                        <a:pt x="306419" y="517055"/>
                                                      </a:cubicBezTo>
                                                      <a:cubicBezTo>
                                                        <a:pt x="307844" y="513686"/>
                                                        <a:pt x="312573" y="514010"/>
                                                        <a:pt x="316137" y="514334"/>
                                                      </a:cubicBezTo>
                                                      <a:cubicBezTo>
                                                        <a:pt x="319765" y="514658"/>
                                                        <a:pt x="324753" y="512844"/>
                                                        <a:pt x="323911" y="509280"/>
                                                      </a:cubicBezTo>
                                                      <a:cubicBezTo>
                                                        <a:pt x="328446" y="508114"/>
                                                        <a:pt x="333370" y="508762"/>
                                                        <a:pt x="337516" y="510965"/>
                                                      </a:cubicBezTo>
                                                      <a:cubicBezTo>
                                                        <a:pt x="338294" y="505652"/>
                                                        <a:pt x="339913" y="500470"/>
                                                        <a:pt x="342375" y="495740"/>
                                                      </a:cubicBezTo>
                                                      <a:cubicBezTo>
                                                        <a:pt x="329936" y="488160"/>
                                                        <a:pt x="319311" y="477471"/>
                                                        <a:pt x="311861" y="464967"/>
                                                      </a:cubicBezTo>
                                                      <a:cubicBezTo>
                                                        <a:pt x="309594" y="461145"/>
                                                        <a:pt x="307391" y="456998"/>
                                                        <a:pt x="303633" y="454666"/>
                                                      </a:cubicBezTo>
                                                      <a:cubicBezTo>
                                                        <a:pt x="300200" y="452528"/>
                                                        <a:pt x="295665" y="452075"/>
                                                        <a:pt x="293138" y="448965"/>
                                                      </a:cubicBezTo>
                                                      <a:cubicBezTo>
                                                        <a:pt x="289380" y="444430"/>
                                                        <a:pt x="291389" y="436202"/>
                                                        <a:pt x="286400" y="433157"/>
                                                      </a:cubicBezTo>
                                                      <a:cubicBezTo>
                                                        <a:pt x="284327" y="431926"/>
                                                        <a:pt x="281800" y="432056"/>
                                                        <a:pt x="279403" y="431667"/>
                                                      </a:cubicBezTo>
                                                      <a:cubicBezTo>
                                                        <a:pt x="275451" y="430955"/>
                                                        <a:pt x="271694" y="428298"/>
                                                        <a:pt x="270463" y="424476"/>
                                                      </a:cubicBezTo>
                                                      <a:cubicBezTo>
                                                        <a:pt x="269167" y="420654"/>
                                                        <a:pt x="270916" y="415860"/>
                                                        <a:pt x="274544" y="414305"/>
                                                      </a:cubicBezTo>
                                                      <a:cubicBezTo>
                                                        <a:pt x="276553" y="413398"/>
                                                        <a:pt x="278885" y="413527"/>
                                                        <a:pt x="281088" y="413398"/>
                                                      </a:cubicBezTo>
                                                      <a:cubicBezTo>
                                                        <a:pt x="288214" y="413009"/>
                                                        <a:pt x="295406" y="410029"/>
                                                        <a:pt x="300005" y="404587"/>
                                                      </a:cubicBezTo>
                                                      <a:cubicBezTo>
                                                        <a:pt x="304605" y="399145"/>
                                                        <a:pt x="306225" y="390982"/>
                                                        <a:pt x="303244" y="384503"/>
                                                      </a:cubicBezTo>
                                                      <a:cubicBezTo>
                                                        <a:pt x="302078" y="382041"/>
                                                        <a:pt x="300329" y="379709"/>
                                                        <a:pt x="300264" y="376923"/>
                                                      </a:cubicBezTo>
                                                      <a:cubicBezTo>
                                                        <a:pt x="300264" y="373360"/>
                                                        <a:pt x="303244" y="370574"/>
                                                        <a:pt x="304929" y="367465"/>
                                                      </a:cubicBezTo>
                                                      <a:cubicBezTo>
                                                        <a:pt x="306678" y="364225"/>
                                                        <a:pt x="307067" y="360403"/>
                                                        <a:pt x="308428" y="356969"/>
                                                      </a:cubicBezTo>
                                                      <a:cubicBezTo>
                                                        <a:pt x="309788" y="353536"/>
                                                        <a:pt x="312638" y="350167"/>
                                                        <a:pt x="316331" y="350232"/>
                                                      </a:cubicBezTo>
                                                      <a:cubicBezTo>
                                                        <a:pt x="313351" y="344919"/>
                                                        <a:pt x="315942" y="338246"/>
                                                        <a:pt x="319182" y="333063"/>
                                                      </a:cubicBezTo>
                                                      <a:cubicBezTo>
                                                        <a:pt x="322421" y="327880"/>
                                                        <a:pt x="326308" y="322438"/>
                                                        <a:pt x="325660" y="316349"/>
                                                      </a:cubicBezTo>
                                                      <a:cubicBezTo>
                                                        <a:pt x="328252" y="314340"/>
                                                        <a:pt x="331297" y="312915"/>
                                                        <a:pt x="334471" y="312267"/>
                                                      </a:cubicBezTo>
                                                      <a:cubicBezTo>
                                                        <a:pt x="333175" y="307667"/>
                                                        <a:pt x="336868" y="303068"/>
                                                        <a:pt x="340820" y="300346"/>
                                                      </a:cubicBezTo>
                                                      <a:cubicBezTo>
                                                        <a:pt x="344772" y="297626"/>
                                                        <a:pt x="349501" y="295488"/>
                                                        <a:pt x="351898" y="291341"/>
                                                      </a:cubicBezTo>
                                                      <a:cubicBezTo>
                                                        <a:pt x="353065" y="289333"/>
                                                        <a:pt x="353518" y="287001"/>
                                                        <a:pt x="354101" y="284733"/>
                                                      </a:cubicBezTo>
                                                      <a:cubicBezTo>
                                                        <a:pt x="356369" y="275339"/>
                                                        <a:pt x="359867" y="266334"/>
                                                        <a:pt x="364337" y="257782"/>
                                                      </a:cubicBezTo>
                                                      <a:cubicBezTo>
                                                        <a:pt x="361228" y="255839"/>
                                                        <a:pt x="359673" y="250721"/>
                                                        <a:pt x="359349" y="246574"/>
                                                      </a:cubicBezTo>
                                                      <a:cubicBezTo>
                                                        <a:pt x="358442" y="234589"/>
                                                        <a:pt x="358701" y="222021"/>
                                                        <a:pt x="364143" y="211266"/>
                                                      </a:cubicBezTo>
                                                      <a:cubicBezTo>
                                                        <a:pt x="365179" y="209193"/>
                                                        <a:pt x="366410" y="207185"/>
                                                        <a:pt x="367253" y="204982"/>
                                                      </a:cubicBezTo>
                                                      <a:cubicBezTo>
                                                        <a:pt x="369067" y="200253"/>
                                                        <a:pt x="368807" y="195005"/>
                                                        <a:pt x="370427" y="190211"/>
                                                      </a:cubicBezTo>
                                                      <a:cubicBezTo>
                                                        <a:pt x="371982" y="185417"/>
                                                        <a:pt x="376712" y="180882"/>
                                                        <a:pt x="381506" y="182307"/>
                                                      </a:cubicBezTo>
                                                      <a:cubicBezTo>
                                                        <a:pt x="379109" y="179521"/>
                                                        <a:pt x="380663" y="175051"/>
                                                        <a:pt x="383449" y="172654"/>
                                                      </a:cubicBezTo>
                                                      <a:cubicBezTo>
                                                        <a:pt x="386235" y="170257"/>
                                                        <a:pt x="389798" y="169026"/>
                                                        <a:pt x="392713" y="166823"/>
                                                      </a:cubicBezTo>
                                                      <a:cubicBezTo>
                                                        <a:pt x="398415" y="162547"/>
                                                        <a:pt x="400682" y="155227"/>
                                                        <a:pt x="403857" y="148683"/>
                                                      </a:cubicBezTo>
                                                      <a:cubicBezTo>
                                                        <a:pt x="400099" y="144083"/>
                                                        <a:pt x="396147" y="139678"/>
                                                        <a:pt x="391807" y="135532"/>
                                                      </a:cubicBezTo>
                                                      <a:cubicBezTo>
                                                        <a:pt x="388503" y="132357"/>
                                                        <a:pt x="384939" y="129247"/>
                                                        <a:pt x="382607" y="125231"/>
                                                      </a:cubicBezTo>
                                                      <a:cubicBezTo>
                                                        <a:pt x="379692" y="120307"/>
                                                        <a:pt x="378979" y="114412"/>
                                                        <a:pt x="378590" y="108646"/>
                                                      </a:cubicBezTo>
                                                      <a:cubicBezTo>
                                                        <a:pt x="377683" y="94069"/>
                                                        <a:pt x="379109" y="79298"/>
                                                        <a:pt x="377100" y="64786"/>
                                                      </a:cubicBezTo>
                                                      <a:cubicBezTo>
                                                        <a:pt x="375092" y="50274"/>
                                                        <a:pt x="368937" y="35438"/>
                                                        <a:pt x="356693" y="27404"/>
                                                      </a:cubicBezTo>
                                                      <a:cubicBezTo>
                                                        <a:pt x="353518" y="25331"/>
                                                        <a:pt x="349955" y="23712"/>
                                                        <a:pt x="347169" y="21055"/>
                                                      </a:cubicBezTo>
                                                      <a:cubicBezTo>
                                                        <a:pt x="344254" y="18270"/>
                                                        <a:pt x="342504" y="14512"/>
                                                        <a:pt x="340820" y="10819"/>
                                                      </a:cubicBezTo>
                                                      <a:cubicBezTo>
                                                        <a:pt x="339136" y="7191"/>
                                                        <a:pt x="337516" y="3563"/>
                                                        <a:pt x="335832" y="0"/>
                                                      </a:cubicBezTo>
                                                      <a:cubicBezTo>
                                                        <a:pt x="331232" y="3757"/>
                                                        <a:pt x="327410" y="8163"/>
                                                        <a:pt x="325919" y="13799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5" name="Freeform: Shape 2054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4FBF8496-CD70-4263-9A63-17B30361BF6A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639705" y="3488659"/>
                                                  <a:ext cx="254154" cy="294519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31933 w 254154"/>
                                                    <a:gd name="connsiteY0" fmla="*/ 35502 h 294519"/>
                                                    <a:gd name="connsiteX1" fmla="*/ 226945 w 254154"/>
                                                    <a:gd name="connsiteY1" fmla="*/ 32587 h 294519"/>
                                                    <a:gd name="connsiteX2" fmla="*/ 222798 w 254154"/>
                                                    <a:gd name="connsiteY2" fmla="*/ 26303 h 294519"/>
                                                    <a:gd name="connsiteX3" fmla="*/ 219040 w 254154"/>
                                                    <a:gd name="connsiteY3" fmla="*/ 22351 h 294519"/>
                                                    <a:gd name="connsiteX4" fmla="*/ 198698 w 254154"/>
                                                    <a:gd name="connsiteY4" fmla="*/ 26303 h 294519"/>
                                                    <a:gd name="connsiteX5" fmla="*/ 178485 w 254154"/>
                                                    <a:gd name="connsiteY5" fmla="*/ 21833 h 294519"/>
                                                    <a:gd name="connsiteX6" fmla="*/ 173755 w 254154"/>
                                                    <a:gd name="connsiteY6" fmla="*/ 16261 h 294519"/>
                                                    <a:gd name="connsiteX7" fmla="*/ 153477 w 254154"/>
                                                    <a:gd name="connsiteY7" fmla="*/ 18917 h 294519"/>
                                                    <a:gd name="connsiteX8" fmla="*/ 102556 w 254154"/>
                                                    <a:gd name="connsiteY8" fmla="*/ 31291 h 294519"/>
                                                    <a:gd name="connsiteX9" fmla="*/ 79946 w 254154"/>
                                                    <a:gd name="connsiteY9" fmla="*/ 39454 h 294519"/>
                                                    <a:gd name="connsiteX10" fmla="*/ 34790 w 254154"/>
                                                    <a:gd name="connsiteY10" fmla="*/ 43925 h 294519"/>
                                                    <a:gd name="connsiteX11" fmla="*/ 25526 w 254154"/>
                                                    <a:gd name="connsiteY11" fmla="*/ 43082 h 294519"/>
                                                    <a:gd name="connsiteX12" fmla="*/ 19112 w 254154"/>
                                                    <a:gd name="connsiteY12" fmla="*/ 35373 h 294519"/>
                                                    <a:gd name="connsiteX13" fmla="*/ 8681 w 254154"/>
                                                    <a:gd name="connsiteY13" fmla="*/ 6090 h 294519"/>
                                                    <a:gd name="connsiteX14" fmla="*/ 0 w 254154"/>
                                                    <a:gd name="connsiteY14" fmla="*/ 0 h 294519"/>
                                                    <a:gd name="connsiteX15" fmla="*/ 0 w 254154"/>
                                                    <a:gd name="connsiteY15" fmla="*/ 290888 h 294519"/>
                                                    <a:gd name="connsiteX16" fmla="*/ 136957 w 254154"/>
                                                    <a:gd name="connsiteY16" fmla="*/ 290888 h 294519"/>
                                                    <a:gd name="connsiteX17" fmla="*/ 143565 w 254154"/>
                                                    <a:gd name="connsiteY17" fmla="*/ 291860 h 294519"/>
                                                    <a:gd name="connsiteX18" fmla="*/ 149590 w 254154"/>
                                                    <a:gd name="connsiteY18" fmla="*/ 287843 h 294519"/>
                                                    <a:gd name="connsiteX19" fmla="*/ 177124 w 254154"/>
                                                    <a:gd name="connsiteY19" fmla="*/ 289851 h 294519"/>
                                                    <a:gd name="connsiteX20" fmla="*/ 190729 w 254154"/>
                                                    <a:gd name="connsiteY20" fmla="*/ 292119 h 294519"/>
                                                    <a:gd name="connsiteX21" fmla="*/ 204917 w 254154"/>
                                                    <a:gd name="connsiteY21" fmla="*/ 293933 h 294519"/>
                                                    <a:gd name="connsiteX22" fmla="*/ 217032 w 254154"/>
                                                    <a:gd name="connsiteY22" fmla="*/ 293868 h 294519"/>
                                                    <a:gd name="connsiteX23" fmla="*/ 225066 w 254154"/>
                                                    <a:gd name="connsiteY23" fmla="*/ 285640 h 294519"/>
                                                    <a:gd name="connsiteX24" fmla="*/ 225908 w 254154"/>
                                                    <a:gd name="connsiteY24" fmla="*/ 278060 h 294519"/>
                                                    <a:gd name="connsiteX25" fmla="*/ 239513 w 254154"/>
                                                    <a:gd name="connsiteY25" fmla="*/ 275663 h 294519"/>
                                                    <a:gd name="connsiteX26" fmla="*/ 244242 w 254154"/>
                                                    <a:gd name="connsiteY26" fmla="*/ 265427 h 294519"/>
                                                    <a:gd name="connsiteX27" fmla="*/ 254155 w 254154"/>
                                                    <a:gd name="connsiteY27" fmla="*/ 251628 h 294519"/>
                                                    <a:gd name="connsiteX28" fmla="*/ 191442 w 254154"/>
                                                    <a:gd name="connsiteY28" fmla="*/ 114735 h 294519"/>
                                                    <a:gd name="connsiteX29" fmla="*/ 178226 w 254154"/>
                                                    <a:gd name="connsiteY29" fmla="*/ 55716 h 294519"/>
                                                    <a:gd name="connsiteX30" fmla="*/ 190859 w 254154"/>
                                                    <a:gd name="connsiteY30" fmla="*/ 55845 h 294519"/>
                                                    <a:gd name="connsiteX31" fmla="*/ 219624 w 254154"/>
                                                    <a:gd name="connsiteY31" fmla="*/ 115318 h 294519"/>
                                                    <a:gd name="connsiteX32" fmla="*/ 228953 w 254154"/>
                                                    <a:gd name="connsiteY32" fmla="*/ 53707 h 294519"/>
                                                    <a:gd name="connsiteX33" fmla="*/ 233423 w 254154"/>
                                                    <a:gd name="connsiteY33" fmla="*/ 54290 h 294519"/>
                                                    <a:gd name="connsiteX34" fmla="*/ 232386 w 254154"/>
                                                    <a:gd name="connsiteY34" fmla="*/ 38677 h 294519"/>
                                                    <a:gd name="connsiteX35" fmla="*/ 231933 w 254154"/>
                                                    <a:gd name="connsiteY35" fmla="*/ 35502 h 294519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54154" h="294519">
                                                      <a:moveTo>
                                                        <a:pt x="231933" y="35502"/>
                                                      </a:moveTo>
                                                      <a:cubicBezTo>
                                                        <a:pt x="230961" y="33818"/>
                                                        <a:pt x="228564" y="33688"/>
                                                        <a:pt x="226945" y="32587"/>
                                                      </a:cubicBezTo>
                                                      <a:cubicBezTo>
                                                        <a:pt x="224807" y="31227"/>
                                                        <a:pt x="224159" y="28441"/>
                                                        <a:pt x="222798" y="26303"/>
                                                      </a:cubicBezTo>
                                                      <a:cubicBezTo>
                                                        <a:pt x="221826" y="24748"/>
                                                        <a:pt x="220466" y="23517"/>
                                                        <a:pt x="219040" y="22351"/>
                                                      </a:cubicBezTo>
                                                      <a:cubicBezTo>
                                                        <a:pt x="212886" y="25396"/>
                                                        <a:pt x="205630" y="25914"/>
                                                        <a:pt x="198698" y="26303"/>
                                                      </a:cubicBezTo>
                                                      <a:cubicBezTo>
                                                        <a:pt x="191571" y="26692"/>
                                                        <a:pt x="183603" y="26757"/>
                                                        <a:pt x="178485" y="21833"/>
                                                      </a:cubicBezTo>
                                                      <a:cubicBezTo>
                                                        <a:pt x="176736" y="20148"/>
                                                        <a:pt x="175505" y="17946"/>
                                                        <a:pt x="173755" y="16261"/>
                                                      </a:cubicBezTo>
                                                      <a:cubicBezTo>
                                                        <a:pt x="168119" y="10754"/>
                                                        <a:pt x="157494" y="12180"/>
                                                        <a:pt x="153477" y="18917"/>
                                                      </a:cubicBezTo>
                                                      <a:cubicBezTo>
                                                        <a:pt x="137799" y="27016"/>
                                                        <a:pt x="120177" y="31291"/>
                                                        <a:pt x="102556" y="31291"/>
                                                      </a:cubicBezTo>
                                                      <a:cubicBezTo>
                                                        <a:pt x="94004" y="31291"/>
                                                        <a:pt x="83250" y="31551"/>
                                                        <a:pt x="79946" y="39454"/>
                                                      </a:cubicBezTo>
                                                      <a:cubicBezTo>
                                                        <a:pt x="64915" y="40945"/>
                                                        <a:pt x="49885" y="42435"/>
                                                        <a:pt x="34790" y="43925"/>
                                                      </a:cubicBezTo>
                                                      <a:cubicBezTo>
                                                        <a:pt x="31680" y="44249"/>
                                                        <a:pt x="28376" y="44508"/>
                                                        <a:pt x="25526" y="43082"/>
                                                      </a:cubicBezTo>
                                                      <a:cubicBezTo>
                                                        <a:pt x="22481" y="41528"/>
                                                        <a:pt x="20732" y="38353"/>
                                                        <a:pt x="19112" y="35373"/>
                                                      </a:cubicBezTo>
                                                      <a:cubicBezTo>
                                                        <a:pt x="14188" y="26173"/>
                                                        <a:pt x="9135" y="16520"/>
                                                        <a:pt x="8681" y="6090"/>
                                                      </a:cubicBezTo>
                                                      <a:cubicBezTo>
                                                        <a:pt x="5960" y="3498"/>
                                                        <a:pt x="3045" y="1555"/>
                                                        <a:pt x="0" y="0"/>
                                                      </a:cubicBezTo>
                                                      <a:lnTo>
                                                        <a:pt x="0" y="290888"/>
                                                      </a:lnTo>
                                                      <a:cubicBezTo>
                                                        <a:pt x="0" y="290888"/>
                                                        <a:pt x="136957" y="290888"/>
                                                        <a:pt x="136957" y="290888"/>
                                                      </a:cubicBezTo>
                                                      <a:cubicBezTo>
                                                        <a:pt x="138382" y="292831"/>
                                                        <a:pt x="141362" y="292831"/>
                                                        <a:pt x="143565" y="291860"/>
                                                      </a:cubicBezTo>
                                                      <a:cubicBezTo>
                                                        <a:pt x="145768" y="290888"/>
                                                        <a:pt x="147517" y="289074"/>
                                                        <a:pt x="149590" y="287843"/>
                                                      </a:cubicBezTo>
                                                      <a:cubicBezTo>
                                                        <a:pt x="157753" y="283049"/>
                                                        <a:pt x="167924" y="287519"/>
                                                        <a:pt x="177124" y="289851"/>
                                                      </a:cubicBezTo>
                                                      <a:cubicBezTo>
                                                        <a:pt x="181595" y="290953"/>
                                                        <a:pt x="186194" y="291536"/>
                                                        <a:pt x="190729" y="292119"/>
                                                      </a:cubicBezTo>
                                                      <a:lnTo>
                                                        <a:pt x="204917" y="293933"/>
                                                      </a:lnTo>
                                                      <a:cubicBezTo>
                                                        <a:pt x="208934" y="294451"/>
                                                        <a:pt x="213145" y="294969"/>
                                                        <a:pt x="217032" y="293868"/>
                                                      </a:cubicBezTo>
                                                      <a:cubicBezTo>
                                                        <a:pt x="220920" y="292767"/>
                                                        <a:pt x="224612" y="289722"/>
                                                        <a:pt x="225066" y="285640"/>
                                                      </a:cubicBezTo>
                                                      <a:cubicBezTo>
                                                        <a:pt x="225390" y="283049"/>
                                                        <a:pt x="224418" y="280198"/>
                                                        <a:pt x="225908" y="278060"/>
                                                      </a:cubicBezTo>
                                                      <a:cubicBezTo>
                                                        <a:pt x="228694" y="274173"/>
                                                        <a:pt x="235237" y="277866"/>
                                                        <a:pt x="239513" y="275663"/>
                                                      </a:cubicBezTo>
                                                      <a:cubicBezTo>
                                                        <a:pt x="242946" y="273849"/>
                                                        <a:pt x="243206" y="269185"/>
                                                        <a:pt x="244242" y="265427"/>
                                                      </a:cubicBezTo>
                                                      <a:cubicBezTo>
                                                        <a:pt x="245732" y="259791"/>
                                                        <a:pt x="249555" y="255321"/>
                                                        <a:pt x="254155" y="251628"/>
                                                      </a:cubicBezTo>
                                                      <a:cubicBezTo>
                                                        <a:pt x="233229" y="206019"/>
                                                        <a:pt x="212368" y="160409"/>
                                                        <a:pt x="191442" y="114735"/>
                                                      </a:cubicBezTo>
                                                      <a:cubicBezTo>
                                                        <a:pt x="182890" y="96077"/>
                                                        <a:pt x="174144" y="75864"/>
                                                        <a:pt x="178226" y="55716"/>
                                                      </a:cubicBezTo>
                                                      <a:cubicBezTo>
                                                        <a:pt x="182437" y="55716"/>
                                                        <a:pt x="186648" y="55780"/>
                                                        <a:pt x="190859" y="55845"/>
                                                      </a:cubicBezTo>
                                                      <a:cubicBezTo>
                                                        <a:pt x="195199" y="77678"/>
                                                        <a:pt x="205176" y="98345"/>
                                                        <a:pt x="219624" y="115318"/>
                                                      </a:cubicBezTo>
                                                      <a:cubicBezTo>
                                                        <a:pt x="226426" y="95559"/>
                                                        <a:pt x="229601" y="74568"/>
                                                        <a:pt x="228953" y="53707"/>
                                                      </a:cubicBezTo>
                                                      <a:cubicBezTo>
                                                        <a:pt x="230443" y="53902"/>
                                                        <a:pt x="231933" y="54096"/>
                                                        <a:pt x="233423" y="54290"/>
                                                      </a:cubicBezTo>
                                                      <a:cubicBezTo>
                                                        <a:pt x="232581" y="49107"/>
                                                        <a:pt x="232192" y="43925"/>
                                                        <a:pt x="232386" y="38677"/>
                                                      </a:cubicBezTo>
                                                      <a:cubicBezTo>
                                                        <a:pt x="232386" y="37576"/>
                                                        <a:pt x="232451" y="36474"/>
                                                        <a:pt x="231933" y="3550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rgbClr val="DDDDDD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6" name="Freeform: Shape 2055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1C1C6868-0076-46A4-9CBB-D8DD7E7C790B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541426" y="2089952"/>
                                                  <a:ext cx="259024" cy="439404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188008 w 259024"/>
                                                    <a:gd name="connsiteY0" fmla="*/ 398545 h 439404"/>
                                                    <a:gd name="connsiteX1" fmla="*/ 195912 w 259024"/>
                                                    <a:gd name="connsiteY1" fmla="*/ 389799 h 439404"/>
                                                    <a:gd name="connsiteX2" fmla="*/ 207055 w 259024"/>
                                                    <a:gd name="connsiteY2" fmla="*/ 383839 h 439404"/>
                                                    <a:gd name="connsiteX3" fmla="*/ 213339 w 259024"/>
                                                    <a:gd name="connsiteY3" fmla="*/ 370623 h 439404"/>
                                                    <a:gd name="connsiteX4" fmla="*/ 219559 w 259024"/>
                                                    <a:gd name="connsiteY4" fmla="*/ 368290 h 439404"/>
                                                    <a:gd name="connsiteX5" fmla="*/ 230313 w 259024"/>
                                                    <a:gd name="connsiteY5" fmla="*/ 352742 h 439404"/>
                                                    <a:gd name="connsiteX6" fmla="*/ 241651 w 259024"/>
                                                    <a:gd name="connsiteY6" fmla="*/ 349114 h 439404"/>
                                                    <a:gd name="connsiteX7" fmla="*/ 249101 w 259024"/>
                                                    <a:gd name="connsiteY7" fmla="*/ 338035 h 439404"/>
                                                    <a:gd name="connsiteX8" fmla="*/ 254867 w 259024"/>
                                                    <a:gd name="connsiteY8" fmla="*/ 334407 h 439404"/>
                                                    <a:gd name="connsiteX9" fmla="*/ 257847 w 259024"/>
                                                    <a:gd name="connsiteY9" fmla="*/ 318535 h 439404"/>
                                                    <a:gd name="connsiteX10" fmla="*/ 247352 w 259024"/>
                                                    <a:gd name="connsiteY10" fmla="*/ 304930 h 439404"/>
                                                    <a:gd name="connsiteX11" fmla="*/ 228758 w 259024"/>
                                                    <a:gd name="connsiteY11" fmla="*/ 286790 h 439404"/>
                                                    <a:gd name="connsiteX12" fmla="*/ 224807 w 259024"/>
                                                    <a:gd name="connsiteY12" fmla="*/ 278368 h 439404"/>
                                                    <a:gd name="connsiteX13" fmla="*/ 238023 w 259024"/>
                                                    <a:gd name="connsiteY13" fmla="*/ 269492 h 439404"/>
                                                    <a:gd name="connsiteX14" fmla="*/ 219753 w 259024"/>
                                                    <a:gd name="connsiteY14" fmla="*/ 253036 h 439404"/>
                                                    <a:gd name="connsiteX15" fmla="*/ 222409 w 259024"/>
                                                    <a:gd name="connsiteY15" fmla="*/ 231333 h 439404"/>
                                                    <a:gd name="connsiteX16" fmla="*/ 215089 w 259024"/>
                                                    <a:gd name="connsiteY16" fmla="*/ 225632 h 439404"/>
                                                    <a:gd name="connsiteX17" fmla="*/ 222539 w 259024"/>
                                                    <a:gd name="connsiteY17" fmla="*/ 209630 h 439404"/>
                                                    <a:gd name="connsiteX18" fmla="*/ 218198 w 259024"/>
                                                    <a:gd name="connsiteY18" fmla="*/ 197062 h 439404"/>
                                                    <a:gd name="connsiteX19" fmla="*/ 223964 w 259024"/>
                                                    <a:gd name="connsiteY19" fmla="*/ 191555 h 439404"/>
                                                    <a:gd name="connsiteX20" fmla="*/ 223705 w 259024"/>
                                                    <a:gd name="connsiteY20" fmla="*/ 179958 h 439404"/>
                                                    <a:gd name="connsiteX21" fmla="*/ 214829 w 259024"/>
                                                    <a:gd name="connsiteY21" fmla="*/ 171212 h 439404"/>
                                                    <a:gd name="connsiteX22" fmla="*/ 203880 w 259024"/>
                                                    <a:gd name="connsiteY22" fmla="*/ 152813 h 439404"/>
                                                    <a:gd name="connsiteX23" fmla="*/ 203686 w 259024"/>
                                                    <a:gd name="connsiteY23" fmla="*/ 144585 h 439404"/>
                                                    <a:gd name="connsiteX24" fmla="*/ 208999 w 259024"/>
                                                    <a:gd name="connsiteY24" fmla="*/ 134219 h 439404"/>
                                                    <a:gd name="connsiteX25" fmla="*/ 208286 w 259024"/>
                                                    <a:gd name="connsiteY25" fmla="*/ 129101 h 439404"/>
                                                    <a:gd name="connsiteX26" fmla="*/ 223381 w 259024"/>
                                                    <a:gd name="connsiteY26" fmla="*/ 117570 h 439404"/>
                                                    <a:gd name="connsiteX27" fmla="*/ 218587 w 259024"/>
                                                    <a:gd name="connsiteY27" fmla="*/ 107139 h 439404"/>
                                                    <a:gd name="connsiteX28" fmla="*/ 198504 w 259024"/>
                                                    <a:gd name="connsiteY28" fmla="*/ 88351 h 439404"/>
                                                    <a:gd name="connsiteX29" fmla="*/ 188721 w 259024"/>
                                                    <a:gd name="connsiteY29" fmla="*/ 76236 h 439404"/>
                                                    <a:gd name="connsiteX30" fmla="*/ 190923 w 259024"/>
                                                    <a:gd name="connsiteY30" fmla="*/ 61724 h 439404"/>
                                                    <a:gd name="connsiteX31" fmla="*/ 193774 w 259024"/>
                                                    <a:gd name="connsiteY31" fmla="*/ 59327 h 439404"/>
                                                    <a:gd name="connsiteX32" fmla="*/ 199670 w 259024"/>
                                                    <a:gd name="connsiteY32" fmla="*/ 42612 h 439404"/>
                                                    <a:gd name="connsiteX33" fmla="*/ 196819 w 259024"/>
                                                    <a:gd name="connsiteY33" fmla="*/ 8470 h 439404"/>
                                                    <a:gd name="connsiteX34" fmla="*/ 154449 w 259024"/>
                                                    <a:gd name="connsiteY34" fmla="*/ 1020 h 439404"/>
                                                    <a:gd name="connsiteX35" fmla="*/ 137216 w 259024"/>
                                                    <a:gd name="connsiteY35" fmla="*/ 4778 h 439404"/>
                                                    <a:gd name="connsiteX36" fmla="*/ 125749 w 259024"/>
                                                    <a:gd name="connsiteY36" fmla="*/ 17411 h 439404"/>
                                                    <a:gd name="connsiteX37" fmla="*/ 125166 w 259024"/>
                                                    <a:gd name="connsiteY37" fmla="*/ 27388 h 439404"/>
                                                    <a:gd name="connsiteX38" fmla="*/ 116808 w 259024"/>
                                                    <a:gd name="connsiteY38" fmla="*/ 42807 h 439404"/>
                                                    <a:gd name="connsiteX39" fmla="*/ 109877 w 259024"/>
                                                    <a:gd name="connsiteY39" fmla="*/ 49156 h 439404"/>
                                                    <a:gd name="connsiteX40" fmla="*/ 107998 w 259024"/>
                                                    <a:gd name="connsiteY40" fmla="*/ 55051 h 439404"/>
                                                    <a:gd name="connsiteX41" fmla="*/ 91866 w 259024"/>
                                                    <a:gd name="connsiteY41" fmla="*/ 61919 h 439404"/>
                                                    <a:gd name="connsiteX42" fmla="*/ 67636 w 259024"/>
                                                    <a:gd name="connsiteY42" fmla="*/ 62696 h 439404"/>
                                                    <a:gd name="connsiteX43" fmla="*/ 45868 w 259024"/>
                                                    <a:gd name="connsiteY43" fmla="*/ 59910 h 439404"/>
                                                    <a:gd name="connsiteX44" fmla="*/ 28311 w 259024"/>
                                                    <a:gd name="connsiteY44" fmla="*/ 46046 h 439404"/>
                                                    <a:gd name="connsiteX45" fmla="*/ 1879 w 259024"/>
                                                    <a:gd name="connsiteY45" fmla="*/ 38920 h 439404"/>
                                                    <a:gd name="connsiteX46" fmla="*/ 22286 w 259024"/>
                                                    <a:gd name="connsiteY46" fmla="*/ 68332 h 439404"/>
                                                    <a:gd name="connsiteX47" fmla="*/ 25785 w 259024"/>
                                                    <a:gd name="connsiteY47" fmla="*/ 71766 h 439404"/>
                                                    <a:gd name="connsiteX48" fmla="*/ 30449 w 259024"/>
                                                    <a:gd name="connsiteY48" fmla="*/ 72543 h 439404"/>
                                                    <a:gd name="connsiteX49" fmla="*/ 34790 w 259024"/>
                                                    <a:gd name="connsiteY49" fmla="*/ 74876 h 439404"/>
                                                    <a:gd name="connsiteX50" fmla="*/ 61935 w 259024"/>
                                                    <a:gd name="connsiteY50" fmla="*/ 96968 h 439404"/>
                                                    <a:gd name="connsiteX51" fmla="*/ 66794 w 259024"/>
                                                    <a:gd name="connsiteY51" fmla="*/ 104677 h 439404"/>
                                                    <a:gd name="connsiteX52" fmla="*/ 61417 w 259024"/>
                                                    <a:gd name="connsiteY52" fmla="*/ 126575 h 439404"/>
                                                    <a:gd name="connsiteX53" fmla="*/ 73661 w 259024"/>
                                                    <a:gd name="connsiteY53" fmla="*/ 145298 h 439404"/>
                                                    <a:gd name="connsiteX54" fmla="*/ 72949 w 259024"/>
                                                    <a:gd name="connsiteY54" fmla="*/ 150610 h 439404"/>
                                                    <a:gd name="connsiteX55" fmla="*/ 72689 w 259024"/>
                                                    <a:gd name="connsiteY55" fmla="*/ 157672 h 439404"/>
                                                    <a:gd name="connsiteX56" fmla="*/ 72689 w 259024"/>
                                                    <a:gd name="connsiteY56" fmla="*/ 179764 h 439404"/>
                                                    <a:gd name="connsiteX57" fmla="*/ 74698 w 259024"/>
                                                    <a:gd name="connsiteY57" fmla="*/ 179764 h 439404"/>
                                                    <a:gd name="connsiteX58" fmla="*/ 78196 w 259024"/>
                                                    <a:gd name="connsiteY58" fmla="*/ 186113 h 439404"/>
                                                    <a:gd name="connsiteX59" fmla="*/ 96660 w 259024"/>
                                                    <a:gd name="connsiteY59" fmla="*/ 195636 h 439404"/>
                                                    <a:gd name="connsiteX60" fmla="*/ 111820 w 259024"/>
                                                    <a:gd name="connsiteY60" fmla="*/ 206650 h 439404"/>
                                                    <a:gd name="connsiteX61" fmla="*/ 108257 w 259024"/>
                                                    <a:gd name="connsiteY61" fmla="*/ 233277 h 439404"/>
                                                    <a:gd name="connsiteX62" fmla="*/ 92320 w 259024"/>
                                                    <a:gd name="connsiteY62" fmla="*/ 231592 h 439404"/>
                                                    <a:gd name="connsiteX63" fmla="*/ 86877 w 259024"/>
                                                    <a:gd name="connsiteY63" fmla="*/ 250963 h 439404"/>
                                                    <a:gd name="connsiteX64" fmla="*/ 87720 w 259024"/>
                                                    <a:gd name="connsiteY64" fmla="*/ 259321 h 439404"/>
                                                    <a:gd name="connsiteX65" fmla="*/ 71394 w 259024"/>
                                                    <a:gd name="connsiteY65" fmla="*/ 266512 h 439404"/>
                                                    <a:gd name="connsiteX66" fmla="*/ 66924 w 259024"/>
                                                    <a:gd name="connsiteY66" fmla="*/ 272602 h 439404"/>
                                                    <a:gd name="connsiteX67" fmla="*/ 57011 w 259024"/>
                                                    <a:gd name="connsiteY67" fmla="*/ 275841 h 439404"/>
                                                    <a:gd name="connsiteX68" fmla="*/ 51958 w 259024"/>
                                                    <a:gd name="connsiteY68" fmla="*/ 284976 h 439404"/>
                                                    <a:gd name="connsiteX69" fmla="*/ 43018 w 259024"/>
                                                    <a:gd name="connsiteY69" fmla="*/ 289900 h 439404"/>
                                                    <a:gd name="connsiteX70" fmla="*/ 33429 w 259024"/>
                                                    <a:gd name="connsiteY70" fmla="*/ 294111 h 439404"/>
                                                    <a:gd name="connsiteX71" fmla="*/ 34855 w 259024"/>
                                                    <a:gd name="connsiteY71" fmla="*/ 301107 h 439404"/>
                                                    <a:gd name="connsiteX72" fmla="*/ 27210 w 259024"/>
                                                    <a:gd name="connsiteY72" fmla="*/ 306873 h 439404"/>
                                                    <a:gd name="connsiteX73" fmla="*/ 17233 w 259024"/>
                                                    <a:gd name="connsiteY73" fmla="*/ 309335 h 439404"/>
                                                    <a:gd name="connsiteX74" fmla="*/ 12698 w 259024"/>
                                                    <a:gd name="connsiteY74" fmla="*/ 320414 h 439404"/>
                                                    <a:gd name="connsiteX75" fmla="*/ 0 w 259024"/>
                                                    <a:gd name="connsiteY75" fmla="*/ 328188 h 439404"/>
                                                    <a:gd name="connsiteX76" fmla="*/ 4146 w 259024"/>
                                                    <a:gd name="connsiteY76" fmla="*/ 338813 h 439404"/>
                                                    <a:gd name="connsiteX77" fmla="*/ 18852 w 259024"/>
                                                    <a:gd name="connsiteY77" fmla="*/ 357277 h 439404"/>
                                                    <a:gd name="connsiteX78" fmla="*/ 13346 w 259024"/>
                                                    <a:gd name="connsiteY78" fmla="*/ 382154 h 439404"/>
                                                    <a:gd name="connsiteX79" fmla="*/ 15549 w 259024"/>
                                                    <a:gd name="connsiteY79" fmla="*/ 394075 h 439404"/>
                                                    <a:gd name="connsiteX80" fmla="*/ 11985 w 259024"/>
                                                    <a:gd name="connsiteY80" fmla="*/ 397509 h 439404"/>
                                                    <a:gd name="connsiteX81" fmla="*/ 14123 w 259024"/>
                                                    <a:gd name="connsiteY81" fmla="*/ 413835 h 439404"/>
                                                    <a:gd name="connsiteX82" fmla="*/ 31939 w 259024"/>
                                                    <a:gd name="connsiteY82" fmla="*/ 416815 h 439404"/>
                                                    <a:gd name="connsiteX83" fmla="*/ 49043 w 259024"/>
                                                    <a:gd name="connsiteY83" fmla="*/ 427245 h 439404"/>
                                                    <a:gd name="connsiteX84" fmla="*/ 61093 w 259024"/>
                                                    <a:gd name="connsiteY84" fmla="*/ 435927 h 439404"/>
                                                    <a:gd name="connsiteX85" fmla="*/ 78909 w 259024"/>
                                                    <a:gd name="connsiteY85" fmla="*/ 439036 h 439404"/>
                                                    <a:gd name="connsiteX86" fmla="*/ 88757 w 259024"/>
                                                    <a:gd name="connsiteY86" fmla="*/ 436898 h 439404"/>
                                                    <a:gd name="connsiteX87" fmla="*/ 90441 w 259024"/>
                                                    <a:gd name="connsiteY87" fmla="*/ 433465 h 439404"/>
                                                    <a:gd name="connsiteX88" fmla="*/ 93939 w 259024"/>
                                                    <a:gd name="connsiteY88" fmla="*/ 431197 h 439404"/>
                                                    <a:gd name="connsiteX89" fmla="*/ 112533 w 259024"/>
                                                    <a:gd name="connsiteY89" fmla="*/ 427828 h 439404"/>
                                                    <a:gd name="connsiteX90" fmla="*/ 123805 w 259024"/>
                                                    <a:gd name="connsiteY90" fmla="*/ 425172 h 439404"/>
                                                    <a:gd name="connsiteX91" fmla="*/ 128146 w 259024"/>
                                                    <a:gd name="connsiteY91" fmla="*/ 418888 h 439404"/>
                                                    <a:gd name="connsiteX92" fmla="*/ 132357 w 259024"/>
                                                    <a:gd name="connsiteY92" fmla="*/ 418175 h 439404"/>
                                                    <a:gd name="connsiteX93" fmla="*/ 155097 w 259024"/>
                                                    <a:gd name="connsiteY93" fmla="*/ 418305 h 439404"/>
                                                    <a:gd name="connsiteX94" fmla="*/ 164232 w 259024"/>
                                                    <a:gd name="connsiteY94" fmla="*/ 416880 h 439404"/>
                                                    <a:gd name="connsiteX95" fmla="*/ 171034 w 259024"/>
                                                    <a:gd name="connsiteY95" fmla="*/ 410919 h 439404"/>
                                                    <a:gd name="connsiteX96" fmla="*/ 178873 w 259024"/>
                                                    <a:gd name="connsiteY96" fmla="*/ 408263 h 439404"/>
                                                    <a:gd name="connsiteX97" fmla="*/ 187943 w 259024"/>
                                                    <a:gd name="connsiteY97" fmla="*/ 398610 h 439404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259024" h="439404">
                                                      <a:moveTo>
                                                        <a:pt x="188008" y="398545"/>
                                                      </a:moveTo>
                                                      <a:cubicBezTo>
                                                        <a:pt x="191053" y="396019"/>
                                                        <a:pt x="194487" y="393557"/>
                                                        <a:pt x="195912" y="389799"/>
                                                      </a:cubicBezTo>
                                                      <a:cubicBezTo>
                                                        <a:pt x="199670" y="393103"/>
                                                        <a:pt x="205436" y="388568"/>
                                                        <a:pt x="207055" y="383839"/>
                                                      </a:cubicBezTo>
                                                      <a:cubicBezTo>
                                                        <a:pt x="208675" y="379109"/>
                                                        <a:pt x="209128" y="373344"/>
                                                        <a:pt x="213339" y="370623"/>
                                                      </a:cubicBezTo>
                                                      <a:cubicBezTo>
                                                        <a:pt x="215218" y="369392"/>
                                                        <a:pt x="217486" y="369068"/>
                                                        <a:pt x="219559" y="368290"/>
                                                      </a:cubicBezTo>
                                                      <a:cubicBezTo>
                                                        <a:pt x="225908" y="366023"/>
                                                        <a:pt x="230378" y="359479"/>
                                                        <a:pt x="230313" y="352742"/>
                                                      </a:cubicBezTo>
                                                      <a:cubicBezTo>
                                                        <a:pt x="233747" y="355592"/>
                                                        <a:pt x="239124" y="352742"/>
                                                        <a:pt x="241651" y="349114"/>
                                                      </a:cubicBezTo>
                                                      <a:cubicBezTo>
                                                        <a:pt x="244177" y="345421"/>
                                                        <a:pt x="245602" y="340821"/>
                                                        <a:pt x="249101" y="338035"/>
                                                      </a:cubicBezTo>
                                                      <a:cubicBezTo>
                                                        <a:pt x="250915" y="336610"/>
                                                        <a:pt x="253118" y="335833"/>
                                                        <a:pt x="254867" y="334407"/>
                                                      </a:cubicBezTo>
                                                      <a:cubicBezTo>
                                                        <a:pt x="259337" y="330779"/>
                                                        <a:pt x="259985" y="323912"/>
                                                        <a:pt x="257847" y="318535"/>
                                                      </a:cubicBezTo>
                                                      <a:cubicBezTo>
                                                        <a:pt x="255709" y="313158"/>
                                                        <a:pt x="251498" y="308947"/>
                                                        <a:pt x="247352" y="304930"/>
                                                      </a:cubicBezTo>
                                                      <a:cubicBezTo>
                                                        <a:pt x="241132" y="298905"/>
                                                        <a:pt x="234978" y="292815"/>
                                                        <a:pt x="228758" y="286790"/>
                                                      </a:cubicBezTo>
                                                      <a:cubicBezTo>
                                                        <a:pt x="226426" y="284522"/>
                                                        <a:pt x="223835" y="281542"/>
                                                        <a:pt x="224807" y="278368"/>
                                                      </a:cubicBezTo>
                                                      <a:cubicBezTo>
                                                        <a:pt x="226361" y="273120"/>
                                                        <a:pt x="235172" y="274221"/>
                                                        <a:pt x="238023" y="269492"/>
                                                      </a:cubicBezTo>
                                                      <a:cubicBezTo>
                                                        <a:pt x="232581" y="263337"/>
                                                        <a:pt x="226426" y="257831"/>
                                                        <a:pt x="219753" y="253036"/>
                                                      </a:cubicBezTo>
                                                      <a:cubicBezTo>
                                                        <a:pt x="225130" y="246882"/>
                                                        <a:pt x="228823" y="236387"/>
                                                        <a:pt x="222409" y="231333"/>
                                                      </a:cubicBezTo>
                                                      <a:cubicBezTo>
                                                        <a:pt x="219948" y="229390"/>
                                                        <a:pt x="216255" y="228547"/>
                                                        <a:pt x="215089" y="225632"/>
                                                      </a:cubicBezTo>
                                                      <a:cubicBezTo>
                                                        <a:pt x="212821" y="219931"/>
                                                        <a:pt x="222733" y="215785"/>
                                                        <a:pt x="222539" y="209630"/>
                                                      </a:cubicBezTo>
                                                      <a:cubicBezTo>
                                                        <a:pt x="222409" y="205095"/>
                                                        <a:pt x="216643" y="201337"/>
                                                        <a:pt x="218198" y="197062"/>
                                                      </a:cubicBezTo>
                                                      <a:cubicBezTo>
                                                        <a:pt x="219105" y="194535"/>
                                                        <a:pt x="222150" y="193563"/>
                                                        <a:pt x="223964" y="191555"/>
                                                      </a:cubicBezTo>
                                                      <a:cubicBezTo>
                                                        <a:pt x="226750" y="188445"/>
                                                        <a:pt x="226037" y="183392"/>
                                                        <a:pt x="223705" y="179958"/>
                                                      </a:cubicBezTo>
                                                      <a:cubicBezTo>
                                                        <a:pt x="221373" y="176460"/>
                                                        <a:pt x="217874" y="174063"/>
                                                        <a:pt x="214829" y="171212"/>
                                                      </a:cubicBezTo>
                                                      <a:cubicBezTo>
                                                        <a:pt x="209582" y="166224"/>
                                                        <a:pt x="205759" y="159810"/>
                                                        <a:pt x="203880" y="152813"/>
                                                      </a:cubicBezTo>
                                                      <a:cubicBezTo>
                                                        <a:pt x="203168" y="150092"/>
                                                        <a:pt x="202714" y="147177"/>
                                                        <a:pt x="203686" y="144585"/>
                                                      </a:cubicBezTo>
                                                      <a:cubicBezTo>
                                                        <a:pt x="205047" y="140892"/>
                                                        <a:pt x="209064" y="138171"/>
                                                        <a:pt x="208999" y="134219"/>
                                                      </a:cubicBezTo>
                                                      <a:cubicBezTo>
                                                        <a:pt x="208999" y="132470"/>
                                                        <a:pt x="208157" y="130851"/>
                                                        <a:pt x="208286" y="129101"/>
                                                      </a:cubicBezTo>
                                                      <a:cubicBezTo>
                                                        <a:pt x="208869" y="122428"/>
                                                        <a:pt x="221049" y="123789"/>
                                                        <a:pt x="223381" y="117570"/>
                                                      </a:cubicBezTo>
                                                      <a:cubicBezTo>
                                                        <a:pt x="224807" y="113747"/>
                                                        <a:pt x="221567" y="109925"/>
                                                        <a:pt x="218587" y="107139"/>
                                                      </a:cubicBezTo>
                                                      <a:cubicBezTo>
                                                        <a:pt x="211914" y="100855"/>
                                                        <a:pt x="205241" y="94571"/>
                                                        <a:pt x="198504" y="88351"/>
                                                      </a:cubicBezTo>
                                                      <a:cubicBezTo>
                                                        <a:pt x="194681" y="84788"/>
                                                        <a:pt x="190794" y="81030"/>
                                                        <a:pt x="188721" y="76236"/>
                                                      </a:cubicBezTo>
                                                      <a:cubicBezTo>
                                                        <a:pt x="186648" y="71442"/>
                                                        <a:pt x="187036" y="65223"/>
                                                        <a:pt x="190923" y="61724"/>
                                                      </a:cubicBezTo>
                                                      <a:cubicBezTo>
                                                        <a:pt x="191830" y="60882"/>
                                                        <a:pt x="192932" y="60234"/>
                                                        <a:pt x="193774" y="59327"/>
                                                      </a:cubicBezTo>
                                                      <a:cubicBezTo>
                                                        <a:pt x="197855" y="54533"/>
                                                        <a:pt x="193515" y="44038"/>
                                                        <a:pt x="199670" y="42612"/>
                                                      </a:cubicBezTo>
                                                      <a:cubicBezTo>
                                                        <a:pt x="211914" y="39762"/>
                                                        <a:pt x="206083" y="17022"/>
                                                        <a:pt x="196819" y="8470"/>
                                                      </a:cubicBezTo>
                                                      <a:cubicBezTo>
                                                        <a:pt x="185935" y="-1571"/>
                                                        <a:pt x="169155" y="-600"/>
                                                        <a:pt x="154449" y="1020"/>
                                                      </a:cubicBezTo>
                                                      <a:cubicBezTo>
                                                        <a:pt x="148554" y="1668"/>
                                                        <a:pt x="142593" y="2316"/>
                                                        <a:pt x="137216" y="4778"/>
                                                      </a:cubicBezTo>
                                                      <a:cubicBezTo>
                                                        <a:pt x="131839" y="7239"/>
                                                        <a:pt x="127045" y="11645"/>
                                                        <a:pt x="125749" y="17411"/>
                                                      </a:cubicBezTo>
                                                      <a:cubicBezTo>
                                                        <a:pt x="125036" y="20650"/>
                                                        <a:pt x="125490" y="24084"/>
                                                        <a:pt x="125166" y="27388"/>
                                                      </a:cubicBezTo>
                                                      <a:cubicBezTo>
                                                        <a:pt x="124648" y="33348"/>
                                                        <a:pt x="121538" y="39049"/>
                                                        <a:pt x="116808" y="42807"/>
                                                      </a:cubicBezTo>
                                                      <a:cubicBezTo>
                                                        <a:pt x="114347" y="44750"/>
                                                        <a:pt x="111302" y="46370"/>
                                                        <a:pt x="109877" y="49156"/>
                                                      </a:cubicBezTo>
                                                      <a:cubicBezTo>
                                                        <a:pt x="108970" y="50970"/>
                                                        <a:pt x="108840" y="53173"/>
                                                        <a:pt x="107998" y="55051"/>
                                                      </a:cubicBezTo>
                                                      <a:cubicBezTo>
                                                        <a:pt x="105471" y="60688"/>
                                                        <a:pt x="98021" y="61724"/>
                                                        <a:pt x="91866" y="61919"/>
                                                      </a:cubicBezTo>
                                                      <a:cubicBezTo>
                                                        <a:pt x="83768" y="62178"/>
                                                        <a:pt x="75735" y="62437"/>
                                                        <a:pt x="67636" y="62696"/>
                                                      </a:cubicBezTo>
                                                      <a:cubicBezTo>
                                                        <a:pt x="60251" y="62955"/>
                                                        <a:pt x="52541" y="63085"/>
                                                        <a:pt x="45868" y="59910"/>
                                                      </a:cubicBezTo>
                                                      <a:cubicBezTo>
                                                        <a:pt x="39130" y="56671"/>
                                                        <a:pt x="34336" y="50451"/>
                                                        <a:pt x="28311" y="46046"/>
                                                      </a:cubicBezTo>
                                                      <a:cubicBezTo>
                                                        <a:pt x="20796" y="40539"/>
                                                        <a:pt x="11143" y="37948"/>
                                                        <a:pt x="1879" y="38920"/>
                                                      </a:cubicBezTo>
                                                      <a:cubicBezTo>
                                                        <a:pt x="8681" y="48702"/>
                                                        <a:pt x="15484" y="58550"/>
                                                        <a:pt x="22286" y="68332"/>
                                                      </a:cubicBezTo>
                                                      <a:cubicBezTo>
                                                        <a:pt x="23258" y="69693"/>
                                                        <a:pt x="24295" y="71118"/>
                                                        <a:pt x="25785" y="71766"/>
                                                      </a:cubicBezTo>
                                                      <a:cubicBezTo>
                                                        <a:pt x="27275" y="72414"/>
                                                        <a:pt x="28959" y="72155"/>
                                                        <a:pt x="30449" y="72543"/>
                                                      </a:cubicBezTo>
                                                      <a:cubicBezTo>
                                                        <a:pt x="32069" y="72932"/>
                                                        <a:pt x="33429" y="73904"/>
                                                        <a:pt x="34790" y="74876"/>
                                                      </a:cubicBezTo>
                                                      <a:cubicBezTo>
                                                        <a:pt x="44313" y="81678"/>
                                                        <a:pt x="53837" y="88545"/>
                                                        <a:pt x="61935" y="96968"/>
                                                      </a:cubicBezTo>
                                                      <a:cubicBezTo>
                                                        <a:pt x="64073" y="99170"/>
                                                        <a:pt x="66211" y="101697"/>
                                                        <a:pt x="66794" y="104677"/>
                                                      </a:cubicBezTo>
                                                      <a:cubicBezTo>
                                                        <a:pt x="68284" y="112192"/>
                                                        <a:pt x="59927" y="119060"/>
                                                        <a:pt x="61417" y="126575"/>
                                                      </a:cubicBezTo>
                                                      <a:cubicBezTo>
                                                        <a:pt x="62907" y="134025"/>
                                                        <a:pt x="73337" y="137718"/>
                                                        <a:pt x="73661" y="145298"/>
                                                      </a:cubicBezTo>
                                                      <a:cubicBezTo>
                                                        <a:pt x="73726" y="147112"/>
                                                        <a:pt x="73208" y="148861"/>
                                                        <a:pt x="72949" y="150610"/>
                                                      </a:cubicBezTo>
                                                      <a:cubicBezTo>
                                                        <a:pt x="72560" y="152943"/>
                                                        <a:pt x="72625" y="155340"/>
                                                        <a:pt x="72689" y="157672"/>
                                                      </a:cubicBezTo>
                                                      <a:cubicBezTo>
                                                        <a:pt x="72819" y="165057"/>
                                                        <a:pt x="72819" y="172378"/>
                                                        <a:pt x="72689" y="179764"/>
                                                      </a:cubicBezTo>
                                                      <a:cubicBezTo>
                                                        <a:pt x="73337" y="179569"/>
                                                        <a:pt x="73985" y="179569"/>
                                                        <a:pt x="74698" y="179764"/>
                                                      </a:cubicBezTo>
                                                      <a:cubicBezTo>
                                                        <a:pt x="77095" y="180606"/>
                                                        <a:pt x="77354" y="183716"/>
                                                        <a:pt x="78196" y="186113"/>
                                                      </a:cubicBezTo>
                                                      <a:cubicBezTo>
                                                        <a:pt x="80593" y="193045"/>
                                                        <a:pt x="89339" y="194924"/>
                                                        <a:pt x="96660" y="195636"/>
                                                      </a:cubicBezTo>
                                                      <a:cubicBezTo>
                                                        <a:pt x="98798" y="201920"/>
                                                        <a:pt x="105147" y="206585"/>
                                                        <a:pt x="111820" y="206650"/>
                                                      </a:cubicBezTo>
                                                      <a:cubicBezTo>
                                                        <a:pt x="110654" y="215526"/>
                                                        <a:pt x="109423" y="224401"/>
                                                        <a:pt x="108257" y="233277"/>
                                                      </a:cubicBezTo>
                                                      <a:cubicBezTo>
                                                        <a:pt x="102945" y="232694"/>
                                                        <a:pt x="97632" y="232111"/>
                                                        <a:pt x="92320" y="231592"/>
                                                      </a:cubicBezTo>
                                                      <a:cubicBezTo>
                                                        <a:pt x="89016" y="237553"/>
                                                        <a:pt x="85582" y="244226"/>
                                                        <a:pt x="86877" y="250963"/>
                                                      </a:cubicBezTo>
                                                      <a:cubicBezTo>
                                                        <a:pt x="87396" y="253749"/>
                                                        <a:pt x="88757" y="256664"/>
                                                        <a:pt x="87720" y="259321"/>
                                                      </a:cubicBezTo>
                                                      <a:cubicBezTo>
                                                        <a:pt x="85452" y="265087"/>
                                                        <a:pt x="75929" y="262301"/>
                                                        <a:pt x="71394" y="266512"/>
                                                      </a:cubicBezTo>
                                                      <a:cubicBezTo>
                                                        <a:pt x="69515" y="268261"/>
                                                        <a:pt x="68802" y="270917"/>
                                                        <a:pt x="66924" y="272602"/>
                                                      </a:cubicBezTo>
                                                      <a:cubicBezTo>
                                                        <a:pt x="64332" y="274999"/>
                                                        <a:pt x="60315" y="274740"/>
                                                        <a:pt x="57011" y="275841"/>
                                                      </a:cubicBezTo>
                                                      <a:cubicBezTo>
                                                        <a:pt x="53642" y="276942"/>
                                                        <a:pt x="49367" y="282579"/>
                                                        <a:pt x="51958" y="284976"/>
                                                      </a:cubicBezTo>
                                                      <a:cubicBezTo>
                                                        <a:pt x="52088" y="288798"/>
                                                        <a:pt x="46840" y="290094"/>
                                                        <a:pt x="43018" y="289900"/>
                                                      </a:cubicBezTo>
                                                      <a:cubicBezTo>
                                                        <a:pt x="39195" y="289705"/>
                                                        <a:pt x="34013" y="290288"/>
                                                        <a:pt x="33429" y="294111"/>
                                                      </a:cubicBezTo>
                                                      <a:cubicBezTo>
                                                        <a:pt x="33041" y="296508"/>
                                                        <a:pt x="34920" y="298710"/>
                                                        <a:pt x="34855" y="301107"/>
                                                      </a:cubicBezTo>
                                                      <a:cubicBezTo>
                                                        <a:pt x="34725" y="304606"/>
                                                        <a:pt x="30644" y="306485"/>
                                                        <a:pt x="27210" y="306873"/>
                                                      </a:cubicBezTo>
                                                      <a:cubicBezTo>
                                                        <a:pt x="23776" y="307262"/>
                                                        <a:pt x="19889" y="307068"/>
                                                        <a:pt x="17233" y="309335"/>
                                                      </a:cubicBezTo>
                                                      <a:cubicBezTo>
                                                        <a:pt x="14188" y="311991"/>
                                                        <a:pt x="14253" y="316656"/>
                                                        <a:pt x="12698" y="320414"/>
                                                      </a:cubicBezTo>
                                                      <a:cubicBezTo>
                                                        <a:pt x="10625" y="325273"/>
                                                        <a:pt x="5312" y="328577"/>
                                                        <a:pt x="0" y="328188"/>
                                                      </a:cubicBezTo>
                                                      <a:lnTo>
                                                        <a:pt x="4146" y="338813"/>
                                                      </a:lnTo>
                                                      <a:cubicBezTo>
                                                        <a:pt x="7126" y="346457"/>
                                                        <a:pt x="11014" y="354944"/>
                                                        <a:pt x="18852" y="357277"/>
                                                      </a:cubicBezTo>
                                                      <a:cubicBezTo>
                                                        <a:pt x="18658" y="365893"/>
                                                        <a:pt x="11143" y="373797"/>
                                                        <a:pt x="13346" y="382154"/>
                                                      </a:cubicBezTo>
                                                      <a:cubicBezTo>
                                                        <a:pt x="14447" y="386171"/>
                                                        <a:pt x="17686" y="390447"/>
                                                        <a:pt x="15549" y="394075"/>
                                                      </a:cubicBezTo>
                                                      <a:cubicBezTo>
                                                        <a:pt x="14706" y="395500"/>
                                                        <a:pt x="13151" y="396342"/>
                                                        <a:pt x="11985" y="397509"/>
                                                      </a:cubicBezTo>
                                                      <a:cubicBezTo>
                                                        <a:pt x="7580" y="401849"/>
                                                        <a:pt x="9264" y="410012"/>
                                                        <a:pt x="14123" y="413835"/>
                                                      </a:cubicBezTo>
                                                      <a:cubicBezTo>
                                                        <a:pt x="19047" y="417657"/>
                                                        <a:pt x="25849" y="417981"/>
                                                        <a:pt x="31939" y="416815"/>
                                                      </a:cubicBezTo>
                                                      <a:cubicBezTo>
                                                        <a:pt x="33754" y="424006"/>
                                                        <a:pt x="41852" y="428930"/>
                                                        <a:pt x="49043" y="427245"/>
                                                      </a:cubicBezTo>
                                                      <a:cubicBezTo>
                                                        <a:pt x="49172" y="432622"/>
                                                        <a:pt x="55780" y="434955"/>
                                                        <a:pt x="61093" y="435927"/>
                                                      </a:cubicBezTo>
                                                      <a:cubicBezTo>
                                                        <a:pt x="67053" y="436963"/>
                                                        <a:pt x="72949" y="438000"/>
                                                        <a:pt x="78909" y="439036"/>
                                                      </a:cubicBezTo>
                                                      <a:cubicBezTo>
                                                        <a:pt x="82407" y="439619"/>
                                                        <a:pt x="86813" y="439878"/>
                                                        <a:pt x="88757" y="436898"/>
                                                      </a:cubicBezTo>
                                                      <a:cubicBezTo>
                                                        <a:pt x="89469" y="435797"/>
                                                        <a:pt x="89728" y="434501"/>
                                                        <a:pt x="90441" y="433465"/>
                                                      </a:cubicBezTo>
                                                      <a:cubicBezTo>
                                                        <a:pt x="91283" y="432363"/>
                                                        <a:pt x="92643" y="431715"/>
                                                        <a:pt x="93939" y="431197"/>
                                                      </a:cubicBezTo>
                                                      <a:cubicBezTo>
                                                        <a:pt x="99835" y="428930"/>
                                                        <a:pt x="106184" y="427763"/>
                                                        <a:pt x="112533" y="427828"/>
                                                      </a:cubicBezTo>
                                                      <a:cubicBezTo>
                                                        <a:pt x="116549" y="427828"/>
                                                        <a:pt x="121214" y="428217"/>
                                                        <a:pt x="123805" y="425172"/>
                                                      </a:cubicBezTo>
                                                      <a:cubicBezTo>
                                                        <a:pt x="125490" y="423229"/>
                                                        <a:pt x="125943" y="420184"/>
                                                        <a:pt x="128146" y="418888"/>
                                                      </a:cubicBezTo>
                                                      <a:cubicBezTo>
                                                        <a:pt x="129377" y="418175"/>
                                                        <a:pt x="130932" y="418110"/>
                                                        <a:pt x="132357" y="418175"/>
                                                      </a:cubicBezTo>
                                                      <a:lnTo>
                                                        <a:pt x="155097" y="418305"/>
                                                      </a:lnTo>
                                                      <a:cubicBezTo>
                                                        <a:pt x="158207" y="418305"/>
                                                        <a:pt x="161446" y="418305"/>
                                                        <a:pt x="164232" y="416880"/>
                                                      </a:cubicBezTo>
                                                      <a:cubicBezTo>
                                                        <a:pt x="166953" y="415519"/>
                                                        <a:pt x="168832" y="412928"/>
                                                        <a:pt x="171034" y="410919"/>
                                                      </a:cubicBezTo>
                                                      <a:cubicBezTo>
                                                        <a:pt x="173172" y="408976"/>
                                                        <a:pt x="176152" y="407486"/>
                                                        <a:pt x="178873" y="408263"/>
                                                      </a:cubicBezTo>
                                                      <a:cubicBezTo>
                                                        <a:pt x="181530" y="404765"/>
                                                        <a:pt x="184574" y="401461"/>
                                                        <a:pt x="187943" y="398610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7" name="Freeform: Shape 2056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38D7E679-62D1-4C2A-8F84-8E669B50EFDC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308845" y="2138460"/>
                                                  <a:ext cx="306066" cy="57467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213080 w 306066"/>
                                                    <a:gd name="connsiteY0" fmla="*/ 7386 h 574676"/>
                                                    <a:gd name="connsiteX1" fmla="*/ 212821 w 306066"/>
                                                    <a:gd name="connsiteY1" fmla="*/ 10560 h 574676"/>
                                                    <a:gd name="connsiteX2" fmla="*/ 215737 w 306066"/>
                                                    <a:gd name="connsiteY2" fmla="*/ 20602 h 574676"/>
                                                    <a:gd name="connsiteX3" fmla="*/ 215218 w 306066"/>
                                                    <a:gd name="connsiteY3" fmla="*/ 30773 h 574676"/>
                                                    <a:gd name="connsiteX4" fmla="*/ 206278 w 306066"/>
                                                    <a:gd name="connsiteY4" fmla="*/ 32911 h 574676"/>
                                                    <a:gd name="connsiteX5" fmla="*/ 200253 w 306066"/>
                                                    <a:gd name="connsiteY5" fmla="*/ 26821 h 574676"/>
                                                    <a:gd name="connsiteX6" fmla="*/ 191701 w 306066"/>
                                                    <a:gd name="connsiteY6" fmla="*/ 23906 h 574676"/>
                                                    <a:gd name="connsiteX7" fmla="*/ 186389 w 306066"/>
                                                    <a:gd name="connsiteY7" fmla="*/ 19306 h 574676"/>
                                                    <a:gd name="connsiteX8" fmla="*/ 172589 w 306066"/>
                                                    <a:gd name="connsiteY8" fmla="*/ 26173 h 574676"/>
                                                    <a:gd name="connsiteX9" fmla="*/ 171099 w 306066"/>
                                                    <a:gd name="connsiteY9" fmla="*/ 38483 h 574676"/>
                                                    <a:gd name="connsiteX10" fmla="*/ 158920 w 306066"/>
                                                    <a:gd name="connsiteY10" fmla="*/ 44896 h 574676"/>
                                                    <a:gd name="connsiteX11" fmla="*/ 144472 w 306066"/>
                                                    <a:gd name="connsiteY11" fmla="*/ 45091 h 574676"/>
                                                    <a:gd name="connsiteX12" fmla="*/ 134949 w 306066"/>
                                                    <a:gd name="connsiteY12" fmla="*/ 54420 h 574676"/>
                                                    <a:gd name="connsiteX13" fmla="*/ 134949 w 306066"/>
                                                    <a:gd name="connsiteY13" fmla="*/ 58890 h 574676"/>
                                                    <a:gd name="connsiteX14" fmla="*/ 130284 w 306066"/>
                                                    <a:gd name="connsiteY14" fmla="*/ 63555 h 574676"/>
                                                    <a:gd name="connsiteX15" fmla="*/ 126462 w 306066"/>
                                                    <a:gd name="connsiteY15" fmla="*/ 78067 h 574676"/>
                                                    <a:gd name="connsiteX16" fmla="*/ 116031 w 306066"/>
                                                    <a:gd name="connsiteY16" fmla="*/ 97567 h 574676"/>
                                                    <a:gd name="connsiteX17" fmla="*/ 104046 w 306066"/>
                                                    <a:gd name="connsiteY17" fmla="*/ 118947 h 574676"/>
                                                    <a:gd name="connsiteX18" fmla="*/ 97697 w 306066"/>
                                                    <a:gd name="connsiteY18" fmla="*/ 123611 h 574676"/>
                                                    <a:gd name="connsiteX19" fmla="*/ 95948 w 306066"/>
                                                    <a:gd name="connsiteY19" fmla="*/ 129377 h 574676"/>
                                                    <a:gd name="connsiteX20" fmla="*/ 77549 w 306066"/>
                                                    <a:gd name="connsiteY20" fmla="*/ 139224 h 574676"/>
                                                    <a:gd name="connsiteX21" fmla="*/ 75476 w 306066"/>
                                                    <a:gd name="connsiteY21" fmla="*/ 170775 h 574676"/>
                                                    <a:gd name="connsiteX22" fmla="*/ 73726 w 306066"/>
                                                    <a:gd name="connsiteY22" fmla="*/ 179716 h 574676"/>
                                                    <a:gd name="connsiteX23" fmla="*/ 65499 w 306066"/>
                                                    <a:gd name="connsiteY23" fmla="*/ 189239 h 574676"/>
                                                    <a:gd name="connsiteX24" fmla="*/ 62324 w 306066"/>
                                                    <a:gd name="connsiteY24" fmla="*/ 200706 h 574676"/>
                                                    <a:gd name="connsiteX25" fmla="*/ 69839 w 306066"/>
                                                    <a:gd name="connsiteY25" fmla="*/ 207379 h 574676"/>
                                                    <a:gd name="connsiteX26" fmla="*/ 72690 w 306066"/>
                                                    <a:gd name="connsiteY26" fmla="*/ 222539 h 574676"/>
                                                    <a:gd name="connsiteX27" fmla="*/ 66341 w 306066"/>
                                                    <a:gd name="connsiteY27" fmla="*/ 224418 h 574676"/>
                                                    <a:gd name="connsiteX28" fmla="*/ 61352 w 306066"/>
                                                    <a:gd name="connsiteY28" fmla="*/ 229471 h 574676"/>
                                                    <a:gd name="connsiteX29" fmla="*/ 48460 w 306066"/>
                                                    <a:gd name="connsiteY29" fmla="*/ 228694 h 574676"/>
                                                    <a:gd name="connsiteX30" fmla="*/ 35438 w 306066"/>
                                                    <a:gd name="connsiteY30" fmla="*/ 234978 h 574676"/>
                                                    <a:gd name="connsiteX31" fmla="*/ 29154 w 306066"/>
                                                    <a:gd name="connsiteY31" fmla="*/ 248453 h 574676"/>
                                                    <a:gd name="connsiteX32" fmla="*/ 26757 w 306066"/>
                                                    <a:gd name="connsiteY32" fmla="*/ 310194 h 574676"/>
                                                    <a:gd name="connsiteX33" fmla="*/ 29607 w 306066"/>
                                                    <a:gd name="connsiteY33" fmla="*/ 321661 h 574676"/>
                                                    <a:gd name="connsiteX34" fmla="*/ 41398 w 306066"/>
                                                    <a:gd name="connsiteY34" fmla="*/ 336821 h 574676"/>
                                                    <a:gd name="connsiteX35" fmla="*/ 32328 w 306066"/>
                                                    <a:gd name="connsiteY35" fmla="*/ 347835 h 574676"/>
                                                    <a:gd name="connsiteX36" fmla="*/ 28959 w 306066"/>
                                                    <a:gd name="connsiteY36" fmla="*/ 360338 h 574676"/>
                                                    <a:gd name="connsiteX37" fmla="*/ 33235 w 306066"/>
                                                    <a:gd name="connsiteY37" fmla="*/ 362865 h 574676"/>
                                                    <a:gd name="connsiteX38" fmla="*/ 36798 w 306066"/>
                                                    <a:gd name="connsiteY38" fmla="*/ 372129 h 574676"/>
                                                    <a:gd name="connsiteX39" fmla="*/ 31939 w 306066"/>
                                                    <a:gd name="connsiteY39" fmla="*/ 390334 h 574676"/>
                                                    <a:gd name="connsiteX40" fmla="*/ 21444 w 306066"/>
                                                    <a:gd name="connsiteY40" fmla="*/ 395517 h 574676"/>
                                                    <a:gd name="connsiteX41" fmla="*/ 18529 w 306066"/>
                                                    <a:gd name="connsiteY41" fmla="*/ 407891 h 574676"/>
                                                    <a:gd name="connsiteX42" fmla="*/ 16067 w 306066"/>
                                                    <a:gd name="connsiteY42" fmla="*/ 427456 h 574676"/>
                                                    <a:gd name="connsiteX43" fmla="*/ 14836 w 306066"/>
                                                    <a:gd name="connsiteY43" fmla="*/ 430501 h 574676"/>
                                                    <a:gd name="connsiteX44" fmla="*/ 11662 w 306066"/>
                                                    <a:gd name="connsiteY44" fmla="*/ 439506 h 574676"/>
                                                    <a:gd name="connsiteX45" fmla="*/ 0 w 306066"/>
                                                    <a:gd name="connsiteY45" fmla="*/ 438988 h 574676"/>
                                                    <a:gd name="connsiteX46" fmla="*/ 7256 w 306066"/>
                                                    <a:gd name="connsiteY46" fmla="*/ 461080 h 574676"/>
                                                    <a:gd name="connsiteX47" fmla="*/ 16391 w 306066"/>
                                                    <a:gd name="connsiteY47" fmla="*/ 470279 h 574676"/>
                                                    <a:gd name="connsiteX48" fmla="*/ 16909 w 306066"/>
                                                    <a:gd name="connsiteY48" fmla="*/ 476175 h 574676"/>
                                                    <a:gd name="connsiteX49" fmla="*/ 21444 w 306066"/>
                                                    <a:gd name="connsiteY49" fmla="*/ 481941 h 574676"/>
                                                    <a:gd name="connsiteX50" fmla="*/ 24295 w 306066"/>
                                                    <a:gd name="connsiteY50" fmla="*/ 500016 h 574676"/>
                                                    <a:gd name="connsiteX51" fmla="*/ 31356 w 306066"/>
                                                    <a:gd name="connsiteY51" fmla="*/ 504357 h 574676"/>
                                                    <a:gd name="connsiteX52" fmla="*/ 31356 w 306066"/>
                                                    <a:gd name="connsiteY52" fmla="*/ 517314 h 574676"/>
                                                    <a:gd name="connsiteX53" fmla="*/ 40362 w 306066"/>
                                                    <a:gd name="connsiteY53" fmla="*/ 524635 h 574676"/>
                                                    <a:gd name="connsiteX54" fmla="*/ 41981 w 306066"/>
                                                    <a:gd name="connsiteY54" fmla="*/ 543682 h 574676"/>
                                                    <a:gd name="connsiteX55" fmla="*/ 48654 w 306066"/>
                                                    <a:gd name="connsiteY55" fmla="*/ 548929 h 574676"/>
                                                    <a:gd name="connsiteX56" fmla="*/ 53643 w 306066"/>
                                                    <a:gd name="connsiteY56" fmla="*/ 571928 h 574676"/>
                                                    <a:gd name="connsiteX57" fmla="*/ 70033 w 306066"/>
                                                    <a:gd name="connsiteY57" fmla="*/ 569531 h 574676"/>
                                                    <a:gd name="connsiteX58" fmla="*/ 74180 w 306066"/>
                                                    <a:gd name="connsiteY58" fmla="*/ 551197 h 574676"/>
                                                    <a:gd name="connsiteX59" fmla="*/ 84027 w 306066"/>
                                                    <a:gd name="connsiteY59" fmla="*/ 547958 h 574676"/>
                                                    <a:gd name="connsiteX60" fmla="*/ 88498 w 306066"/>
                                                    <a:gd name="connsiteY60" fmla="*/ 537916 h 574676"/>
                                                    <a:gd name="connsiteX61" fmla="*/ 100871 w 306066"/>
                                                    <a:gd name="connsiteY61" fmla="*/ 544459 h 574676"/>
                                                    <a:gd name="connsiteX62" fmla="*/ 112921 w 306066"/>
                                                    <a:gd name="connsiteY62" fmla="*/ 539341 h 574676"/>
                                                    <a:gd name="connsiteX63" fmla="*/ 114736 w 306066"/>
                                                    <a:gd name="connsiteY63" fmla="*/ 533575 h 574676"/>
                                                    <a:gd name="connsiteX64" fmla="*/ 125231 w 306066"/>
                                                    <a:gd name="connsiteY64" fmla="*/ 527097 h 574676"/>
                                                    <a:gd name="connsiteX65" fmla="*/ 137152 w 306066"/>
                                                    <a:gd name="connsiteY65" fmla="*/ 522950 h 574676"/>
                                                    <a:gd name="connsiteX66" fmla="*/ 137734 w 306066"/>
                                                    <a:gd name="connsiteY66" fmla="*/ 512066 h 574676"/>
                                                    <a:gd name="connsiteX67" fmla="*/ 123870 w 306066"/>
                                                    <a:gd name="connsiteY67" fmla="*/ 508179 h 574676"/>
                                                    <a:gd name="connsiteX68" fmla="*/ 124065 w 306066"/>
                                                    <a:gd name="connsiteY68" fmla="*/ 505264 h 574676"/>
                                                    <a:gd name="connsiteX69" fmla="*/ 135921 w 306066"/>
                                                    <a:gd name="connsiteY69" fmla="*/ 448835 h 574676"/>
                                                    <a:gd name="connsiteX70" fmla="*/ 138577 w 306066"/>
                                                    <a:gd name="connsiteY70" fmla="*/ 443264 h 574676"/>
                                                    <a:gd name="connsiteX71" fmla="*/ 144343 w 306066"/>
                                                    <a:gd name="connsiteY71" fmla="*/ 441774 h 574676"/>
                                                    <a:gd name="connsiteX72" fmla="*/ 168896 w 306066"/>
                                                    <a:gd name="connsiteY72" fmla="*/ 414369 h 574676"/>
                                                    <a:gd name="connsiteX73" fmla="*/ 178355 w 306066"/>
                                                    <a:gd name="connsiteY73" fmla="*/ 403550 h 574676"/>
                                                    <a:gd name="connsiteX74" fmla="*/ 178485 w 306066"/>
                                                    <a:gd name="connsiteY74" fmla="*/ 388520 h 574676"/>
                                                    <a:gd name="connsiteX75" fmla="*/ 177254 w 306066"/>
                                                    <a:gd name="connsiteY75" fmla="*/ 384244 h 574676"/>
                                                    <a:gd name="connsiteX76" fmla="*/ 171682 w 306066"/>
                                                    <a:gd name="connsiteY76" fmla="*/ 381005 h 574676"/>
                                                    <a:gd name="connsiteX77" fmla="*/ 166046 w 306066"/>
                                                    <a:gd name="connsiteY77" fmla="*/ 367983 h 574676"/>
                                                    <a:gd name="connsiteX78" fmla="*/ 147323 w 306066"/>
                                                    <a:gd name="connsiteY78" fmla="*/ 365974 h 574676"/>
                                                    <a:gd name="connsiteX79" fmla="*/ 142853 w 306066"/>
                                                    <a:gd name="connsiteY79" fmla="*/ 364549 h 574676"/>
                                                    <a:gd name="connsiteX80" fmla="*/ 141039 w 306066"/>
                                                    <a:gd name="connsiteY80" fmla="*/ 358718 h 574676"/>
                                                    <a:gd name="connsiteX81" fmla="*/ 146286 w 306066"/>
                                                    <a:gd name="connsiteY81" fmla="*/ 295423 h 574676"/>
                                                    <a:gd name="connsiteX82" fmla="*/ 147323 w 306066"/>
                                                    <a:gd name="connsiteY82" fmla="*/ 284668 h 574676"/>
                                                    <a:gd name="connsiteX83" fmla="*/ 146481 w 306066"/>
                                                    <a:gd name="connsiteY83" fmla="*/ 282466 h 574676"/>
                                                    <a:gd name="connsiteX84" fmla="*/ 151015 w 306066"/>
                                                    <a:gd name="connsiteY84" fmla="*/ 277477 h 574676"/>
                                                    <a:gd name="connsiteX85" fmla="*/ 177578 w 306066"/>
                                                    <a:gd name="connsiteY85" fmla="*/ 257912 h 574676"/>
                                                    <a:gd name="connsiteX86" fmla="*/ 182890 w 306066"/>
                                                    <a:gd name="connsiteY86" fmla="*/ 253636 h 574676"/>
                                                    <a:gd name="connsiteX87" fmla="*/ 188203 w 306066"/>
                                                    <a:gd name="connsiteY87" fmla="*/ 252664 h 574676"/>
                                                    <a:gd name="connsiteX88" fmla="*/ 193709 w 306066"/>
                                                    <a:gd name="connsiteY88" fmla="*/ 241910 h 574676"/>
                                                    <a:gd name="connsiteX89" fmla="*/ 196754 w 306066"/>
                                                    <a:gd name="connsiteY89" fmla="*/ 229795 h 574676"/>
                                                    <a:gd name="connsiteX90" fmla="*/ 202326 w 306066"/>
                                                    <a:gd name="connsiteY90" fmla="*/ 226556 h 574676"/>
                                                    <a:gd name="connsiteX91" fmla="*/ 219170 w 306066"/>
                                                    <a:gd name="connsiteY91" fmla="*/ 219883 h 574676"/>
                                                    <a:gd name="connsiteX92" fmla="*/ 224612 w 306066"/>
                                                    <a:gd name="connsiteY92" fmla="*/ 215736 h 574676"/>
                                                    <a:gd name="connsiteX93" fmla="*/ 225195 w 306066"/>
                                                    <a:gd name="connsiteY93" fmla="*/ 212108 h 574676"/>
                                                    <a:gd name="connsiteX94" fmla="*/ 234006 w 306066"/>
                                                    <a:gd name="connsiteY94" fmla="*/ 199281 h 574676"/>
                                                    <a:gd name="connsiteX95" fmla="*/ 234330 w 306066"/>
                                                    <a:gd name="connsiteY95" fmla="*/ 190924 h 574676"/>
                                                    <a:gd name="connsiteX96" fmla="*/ 240355 w 306066"/>
                                                    <a:gd name="connsiteY96" fmla="*/ 188462 h 574676"/>
                                                    <a:gd name="connsiteX97" fmla="*/ 244955 w 306066"/>
                                                    <a:gd name="connsiteY97" fmla="*/ 183538 h 574676"/>
                                                    <a:gd name="connsiteX98" fmla="*/ 252729 w 306066"/>
                                                    <a:gd name="connsiteY98" fmla="*/ 156457 h 574676"/>
                                                    <a:gd name="connsiteX99" fmla="*/ 265946 w 306066"/>
                                                    <a:gd name="connsiteY99" fmla="*/ 151080 h 574676"/>
                                                    <a:gd name="connsiteX100" fmla="*/ 269185 w 306066"/>
                                                    <a:gd name="connsiteY100" fmla="*/ 141946 h 574676"/>
                                                    <a:gd name="connsiteX101" fmla="*/ 299634 w 306066"/>
                                                    <a:gd name="connsiteY101" fmla="*/ 135920 h 574676"/>
                                                    <a:gd name="connsiteX102" fmla="*/ 305076 w 306066"/>
                                                    <a:gd name="connsiteY102" fmla="*/ 131321 h 574676"/>
                                                    <a:gd name="connsiteX103" fmla="*/ 305076 w 306066"/>
                                                    <a:gd name="connsiteY103" fmla="*/ 109229 h 574676"/>
                                                    <a:gd name="connsiteX104" fmla="*/ 305335 w 306066"/>
                                                    <a:gd name="connsiteY104" fmla="*/ 102167 h 574676"/>
                                                    <a:gd name="connsiteX105" fmla="*/ 306048 w 306066"/>
                                                    <a:gd name="connsiteY105" fmla="*/ 96855 h 574676"/>
                                                    <a:gd name="connsiteX106" fmla="*/ 293803 w 306066"/>
                                                    <a:gd name="connsiteY106" fmla="*/ 78132 h 574676"/>
                                                    <a:gd name="connsiteX107" fmla="*/ 299180 w 306066"/>
                                                    <a:gd name="connsiteY107" fmla="*/ 56234 h 574676"/>
                                                    <a:gd name="connsiteX108" fmla="*/ 294321 w 306066"/>
                                                    <a:gd name="connsiteY108" fmla="*/ 48524 h 574676"/>
                                                    <a:gd name="connsiteX109" fmla="*/ 267176 w 306066"/>
                                                    <a:gd name="connsiteY109" fmla="*/ 26433 h 574676"/>
                                                    <a:gd name="connsiteX110" fmla="*/ 262836 w 306066"/>
                                                    <a:gd name="connsiteY110" fmla="*/ 24100 h 574676"/>
                                                    <a:gd name="connsiteX111" fmla="*/ 258171 w 306066"/>
                                                    <a:gd name="connsiteY111" fmla="*/ 23323 h 574676"/>
                                                    <a:gd name="connsiteX112" fmla="*/ 254673 w 306066"/>
                                                    <a:gd name="connsiteY112" fmla="*/ 19889 h 574676"/>
                                                    <a:gd name="connsiteX113" fmla="*/ 240873 w 306066"/>
                                                    <a:gd name="connsiteY113" fmla="*/ 0 h 574676"/>
                                                    <a:gd name="connsiteX114" fmla="*/ 218911 w 306066"/>
                                                    <a:gd name="connsiteY114" fmla="*/ 4146 h 574676"/>
                                                    <a:gd name="connsiteX115" fmla="*/ 212886 w 306066"/>
                                                    <a:gd name="connsiteY115" fmla="*/ 7515 h 57467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306066" h="574676">
                                                      <a:moveTo>
                                                        <a:pt x="213080" y="7386"/>
                                                      </a:moveTo>
                                                      <a:cubicBezTo>
                                                        <a:pt x="212627" y="8357"/>
                                                        <a:pt x="212692" y="9524"/>
                                                        <a:pt x="212821" y="10560"/>
                                                      </a:cubicBezTo>
                                                      <a:cubicBezTo>
                                                        <a:pt x="213275" y="14058"/>
                                                        <a:pt x="214765" y="17233"/>
                                                        <a:pt x="215737" y="20602"/>
                                                      </a:cubicBezTo>
                                                      <a:cubicBezTo>
                                                        <a:pt x="216708" y="23971"/>
                                                        <a:pt x="217032" y="27793"/>
                                                        <a:pt x="215218" y="30773"/>
                                                      </a:cubicBezTo>
                                                      <a:cubicBezTo>
                                                        <a:pt x="213404" y="33753"/>
                                                        <a:pt x="208869" y="35243"/>
                                                        <a:pt x="206278" y="32911"/>
                                                      </a:cubicBezTo>
                                                      <a:cubicBezTo>
                                                        <a:pt x="206148" y="29866"/>
                                                        <a:pt x="203168" y="27793"/>
                                                        <a:pt x="200253" y="26821"/>
                                                      </a:cubicBezTo>
                                                      <a:cubicBezTo>
                                                        <a:pt x="197337" y="25914"/>
                                                        <a:pt x="194163" y="25590"/>
                                                        <a:pt x="191701" y="23906"/>
                                                      </a:cubicBezTo>
                                                      <a:cubicBezTo>
                                                        <a:pt x="189758" y="22610"/>
                                                        <a:pt x="188397" y="20537"/>
                                                        <a:pt x="186389" y="19306"/>
                                                      </a:cubicBezTo>
                                                      <a:cubicBezTo>
                                                        <a:pt x="181271" y="16196"/>
                                                        <a:pt x="173950" y="20343"/>
                                                        <a:pt x="172589" y="26173"/>
                                                      </a:cubicBezTo>
                                                      <a:cubicBezTo>
                                                        <a:pt x="171617" y="30255"/>
                                                        <a:pt x="172848" y="34725"/>
                                                        <a:pt x="171099" y="38483"/>
                                                      </a:cubicBezTo>
                                                      <a:cubicBezTo>
                                                        <a:pt x="169026" y="42888"/>
                                                        <a:pt x="163714" y="44702"/>
                                                        <a:pt x="158920" y="44896"/>
                                                      </a:cubicBezTo>
                                                      <a:cubicBezTo>
                                                        <a:pt x="154061" y="45091"/>
                                                        <a:pt x="149202" y="44184"/>
                                                        <a:pt x="144472" y="45091"/>
                                                      </a:cubicBezTo>
                                                      <a:cubicBezTo>
                                                        <a:pt x="139743" y="45998"/>
                                                        <a:pt x="134884" y="49626"/>
                                                        <a:pt x="134949" y="54420"/>
                                                      </a:cubicBezTo>
                                                      <a:cubicBezTo>
                                                        <a:pt x="134949" y="55910"/>
                                                        <a:pt x="135402" y="57465"/>
                                                        <a:pt x="134949" y="58890"/>
                                                      </a:cubicBezTo>
                                                      <a:cubicBezTo>
                                                        <a:pt x="134236" y="61028"/>
                                                        <a:pt x="131904" y="62000"/>
                                                        <a:pt x="130284" y="63555"/>
                                                      </a:cubicBezTo>
                                                      <a:cubicBezTo>
                                                        <a:pt x="126656" y="67118"/>
                                                        <a:pt x="127434" y="73078"/>
                                                        <a:pt x="126462" y="78067"/>
                                                      </a:cubicBezTo>
                                                      <a:cubicBezTo>
                                                        <a:pt x="124972" y="85323"/>
                                                        <a:pt x="119336" y="90959"/>
                                                        <a:pt x="116031" y="97567"/>
                                                      </a:cubicBezTo>
                                                      <a:cubicBezTo>
                                                        <a:pt x="112339" y="105018"/>
                                                        <a:pt x="111108" y="114541"/>
                                                        <a:pt x="104046" y="118947"/>
                                                      </a:cubicBezTo>
                                                      <a:cubicBezTo>
                                                        <a:pt x="101779" y="120372"/>
                                                        <a:pt x="98928" y="121279"/>
                                                        <a:pt x="97697" y="123611"/>
                                                      </a:cubicBezTo>
                                                      <a:cubicBezTo>
                                                        <a:pt x="96725" y="125360"/>
                                                        <a:pt x="96920" y="127628"/>
                                                        <a:pt x="95948" y="129377"/>
                                                      </a:cubicBezTo>
                                                      <a:cubicBezTo>
                                                        <a:pt x="92773" y="135143"/>
                                                        <a:pt x="78002" y="132616"/>
                                                        <a:pt x="77549" y="139224"/>
                                                      </a:cubicBezTo>
                                                      <a:cubicBezTo>
                                                        <a:pt x="76836" y="149720"/>
                                                        <a:pt x="76188" y="160280"/>
                                                        <a:pt x="75476" y="170775"/>
                                                      </a:cubicBezTo>
                                                      <a:cubicBezTo>
                                                        <a:pt x="75281" y="173820"/>
                                                        <a:pt x="75022" y="176995"/>
                                                        <a:pt x="73726" y="179716"/>
                                                      </a:cubicBezTo>
                                                      <a:cubicBezTo>
                                                        <a:pt x="71912" y="183538"/>
                                                        <a:pt x="68284" y="186065"/>
                                                        <a:pt x="65499" y="189239"/>
                                                      </a:cubicBezTo>
                                                      <a:cubicBezTo>
                                                        <a:pt x="62648" y="192349"/>
                                                        <a:pt x="60510" y="196949"/>
                                                        <a:pt x="62324" y="200706"/>
                                                      </a:cubicBezTo>
                                                      <a:cubicBezTo>
                                                        <a:pt x="63814" y="203751"/>
                                                        <a:pt x="67312" y="205112"/>
                                                        <a:pt x="69839" y="207379"/>
                                                      </a:cubicBezTo>
                                                      <a:cubicBezTo>
                                                        <a:pt x="73921" y="211072"/>
                                                        <a:pt x="75152" y="217615"/>
                                                        <a:pt x="72690" y="222539"/>
                                                      </a:cubicBezTo>
                                                      <a:cubicBezTo>
                                                        <a:pt x="70617" y="221308"/>
                                                        <a:pt x="67960" y="222668"/>
                                                        <a:pt x="66341" y="224418"/>
                                                      </a:cubicBezTo>
                                                      <a:cubicBezTo>
                                                        <a:pt x="64721" y="226167"/>
                                                        <a:pt x="63425" y="228370"/>
                                                        <a:pt x="61352" y="229471"/>
                                                      </a:cubicBezTo>
                                                      <a:cubicBezTo>
                                                        <a:pt x="57465" y="231479"/>
                                                        <a:pt x="52865" y="228953"/>
                                                        <a:pt x="48460" y="228694"/>
                                                      </a:cubicBezTo>
                                                      <a:cubicBezTo>
                                                        <a:pt x="43471" y="228370"/>
                                                        <a:pt x="38677" y="231091"/>
                                                        <a:pt x="35438" y="234978"/>
                                                      </a:cubicBezTo>
                                                      <a:cubicBezTo>
                                                        <a:pt x="32264" y="238800"/>
                                                        <a:pt x="30449" y="243659"/>
                                                        <a:pt x="29154" y="248453"/>
                                                      </a:cubicBezTo>
                                                      <a:cubicBezTo>
                                                        <a:pt x="23647" y="268407"/>
                                                        <a:pt x="25202" y="289527"/>
                                                        <a:pt x="26757" y="310194"/>
                                                      </a:cubicBezTo>
                                                      <a:cubicBezTo>
                                                        <a:pt x="27080" y="314146"/>
                                                        <a:pt x="27405" y="318357"/>
                                                        <a:pt x="29607" y="321661"/>
                                                      </a:cubicBezTo>
                                                      <a:cubicBezTo>
                                                        <a:pt x="33235" y="327168"/>
                                                        <a:pt x="41593" y="330213"/>
                                                        <a:pt x="41398" y="336821"/>
                                                      </a:cubicBezTo>
                                                      <a:cubicBezTo>
                                                        <a:pt x="41268" y="341745"/>
                                                        <a:pt x="36215" y="344790"/>
                                                        <a:pt x="32328" y="347835"/>
                                                      </a:cubicBezTo>
                                                      <a:cubicBezTo>
                                                        <a:pt x="28441" y="350879"/>
                                                        <a:pt x="25331" y="357034"/>
                                                        <a:pt x="28959" y="360338"/>
                                                      </a:cubicBezTo>
                                                      <a:cubicBezTo>
                                                        <a:pt x="30190" y="361439"/>
                                                        <a:pt x="31939" y="361828"/>
                                                        <a:pt x="33235" y="362865"/>
                                                      </a:cubicBezTo>
                                                      <a:cubicBezTo>
                                                        <a:pt x="36021" y="364873"/>
                                                        <a:pt x="36539" y="368696"/>
                                                        <a:pt x="36798" y="372129"/>
                                                      </a:cubicBezTo>
                                                      <a:cubicBezTo>
                                                        <a:pt x="37381" y="378672"/>
                                                        <a:pt x="37381" y="386576"/>
                                                        <a:pt x="31939" y="390334"/>
                                                      </a:cubicBezTo>
                                                      <a:cubicBezTo>
                                                        <a:pt x="28700" y="392601"/>
                                                        <a:pt x="24230" y="392731"/>
                                                        <a:pt x="21444" y="395517"/>
                                                      </a:cubicBezTo>
                                                      <a:cubicBezTo>
                                                        <a:pt x="18334" y="398562"/>
                                                        <a:pt x="18529" y="403550"/>
                                                        <a:pt x="18529" y="407891"/>
                                                      </a:cubicBezTo>
                                                      <a:cubicBezTo>
                                                        <a:pt x="18529" y="414499"/>
                                                        <a:pt x="17751" y="421042"/>
                                                        <a:pt x="16067" y="427456"/>
                                                      </a:cubicBezTo>
                                                      <a:cubicBezTo>
                                                        <a:pt x="15808" y="428493"/>
                                                        <a:pt x="15354" y="429529"/>
                                                        <a:pt x="14836" y="430501"/>
                                                      </a:cubicBezTo>
                                                      <a:cubicBezTo>
                                                        <a:pt x="17039" y="433222"/>
                                                        <a:pt x="15095" y="438016"/>
                                                        <a:pt x="11662" y="439506"/>
                                                      </a:cubicBezTo>
                                                      <a:cubicBezTo>
                                                        <a:pt x="8033" y="441061"/>
                                                        <a:pt x="3823" y="440025"/>
                                                        <a:pt x="0" y="438988"/>
                                                      </a:cubicBezTo>
                                                      <a:cubicBezTo>
                                                        <a:pt x="389" y="446957"/>
                                                        <a:pt x="1231" y="455832"/>
                                                        <a:pt x="7256" y="461080"/>
                                                      </a:cubicBezTo>
                                                      <a:cubicBezTo>
                                                        <a:pt x="10560" y="463995"/>
                                                        <a:pt x="15484" y="465939"/>
                                                        <a:pt x="16391" y="470279"/>
                                                      </a:cubicBezTo>
                                                      <a:cubicBezTo>
                                                        <a:pt x="16780" y="472223"/>
                                                        <a:pt x="16261" y="474296"/>
                                                        <a:pt x="16909" y="476175"/>
                                                      </a:cubicBezTo>
                                                      <a:cubicBezTo>
                                                        <a:pt x="17751" y="478507"/>
                                                        <a:pt x="20149" y="479868"/>
                                                        <a:pt x="21444" y="481941"/>
                                                      </a:cubicBezTo>
                                                      <a:cubicBezTo>
                                                        <a:pt x="24683" y="487318"/>
                                                        <a:pt x="19630" y="495805"/>
                                                        <a:pt x="24295" y="500016"/>
                                                      </a:cubicBezTo>
                                                      <a:cubicBezTo>
                                                        <a:pt x="26368" y="501895"/>
                                                        <a:pt x="29737" y="502089"/>
                                                        <a:pt x="31356" y="504357"/>
                                                      </a:cubicBezTo>
                                                      <a:cubicBezTo>
                                                        <a:pt x="33883" y="507985"/>
                                                        <a:pt x="29672" y="513232"/>
                                                        <a:pt x="31356" y="517314"/>
                                                      </a:cubicBezTo>
                                                      <a:cubicBezTo>
                                                        <a:pt x="32846" y="520942"/>
                                                        <a:pt x="37965" y="521460"/>
                                                        <a:pt x="40362" y="524635"/>
                                                      </a:cubicBezTo>
                                                      <a:cubicBezTo>
                                                        <a:pt x="44314" y="529882"/>
                                                        <a:pt x="38159" y="538369"/>
                                                        <a:pt x="41981" y="543682"/>
                                                      </a:cubicBezTo>
                                                      <a:cubicBezTo>
                                                        <a:pt x="43601" y="546014"/>
                                                        <a:pt x="46711" y="546921"/>
                                                        <a:pt x="48654" y="548929"/>
                                                      </a:cubicBezTo>
                                                      <a:cubicBezTo>
                                                        <a:pt x="54226" y="554760"/>
                                                        <a:pt x="48395" y="565774"/>
                                                        <a:pt x="53643" y="571928"/>
                                                      </a:cubicBezTo>
                                                      <a:cubicBezTo>
                                                        <a:pt x="57789" y="576787"/>
                                                        <a:pt x="66341" y="574714"/>
                                                        <a:pt x="70033" y="569531"/>
                                                      </a:cubicBezTo>
                                                      <a:cubicBezTo>
                                                        <a:pt x="73791" y="564348"/>
                                                        <a:pt x="74050" y="557546"/>
                                                        <a:pt x="74180" y="551197"/>
                                                      </a:cubicBezTo>
                                                      <a:cubicBezTo>
                                                        <a:pt x="77614" y="552557"/>
                                                        <a:pt x="81630" y="550808"/>
                                                        <a:pt x="84027" y="547958"/>
                                                      </a:cubicBezTo>
                                                      <a:cubicBezTo>
                                                        <a:pt x="86424" y="545107"/>
                                                        <a:pt x="87461" y="541479"/>
                                                        <a:pt x="88498" y="537916"/>
                                                      </a:cubicBezTo>
                                                      <a:cubicBezTo>
                                                        <a:pt x="92320" y="540702"/>
                                                        <a:pt x="96272" y="543552"/>
                                                        <a:pt x="100871" y="544459"/>
                                                      </a:cubicBezTo>
                                                      <a:cubicBezTo>
                                                        <a:pt x="105471" y="545366"/>
                                                        <a:pt x="110978" y="543617"/>
                                                        <a:pt x="112921" y="539341"/>
                                                      </a:cubicBezTo>
                                                      <a:cubicBezTo>
                                                        <a:pt x="113764" y="537527"/>
                                                        <a:pt x="113893" y="535454"/>
                                                        <a:pt x="114736" y="533575"/>
                                                      </a:cubicBezTo>
                                                      <a:cubicBezTo>
                                                        <a:pt x="116549" y="529688"/>
                                                        <a:pt x="121020" y="528004"/>
                                                        <a:pt x="125231" y="527097"/>
                                                      </a:cubicBezTo>
                                                      <a:cubicBezTo>
                                                        <a:pt x="129377" y="526190"/>
                                                        <a:pt x="133912" y="525671"/>
                                                        <a:pt x="137152" y="522950"/>
                                                      </a:cubicBezTo>
                                                      <a:cubicBezTo>
                                                        <a:pt x="140455" y="520229"/>
                                                        <a:pt x="141362" y="514269"/>
                                                        <a:pt x="137734" y="512066"/>
                                                      </a:cubicBezTo>
                                                      <a:cubicBezTo>
                                                        <a:pt x="133329" y="509410"/>
                                                        <a:pt x="125101" y="513232"/>
                                                        <a:pt x="123870" y="508179"/>
                                                      </a:cubicBezTo>
                                                      <a:cubicBezTo>
                                                        <a:pt x="123611" y="507207"/>
                                                        <a:pt x="123870" y="506236"/>
                                                        <a:pt x="124065" y="505264"/>
                                                      </a:cubicBezTo>
                                                      <a:cubicBezTo>
                                                        <a:pt x="128017" y="486476"/>
                                                        <a:pt x="131968" y="467623"/>
                                                        <a:pt x="135921" y="448835"/>
                                                      </a:cubicBezTo>
                                                      <a:cubicBezTo>
                                                        <a:pt x="136374" y="446762"/>
                                                        <a:pt x="136892" y="444560"/>
                                                        <a:pt x="138577" y="443264"/>
                                                      </a:cubicBezTo>
                                                      <a:cubicBezTo>
                                                        <a:pt x="140132" y="442033"/>
                                                        <a:pt x="142334" y="441968"/>
                                                        <a:pt x="144343" y="441774"/>
                                                      </a:cubicBezTo>
                                                      <a:cubicBezTo>
                                                        <a:pt x="157818" y="440284"/>
                                                        <a:pt x="169545" y="427910"/>
                                                        <a:pt x="168896" y="414369"/>
                                                      </a:cubicBezTo>
                                                      <a:cubicBezTo>
                                                        <a:pt x="173755" y="413074"/>
                                                        <a:pt x="177124" y="408409"/>
                                                        <a:pt x="178355" y="403550"/>
                                                      </a:cubicBezTo>
                                                      <a:cubicBezTo>
                                                        <a:pt x="179586" y="398691"/>
                                                        <a:pt x="179068" y="393508"/>
                                                        <a:pt x="178485" y="388520"/>
                                                      </a:cubicBezTo>
                                                      <a:cubicBezTo>
                                                        <a:pt x="178355" y="387030"/>
                                                        <a:pt x="178161" y="385475"/>
                                                        <a:pt x="177254" y="384244"/>
                                                      </a:cubicBezTo>
                                                      <a:cubicBezTo>
                                                        <a:pt x="175958" y="382495"/>
                                                        <a:pt x="173626" y="381977"/>
                                                        <a:pt x="171682" y="381005"/>
                                                      </a:cubicBezTo>
                                                      <a:cubicBezTo>
                                                        <a:pt x="167083" y="378672"/>
                                                        <a:pt x="164621" y="372907"/>
                                                        <a:pt x="166046" y="367983"/>
                                                      </a:cubicBezTo>
                                                      <a:cubicBezTo>
                                                        <a:pt x="159827" y="367335"/>
                                                        <a:pt x="153607" y="366687"/>
                                                        <a:pt x="147323" y="365974"/>
                                                      </a:cubicBezTo>
                                                      <a:cubicBezTo>
                                                        <a:pt x="145703" y="365780"/>
                                                        <a:pt x="144019" y="365586"/>
                                                        <a:pt x="142853" y="364549"/>
                                                      </a:cubicBezTo>
                                                      <a:cubicBezTo>
                                                        <a:pt x="141298" y="363189"/>
                                                        <a:pt x="141103" y="360856"/>
                                                        <a:pt x="141039" y="358718"/>
                                                      </a:cubicBezTo>
                                                      <a:cubicBezTo>
                                                        <a:pt x="140455" y="337469"/>
                                                        <a:pt x="139873" y="315701"/>
                                                        <a:pt x="146286" y="295423"/>
                                                      </a:cubicBezTo>
                                                      <a:cubicBezTo>
                                                        <a:pt x="147388" y="291924"/>
                                                        <a:pt x="148748" y="288037"/>
                                                        <a:pt x="147323" y="284668"/>
                                                      </a:cubicBezTo>
                                                      <a:cubicBezTo>
                                                        <a:pt x="146999" y="283956"/>
                                                        <a:pt x="146610" y="283243"/>
                                                        <a:pt x="146481" y="282466"/>
                                                      </a:cubicBezTo>
                                                      <a:cubicBezTo>
                                                        <a:pt x="146157" y="280069"/>
                                                        <a:pt x="148813" y="278514"/>
                                                        <a:pt x="151015" y="277477"/>
                                                      </a:cubicBezTo>
                                                      <a:cubicBezTo>
                                                        <a:pt x="161058" y="272813"/>
                                                        <a:pt x="170127" y="266075"/>
                                                        <a:pt x="177578" y="257912"/>
                                                      </a:cubicBezTo>
                                                      <a:cubicBezTo>
                                                        <a:pt x="179133" y="256228"/>
                                                        <a:pt x="180687" y="254349"/>
                                                        <a:pt x="182890" y="253636"/>
                                                      </a:cubicBezTo>
                                                      <a:cubicBezTo>
                                                        <a:pt x="184574" y="253053"/>
                                                        <a:pt x="186518" y="253247"/>
                                                        <a:pt x="188203" y="252664"/>
                                                      </a:cubicBezTo>
                                                      <a:cubicBezTo>
                                                        <a:pt x="192220" y="251239"/>
                                                        <a:pt x="193515" y="246186"/>
                                                        <a:pt x="193709" y="241910"/>
                                                      </a:cubicBezTo>
                                                      <a:cubicBezTo>
                                                        <a:pt x="193904" y="237634"/>
                                                        <a:pt x="193774" y="232840"/>
                                                        <a:pt x="196754" y="229795"/>
                                                      </a:cubicBezTo>
                                                      <a:cubicBezTo>
                                                        <a:pt x="198245" y="228240"/>
                                                        <a:pt x="200318" y="227398"/>
                                                        <a:pt x="202326" y="226556"/>
                                                      </a:cubicBezTo>
                                                      <a:cubicBezTo>
                                                        <a:pt x="207962" y="224353"/>
                                                        <a:pt x="213534" y="222085"/>
                                                        <a:pt x="219170" y="219883"/>
                                                      </a:cubicBezTo>
                                                      <a:cubicBezTo>
                                                        <a:pt x="221373" y="219040"/>
                                                        <a:pt x="223770" y="217939"/>
                                                        <a:pt x="224612" y="215736"/>
                                                      </a:cubicBezTo>
                                                      <a:cubicBezTo>
                                                        <a:pt x="225066" y="214570"/>
                                                        <a:pt x="224936" y="213275"/>
                                                        <a:pt x="225195" y="212108"/>
                                                      </a:cubicBezTo>
                                                      <a:cubicBezTo>
                                                        <a:pt x="226361" y="206926"/>
                                                        <a:pt x="233488" y="204528"/>
                                                        <a:pt x="234006" y="199281"/>
                                                      </a:cubicBezTo>
                                                      <a:cubicBezTo>
                                                        <a:pt x="234265" y="196430"/>
                                                        <a:pt x="232581" y="193191"/>
                                                        <a:pt x="234330" y="190924"/>
                                                      </a:cubicBezTo>
                                                      <a:cubicBezTo>
                                                        <a:pt x="235690" y="189174"/>
                                                        <a:pt x="238347" y="189304"/>
                                                        <a:pt x="240355" y="188462"/>
                                                      </a:cubicBezTo>
                                                      <a:cubicBezTo>
                                                        <a:pt x="242428" y="187555"/>
                                                        <a:pt x="243789" y="185546"/>
                                                        <a:pt x="244955" y="183538"/>
                                                      </a:cubicBezTo>
                                                      <a:cubicBezTo>
                                                        <a:pt x="249684" y="175310"/>
                                                        <a:pt x="252405" y="165981"/>
                                                        <a:pt x="252729" y="156457"/>
                                                      </a:cubicBezTo>
                                                      <a:cubicBezTo>
                                                        <a:pt x="257653" y="158271"/>
                                                        <a:pt x="263743" y="155810"/>
                                                        <a:pt x="265946" y="151080"/>
                                                      </a:cubicBezTo>
                                                      <a:cubicBezTo>
                                                        <a:pt x="267371" y="148165"/>
                                                        <a:pt x="267371" y="144602"/>
                                                        <a:pt x="269185" y="141946"/>
                                                      </a:cubicBezTo>
                                                      <a:cubicBezTo>
                                                        <a:pt x="275339" y="133070"/>
                                                        <a:pt x="291471" y="143047"/>
                                                        <a:pt x="299634" y="135920"/>
                                                      </a:cubicBezTo>
                                                      <a:cubicBezTo>
                                                        <a:pt x="301383" y="134366"/>
                                                        <a:pt x="303133" y="131968"/>
                                                        <a:pt x="305076" y="131321"/>
                                                      </a:cubicBezTo>
                                                      <a:cubicBezTo>
                                                        <a:pt x="305270" y="123935"/>
                                                        <a:pt x="305270" y="116614"/>
                                                        <a:pt x="305076" y="109229"/>
                                                      </a:cubicBezTo>
                                                      <a:cubicBezTo>
                                                        <a:pt x="305076" y="106896"/>
                                                        <a:pt x="304946" y="104499"/>
                                                        <a:pt x="305335" y="102167"/>
                                                      </a:cubicBezTo>
                                                      <a:cubicBezTo>
                                                        <a:pt x="305595" y="100418"/>
                                                        <a:pt x="306177" y="98669"/>
                                                        <a:pt x="306048" y="96855"/>
                                                      </a:cubicBezTo>
                                                      <a:cubicBezTo>
                                                        <a:pt x="305724" y="89210"/>
                                                        <a:pt x="295293" y="85582"/>
                                                        <a:pt x="293803" y="78132"/>
                                                      </a:cubicBezTo>
                                                      <a:cubicBezTo>
                                                        <a:pt x="292313" y="70616"/>
                                                        <a:pt x="300671" y="63749"/>
                                                        <a:pt x="299180" y="56234"/>
                                                      </a:cubicBezTo>
                                                      <a:cubicBezTo>
                                                        <a:pt x="298598" y="53189"/>
                                                        <a:pt x="296460" y="50727"/>
                                                        <a:pt x="294321" y="48524"/>
                                                      </a:cubicBezTo>
                                                      <a:cubicBezTo>
                                                        <a:pt x="286223" y="40102"/>
                                                        <a:pt x="276635" y="33235"/>
                                                        <a:pt x="267176" y="26433"/>
                                                      </a:cubicBezTo>
                                                      <a:cubicBezTo>
                                                        <a:pt x="265816" y="25461"/>
                                                        <a:pt x="264455" y="24489"/>
                                                        <a:pt x="262836" y="24100"/>
                                                      </a:cubicBezTo>
                                                      <a:cubicBezTo>
                                                        <a:pt x="261281" y="23712"/>
                                                        <a:pt x="259596" y="23971"/>
                                                        <a:pt x="258171" y="23323"/>
                                                      </a:cubicBezTo>
                                                      <a:cubicBezTo>
                                                        <a:pt x="256617" y="22675"/>
                                                        <a:pt x="255580" y="21250"/>
                                                        <a:pt x="254673" y="19889"/>
                                                      </a:cubicBezTo>
                                                      <a:cubicBezTo>
                                                        <a:pt x="250073" y="13281"/>
                                                        <a:pt x="245473" y="6608"/>
                                                        <a:pt x="240873" y="0"/>
                                                      </a:cubicBezTo>
                                                      <a:cubicBezTo>
                                                        <a:pt x="233553" y="1360"/>
                                                        <a:pt x="226232" y="2721"/>
                                                        <a:pt x="218911" y="4146"/>
                                                      </a:cubicBezTo>
                                                      <a:cubicBezTo>
                                                        <a:pt x="216579" y="4600"/>
                                                        <a:pt x="213793" y="5312"/>
                                                        <a:pt x="212886" y="7515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  <p:sp>
                                              <p:nvSpPr>
                                                <p:cNvPr id="2058" name="Freeform: Shape 2057">
                                                  <a:extLst>
                                                    <a:ext uri="{FF2B5EF4-FFF2-40B4-BE49-F238E27FC236}">
                                                      <a16:creationId xmlns:a16="http://schemas.microsoft.com/office/drawing/2014/main" id="{206ACF98-F5BC-43F7-82CA-29FE287A52C6}"/>
                                                    </a:ext>
                                                  </a:extLst>
                                                </p:cNvPr>
                                                <p:cNvSpPr/>
                                                <p:nvPr/>
                                              </p:nvSpPr>
                                              <p:spPr>
                                                <a:xfrm>
                                                  <a:off x="7155044" y="2034298"/>
                                                  <a:ext cx="637361" cy="577666"/>
                                                </a:xfrm>
                                                <a:custGeom>
                                                  <a:avLst/>
                                                  <a:gdLst>
                                                    <a:gd name="connsiteX0" fmla="*/ 617018 w 637361"/>
                                                    <a:gd name="connsiteY0" fmla="*/ 71316 h 577666"/>
                                                    <a:gd name="connsiteX1" fmla="*/ 616565 w 637361"/>
                                                    <a:gd name="connsiteY1" fmla="*/ 71316 h 577666"/>
                                                    <a:gd name="connsiteX2" fmla="*/ 606912 w 637361"/>
                                                    <a:gd name="connsiteY2" fmla="*/ 69178 h 577666"/>
                                                    <a:gd name="connsiteX3" fmla="*/ 600498 w 637361"/>
                                                    <a:gd name="connsiteY3" fmla="*/ 54861 h 577666"/>
                                                    <a:gd name="connsiteX4" fmla="*/ 593112 w 637361"/>
                                                    <a:gd name="connsiteY4" fmla="*/ 52658 h 577666"/>
                                                    <a:gd name="connsiteX5" fmla="*/ 588318 w 637361"/>
                                                    <a:gd name="connsiteY5" fmla="*/ 47475 h 577666"/>
                                                    <a:gd name="connsiteX6" fmla="*/ 616889 w 637361"/>
                                                    <a:gd name="connsiteY6" fmla="*/ 51038 h 577666"/>
                                                    <a:gd name="connsiteX7" fmla="*/ 622137 w 637361"/>
                                                    <a:gd name="connsiteY7" fmla="*/ 46180 h 577666"/>
                                                    <a:gd name="connsiteX8" fmla="*/ 637361 w 637361"/>
                                                    <a:gd name="connsiteY8" fmla="*/ 41904 h 577666"/>
                                                    <a:gd name="connsiteX9" fmla="*/ 623303 w 637361"/>
                                                    <a:gd name="connsiteY9" fmla="*/ 27262 h 577666"/>
                                                    <a:gd name="connsiteX10" fmla="*/ 613131 w 637361"/>
                                                    <a:gd name="connsiteY10" fmla="*/ 15665 h 577666"/>
                                                    <a:gd name="connsiteX11" fmla="*/ 595445 w 637361"/>
                                                    <a:gd name="connsiteY11" fmla="*/ 13722 h 577666"/>
                                                    <a:gd name="connsiteX12" fmla="*/ 588902 w 637361"/>
                                                    <a:gd name="connsiteY12" fmla="*/ 11649 h 577666"/>
                                                    <a:gd name="connsiteX13" fmla="*/ 585662 w 637361"/>
                                                    <a:gd name="connsiteY13" fmla="*/ 13981 h 577666"/>
                                                    <a:gd name="connsiteX14" fmla="*/ 574065 w 637361"/>
                                                    <a:gd name="connsiteY14" fmla="*/ 17674 h 577666"/>
                                                    <a:gd name="connsiteX15" fmla="*/ 575037 w 637361"/>
                                                    <a:gd name="connsiteY15" fmla="*/ 34389 h 577666"/>
                                                    <a:gd name="connsiteX16" fmla="*/ 567069 w 637361"/>
                                                    <a:gd name="connsiteY16" fmla="*/ 33093 h 577666"/>
                                                    <a:gd name="connsiteX17" fmla="*/ 564996 w 637361"/>
                                                    <a:gd name="connsiteY17" fmla="*/ 15730 h 577666"/>
                                                    <a:gd name="connsiteX18" fmla="*/ 547503 w 637361"/>
                                                    <a:gd name="connsiteY18" fmla="*/ 15665 h 577666"/>
                                                    <a:gd name="connsiteX19" fmla="*/ 547180 w 637361"/>
                                                    <a:gd name="connsiteY19" fmla="*/ 23634 h 577666"/>
                                                    <a:gd name="connsiteX20" fmla="*/ 526448 w 637361"/>
                                                    <a:gd name="connsiteY20" fmla="*/ 34065 h 577666"/>
                                                    <a:gd name="connsiteX21" fmla="*/ 529817 w 637361"/>
                                                    <a:gd name="connsiteY21" fmla="*/ 18516 h 577666"/>
                                                    <a:gd name="connsiteX22" fmla="*/ 510964 w 637361"/>
                                                    <a:gd name="connsiteY22" fmla="*/ 26096 h 577666"/>
                                                    <a:gd name="connsiteX23" fmla="*/ 508502 w 637361"/>
                                                    <a:gd name="connsiteY23" fmla="*/ 32639 h 577666"/>
                                                    <a:gd name="connsiteX24" fmla="*/ 503968 w 637361"/>
                                                    <a:gd name="connsiteY24" fmla="*/ 35684 h 577666"/>
                                                    <a:gd name="connsiteX25" fmla="*/ 498072 w 637361"/>
                                                    <a:gd name="connsiteY25" fmla="*/ 46439 h 577666"/>
                                                    <a:gd name="connsiteX26" fmla="*/ 488095 w 637361"/>
                                                    <a:gd name="connsiteY26" fmla="*/ 49678 h 577666"/>
                                                    <a:gd name="connsiteX27" fmla="*/ 486346 w 637361"/>
                                                    <a:gd name="connsiteY27" fmla="*/ 36721 h 577666"/>
                                                    <a:gd name="connsiteX28" fmla="*/ 501700 w 637361"/>
                                                    <a:gd name="connsiteY28" fmla="*/ 22079 h 577666"/>
                                                    <a:gd name="connsiteX29" fmla="*/ 501959 w 637361"/>
                                                    <a:gd name="connsiteY29" fmla="*/ 18646 h 577666"/>
                                                    <a:gd name="connsiteX30" fmla="*/ 507077 w 637361"/>
                                                    <a:gd name="connsiteY30" fmla="*/ 16054 h 577666"/>
                                                    <a:gd name="connsiteX31" fmla="*/ 511806 w 637361"/>
                                                    <a:gd name="connsiteY31" fmla="*/ 52 h 577666"/>
                                                    <a:gd name="connsiteX32" fmla="*/ 497618 w 637361"/>
                                                    <a:gd name="connsiteY32" fmla="*/ 2060 h 577666"/>
                                                    <a:gd name="connsiteX33" fmla="*/ 478701 w 637361"/>
                                                    <a:gd name="connsiteY33" fmla="*/ 15406 h 577666"/>
                                                    <a:gd name="connsiteX34" fmla="*/ 476369 w 637361"/>
                                                    <a:gd name="connsiteY34" fmla="*/ 29918 h 577666"/>
                                                    <a:gd name="connsiteX35" fmla="*/ 468724 w 637361"/>
                                                    <a:gd name="connsiteY35" fmla="*/ 23310 h 577666"/>
                                                    <a:gd name="connsiteX36" fmla="*/ 460108 w 637361"/>
                                                    <a:gd name="connsiteY36" fmla="*/ 20136 h 577666"/>
                                                    <a:gd name="connsiteX37" fmla="*/ 458488 w 637361"/>
                                                    <a:gd name="connsiteY37" fmla="*/ 24735 h 577666"/>
                                                    <a:gd name="connsiteX38" fmla="*/ 448381 w 637361"/>
                                                    <a:gd name="connsiteY38" fmla="*/ 31603 h 577666"/>
                                                    <a:gd name="connsiteX39" fmla="*/ 449871 w 637361"/>
                                                    <a:gd name="connsiteY39" fmla="*/ 51751 h 577666"/>
                                                    <a:gd name="connsiteX40" fmla="*/ 449353 w 637361"/>
                                                    <a:gd name="connsiteY40" fmla="*/ 54602 h 577666"/>
                                                    <a:gd name="connsiteX41" fmla="*/ 441125 w 637361"/>
                                                    <a:gd name="connsiteY41" fmla="*/ 54083 h 577666"/>
                                                    <a:gd name="connsiteX42" fmla="*/ 439635 w 637361"/>
                                                    <a:gd name="connsiteY42" fmla="*/ 44560 h 577666"/>
                                                    <a:gd name="connsiteX43" fmla="*/ 413591 w 637361"/>
                                                    <a:gd name="connsiteY43" fmla="*/ 47410 h 577666"/>
                                                    <a:gd name="connsiteX44" fmla="*/ 419940 w 637361"/>
                                                    <a:gd name="connsiteY44" fmla="*/ 34389 h 577666"/>
                                                    <a:gd name="connsiteX45" fmla="*/ 433157 w 637361"/>
                                                    <a:gd name="connsiteY45" fmla="*/ 31085 h 577666"/>
                                                    <a:gd name="connsiteX46" fmla="*/ 436396 w 637361"/>
                                                    <a:gd name="connsiteY46" fmla="*/ 20460 h 577666"/>
                                                    <a:gd name="connsiteX47" fmla="*/ 430889 w 637361"/>
                                                    <a:gd name="connsiteY47" fmla="*/ 19682 h 577666"/>
                                                    <a:gd name="connsiteX48" fmla="*/ 413138 w 637361"/>
                                                    <a:gd name="connsiteY48" fmla="*/ 27521 h 577666"/>
                                                    <a:gd name="connsiteX49" fmla="*/ 410546 w 637361"/>
                                                    <a:gd name="connsiteY49" fmla="*/ 34777 h 577666"/>
                                                    <a:gd name="connsiteX50" fmla="*/ 407178 w 637361"/>
                                                    <a:gd name="connsiteY50" fmla="*/ 40414 h 577666"/>
                                                    <a:gd name="connsiteX51" fmla="*/ 411324 w 637361"/>
                                                    <a:gd name="connsiteY51" fmla="*/ 57258 h 577666"/>
                                                    <a:gd name="connsiteX52" fmla="*/ 405752 w 637361"/>
                                                    <a:gd name="connsiteY52" fmla="*/ 57841 h 577666"/>
                                                    <a:gd name="connsiteX53" fmla="*/ 400828 w 637361"/>
                                                    <a:gd name="connsiteY53" fmla="*/ 51881 h 577666"/>
                                                    <a:gd name="connsiteX54" fmla="*/ 396293 w 637361"/>
                                                    <a:gd name="connsiteY54" fmla="*/ 52334 h 577666"/>
                                                    <a:gd name="connsiteX55" fmla="*/ 387289 w 637361"/>
                                                    <a:gd name="connsiteY55" fmla="*/ 48188 h 577666"/>
                                                    <a:gd name="connsiteX56" fmla="*/ 378089 w 637361"/>
                                                    <a:gd name="connsiteY56" fmla="*/ 48058 h 577666"/>
                                                    <a:gd name="connsiteX57" fmla="*/ 385798 w 637361"/>
                                                    <a:gd name="connsiteY57" fmla="*/ 66328 h 577666"/>
                                                    <a:gd name="connsiteX58" fmla="*/ 385539 w 637361"/>
                                                    <a:gd name="connsiteY58" fmla="*/ 74880 h 577666"/>
                                                    <a:gd name="connsiteX59" fmla="*/ 378348 w 637361"/>
                                                    <a:gd name="connsiteY59" fmla="*/ 77665 h 577666"/>
                                                    <a:gd name="connsiteX60" fmla="*/ 374785 w 637361"/>
                                                    <a:gd name="connsiteY60" fmla="*/ 64384 h 577666"/>
                                                    <a:gd name="connsiteX61" fmla="*/ 362864 w 637361"/>
                                                    <a:gd name="connsiteY61" fmla="*/ 65810 h 577666"/>
                                                    <a:gd name="connsiteX62" fmla="*/ 359236 w 637361"/>
                                                    <a:gd name="connsiteY62" fmla="*/ 65162 h 577666"/>
                                                    <a:gd name="connsiteX63" fmla="*/ 358329 w 637361"/>
                                                    <a:gd name="connsiteY63" fmla="*/ 62246 h 577666"/>
                                                    <a:gd name="connsiteX64" fmla="*/ 357098 w 637361"/>
                                                    <a:gd name="connsiteY64" fmla="*/ 43588 h 577666"/>
                                                    <a:gd name="connsiteX65" fmla="*/ 339995 w 637361"/>
                                                    <a:gd name="connsiteY65" fmla="*/ 56999 h 577666"/>
                                                    <a:gd name="connsiteX66" fmla="*/ 343428 w 637361"/>
                                                    <a:gd name="connsiteY66" fmla="*/ 70280 h 577666"/>
                                                    <a:gd name="connsiteX67" fmla="*/ 329953 w 637361"/>
                                                    <a:gd name="connsiteY67" fmla="*/ 76175 h 577666"/>
                                                    <a:gd name="connsiteX68" fmla="*/ 329435 w 637361"/>
                                                    <a:gd name="connsiteY68" fmla="*/ 80775 h 577666"/>
                                                    <a:gd name="connsiteX69" fmla="*/ 315441 w 637361"/>
                                                    <a:gd name="connsiteY69" fmla="*/ 85440 h 577666"/>
                                                    <a:gd name="connsiteX70" fmla="*/ 312396 w 637361"/>
                                                    <a:gd name="connsiteY70" fmla="*/ 84468 h 577666"/>
                                                    <a:gd name="connsiteX71" fmla="*/ 306565 w 637361"/>
                                                    <a:gd name="connsiteY71" fmla="*/ 71187 h 577666"/>
                                                    <a:gd name="connsiteX72" fmla="*/ 299504 w 637361"/>
                                                    <a:gd name="connsiteY72" fmla="*/ 76953 h 577666"/>
                                                    <a:gd name="connsiteX73" fmla="*/ 295228 w 637361"/>
                                                    <a:gd name="connsiteY73" fmla="*/ 89262 h 577666"/>
                                                    <a:gd name="connsiteX74" fmla="*/ 284085 w 637361"/>
                                                    <a:gd name="connsiteY74" fmla="*/ 93927 h 577666"/>
                                                    <a:gd name="connsiteX75" fmla="*/ 294580 w 637361"/>
                                                    <a:gd name="connsiteY75" fmla="*/ 102737 h 577666"/>
                                                    <a:gd name="connsiteX76" fmla="*/ 309481 w 637361"/>
                                                    <a:gd name="connsiteY76" fmla="*/ 104875 h 577666"/>
                                                    <a:gd name="connsiteX77" fmla="*/ 309675 w 637361"/>
                                                    <a:gd name="connsiteY77" fmla="*/ 116602 h 577666"/>
                                                    <a:gd name="connsiteX78" fmla="*/ 301642 w 637361"/>
                                                    <a:gd name="connsiteY78" fmla="*/ 107856 h 577666"/>
                                                    <a:gd name="connsiteX79" fmla="*/ 292442 w 637361"/>
                                                    <a:gd name="connsiteY79" fmla="*/ 118416 h 577666"/>
                                                    <a:gd name="connsiteX80" fmla="*/ 289203 w 637361"/>
                                                    <a:gd name="connsiteY80" fmla="*/ 117444 h 577666"/>
                                                    <a:gd name="connsiteX81" fmla="*/ 288555 w 637361"/>
                                                    <a:gd name="connsiteY81" fmla="*/ 113557 h 577666"/>
                                                    <a:gd name="connsiteX82" fmla="*/ 275339 w 637361"/>
                                                    <a:gd name="connsiteY82" fmla="*/ 106106 h 577666"/>
                                                    <a:gd name="connsiteX83" fmla="*/ 270868 w 637361"/>
                                                    <a:gd name="connsiteY83" fmla="*/ 105135 h 577666"/>
                                                    <a:gd name="connsiteX84" fmla="*/ 270480 w 637361"/>
                                                    <a:gd name="connsiteY84" fmla="*/ 99952 h 577666"/>
                                                    <a:gd name="connsiteX85" fmla="*/ 270739 w 637361"/>
                                                    <a:gd name="connsiteY85" fmla="*/ 94704 h 577666"/>
                                                    <a:gd name="connsiteX86" fmla="*/ 262900 w 637361"/>
                                                    <a:gd name="connsiteY86" fmla="*/ 92177 h 577666"/>
                                                    <a:gd name="connsiteX87" fmla="*/ 255644 w 637361"/>
                                                    <a:gd name="connsiteY87" fmla="*/ 105264 h 577666"/>
                                                    <a:gd name="connsiteX88" fmla="*/ 254413 w 637361"/>
                                                    <a:gd name="connsiteY88" fmla="*/ 108244 h 577666"/>
                                                    <a:gd name="connsiteX89" fmla="*/ 242752 w 637361"/>
                                                    <a:gd name="connsiteY89" fmla="*/ 114852 h 577666"/>
                                                    <a:gd name="connsiteX90" fmla="*/ 242427 w 637361"/>
                                                    <a:gd name="connsiteY90" fmla="*/ 120878 h 577666"/>
                                                    <a:gd name="connsiteX91" fmla="*/ 229600 w 637361"/>
                                                    <a:gd name="connsiteY91" fmla="*/ 127745 h 577666"/>
                                                    <a:gd name="connsiteX92" fmla="*/ 230961 w 637361"/>
                                                    <a:gd name="connsiteY92" fmla="*/ 133057 h 577666"/>
                                                    <a:gd name="connsiteX93" fmla="*/ 244630 w 637361"/>
                                                    <a:gd name="connsiteY93" fmla="*/ 136232 h 577666"/>
                                                    <a:gd name="connsiteX94" fmla="*/ 255644 w 637361"/>
                                                    <a:gd name="connsiteY94" fmla="*/ 135519 h 577666"/>
                                                    <a:gd name="connsiteX95" fmla="*/ 260568 w 637361"/>
                                                    <a:gd name="connsiteY95" fmla="*/ 134418 h 577666"/>
                                                    <a:gd name="connsiteX96" fmla="*/ 264260 w 637361"/>
                                                    <a:gd name="connsiteY96" fmla="*/ 130271 h 577666"/>
                                                    <a:gd name="connsiteX97" fmla="*/ 284409 w 637361"/>
                                                    <a:gd name="connsiteY97" fmla="*/ 126579 h 577666"/>
                                                    <a:gd name="connsiteX98" fmla="*/ 287000 w 637361"/>
                                                    <a:gd name="connsiteY98" fmla="*/ 129105 h 577666"/>
                                                    <a:gd name="connsiteX99" fmla="*/ 287648 w 637361"/>
                                                    <a:gd name="connsiteY99" fmla="*/ 131697 h 577666"/>
                                                    <a:gd name="connsiteX100" fmla="*/ 289462 w 637361"/>
                                                    <a:gd name="connsiteY100" fmla="*/ 144460 h 577666"/>
                                                    <a:gd name="connsiteX101" fmla="*/ 289333 w 637361"/>
                                                    <a:gd name="connsiteY101" fmla="*/ 146597 h 577666"/>
                                                    <a:gd name="connsiteX102" fmla="*/ 287065 w 637361"/>
                                                    <a:gd name="connsiteY102" fmla="*/ 148023 h 577666"/>
                                                    <a:gd name="connsiteX103" fmla="*/ 276505 w 637361"/>
                                                    <a:gd name="connsiteY103" fmla="*/ 139989 h 577666"/>
                                                    <a:gd name="connsiteX104" fmla="*/ 274173 w 637361"/>
                                                    <a:gd name="connsiteY104" fmla="*/ 137398 h 577666"/>
                                                    <a:gd name="connsiteX105" fmla="*/ 272099 w 637361"/>
                                                    <a:gd name="connsiteY105" fmla="*/ 137981 h 577666"/>
                                                    <a:gd name="connsiteX106" fmla="*/ 257976 w 637361"/>
                                                    <a:gd name="connsiteY106" fmla="*/ 148865 h 577666"/>
                                                    <a:gd name="connsiteX107" fmla="*/ 255838 w 637361"/>
                                                    <a:gd name="connsiteY107" fmla="*/ 152039 h 577666"/>
                                                    <a:gd name="connsiteX108" fmla="*/ 247934 w 637361"/>
                                                    <a:gd name="connsiteY108" fmla="*/ 156834 h 577666"/>
                                                    <a:gd name="connsiteX109" fmla="*/ 246120 w 637361"/>
                                                    <a:gd name="connsiteY109" fmla="*/ 161369 h 577666"/>
                                                    <a:gd name="connsiteX110" fmla="*/ 244371 w 637361"/>
                                                    <a:gd name="connsiteY110" fmla="*/ 170179 h 577666"/>
                                                    <a:gd name="connsiteX111" fmla="*/ 238605 w 637361"/>
                                                    <a:gd name="connsiteY111" fmla="*/ 176723 h 577666"/>
                                                    <a:gd name="connsiteX112" fmla="*/ 235884 w 637361"/>
                                                    <a:gd name="connsiteY112" fmla="*/ 178018 h 577666"/>
                                                    <a:gd name="connsiteX113" fmla="*/ 235690 w 637361"/>
                                                    <a:gd name="connsiteY113" fmla="*/ 182294 h 577666"/>
                                                    <a:gd name="connsiteX114" fmla="*/ 229600 w 637361"/>
                                                    <a:gd name="connsiteY114" fmla="*/ 195122 h 577666"/>
                                                    <a:gd name="connsiteX115" fmla="*/ 223316 w 637361"/>
                                                    <a:gd name="connsiteY115" fmla="*/ 199527 h 577666"/>
                                                    <a:gd name="connsiteX116" fmla="*/ 222474 w 637361"/>
                                                    <a:gd name="connsiteY116" fmla="*/ 207237 h 577666"/>
                                                    <a:gd name="connsiteX117" fmla="*/ 216837 w 637361"/>
                                                    <a:gd name="connsiteY117" fmla="*/ 209569 h 577666"/>
                                                    <a:gd name="connsiteX118" fmla="*/ 213987 w 637361"/>
                                                    <a:gd name="connsiteY118" fmla="*/ 213521 h 577666"/>
                                                    <a:gd name="connsiteX119" fmla="*/ 211136 w 637361"/>
                                                    <a:gd name="connsiteY119" fmla="*/ 215594 h 577666"/>
                                                    <a:gd name="connsiteX120" fmla="*/ 205500 w 637361"/>
                                                    <a:gd name="connsiteY120" fmla="*/ 230171 h 577666"/>
                                                    <a:gd name="connsiteX121" fmla="*/ 200187 w 637361"/>
                                                    <a:gd name="connsiteY121" fmla="*/ 237945 h 577666"/>
                                                    <a:gd name="connsiteX122" fmla="*/ 192607 w 637361"/>
                                                    <a:gd name="connsiteY122" fmla="*/ 239889 h 577666"/>
                                                    <a:gd name="connsiteX123" fmla="*/ 184250 w 637361"/>
                                                    <a:gd name="connsiteY123" fmla="*/ 253235 h 577666"/>
                                                    <a:gd name="connsiteX124" fmla="*/ 185092 w 637361"/>
                                                    <a:gd name="connsiteY124" fmla="*/ 269820 h 577666"/>
                                                    <a:gd name="connsiteX125" fmla="*/ 178290 w 637361"/>
                                                    <a:gd name="connsiteY125" fmla="*/ 284202 h 577666"/>
                                                    <a:gd name="connsiteX126" fmla="*/ 173560 w 637361"/>
                                                    <a:gd name="connsiteY126" fmla="*/ 285951 h 577666"/>
                                                    <a:gd name="connsiteX127" fmla="*/ 160668 w 637361"/>
                                                    <a:gd name="connsiteY127" fmla="*/ 289450 h 577666"/>
                                                    <a:gd name="connsiteX128" fmla="*/ 152829 w 637361"/>
                                                    <a:gd name="connsiteY128" fmla="*/ 296965 h 577666"/>
                                                    <a:gd name="connsiteX129" fmla="*/ 165527 w 637361"/>
                                                    <a:gd name="connsiteY129" fmla="*/ 304156 h 577666"/>
                                                    <a:gd name="connsiteX130" fmla="*/ 167859 w 637361"/>
                                                    <a:gd name="connsiteY130" fmla="*/ 309922 h 577666"/>
                                                    <a:gd name="connsiteX131" fmla="*/ 165915 w 637361"/>
                                                    <a:gd name="connsiteY131" fmla="*/ 317891 h 577666"/>
                                                    <a:gd name="connsiteX132" fmla="*/ 160344 w 637361"/>
                                                    <a:gd name="connsiteY132" fmla="*/ 315559 h 577666"/>
                                                    <a:gd name="connsiteX133" fmla="*/ 159178 w 637361"/>
                                                    <a:gd name="connsiteY133" fmla="*/ 309015 h 577666"/>
                                                    <a:gd name="connsiteX134" fmla="*/ 152634 w 637361"/>
                                                    <a:gd name="connsiteY134" fmla="*/ 312514 h 577666"/>
                                                    <a:gd name="connsiteX135" fmla="*/ 152699 w 637361"/>
                                                    <a:gd name="connsiteY135" fmla="*/ 320741 h 577666"/>
                                                    <a:gd name="connsiteX136" fmla="*/ 147646 w 637361"/>
                                                    <a:gd name="connsiteY136" fmla="*/ 324499 h 577666"/>
                                                    <a:gd name="connsiteX137" fmla="*/ 146545 w 637361"/>
                                                    <a:gd name="connsiteY137" fmla="*/ 331949 h 577666"/>
                                                    <a:gd name="connsiteX138" fmla="*/ 133976 w 637361"/>
                                                    <a:gd name="connsiteY138" fmla="*/ 337197 h 577666"/>
                                                    <a:gd name="connsiteX139" fmla="*/ 132227 w 637361"/>
                                                    <a:gd name="connsiteY139" fmla="*/ 344777 h 577666"/>
                                                    <a:gd name="connsiteX140" fmla="*/ 119464 w 637361"/>
                                                    <a:gd name="connsiteY140" fmla="*/ 351968 h 577666"/>
                                                    <a:gd name="connsiteX141" fmla="*/ 110200 w 637361"/>
                                                    <a:gd name="connsiteY141" fmla="*/ 362269 h 577666"/>
                                                    <a:gd name="connsiteX142" fmla="*/ 105471 w 637361"/>
                                                    <a:gd name="connsiteY142" fmla="*/ 362723 h 577666"/>
                                                    <a:gd name="connsiteX143" fmla="*/ 97372 w 637361"/>
                                                    <a:gd name="connsiteY143" fmla="*/ 373218 h 577666"/>
                                                    <a:gd name="connsiteX144" fmla="*/ 63230 w 637361"/>
                                                    <a:gd name="connsiteY144" fmla="*/ 373866 h 577666"/>
                                                    <a:gd name="connsiteX145" fmla="*/ 59473 w 637361"/>
                                                    <a:gd name="connsiteY145" fmla="*/ 375032 h 577666"/>
                                                    <a:gd name="connsiteX146" fmla="*/ 61934 w 637361"/>
                                                    <a:gd name="connsiteY146" fmla="*/ 383972 h 577666"/>
                                                    <a:gd name="connsiteX147" fmla="*/ 66081 w 637361"/>
                                                    <a:gd name="connsiteY147" fmla="*/ 392718 h 577666"/>
                                                    <a:gd name="connsiteX148" fmla="*/ 57011 w 637361"/>
                                                    <a:gd name="connsiteY148" fmla="*/ 396282 h 577666"/>
                                                    <a:gd name="connsiteX149" fmla="*/ 54937 w 637361"/>
                                                    <a:gd name="connsiteY149" fmla="*/ 403149 h 577666"/>
                                                    <a:gd name="connsiteX150" fmla="*/ 47941 w 637361"/>
                                                    <a:gd name="connsiteY150" fmla="*/ 407943 h 577666"/>
                                                    <a:gd name="connsiteX151" fmla="*/ 46969 w 637361"/>
                                                    <a:gd name="connsiteY151" fmla="*/ 414681 h 577666"/>
                                                    <a:gd name="connsiteX152" fmla="*/ 37186 w 637361"/>
                                                    <a:gd name="connsiteY152" fmla="*/ 416430 h 577666"/>
                                                    <a:gd name="connsiteX153" fmla="*/ 22674 w 637361"/>
                                                    <a:gd name="connsiteY153" fmla="*/ 431331 h 577666"/>
                                                    <a:gd name="connsiteX154" fmla="*/ 21897 w 637361"/>
                                                    <a:gd name="connsiteY154" fmla="*/ 453811 h 577666"/>
                                                    <a:gd name="connsiteX155" fmla="*/ 11661 w 637361"/>
                                                    <a:gd name="connsiteY155" fmla="*/ 472599 h 577666"/>
                                                    <a:gd name="connsiteX156" fmla="*/ 64 w 637361"/>
                                                    <a:gd name="connsiteY156" fmla="*/ 481475 h 577666"/>
                                                    <a:gd name="connsiteX157" fmla="*/ 7061 w 637361"/>
                                                    <a:gd name="connsiteY157" fmla="*/ 486787 h 577666"/>
                                                    <a:gd name="connsiteX158" fmla="*/ 31550 w 637361"/>
                                                    <a:gd name="connsiteY158" fmla="*/ 482317 h 577666"/>
                                                    <a:gd name="connsiteX159" fmla="*/ 35113 w 637361"/>
                                                    <a:gd name="connsiteY159" fmla="*/ 478754 h 577666"/>
                                                    <a:gd name="connsiteX160" fmla="*/ 45284 w 637361"/>
                                                    <a:gd name="connsiteY160" fmla="*/ 483224 h 577666"/>
                                                    <a:gd name="connsiteX161" fmla="*/ 37057 w 637361"/>
                                                    <a:gd name="connsiteY161" fmla="*/ 490610 h 577666"/>
                                                    <a:gd name="connsiteX162" fmla="*/ 36798 w 637361"/>
                                                    <a:gd name="connsiteY162" fmla="*/ 498643 h 577666"/>
                                                    <a:gd name="connsiteX163" fmla="*/ 28246 w 637361"/>
                                                    <a:gd name="connsiteY163" fmla="*/ 501623 h 577666"/>
                                                    <a:gd name="connsiteX164" fmla="*/ 22545 w 637361"/>
                                                    <a:gd name="connsiteY164" fmla="*/ 502401 h 577666"/>
                                                    <a:gd name="connsiteX165" fmla="*/ 4988 w 637361"/>
                                                    <a:gd name="connsiteY165" fmla="*/ 502854 h 577666"/>
                                                    <a:gd name="connsiteX166" fmla="*/ 4858 w 637361"/>
                                                    <a:gd name="connsiteY166" fmla="*/ 524557 h 577666"/>
                                                    <a:gd name="connsiteX167" fmla="*/ 12309 w 637361"/>
                                                    <a:gd name="connsiteY167" fmla="*/ 524622 h 577666"/>
                                                    <a:gd name="connsiteX168" fmla="*/ 37899 w 637361"/>
                                                    <a:gd name="connsiteY168" fmla="*/ 516977 h 577666"/>
                                                    <a:gd name="connsiteX169" fmla="*/ 31550 w 637361"/>
                                                    <a:gd name="connsiteY169" fmla="*/ 525076 h 577666"/>
                                                    <a:gd name="connsiteX170" fmla="*/ 31226 w 637361"/>
                                                    <a:gd name="connsiteY170" fmla="*/ 536089 h 577666"/>
                                                    <a:gd name="connsiteX171" fmla="*/ 18852 w 637361"/>
                                                    <a:gd name="connsiteY171" fmla="*/ 538616 h 577666"/>
                                                    <a:gd name="connsiteX172" fmla="*/ 21638 w 637361"/>
                                                    <a:gd name="connsiteY172" fmla="*/ 547232 h 577666"/>
                                                    <a:gd name="connsiteX173" fmla="*/ 30967 w 637361"/>
                                                    <a:gd name="connsiteY173" fmla="*/ 551573 h 577666"/>
                                                    <a:gd name="connsiteX174" fmla="*/ 41462 w 637361"/>
                                                    <a:gd name="connsiteY174" fmla="*/ 561939 h 577666"/>
                                                    <a:gd name="connsiteX175" fmla="*/ 51569 w 637361"/>
                                                    <a:gd name="connsiteY175" fmla="*/ 563688 h 577666"/>
                                                    <a:gd name="connsiteX176" fmla="*/ 54614 w 637361"/>
                                                    <a:gd name="connsiteY176" fmla="*/ 569000 h 577666"/>
                                                    <a:gd name="connsiteX177" fmla="*/ 71458 w 637361"/>
                                                    <a:gd name="connsiteY177" fmla="*/ 577358 h 577666"/>
                                                    <a:gd name="connsiteX178" fmla="*/ 75215 w 637361"/>
                                                    <a:gd name="connsiteY178" fmla="*/ 575220 h 577666"/>
                                                    <a:gd name="connsiteX179" fmla="*/ 76382 w 637361"/>
                                                    <a:gd name="connsiteY179" fmla="*/ 570944 h 577666"/>
                                                    <a:gd name="connsiteX180" fmla="*/ 100093 w 637361"/>
                                                    <a:gd name="connsiteY180" fmla="*/ 554747 h 577666"/>
                                                    <a:gd name="connsiteX181" fmla="*/ 103203 w 637361"/>
                                                    <a:gd name="connsiteY181" fmla="*/ 546649 h 577666"/>
                                                    <a:gd name="connsiteX182" fmla="*/ 107673 w 637361"/>
                                                    <a:gd name="connsiteY182" fmla="*/ 545548 h 577666"/>
                                                    <a:gd name="connsiteX183" fmla="*/ 119334 w 637361"/>
                                                    <a:gd name="connsiteY183" fmla="*/ 532526 h 577666"/>
                                                    <a:gd name="connsiteX184" fmla="*/ 131838 w 637361"/>
                                                    <a:gd name="connsiteY184" fmla="*/ 532526 h 577666"/>
                                                    <a:gd name="connsiteX185" fmla="*/ 136114 w 637361"/>
                                                    <a:gd name="connsiteY185" fmla="*/ 519893 h 577666"/>
                                                    <a:gd name="connsiteX186" fmla="*/ 143824 w 637361"/>
                                                    <a:gd name="connsiteY186" fmla="*/ 510110 h 577666"/>
                                                    <a:gd name="connsiteX187" fmla="*/ 150821 w 637361"/>
                                                    <a:gd name="connsiteY187" fmla="*/ 520605 h 577666"/>
                                                    <a:gd name="connsiteX188" fmla="*/ 156327 w 637361"/>
                                                    <a:gd name="connsiteY188" fmla="*/ 532396 h 577666"/>
                                                    <a:gd name="connsiteX189" fmla="*/ 168248 w 637361"/>
                                                    <a:gd name="connsiteY189" fmla="*/ 533886 h 577666"/>
                                                    <a:gd name="connsiteX190" fmla="*/ 168766 w 637361"/>
                                                    <a:gd name="connsiteY190" fmla="*/ 534470 h 577666"/>
                                                    <a:gd name="connsiteX191" fmla="*/ 169997 w 637361"/>
                                                    <a:gd name="connsiteY191" fmla="*/ 531425 h 577666"/>
                                                    <a:gd name="connsiteX192" fmla="*/ 172459 w 637361"/>
                                                    <a:gd name="connsiteY192" fmla="*/ 511859 h 577666"/>
                                                    <a:gd name="connsiteX193" fmla="*/ 175374 w 637361"/>
                                                    <a:gd name="connsiteY193" fmla="*/ 499485 h 577666"/>
                                                    <a:gd name="connsiteX194" fmla="*/ 185870 w 637361"/>
                                                    <a:gd name="connsiteY194" fmla="*/ 494302 h 577666"/>
                                                    <a:gd name="connsiteX195" fmla="*/ 190728 w 637361"/>
                                                    <a:gd name="connsiteY195" fmla="*/ 476098 h 577666"/>
                                                    <a:gd name="connsiteX196" fmla="*/ 187165 w 637361"/>
                                                    <a:gd name="connsiteY196" fmla="*/ 466833 h 577666"/>
                                                    <a:gd name="connsiteX197" fmla="*/ 182889 w 637361"/>
                                                    <a:gd name="connsiteY197" fmla="*/ 464307 h 577666"/>
                                                    <a:gd name="connsiteX198" fmla="*/ 186258 w 637361"/>
                                                    <a:gd name="connsiteY198" fmla="*/ 451803 h 577666"/>
                                                    <a:gd name="connsiteX199" fmla="*/ 195328 w 637361"/>
                                                    <a:gd name="connsiteY199" fmla="*/ 440789 h 577666"/>
                                                    <a:gd name="connsiteX200" fmla="*/ 183537 w 637361"/>
                                                    <a:gd name="connsiteY200" fmla="*/ 425629 h 577666"/>
                                                    <a:gd name="connsiteX201" fmla="*/ 180687 w 637361"/>
                                                    <a:gd name="connsiteY201" fmla="*/ 414162 h 577666"/>
                                                    <a:gd name="connsiteX202" fmla="*/ 183084 w 637361"/>
                                                    <a:gd name="connsiteY202" fmla="*/ 352422 h 577666"/>
                                                    <a:gd name="connsiteX203" fmla="*/ 189368 w 637361"/>
                                                    <a:gd name="connsiteY203" fmla="*/ 338946 h 577666"/>
                                                    <a:gd name="connsiteX204" fmla="*/ 202390 w 637361"/>
                                                    <a:gd name="connsiteY204" fmla="*/ 332662 h 577666"/>
                                                    <a:gd name="connsiteX205" fmla="*/ 215282 w 637361"/>
                                                    <a:gd name="connsiteY205" fmla="*/ 333439 h 577666"/>
                                                    <a:gd name="connsiteX206" fmla="*/ 220271 w 637361"/>
                                                    <a:gd name="connsiteY206" fmla="*/ 328386 h 577666"/>
                                                    <a:gd name="connsiteX207" fmla="*/ 226620 w 637361"/>
                                                    <a:gd name="connsiteY207" fmla="*/ 326507 h 577666"/>
                                                    <a:gd name="connsiteX208" fmla="*/ 223769 w 637361"/>
                                                    <a:gd name="connsiteY208" fmla="*/ 311347 h 577666"/>
                                                    <a:gd name="connsiteX209" fmla="*/ 216254 w 637361"/>
                                                    <a:gd name="connsiteY209" fmla="*/ 304675 h 577666"/>
                                                    <a:gd name="connsiteX210" fmla="*/ 219428 w 637361"/>
                                                    <a:gd name="connsiteY210" fmla="*/ 293207 h 577666"/>
                                                    <a:gd name="connsiteX211" fmla="*/ 227656 w 637361"/>
                                                    <a:gd name="connsiteY211" fmla="*/ 283684 h 577666"/>
                                                    <a:gd name="connsiteX212" fmla="*/ 229406 w 637361"/>
                                                    <a:gd name="connsiteY212" fmla="*/ 274744 h 577666"/>
                                                    <a:gd name="connsiteX213" fmla="*/ 231479 w 637361"/>
                                                    <a:gd name="connsiteY213" fmla="*/ 243193 h 577666"/>
                                                    <a:gd name="connsiteX214" fmla="*/ 249878 w 637361"/>
                                                    <a:gd name="connsiteY214" fmla="*/ 233346 h 577666"/>
                                                    <a:gd name="connsiteX215" fmla="*/ 251627 w 637361"/>
                                                    <a:gd name="connsiteY215" fmla="*/ 227580 h 577666"/>
                                                    <a:gd name="connsiteX216" fmla="*/ 257976 w 637361"/>
                                                    <a:gd name="connsiteY216" fmla="*/ 222915 h 577666"/>
                                                    <a:gd name="connsiteX217" fmla="*/ 269961 w 637361"/>
                                                    <a:gd name="connsiteY217" fmla="*/ 201536 h 577666"/>
                                                    <a:gd name="connsiteX218" fmla="*/ 280392 w 637361"/>
                                                    <a:gd name="connsiteY218" fmla="*/ 182035 h 577666"/>
                                                    <a:gd name="connsiteX219" fmla="*/ 284214 w 637361"/>
                                                    <a:gd name="connsiteY219" fmla="*/ 167523 h 577666"/>
                                                    <a:gd name="connsiteX220" fmla="*/ 288879 w 637361"/>
                                                    <a:gd name="connsiteY220" fmla="*/ 162859 h 577666"/>
                                                    <a:gd name="connsiteX221" fmla="*/ 288879 w 637361"/>
                                                    <a:gd name="connsiteY221" fmla="*/ 158388 h 577666"/>
                                                    <a:gd name="connsiteX222" fmla="*/ 298402 w 637361"/>
                                                    <a:gd name="connsiteY222" fmla="*/ 149059 h 577666"/>
                                                    <a:gd name="connsiteX223" fmla="*/ 312850 w 637361"/>
                                                    <a:gd name="connsiteY223" fmla="*/ 148865 h 577666"/>
                                                    <a:gd name="connsiteX224" fmla="*/ 325029 w 637361"/>
                                                    <a:gd name="connsiteY224" fmla="*/ 142451 h 577666"/>
                                                    <a:gd name="connsiteX225" fmla="*/ 326519 w 637361"/>
                                                    <a:gd name="connsiteY225" fmla="*/ 130142 h 577666"/>
                                                    <a:gd name="connsiteX226" fmla="*/ 340319 w 637361"/>
                                                    <a:gd name="connsiteY226" fmla="*/ 123275 h 577666"/>
                                                    <a:gd name="connsiteX227" fmla="*/ 345631 w 637361"/>
                                                    <a:gd name="connsiteY227" fmla="*/ 127874 h 577666"/>
                                                    <a:gd name="connsiteX228" fmla="*/ 354183 w 637361"/>
                                                    <a:gd name="connsiteY228" fmla="*/ 130790 h 577666"/>
                                                    <a:gd name="connsiteX229" fmla="*/ 360208 w 637361"/>
                                                    <a:gd name="connsiteY229" fmla="*/ 136880 h 577666"/>
                                                    <a:gd name="connsiteX230" fmla="*/ 369148 w 637361"/>
                                                    <a:gd name="connsiteY230" fmla="*/ 134742 h 577666"/>
                                                    <a:gd name="connsiteX231" fmla="*/ 369667 w 637361"/>
                                                    <a:gd name="connsiteY231" fmla="*/ 124570 h 577666"/>
                                                    <a:gd name="connsiteX232" fmla="*/ 366751 w 637361"/>
                                                    <a:gd name="connsiteY232" fmla="*/ 114528 h 577666"/>
                                                    <a:gd name="connsiteX233" fmla="*/ 367011 w 637361"/>
                                                    <a:gd name="connsiteY233" fmla="*/ 111354 h 577666"/>
                                                    <a:gd name="connsiteX234" fmla="*/ 373036 w 637361"/>
                                                    <a:gd name="connsiteY234" fmla="*/ 107985 h 577666"/>
                                                    <a:gd name="connsiteX235" fmla="*/ 394998 w 637361"/>
                                                    <a:gd name="connsiteY235" fmla="*/ 103839 h 577666"/>
                                                    <a:gd name="connsiteX236" fmla="*/ 388390 w 637361"/>
                                                    <a:gd name="connsiteY236" fmla="*/ 94315 h 577666"/>
                                                    <a:gd name="connsiteX237" fmla="*/ 414822 w 637361"/>
                                                    <a:gd name="connsiteY237" fmla="*/ 101442 h 577666"/>
                                                    <a:gd name="connsiteX238" fmla="*/ 432379 w 637361"/>
                                                    <a:gd name="connsiteY238" fmla="*/ 115306 h 577666"/>
                                                    <a:gd name="connsiteX239" fmla="*/ 454147 w 637361"/>
                                                    <a:gd name="connsiteY239" fmla="*/ 118092 h 577666"/>
                                                    <a:gd name="connsiteX240" fmla="*/ 478377 w 637361"/>
                                                    <a:gd name="connsiteY240" fmla="*/ 117314 h 577666"/>
                                                    <a:gd name="connsiteX241" fmla="*/ 494509 w 637361"/>
                                                    <a:gd name="connsiteY241" fmla="*/ 110447 h 577666"/>
                                                    <a:gd name="connsiteX242" fmla="*/ 496387 w 637361"/>
                                                    <a:gd name="connsiteY242" fmla="*/ 104551 h 577666"/>
                                                    <a:gd name="connsiteX243" fmla="*/ 503320 w 637361"/>
                                                    <a:gd name="connsiteY243" fmla="*/ 98202 h 577666"/>
                                                    <a:gd name="connsiteX244" fmla="*/ 511677 w 637361"/>
                                                    <a:gd name="connsiteY244" fmla="*/ 82783 h 577666"/>
                                                    <a:gd name="connsiteX245" fmla="*/ 512260 w 637361"/>
                                                    <a:gd name="connsiteY245" fmla="*/ 72806 h 577666"/>
                                                    <a:gd name="connsiteX246" fmla="*/ 523727 w 637361"/>
                                                    <a:gd name="connsiteY246" fmla="*/ 60173 h 577666"/>
                                                    <a:gd name="connsiteX247" fmla="*/ 540960 w 637361"/>
                                                    <a:gd name="connsiteY247" fmla="*/ 56416 h 577666"/>
                                                    <a:gd name="connsiteX248" fmla="*/ 583330 w 637361"/>
                                                    <a:gd name="connsiteY248" fmla="*/ 63866 h 577666"/>
                                                    <a:gd name="connsiteX249" fmla="*/ 593112 w 637361"/>
                                                    <a:gd name="connsiteY249" fmla="*/ 87707 h 577666"/>
                                                    <a:gd name="connsiteX250" fmla="*/ 604904 w 637361"/>
                                                    <a:gd name="connsiteY250" fmla="*/ 88679 h 577666"/>
                                                    <a:gd name="connsiteX251" fmla="*/ 617148 w 637361"/>
                                                    <a:gd name="connsiteY251" fmla="*/ 71122 h 577666"/>
                                                  </a:gdLst>
                                                  <a:ahLst/>
                                                  <a:cxnLst>
                                                    <a:cxn ang="0">
                                                      <a:pos x="connsiteX0" y="connsiteY0"/>
                                                    </a:cxn>
                                                    <a:cxn ang="0">
                                                      <a:pos x="connsiteX1" y="connsiteY1"/>
                                                    </a:cxn>
                                                    <a:cxn ang="0">
                                                      <a:pos x="connsiteX2" y="connsiteY2"/>
                                                    </a:cxn>
                                                    <a:cxn ang="0">
                                                      <a:pos x="connsiteX3" y="connsiteY3"/>
                                                    </a:cxn>
                                                    <a:cxn ang="0">
                                                      <a:pos x="connsiteX4" y="connsiteY4"/>
                                                    </a:cxn>
                                                    <a:cxn ang="0">
                                                      <a:pos x="connsiteX5" y="connsiteY5"/>
                                                    </a:cxn>
                                                    <a:cxn ang="0">
                                                      <a:pos x="connsiteX6" y="connsiteY6"/>
                                                    </a:cxn>
                                                    <a:cxn ang="0">
                                                      <a:pos x="connsiteX7" y="connsiteY7"/>
                                                    </a:cxn>
                                                    <a:cxn ang="0">
                                                      <a:pos x="connsiteX8" y="connsiteY8"/>
                                                    </a:cxn>
                                                    <a:cxn ang="0">
                                                      <a:pos x="connsiteX9" y="connsiteY9"/>
                                                    </a:cxn>
                                                    <a:cxn ang="0">
                                                      <a:pos x="connsiteX10" y="connsiteY10"/>
                                                    </a:cxn>
                                                    <a:cxn ang="0">
                                                      <a:pos x="connsiteX11" y="connsiteY11"/>
                                                    </a:cxn>
                                                    <a:cxn ang="0">
                                                      <a:pos x="connsiteX12" y="connsiteY12"/>
                                                    </a:cxn>
                                                    <a:cxn ang="0">
                                                      <a:pos x="connsiteX13" y="connsiteY13"/>
                                                    </a:cxn>
                                                    <a:cxn ang="0">
                                                      <a:pos x="connsiteX14" y="connsiteY14"/>
                                                    </a:cxn>
                                                    <a:cxn ang="0">
                                                      <a:pos x="connsiteX15" y="connsiteY15"/>
                                                    </a:cxn>
                                                    <a:cxn ang="0">
                                                      <a:pos x="connsiteX16" y="connsiteY16"/>
                                                    </a:cxn>
                                                    <a:cxn ang="0">
                                                      <a:pos x="connsiteX17" y="connsiteY17"/>
                                                    </a:cxn>
                                                    <a:cxn ang="0">
                                                      <a:pos x="connsiteX18" y="connsiteY18"/>
                                                    </a:cxn>
                                                    <a:cxn ang="0">
                                                      <a:pos x="connsiteX19" y="connsiteY19"/>
                                                    </a:cxn>
                                                    <a:cxn ang="0">
                                                      <a:pos x="connsiteX20" y="connsiteY20"/>
                                                    </a:cxn>
                                                    <a:cxn ang="0">
                                                      <a:pos x="connsiteX21" y="connsiteY21"/>
                                                    </a:cxn>
                                                    <a:cxn ang="0">
                                                      <a:pos x="connsiteX22" y="connsiteY22"/>
                                                    </a:cxn>
                                                    <a:cxn ang="0">
                                                      <a:pos x="connsiteX23" y="connsiteY23"/>
                                                    </a:cxn>
                                                    <a:cxn ang="0">
                                                      <a:pos x="connsiteX24" y="connsiteY24"/>
                                                    </a:cxn>
                                                    <a:cxn ang="0">
                                                      <a:pos x="connsiteX25" y="connsiteY25"/>
                                                    </a:cxn>
                                                    <a:cxn ang="0">
                                                      <a:pos x="connsiteX26" y="connsiteY26"/>
                                                    </a:cxn>
                                                    <a:cxn ang="0">
                                                      <a:pos x="connsiteX27" y="connsiteY27"/>
                                                    </a:cxn>
                                                    <a:cxn ang="0">
                                                      <a:pos x="connsiteX28" y="connsiteY28"/>
                                                    </a:cxn>
                                                    <a:cxn ang="0">
                                                      <a:pos x="connsiteX29" y="connsiteY29"/>
                                                    </a:cxn>
                                                    <a:cxn ang="0">
                                                      <a:pos x="connsiteX30" y="connsiteY30"/>
                                                    </a:cxn>
                                                    <a:cxn ang="0">
                                                      <a:pos x="connsiteX31" y="connsiteY31"/>
                                                    </a:cxn>
                                                    <a:cxn ang="0">
                                                      <a:pos x="connsiteX32" y="connsiteY32"/>
                                                    </a:cxn>
                                                    <a:cxn ang="0">
                                                      <a:pos x="connsiteX33" y="connsiteY33"/>
                                                    </a:cxn>
                                                    <a:cxn ang="0">
                                                      <a:pos x="connsiteX34" y="connsiteY34"/>
                                                    </a:cxn>
                                                    <a:cxn ang="0">
                                                      <a:pos x="connsiteX35" y="connsiteY35"/>
                                                    </a:cxn>
                                                    <a:cxn ang="0">
                                                      <a:pos x="connsiteX36" y="connsiteY36"/>
                                                    </a:cxn>
                                                    <a:cxn ang="0">
                                                      <a:pos x="connsiteX37" y="connsiteY37"/>
                                                    </a:cxn>
                                                    <a:cxn ang="0">
                                                      <a:pos x="connsiteX38" y="connsiteY38"/>
                                                    </a:cxn>
                                                    <a:cxn ang="0">
                                                      <a:pos x="connsiteX39" y="connsiteY39"/>
                                                    </a:cxn>
                                                    <a:cxn ang="0">
                                                      <a:pos x="connsiteX40" y="connsiteY40"/>
                                                    </a:cxn>
                                                    <a:cxn ang="0">
                                                      <a:pos x="connsiteX41" y="connsiteY41"/>
                                                    </a:cxn>
                                                    <a:cxn ang="0">
                                                      <a:pos x="connsiteX42" y="connsiteY42"/>
                                                    </a:cxn>
                                                    <a:cxn ang="0">
                                                      <a:pos x="connsiteX43" y="connsiteY43"/>
                                                    </a:cxn>
                                                    <a:cxn ang="0">
                                                      <a:pos x="connsiteX44" y="connsiteY44"/>
                                                    </a:cxn>
                                                    <a:cxn ang="0">
                                                      <a:pos x="connsiteX45" y="connsiteY45"/>
                                                    </a:cxn>
                                                    <a:cxn ang="0">
                                                      <a:pos x="connsiteX46" y="connsiteY46"/>
                                                    </a:cxn>
                                                    <a:cxn ang="0">
                                                      <a:pos x="connsiteX47" y="connsiteY47"/>
                                                    </a:cxn>
                                                    <a:cxn ang="0">
                                                      <a:pos x="connsiteX48" y="connsiteY48"/>
                                                    </a:cxn>
                                                    <a:cxn ang="0">
                                                      <a:pos x="connsiteX49" y="connsiteY49"/>
                                                    </a:cxn>
                                                    <a:cxn ang="0">
                                                      <a:pos x="connsiteX50" y="connsiteY50"/>
                                                    </a:cxn>
                                                    <a:cxn ang="0">
                                                      <a:pos x="connsiteX51" y="connsiteY51"/>
                                                    </a:cxn>
                                                    <a:cxn ang="0">
                                                      <a:pos x="connsiteX52" y="connsiteY52"/>
                                                    </a:cxn>
                                                    <a:cxn ang="0">
                                                      <a:pos x="connsiteX53" y="connsiteY53"/>
                                                    </a:cxn>
                                                    <a:cxn ang="0">
                                                      <a:pos x="connsiteX54" y="connsiteY54"/>
                                                    </a:cxn>
                                                    <a:cxn ang="0">
                                                      <a:pos x="connsiteX55" y="connsiteY55"/>
                                                    </a:cxn>
                                                    <a:cxn ang="0">
                                                      <a:pos x="connsiteX56" y="connsiteY56"/>
                                                    </a:cxn>
                                                    <a:cxn ang="0">
                                                      <a:pos x="connsiteX57" y="connsiteY57"/>
                                                    </a:cxn>
                                                    <a:cxn ang="0">
                                                      <a:pos x="connsiteX58" y="connsiteY58"/>
                                                    </a:cxn>
                                                    <a:cxn ang="0">
                                                      <a:pos x="connsiteX59" y="connsiteY59"/>
                                                    </a:cxn>
                                                    <a:cxn ang="0">
                                                      <a:pos x="connsiteX60" y="connsiteY60"/>
                                                    </a:cxn>
                                                    <a:cxn ang="0">
                                                      <a:pos x="connsiteX61" y="connsiteY61"/>
                                                    </a:cxn>
                                                    <a:cxn ang="0">
                                                      <a:pos x="connsiteX62" y="connsiteY62"/>
                                                    </a:cxn>
                                                    <a:cxn ang="0">
                                                      <a:pos x="connsiteX63" y="connsiteY63"/>
                                                    </a:cxn>
                                                    <a:cxn ang="0">
                                                      <a:pos x="connsiteX64" y="connsiteY64"/>
                                                    </a:cxn>
                                                    <a:cxn ang="0">
                                                      <a:pos x="connsiteX65" y="connsiteY65"/>
                                                    </a:cxn>
                                                    <a:cxn ang="0">
                                                      <a:pos x="connsiteX66" y="connsiteY66"/>
                                                    </a:cxn>
                                                    <a:cxn ang="0">
                                                      <a:pos x="connsiteX67" y="connsiteY67"/>
                                                    </a:cxn>
                                                    <a:cxn ang="0">
                                                      <a:pos x="connsiteX68" y="connsiteY68"/>
                                                    </a:cxn>
                                                    <a:cxn ang="0">
                                                      <a:pos x="connsiteX69" y="connsiteY69"/>
                                                    </a:cxn>
                                                    <a:cxn ang="0">
                                                      <a:pos x="connsiteX70" y="connsiteY70"/>
                                                    </a:cxn>
                                                    <a:cxn ang="0">
                                                      <a:pos x="connsiteX71" y="connsiteY71"/>
                                                    </a:cxn>
                                                    <a:cxn ang="0">
                                                      <a:pos x="connsiteX72" y="connsiteY72"/>
                                                    </a:cxn>
                                                    <a:cxn ang="0">
                                                      <a:pos x="connsiteX73" y="connsiteY73"/>
                                                    </a:cxn>
                                                    <a:cxn ang="0">
                                                      <a:pos x="connsiteX74" y="connsiteY74"/>
                                                    </a:cxn>
                                                    <a:cxn ang="0">
                                                      <a:pos x="connsiteX75" y="connsiteY75"/>
                                                    </a:cxn>
                                                    <a:cxn ang="0">
                                                      <a:pos x="connsiteX76" y="connsiteY76"/>
                                                    </a:cxn>
                                                    <a:cxn ang="0">
                                                      <a:pos x="connsiteX77" y="connsiteY77"/>
                                                    </a:cxn>
                                                    <a:cxn ang="0">
                                                      <a:pos x="connsiteX78" y="connsiteY78"/>
                                                    </a:cxn>
                                                    <a:cxn ang="0">
                                                      <a:pos x="connsiteX79" y="connsiteY79"/>
                                                    </a:cxn>
                                                    <a:cxn ang="0">
                                                      <a:pos x="connsiteX80" y="connsiteY80"/>
                                                    </a:cxn>
                                                    <a:cxn ang="0">
                                                      <a:pos x="connsiteX81" y="connsiteY81"/>
                                                    </a:cxn>
                                                    <a:cxn ang="0">
                                                      <a:pos x="connsiteX82" y="connsiteY82"/>
                                                    </a:cxn>
                                                    <a:cxn ang="0">
                                                      <a:pos x="connsiteX83" y="connsiteY83"/>
                                                    </a:cxn>
                                                    <a:cxn ang="0">
                                                      <a:pos x="connsiteX84" y="connsiteY84"/>
                                                    </a:cxn>
                                                    <a:cxn ang="0">
                                                      <a:pos x="connsiteX85" y="connsiteY85"/>
                                                    </a:cxn>
                                                    <a:cxn ang="0">
                                                      <a:pos x="connsiteX86" y="connsiteY86"/>
                                                    </a:cxn>
                                                    <a:cxn ang="0">
                                                      <a:pos x="connsiteX87" y="connsiteY87"/>
                                                    </a:cxn>
                                                    <a:cxn ang="0">
                                                      <a:pos x="connsiteX88" y="connsiteY88"/>
                                                    </a:cxn>
                                                    <a:cxn ang="0">
                                                      <a:pos x="connsiteX89" y="connsiteY89"/>
                                                    </a:cxn>
                                                    <a:cxn ang="0">
                                                      <a:pos x="connsiteX90" y="connsiteY90"/>
                                                    </a:cxn>
                                                    <a:cxn ang="0">
                                                      <a:pos x="connsiteX91" y="connsiteY91"/>
                                                    </a:cxn>
                                                    <a:cxn ang="0">
                                                      <a:pos x="connsiteX92" y="connsiteY92"/>
                                                    </a:cxn>
                                                    <a:cxn ang="0">
                                                      <a:pos x="connsiteX93" y="connsiteY93"/>
                                                    </a:cxn>
                                                    <a:cxn ang="0">
                                                      <a:pos x="connsiteX94" y="connsiteY94"/>
                                                    </a:cxn>
                                                    <a:cxn ang="0">
                                                      <a:pos x="connsiteX95" y="connsiteY95"/>
                                                    </a:cxn>
                                                    <a:cxn ang="0">
                                                      <a:pos x="connsiteX96" y="connsiteY96"/>
                                                    </a:cxn>
                                                    <a:cxn ang="0">
                                                      <a:pos x="connsiteX97" y="connsiteY97"/>
                                                    </a:cxn>
                                                    <a:cxn ang="0">
                                                      <a:pos x="connsiteX98" y="connsiteY98"/>
                                                    </a:cxn>
                                                    <a:cxn ang="0">
                                                      <a:pos x="connsiteX99" y="connsiteY99"/>
                                                    </a:cxn>
                                                    <a:cxn ang="0">
                                                      <a:pos x="connsiteX100" y="connsiteY100"/>
                                                    </a:cxn>
                                                    <a:cxn ang="0">
                                                      <a:pos x="connsiteX101" y="connsiteY101"/>
                                                    </a:cxn>
                                                    <a:cxn ang="0">
                                                      <a:pos x="connsiteX102" y="connsiteY102"/>
                                                    </a:cxn>
                                                    <a:cxn ang="0">
                                                      <a:pos x="connsiteX103" y="connsiteY103"/>
                                                    </a:cxn>
                                                    <a:cxn ang="0">
                                                      <a:pos x="connsiteX104" y="connsiteY104"/>
                                                    </a:cxn>
                                                    <a:cxn ang="0">
                                                      <a:pos x="connsiteX105" y="connsiteY105"/>
                                                    </a:cxn>
                                                    <a:cxn ang="0">
                                                      <a:pos x="connsiteX106" y="connsiteY106"/>
                                                    </a:cxn>
                                                    <a:cxn ang="0">
                                                      <a:pos x="connsiteX107" y="connsiteY107"/>
                                                    </a:cxn>
                                                    <a:cxn ang="0">
                                                      <a:pos x="connsiteX108" y="connsiteY108"/>
                                                    </a:cxn>
                                                    <a:cxn ang="0">
                                                      <a:pos x="connsiteX109" y="connsiteY109"/>
                                                    </a:cxn>
                                                    <a:cxn ang="0">
                                                      <a:pos x="connsiteX110" y="connsiteY110"/>
                                                    </a:cxn>
                                                    <a:cxn ang="0">
                                                      <a:pos x="connsiteX111" y="connsiteY111"/>
                                                    </a:cxn>
                                                    <a:cxn ang="0">
                                                      <a:pos x="connsiteX112" y="connsiteY112"/>
                                                    </a:cxn>
                                                    <a:cxn ang="0">
                                                      <a:pos x="connsiteX113" y="connsiteY113"/>
                                                    </a:cxn>
                                                    <a:cxn ang="0">
                                                      <a:pos x="connsiteX114" y="connsiteY114"/>
                                                    </a:cxn>
                                                    <a:cxn ang="0">
                                                      <a:pos x="connsiteX115" y="connsiteY115"/>
                                                    </a:cxn>
                                                    <a:cxn ang="0">
                                                      <a:pos x="connsiteX116" y="connsiteY116"/>
                                                    </a:cxn>
                                                    <a:cxn ang="0">
                                                      <a:pos x="connsiteX117" y="connsiteY117"/>
                                                    </a:cxn>
                                                    <a:cxn ang="0">
                                                      <a:pos x="connsiteX118" y="connsiteY118"/>
                                                    </a:cxn>
                                                    <a:cxn ang="0">
                                                      <a:pos x="connsiteX119" y="connsiteY119"/>
                                                    </a:cxn>
                                                    <a:cxn ang="0">
                                                      <a:pos x="connsiteX120" y="connsiteY120"/>
                                                    </a:cxn>
                                                    <a:cxn ang="0">
                                                      <a:pos x="connsiteX121" y="connsiteY121"/>
                                                    </a:cxn>
                                                    <a:cxn ang="0">
                                                      <a:pos x="connsiteX122" y="connsiteY122"/>
                                                    </a:cxn>
                                                    <a:cxn ang="0">
                                                      <a:pos x="connsiteX123" y="connsiteY123"/>
                                                    </a:cxn>
                                                    <a:cxn ang="0">
                                                      <a:pos x="connsiteX124" y="connsiteY124"/>
                                                    </a:cxn>
                                                    <a:cxn ang="0">
                                                      <a:pos x="connsiteX125" y="connsiteY125"/>
                                                    </a:cxn>
                                                    <a:cxn ang="0">
                                                      <a:pos x="connsiteX126" y="connsiteY126"/>
                                                    </a:cxn>
                                                    <a:cxn ang="0">
                                                      <a:pos x="connsiteX127" y="connsiteY127"/>
                                                    </a:cxn>
                                                    <a:cxn ang="0">
                                                      <a:pos x="connsiteX128" y="connsiteY128"/>
                                                    </a:cxn>
                                                    <a:cxn ang="0">
                                                      <a:pos x="connsiteX129" y="connsiteY129"/>
                                                    </a:cxn>
                                                    <a:cxn ang="0">
                                                      <a:pos x="connsiteX130" y="connsiteY130"/>
                                                    </a:cxn>
                                                    <a:cxn ang="0">
                                                      <a:pos x="connsiteX131" y="connsiteY131"/>
                                                    </a:cxn>
                                                    <a:cxn ang="0">
                                                      <a:pos x="connsiteX132" y="connsiteY132"/>
                                                    </a:cxn>
                                                    <a:cxn ang="0">
                                                      <a:pos x="connsiteX133" y="connsiteY133"/>
                                                    </a:cxn>
                                                    <a:cxn ang="0">
                                                      <a:pos x="connsiteX134" y="connsiteY134"/>
                                                    </a:cxn>
                                                    <a:cxn ang="0">
                                                      <a:pos x="connsiteX135" y="connsiteY135"/>
                                                    </a:cxn>
                                                    <a:cxn ang="0">
                                                      <a:pos x="connsiteX136" y="connsiteY136"/>
                                                    </a:cxn>
                                                    <a:cxn ang="0">
                                                      <a:pos x="connsiteX137" y="connsiteY137"/>
                                                    </a:cxn>
                                                    <a:cxn ang="0">
                                                      <a:pos x="connsiteX138" y="connsiteY138"/>
                                                    </a:cxn>
                                                    <a:cxn ang="0">
                                                      <a:pos x="connsiteX139" y="connsiteY139"/>
                                                    </a:cxn>
                                                    <a:cxn ang="0">
                                                      <a:pos x="connsiteX140" y="connsiteY140"/>
                                                    </a:cxn>
                                                    <a:cxn ang="0">
                                                      <a:pos x="connsiteX141" y="connsiteY141"/>
                                                    </a:cxn>
                                                    <a:cxn ang="0">
                                                      <a:pos x="connsiteX142" y="connsiteY142"/>
                                                    </a:cxn>
                                                    <a:cxn ang="0">
                                                      <a:pos x="connsiteX143" y="connsiteY143"/>
                                                    </a:cxn>
                                                    <a:cxn ang="0">
                                                      <a:pos x="connsiteX144" y="connsiteY144"/>
                                                    </a:cxn>
                                                    <a:cxn ang="0">
                                                      <a:pos x="connsiteX145" y="connsiteY145"/>
                                                    </a:cxn>
                                                    <a:cxn ang="0">
                                                      <a:pos x="connsiteX146" y="connsiteY146"/>
                                                    </a:cxn>
                                                    <a:cxn ang="0">
                                                      <a:pos x="connsiteX147" y="connsiteY147"/>
                                                    </a:cxn>
                                                    <a:cxn ang="0">
                                                      <a:pos x="connsiteX148" y="connsiteY148"/>
                                                    </a:cxn>
                                                    <a:cxn ang="0">
                                                      <a:pos x="connsiteX149" y="connsiteY149"/>
                                                    </a:cxn>
                                                    <a:cxn ang="0">
                                                      <a:pos x="connsiteX150" y="connsiteY150"/>
                                                    </a:cxn>
                                                    <a:cxn ang="0">
                                                      <a:pos x="connsiteX151" y="connsiteY151"/>
                                                    </a:cxn>
                                                    <a:cxn ang="0">
                                                      <a:pos x="connsiteX152" y="connsiteY152"/>
                                                    </a:cxn>
                                                    <a:cxn ang="0">
                                                      <a:pos x="connsiteX153" y="connsiteY153"/>
                                                    </a:cxn>
                                                    <a:cxn ang="0">
                                                      <a:pos x="connsiteX154" y="connsiteY154"/>
                                                    </a:cxn>
                                                    <a:cxn ang="0">
                                                      <a:pos x="connsiteX155" y="connsiteY155"/>
                                                    </a:cxn>
                                                    <a:cxn ang="0">
                                                      <a:pos x="connsiteX156" y="connsiteY156"/>
                                                    </a:cxn>
                                                    <a:cxn ang="0">
                                                      <a:pos x="connsiteX157" y="connsiteY157"/>
                                                    </a:cxn>
                                                    <a:cxn ang="0">
                                                      <a:pos x="connsiteX158" y="connsiteY158"/>
                                                    </a:cxn>
                                                    <a:cxn ang="0">
                                                      <a:pos x="connsiteX159" y="connsiteY159"/>
                                                    </a:cxn>
                                                    <a:cxn ang="0">
                                                      <a:pos x="connsiteX160" y="connsiteY160"/>
                                                    </a:cxn>
                                                    <a:cxn ang="0">
                                                      <a:pos x="connsiteX161" y="connsiteY161"/>
                                                    </a:cxn>
                                                    <a:cxn ang="0">
                                                      <a:pos x="connsiteX162" y="connsiteY162"/>
                                                    </a:cxn>
                                                    <a:cxn ang="0">
                                                      <a:pos x="connsiteX163" y="connsiteY163"/>
                                                    </a:cxn>
                                                    <a:cxn ang="0">
                                                      <a:pos x="connsiteX164" y="connsiteY164"/>
                                                    </a:cxn>
                                                    <a:cxn ang="0">
                                                      <a:pos x="connsiteX165" y="connsiteY165"/>
                                                    </a:cxn>
                                                    <a:cxn ang="0">
                                                      <a:pos x="connsiteX166" y="connsiteY166"/>
                                                    </a:cxn>
                                                    <a:cxn ang="0">
                                                      <a:pos x="connsiteX167" y="connsiteY167"/>
                                                    </a:cxn>
                                                    <a:cxn ang="0">
                                                      <a:pos x="connsiteX168" y="connsiteY168"/>
                                                    </a:cxn>
                                                    <a:cxn ang="0">
                                                      <a:pos x="connsiteX169" y="connsiteY169"/>
                                                    </a:cxn>
                                                    <a:cxn ang="0">
                                                      <a:pos x="connsiteX170" y="connsiteY170"/>
                                                    </a:cxn>
                                                    <a:cxn ang="0">
                                                      <a:pos x="connsiteX171" y="connsiteY171"/>
                                                    </a:cxn>
                                                    <a:cxn ang="0">
                                                      <a:pos x="connsiteX172" y="connsiteY172"/>
                                                    </a:cxn>
                                                    <a:cxn ang="0">
                                                      <a:pos x="connsiteX173" y="connsiteY173"/>
                                                    </a:cxn>
                                                    <a:cxn ang="0">
                                                      <a:pos x="connsiteX174" y="connsiteY174"/>
                                                    </a:cxn>
                                                    <a:cxn ang="0">
                                                      <a:pos x="connsiteX175" y="connsiteY175"/>
                                                    </a:cxn>
                                                    <a:cxn ang="0">
                                                      <a:pos x="connsiteX176" y="connsiteY176"/>
                                                    </a:cxn>
                                                    <a:cxn ang="0">
                                                      <a:pos x="connsiteX177" y="connsiteY177"/>
                                                    </a:cxn>
                                                    <a:cxn ang="0">
                                                      <a:pos x="connsiteX178" y="connsiteY178"/>
                                                    </a:cxn>
                                                    <a:cxn ang="0">
                                                      <a:pos x="connsiteX179" y="connsiteY179"/>
                                                    </a:cxn>
                                                    <a:cxn ang="0">
                                                      <a:pos x="connsiteX180" y="connsiteY180"/>
                                                    </a:cxn>
                                                    <a:cxn ang="0">
                                                      <a:pos x="connsiteX181" y="connsiteY181"/>
                                                    </a:cxn>
                                                    <a:cxn ang="0">
                                                      <a:pos x="connsiteX182" y="connsiteY182"/>
                                                    </a:cxn>
                                                    <a:cxn ang="0">
                                                      <a:pos x="connsiteX183" y="connsiteY183"/>
                                                    </a:cxn>
                                                    <a:cxn ang="0">
                                                      <a:pos x="connsiteX184" y="connsiteY184"/>
                                                    </a:cxn>
                                                    <a:cxn ang="0">
                                                      <a:pos x="connsiteX185" y="connsiteY185"/>
                                                    </a:cxn>
                                                    <a:cxn ang="0">
                                                      <a:pos x="connsiteX186" y="connsiteY186"/>
                                                    </a:cxn>
                                                    <a:cxn ang="0">
                                                      <a:pos x="connsiteX187" y="connsiteY187"/>
                                                    </a:cxn>
                                                    <a:cxn ang="0">
                                                      <a:pos x="connsiteX188" y="connsiteY188"/>
                                                    </a:cxn>
                                                    <a:cxn ang="0">
                                                      <a:pos x="connsiteX189" y="connsiteY189"/>
                                                    </a:cxn>
                                                    <a:cxn ang="0">
                                                      <a:pos x="connsiteX190" y="connsiteY190"/>
                                                    </a:cxn>
                                                    <a:cxn ang="0">
                                                      <a:pos x="connsiteX191" y="connsiteY191"/>
                                                    </a:cxn>
                                                    <a:cxn ang="0">
                                                      <a:pos x="connsiteX192" y="connsiteY192"/>
                                                    </a:cxn>
                                                    <a:cxn ang="0">
                                                      <a:pos x="connsiteX193" y="connsiteY193"/>
                                                    </a:cxn>
                                                    <a:cxn ang="0">
                                                      <a:pos x="connsiteX194" y="connsiteY194"/>
                                                    </a:cxn>
                                                    <a:cxn ang="0">
                                                      <a:pos x="connsiteX195" y="connsiteY195"/>
                                                    </a:cxn>
                                                    <a:cxn ang="0">
                                                      <a:pos x="connsiteX196" y="connsiteY196"/>
                                                    </a:cxn>
                                                    <a:cxn ang="0">
                                                      <a:pos x="connsiteX197" y="connsiteY197"/>
                                                    </a:cxn>
                                                    <a:cxn ang="0">
                                                      <a:pos x="connsiteX198" y="connsiteY198"/>
                                                    </a:cxn>
                                                    <a:cxn ang="0">
                                                      <a:pos x="connsiteX199" y="connsiteY199"/>
                                                    </a:cxn>
                                                    <a:cxn ang="0">
                                                      <a:pos x="connsiteX200" y="connsiteY200"/>
                                                    </a:cxn>
                                                    <a:cxn ang="0">
                                                      <a:pos x="connsiteX201" y="connsiteY201"/>
                                                    </a:cxn>
                                                    <a:cxn ang="0">
                                                      <a:pos x="connsiteX202" y="connsiteY202"/>
                                                    </a:cxn>
                                                    <a:cxn ang="0">
                                                      <a:pos x="connsiteX203" y="connsiteY203"/>
                                                    </a:cxn>
                                                    <a:cxn ang="0">
                                                      <a:pos x="connsiteX204" y="connsiteY204"/>
                                                    </a:cxn>
                                                    <a:cxn ang="0">
                                                      <a:pos x="connsiteX205" y="connsiteY205"/>
                                                    </a:cxn>
                                                    <a:cxn ang="0">
                                                      <a:pos x="connsiteX206" y="connsiteY206"/>
                                                    </a:cxn>
                                                    <a:cxn ang="0">
                                                      <a:pos x="connsiteX207" y="connsiteY207"/>
                                                    </a:cxn>
                                                    <a:cxn ang="0">
                                                      <a:pos x="connsiteX208" y="connsiteY208"/>
                                                    </a:cxn>
                                                    <a:cxn ang="0">
                                                      <a:pos x="connsiteX209" y="connsiteY209"/>
                                                    </a:cxn>
                                                    <a:cxn ang="0">
                                                      <a:pos x="connsiteX210" y="connsiteY210"/>
                                                    </a:cxn>
                                                    <a:cxn ang="0">
                                                      <a:pos x="connsiteX211" y="connsiteY211"/>
                                                    </a:cxn>
                                                    <a:cxn ang="0">
                                                      <a:pos x="connsiteX212" y="connsiteY212"/>
                                                    </a:cxn>
                                                    <a:cxn ang="0">
                                                      <a:pos x="connsiteX213" y="connsiteY213"/>
                                                    </a:cxn>
                                                    <a:cxn ang="0">
                                                      <a:pos x="connsiteX214" y="connsiteY214"/>
                                                    </a:cxn>
                                                    <a:cxn ang="0">
                                                      <a:pos x="connsiteX215" y="connsiteY215"/>
                                                    </a:cxn>
                                                    <a:cxn ang="0">
                                                      <a:pos x="connsiteX216" y="connsiteY216"/>
                                                    </a:cxn>
                                                    <a:cxn ang="0">
                                                      <a:pos x="connsiteX217" y="connsiteY217"/>
                                                    </a:cxn>
                                                    <a:cxn ang="0">
                                                      <a:pos x="connsiteX218" y="connsiteY218"/>
                                                    </a:cxn>
                                                    <a:cxn ang="0">
                                                      <a:pos x="connsiteX219" y="connsiteY219"/>
                                                    </a:cxn>
                                                    <a:cxn ang="0">
                                                      <a:pos x="connsiteX220" y="connsiteY220"/>
                                                    </a:cxn>
                                                    <a:cxn ang="0">
                                                      <a:pos x="connsiteX221" y="connsiteY221"/>
                                                    </a:cxn>
                                                    <a:cxn ang="0">
                                                      <a:pos x="connsiteX222" y="connsiteY222"/>
                                                    </a:cxn>
                                                    <a:cxn ang="0">
                                                      <a:pos x="connsiteX223" y="connsiteY223"/>
                                                    </a:cxn>
                                                    <a:cxn ang="0">
                                                      <a:pos x="connsiteX224" y="connsiteY224"/>
                                                    </a:cxn>
                                                    <a:cxn ang="0">
                                                      <a:pos x="connsiteX225" y="connsiteY225"/>
                                                    </a:cxn>
                                                    <a:cxn ang="0">
                                                      <a:pos x="connsiteX226" y="connsiteY226"/>
                                                    </a:cxn>
                                                    <a:cxn ang="0">
                                                      <a:pos x="connsiteX227" y="connsiteY227"/>
                                                    </a:cxn>
                                                    <a:cxn ang="0">
                                                      <a:pos x="connsiteX228" y="connsiteY228"/>
                                                    </a:cxn>
                                                    <a:cxn ang="0">
                                                      <a:pos x="connsiteX229" y="connsiteY229"/>
                                                    </a:cxn>
                                                    <a:cxn ang="0">
                                                      <a:pos x="connsiteX230" y="connsiteY230"/>
                                                    </a:cxn>
                                                    <a:cxn ang="0">
                                                      <a:pos x="connsiteX231" y="connsiteY231"/>
                                                    </a:cxn>
                                                    <a:cxn ang="0">
                                                      <a:pos x="connsiteX232" y="connsiteY232"/>
                                                    </a:cxn>
                                                    <a:cxn ang="0">
                                                      <a:pos x="connsiteX233" y="connsiteY233"/>
                                                    </a:cxn>
                                                    <a:cxn ang="0">
                                                      <a:pos x="connsiteX234" y="connsiteY234"/>
                                                    </a:cxn>
                                                    <a:cxn ang="0">
                                                      <a:pos x="connsiteX235" y="connsiteY235"/>
                                                    </a:cxn>
                                                    <a:cxn ang="0">
                                                      <a:pos x="connsiteX236" y="connsiteY236"/>
                                                    </a:cxn>
                                                    <a:cxn ang="0">
                                                      <a:pos x="connsiteX237" y="connsiteY237"/>
                                                    </a:cxn>
                                                    <a:cxn ang="0">
                                                      <a:pos x="connsiteX238" y="connsiteY238"/>
                                                    </a:cxn>
                                                    <a:cxn ang="0">
                                                      <a:pos x="connsiteX239" y="connsiteY239"/>
                                                    </a:cxn>
                                                    <a:cxn ang="0">
                                                      <a:pos x="connsiteX240" y="connsiteY240"/>
                                                    </a:cxn>
                                                    <a:cxn ang="0">
                                                      <a:pos x="connsiteX241" y="connsiteY241"/>
                                                    </a:cxn>
                                                    <a:cxn ang="0">
                                                      <a:pos x="connsiteX242" y="connsiteY242"/>
                                                    </a:cxn>
                                                    <a:cxn ang="0">
                                                      <a:pos x="connsiteX243" y="connsiteY243"/>
                                                    </a:cxn>
                                                    <a:cxn ang="0">
                                                      <a:pos x="connsiteX244" y="connsiteY244"/>
                                                    </a:cxn>
                                                    <a:cxn ang="0">
                                                      <a:pos x="connsiteX245" y="connsiteY245"/>
                                                    </a:cxn>
                                                    <a:cxn ang="0">
                                                      <a:pos x="connsiteX246" y="connsiteY246"/>
                                                    </a:cxn>
                                                    <a:cxn ang="0">
                                                      <a:pos x="connsiteX247" y="connsiteY247"/>
                                                    </a:cxn>
                                                    <a:cxn ang="0">
                                                      <a:pos x="connsiteX248" y="connsiteY248"/>
                                                    </a:cxn>
                                                    <a:cxn ang="0">
                                                      <a:pos x="connsiteX249" y="connsiteY249"/>
                                                    </a:cxn>
                                                    <a:cxn ang="0">
                                                      <a:pos x="connsiteX250" y="connsiteY250"/>
                                                    </a:cxn>
                                                    <a:cxn ang="0">
                                                      <a:pos x="connsiteX251" y="connsiteY251"/>
                                                    </a:cxn>
                                                  </a:cxnLst>
                                                  <a:rect l="l" t="t" r="r" b="b"/>
                                                  <a:pathLst>
                                                    <a:path w="637361" h="577666">
                                                      <a:moveTo>
                                                        <a:pt x="617018" y="71316"/>
                                                      </a:moveTo>
                                                      <a:cubicBezTo>
                                                        <a:pt x="617018" y="71316"/>
                                                        <a:pt x="616695" y="71316"/>
                                                        <a:pt x="616565" y="71316"/>
                                                      </a:cubicBezTo>
                                                      <a:cubicBezTo>
                                                        <a:pt x="613196" y="71511"/>
                                                        <a:pt x="609374" y="71511"/>
                                                        <a:pt x="606912" y="69178"/>
                                                      </a:cubicBezTo>
                                                      <a:cubicBezTo>
                                                        <a:pt x="603025" y="65486"/>
                                                        <a:pt x="604709" y="58100"/>
                                                        <a:pt x="600498" y="54861"/>
                                                      </a:cubicBezTo>
                                                      <a:cubicBezTo>
                                                        <a:pt x="598425" y="53306"/>
                                                        <a:pt x="595639" y="53306"/>
                                                        <a:pt x="593112" y="52658"/>
                                                      </a:cubicBezTo>
                                                      <a:cubicBezTo>
                                                        <a:pt x="590586" y="52010"/>
                                                        <a:pt x="587930" y="50002"/>
                                                        <a:pt x="588318" y="47475"/>
                                                      </a:cubicBezTo>
                                                      <a:cubicBezTo>
                                                        <a:pt x="597907" y="44819"/>
                                                        <a:pt x="608726" y="56804"/>
                                                        <a:pt x="616889" y="51038"/>
                                                      </a:cubicBezTo>
                                                      <a:cubicBezTo>
                                                        <a:pt x="618833" y="49678"/>
                                                        <a:pt x="620128" y="47475"/>
                                                        <a:pt x="622137" y="46180"/>
                                                      </a:cubicBezTo>
                                                      <a:cubicBezTo>
                                                        <a:pt x="626671" y="43329"/>
                                                        <a:pt x="633604" y="45791"/>
                                                        <a:pt x="637361" y="41904"/>
                                                      </a:cubicBezTo>
                                                      <a:cubicBezTo>
                                                        <a:pt x="636778" y="34583"/>
                                                        <a:pt x="630559" y="28169"/>
                                                        <a:pt x="623303" y="27262"/>
                                                      </a:cubicBezTo>
                                                      <a:cubicBezTo>
                                                        <a:pt x="625570" y="21755"/>
                                                        <a:pt x="619027" y="16378"/>
                                                        <a:pt x="613131" y="15665"/>
                                                      </a:cubicBezTo>
                                                      <a:cubicBezTo>
                                                        <a:pt x="607236" y="14953"/>
                                                        <a:pt x="600822" y="16378"/>
                                                        <a:pt x="595445" y="13722"/>
                                                      </a:cubicBezTo>
                                                      <a:cubicBezTo>
                                                        <a:pt x="593307" y="12685"/>
                                                        <a:pt x="591169" y="11001"/>
                                                        <a:pt x="588902" y="11649"/>
                                                      </a:cubicBezTo>
                                                      <a:cubicBezTo>
                                                        <a:pt x="587606" y="12037"/>
                                                        <a:pt x="586699" y="13074"/>
                                                        <a:pt x="585662" y="13981"/>
                                                      </a:cubicBezTo>
                                                      <a:cubicBezTo>
                                                        <a:pt x="582552" y="16767"/>
                                                        <a:pt x="578212" y="18192"/>
                                                        <a:pt x="574065" y="17674"/>
                                                      </a:cubicBezTo>
                                                      <a:cubicBezTo>
                                                        <a:pt x="577823" y="22338"/>
                                                        <a:pt x="578212" y="29335"/>
                                                        <a:pt x="575037" y="34389"/>
                                                      </a:cubicBezTo>
                                                      <a:cubicBezTo>
                                                        <a:pt x="572317" y="34648"/>
                                                        <a:pt x="569531" y="34194"/>
                                                        <a:pt x="567069" y="33093"/>
                                                      </a:cubicBezTo>
                                                      <a:cubicBezTo>
                                                        <a:pt x="570697" y="27845"/>
                                                        <a:pt x="569725" y="19941"/>
                                                        <a:pt x="564996" y="15730"/>
                                                      </a:cubicBezTo>
                                                      <a:cubicBezTo>
                                                        <a:pt x="560266" y="11519"/>
                                                        <a:pt x="552298" y="11454"/>
                                                        <a:pt x="547503" y="15665"/>
                                                      </a:cubicBezTo>
                                                      <a:cubicBezTo>
                                                        <a:pt x="550354" y="16896"/>
                                                        <a:pt x="549123" y="21237"/>
                                                        <a:pt x="547180" y="23634"/>
                                                      </a:cubicBezTo>
                                                      <a:cubicBezTo>
                                                        <a:pt x="542126" y="29918"/>
                                                        <a:pt x="534481" y="34907"/>
                                                        <a:pt x="526448" y="34065"/>
                                                      </a:cubicBezTo>
                                                      <a:cubicBezTo>
                                                        <a:pt x="527549" y="28882"/>
                                                        <a:pt x="528715" y="23699"/>
                                                        <a:pt x="529817" y="18516"/>
                                                      </a:cubicBezTo>
                                                      <a:cubicBezTo>
                                                        <a:pt x="523014" y="14758"/>
                                                        <a:pt x="513232" y="18710"/>
                                                        <a:pt x="510964" y="26096"/>
                                                      </a:cubicBezTo>
                                                      <a:cubicBezTo>
                                                        <a:pt x="510252" y="28363"/>
                                                        <a:pt x="510122" y="30890"/>
                                                        <a:pt x="508502" y="32639"/>
                                                      </a:cubicBezTo>
                                                      <a:cubicBezTo>
                                                        <a:pt x="507271" y="34000"/>
                                                        <a:pt x="505393" y="34583"/>
                                                        <a:pt x="503968" y="35684"/>
                                                      </a:cubicBezTo>
                                                      <a:cubicBezTo>
                                                        <a:pt x="500664" y="38211"/>
                                                        <a:pt x="500015" y="42746"/>
                                                        <a:pt x="498072" y="46439"/>
                                                      </a:cubicBezTo>
                                                      <a:cubicBezTo>
                                                        <a:pt x="496128" y="50067"/>
                                                        <a:pt x="490751" y="52852"/>
                                                        <a:pt x="488095" y="49678"/>
                                                      </a:cubicBezTo>
                                                      <a:cubicBezTo>
                                                        <a:pt x="487512" y="45337"/>
                                                        <a:pt x="486929" y="41061"/>
                                                        <a:pt x="486346" y="36721"/>
                                                      </a:cubicBezTo>
                                                      <a:cubicBezTo>
                                                        <a:pt x="493472" y="34129"/>
                                                        <a:pt x="501894" y="29659"/>
                                                        <a:pt x="501700" y="22079"/>
                                                      </a:cubicBezTo>
                                                      <a:cubicBezTo>
                                                        <a:pt x="501700" y="20913"/>
                                                        <a:pt x="501441" y="19682"/>
                                                        <a:pt x="501959" y="18646"/>
                                                      </a:cubicBezTo>
                                                      <a:cubicBezTo>
                                                        <a:pt x="502866" y="16896"/>
                                                        <a:pt x="505198" y="16767"/>
                                                        <a:pt x="507077" y="16054"/>
                                                      </a:cubicBezTo>
                                                      <a:cubicBezTo>
                                                        <a:pt x="512649" y="13787"/>
                                                        <a:pt x="512714" y="6012"/>
                                                        <a:pt x="511806" y="52"/>
                                                      </a:cubicBezTo>
                                                      <a:cubicBezTo>
                                                        <a:pt x="507012" y="-207"/>
                                                        <a:pt x="502153" y="506"/>
                                                        <a:pt x="497618" y="2060"/>
                                                      </a:cubicBezTo>
                                                      <a:cubicBezTo>
                                                        <a:pt x="496971" y="10871"/>
                                                        <a:pt x="487188" y="17803"/>
                                                        <a:pt x="478701" y="15406"/>
                                                      </a:cubicBezTo>
                                                      <a:cubicBezTo>
                                                        <a:pt x="476887" y="20006"/>
                                                        <a:pt x="476045" y="24995"/>
                                                        <a:pt x="476369" y="29918"/>
                                                      </a:cubicBezTo>
                                                      <a:cubicBezTo>
                                                        <a:pt x="472805" y="30437"/>
                                                        <a:pt x="470538" y="26420"/>
                                                        <a:pt x="468724" y="23310"/>
                                                      </a:cubicBezTo>
                                                      <a:cubicBezTo>
                                                        <a:pt x="466910" y="20201"/>
                                                        <a:pt x="462375" y="17350"/>
                                                        <a:pt x="460108" y="20136"/>
                                                      </a:cubicBezTo>
                                                      <a:cubicBezTo>
                                                        <a:pt x="459071" y="21367"/>
                                                        <a:pt x="459200" y="23245"/>
                                                        <a:pt x="458488" y="24735"/>
                                                      </a:cubicBezTo>
                                                      <a:cubicBezTo>
                                                        <a:pt x="456803" y="28558"/>
                                                        <a:pt x="451232" y="28623"/>
                                                        <a:pt x="448381" y="31603"/>
                                                      </a:cubicBezTo>
                                                      <a:cubicBezTo>
                                                        <a:pt x="443587" y="36721"/>
                                                        <a:pt x="449612" y="44689"/>
                                                        <a:pt x="449871" y="51751"/>
                                                      </a:cubicBezTo>
                                                      <a:cubicBezTo>
                                                        <a:pt x="449871" y="52723"/>
                                                        <a:pt x="449871" y="53760"/>
                                                        <a:pt x="449353" y="54602"/>
                                                      </a:cubicBezTo>
                                                      <a:cubicBezTo>
                                                        <a:pt x="447798" y="57517"/>
                                                        <a:pt x="443004" y="56804"/>
                                                        <a:pt x="441125" y="54083"/>
                                                      </a:cubicBezTo>
                                                      <a:cubicBezTo>
                                                        <a:pt x="439246" y="51362"/>
                                                        <a:pt x="439376" y="47799"/>
                                                        <a:pt x="439635" y="44560"/>
                                                      </a:cubicBezTo>
                                                      <a:cubicBezTo>
                                                        <a:pt x="431148" y="46763"/>
                                                        <a:pt x="422337" y="47734"/>
                                                        <a:pt x="413591" y="47410"/>
                                                      </a:cubicBezTo>
                                                      <a:cubicBezTo>
                                                        <a:pt x="412555" y="42357"/>
                                                        <a:pt x="415276" y="36721"/>
                                                        <a:pt x="419940" y="34389"/>
                                                      </a:cubicBezTo>
                                                      <a:cubicBezTo>
                                                        <a:pt x="424022" y="32380"/>
                                                        <a:pt x="428946" y="32898"/>
                                                        <a:pt x="433157" y="31085"/>
                                                      </a:cubicBezTo>
                                                      <a:cubicBezTo>
                                                        <a:pt x="437368" y="29335"/>
                                                        <a:pt x="440153" y="22921"/>
                                                        <a:pt x="436396" y="20460"/>
                                                      </a:cubicBezTo>
                                                      <a:cubicBezTo>
                                                        <a:pt x="434841" y="19423"/>
                                                        <a:pt x="432768" y="19553"/>
                                                        <a:pt x="430889" y="19682"/>
                                                      </a:cubicBezTo>
                                                      <a:cubicBezTo>
                                                        <a:pt x="424152" y="20265"/>
                                                        <a:pt x="416312" y="21561"/>
                                                        <a:pt x="413138" y="27521"/>
                                                      </a:cubicBezTo>
                                                      <a:cubicBezTo>
                                                        <a:pt x="411972" y="29789"/>
                                                        <a:pt x="411648" y="32445"/>
                                                        <a:pt x="410546" y="34777"/>
                                                      </a:cubicBezTo>
                                                      <a:cubicBezTo>
                                                        <a:pt x="409639" y="36786"/>
                                                        <a:pt x="408214" y="38470"/>
                                                        <a:pt x="407178" y="40414"/>
                                                      </a:cubicBezTo>
                                                      <a:cubicBezTo>
                                                        <a:pt x="404327" y="46050"/>
                                                        <a:pt x="406206" y="53565"/>
                                                        <a:pt x="411324" y="57258"/>
                                                      </a:cubicBezTo>
                                                      <a:cubicBezTo>
                                                        <a:pt x="411972" y="59785"/>
                                                        <a:pt x="407307" y="59979"/>
                                                        <a:pt x="405752" y="57841"/>
                                                      </a:cubicBezTo>
                                                      <a:cubicBezTo>
                                                        <a:pt x="404197" y="55703"/>
                                                        <a:pt x="403420" y="52529"/>
                                                        <a:pt x="400828" y="51881"/>
                                                      </a:cubicBezTo>
                                                      <a:cubicBezTo>
                                                        <a:pt x="399339" y="51492"/>
                                                        <a:pt x="397849" y="52205"/>
                                                        <a:pt x="396293" y="52334"/>
                                                      </a:cubicBezTo>
                                                      <a:cubicBezTo>
                                                        <a:pt x="392925" y="52593"/>
                                                        <a:pt x="390139" y="50002"/>
                                                        <a:pt x="387289" y="48188"/>
                                                      </a:cubicBezTo>
                                                      <a:cubicBezTo>
                                                        <a:pt x="384438" y="46374"/>
                                                        <a:pt x="380162" y="45337"/>
                                                        <a:pt x="378089" y="48058"/>
                                                      </a:cubicBezTo>
                                                      <a:cubicBezTo>
                                                        <a:pt x="381781" y="53630"/>
                                                        <a:pt x="384373" y="59849"/>
                                                        <a:pt x="385798" y="66328"/>
                                                      </a:cubicBezTo>
                                                      <a:cubicBezTo>
                                                        <a:pt x="386446" y="69178"/>
                                                        <a:pt x="386770" y="72223"/>
                                                        <a:pt x="385539" y="74880"/>
                                                      </a:cubicBezTo>
                                                      <a:cubicBezTo>
                                                        <a:pt x="384308" y="77536"/>
                                                        <a:pt x="380810" y="79220"/>
                                                        <a:pt x="378348" y="77665"/>
                                                      </a:cubicBezTo>
                                                      <a:cubicBezTo>
                                                        <a:pt x="377117" y="73260"/>
                                                        <a:pt x="375951" y="68790"/>
                                                        <a:pt x="374785" y="64384"/>
                                                      </a:cubicBezTo>
                                                      <a:cubicBezTo>
                                                        <a:pt x="370833" y="64838"/>
                                                        <a:pt x="366816" y="65356"/>
                                                        <a:pt x="362864" y="65810"/>
                                                      </a:cubicBezTo>
                                                      <a:cubicBezTo>
                                                        <a:pt x="361568" y="65939"/>
                                                        <a:pt x="360143" y="66069"/>
                                                        <a:pt x="359236" y="65162"/>
                                                      </a:cubicBezTo>
                                                      <a:cubicBezTo>
                                                        <a:pt x="358459" y="64449"/>
                                                        <a:pt x="358394" y="63283"/>
                                                        <a:pt x="358329" y="62246"/>
                                                      </a:cubicBezTo>
                                                      <a:cubicBezTo>
                                                        <a:pt x="357940" y="56027"/>
                                                        <a:pt x="357552" y="49808"/>
                                                        <a:pt x="357098" y="43588"/>
                                                      </a:cubicBezTo>
                                                      <a:cubicBezTo>
                                                        <a:pt x="349842" y="45920"/>
                                                        <a:pt x="341420" y="49484"/>
                                                        <a:pt x="339995" y="56999"/>
                                                      </a:cubicBezTo>
                                                      <a:cubicBezTo>
                                                        <a:pt x="339153" y="61599"/>
                                                        <a:pt x="341290" y="66134"/>
                                                        <a:pt x="343428" y="70280"/>
                                                      </a:cubicBezTo>
                                                      <a:cubicBezTo>
                                                        <a:pt x="338116" y="70085"/>
                                                        <a:pt x="331184" y="70992"/>
                                                        <a:pt x="329953" y="76175"/>
                                                      </a:cubicBezTo>
                                                      <a:cubicBezTo>
                                                        <a:pt x="329564" y="77665"/>
                                                        <a:pt x="329824" y="79285"/>
                                                        <a:pt x="329435" y="80775"/>
                                                      </a:cubicBezTo>
                                                      <a:cubicBezTo>
                                                        <a:pt x="328009" y="86023"/>
                                                        <a:pt x="320818" y="86282"/>
                                                        <a:pt x="315441" y="85440"/>
                                                      </a:cubicBezTo>
                                                      <a:cubicBezTo>
                                                        <a:pt x="314405" y="85245"/>
                                                        <a:pt x="313303" y="85116"/>
                                                        <a:pt x="312396" y="84468"/>
                                                      </a:cubicBezTo>
                                                      <a:cubicBezTo>
                                                        <a:pt x="308120" y="81617"/>
                                                        <a:pt x="311619" y="72223"/>
                                                        <a:pt x="306565" y="71187"/>
                                                      </a:cubicBezTo>
                                                      <a:cubicBezTo>
                                                        <a:pt x="304233" y="73130"/>
                                                        <a:pt x="301901" y="75009"/>
                                                        <a:pt x="299504" y="76953"/>
                                                      </a:cubicBezTo>
                                                      <a:cubicBezTo>
                                                        <a:pt x="295681" y="80062"/>
                                                        <a:pt x="291665" y="85828"/>
                                                        <a:pt x="295228" y="89262"/>
                                                      </a:cubicBezTo>
                                                      <a:cubicBezTo>
                                                        <a:pt x="291535" y="90817"/>
                                                        <a:pt x="287777" y="92372"/>
                                                        <a:pt x="284085" y="93927"/>
                                                      </a:cubicBezTo>
                                                      <a:cubicBezTo>
                                                        <a:pt x="283696" y="98980"/>
                                                        <a:pt x="289527" y="102219"/>
                                                        <a:pt x="294580" y="102737"/>
                                                      </a:cubicBezTo>
                                                      <a:cubicBezTo>
                                                        <a:pt x="299633" y="103256"/>
                                                        <a:pt x="305075" y="102349"/>
                                                        <a:pt x="309481" y="104875"/>
                                                      </a:cubicBezTo>
                                                      <a:cubicBezTo>
                                                        <a:pt x="313886" y="107402"/>
                                                        <a:pt x="314664" y="115630"/>
                                                        <a:pt x="309675" y="116602"/>
                                                      </a:cubicBezTo>
                                                      <a:cubicBezTo>
                                                        <a:pt x="305334" y="116343"/>
                                                        <a:pt x="301577" y="112261"/>
                                                        <a:pt x="301642" y="107856"/>
                                                      </a:cubicBezTo>
                                                      <a:cubicBezTo>
                                                        <a:pt x="296200" y="107272"/>
                                                        <a:pt x="291146" y="113103"/>
                                                        <a:pt x="292442" y="118416"/>
                                                      </a:cubicBezTo>
                                                      <a:cubicBezTo>
                                                        <a:pt x="291535" y="119387"/>
                                                        <a:pt x="289786" y="118610"/>
                                                        <a:pt x="289203" y="117444"/>
                                                      </a:cubicBezTo>
                                                      <a:cubicBezTo>
                                                        <a:pt x="288620" y="116278"/>
                                                        <a:pt x="288749" y="114917"/>
                                                        <a:pt x="288555" y="113557"/>
                                                      </a:cubicBezTo>
                                                      <a:cubicBezTo>
                                                        <a:pt x="287842" y="108374"/>
                                                        <a:pt x="278837" y="102219"/>
                                                        <a:pt x="275339" y="106106"/>
                                                      </a:cubicBezTo>
                                                      <a:cubicBezTo>
                                                        <a:pt x="274173" y="107402"/>
                                                        <a:pt x="271775" y="106689"/>
                                                        <a:pt x="270868" y="105135"/>
                                                      </a:cubicBezTo>
                                                      <a:cubicBezTo>
                                                        <a:pt x="269961" y="103580"/>
                                                        <a:pt x="270156" y="101701"/>
                                                        <a:pt x="270480" y="99952"/>
                                                      </a:cubicBezTo>
                                                      <a:cubicBezTo>
                                                        <a:pt x="270804" y="98202"/>
                                                        <a:pt x="271192" y="96388"/>
                                                        <a:pt x="270739" y="94704"/>
                                                      </a:cubicBezTo>
                                                      <a:cubicBezTo>
                                                        <a:pt x="269832" y="91594"/>
                                                        <a:pt x="265427" y="90234"/>
                                                        <a:pt x="262900" y="92177"/>
                                                      </a:cubicBezTo>
                                                      <a:cubicBezTo>
                                                        <a:pt x="263030" y="97231"/>
                                                        <a:pt x="257458" y="100535"/>
                                                        <a:pt x="255644" y="105264"/>
                                                      </a:cubicBezTo>
                                                      <a:cubicBezTo>
                                                        <a:pt x="255255" y="106236"/>
                                                        <a:pt x="254996" y="107337"/>
                                                        <a:pt x="254413" y="108244"/>
                                                      </a:cubicBezTo>
                                                      <a:cubicBezTo>
                                                        <a:pt x="251821" y="112131"/>
                                                        <a:pt x="244242" y="110447"/>
                                                        <a:pt x="242752" y="114852"/>
                                                      </a:cubicBezTo>
                                                      <a:cubicBezTo>
                                                        <a:pt x="242103" y="116796"/>
                                                        <a:pt x="243075" y="118999"/>
                                                        <a:pt x="242427" y="120878"/>
                                                      </a:cubicBezTo>
                                                      <a:cubicBezTo>
                                                        <a:pt x="240678" y="125672"/>
                                                        <a:pt x="231543" y="123080"/>
                                                        <a:pt x="229600" y="127745"/>
                                                      </a:cubicBezTo>
                                                      <a:cubicBezTo>
                                                        <a:pt x="228822" y="129559"/>
                                                        <a:pt x="229600" y="131632"/>
                                                        <a:pt x="230961" y="133057"/>
                                                      </a:cubicBezTo>
                                                      <a:cubicBezTo>
                                                        <a:pt x="234265" y="136620"/>
                                                        <a:pt x="239836" y="136556"/>
                                                        <a:pt x="244630" y="136232"/>
                                                      </a:cubicBezTo>
                                                      <a:cubicBezTo>
                                                        <a:pt x="248323" y="135973"/>
                                                        <a:pt x="251951" y="135778"/>
                                                        <a:pt x="255644" y="135519"/>
                                                      </a:cubicBezTo>
                                                      <a:cubicBezTo>
                                                        <a:pt x="257328" y="135389"/>
                                                        <a:pt x="259077" y="135260"/>
                                                        <a:pt x="260568" y="134418"/>
                                                      </a:cubicBezTo>
                                                      <a:cubicBezTo>
                                                        <a:pt x="262187" y="133446"/>
                                                        <a:pt x="263094" y="131697"/>
                                                        <a:pt x="264260" y="130271"/>
                                                      </a:cubicBezTo>
                                                      <a:cubicBezTo>
                                                        <a:pt x="268860" y="124441"/>
                                                        <a:pt x="277995" y="122756"/>
                                                        <a:pt x="284409" y="126579"/>
                                                      </a:cubicBezTo>
                                                      <a:cubicBezTo>
                                                        <a:pt x="285445" y="127226"/>
                                                        <a:pt x="286482" y="128004"/>
                                                        <a:pt x="287000" y="129105"/>
                                                      </a:cubicBezTo>
                                                      <a:cubicBezTo>
                                                        <a:pt x="287389" y="129883"/>
                                                        <a:pt x="287518" y="130854"/>
                                                        <a:pt x="287648" y="131697"/>
                                                      </a:cubicBezTo>
                                                      <a:cubicBezTo>
                                                        <a:pt x="288231" y="135973"/>
                                                        <a:pt x="288814" y="140184"/>
                                                        <a:pt x="289462" y="144460"/>
                                                      </a:cubicBezTo>
                                                      <a:cubicBezTo>
                                                        <a:pt x="289592" y="145172"/>
                                                        <a:pt x="289656" y="145950"/>
                                                        <a:pt x="289333" y="146597"/>
                                                      </a:cubicBezTo>
                                                      <a:cubicBezTo>
                                                        <a:pt x="288944" y="147440"/>
                                                        <a:pt x="287972" y="147893"/>
                                                        <a:pt x="287065" y="148023"/>
                                                      </a:cubicBezTo>
                                                      <a:cubicBezTo>
                                                        <a:pt x="282336" y="148800"/>
                                                        <a:pt x="278448" y="144330"/>
                                                        <a:pt x="276505" y="139989"/>
                                                      </a:cubicBezTo>
                                                      <a:cubicBezTo>
                                                        <a:pt x="275987" y="138888"/>
                                                        <a:pt x="275403" y="137592"/>
                                                        <a:pt x="274173" y="137398"/>
                                                      </a:cubicBezTo>
                                                      <a:cubicBezTo>
                                                        <a:pt x="273460" y="137268"/>
                                                        <a:pt x="272747" y="137657"/>
                                                        <a:pt x="272099" y="137981"/>
                                                      </a:cubicBezTo>
                                                      <a:cubicBezTo>
                                                        <a:pt x="266787" y="140767"/>
                                                        <a:pt x="261215" y="143747"/>
                                                        <a:pt x="257976" y="148865"/>
                                                      </a:cubicBezTo>
                                                      <a:cubicBezTo>
                                                        <a:pt x="257328" y="149966"/>
                                                        <a:pt x="256745" y="151132"/>
                                                        <a:pt x="255838" y="152039"/>
                                                      </a:cubicBezTo>
                                                      <a:cubicBezTo>
                                                        <a:pt x="253636" y="154242"/>
                                                        <a:pt x="249943" y="154436"/>
                                                        <a:pt x="247934" y="156834"/>
                                                      </a:cubicBezTo>
                                                      <a:cubicBezTo>
                                                        <a:pt x="246898" y="158064"/>
                                                        <a:pt x="246444" y="159749"/>
                                                        <a:pt x="246120" y="161369"/>
                                                      </a:cubicBezTo>
                                                      <a:cubicBezTo>
                                                        <a:pt x="245602" y="164349"/>
                                                        <a:pt x="245343" y="167394"/>
                                                        <a:pt x="244371" y="170179"/>
                                                      </a:cubicBezTo>
                                                      <a:cubicBezTo>
                                                        <a:pt x="243399" y="173030"/>
                                                        <a:pt x="241456" y="175751"/>
                                                        <a:pt x="238605" y="176723"/>
                                                      </a:cubicBezTo>
                                                      <a:cubicBezTo>
                                                        <a:pt x="237633" y="177047"/>
                                                        <a:pt x="236532" y="177241"/>
                                                        <a:pt x="235884" y="178018"/>
                                                      </a:cubicBezTo>
                                                      <a:cubicBezTo>
                                                        <a:pt x="234912" y="179120"/>
                                                        <a:pt x="235431" y="180869"/>
                                                        <a:pt x="235690" y="182294"/>
                                                      </a:cubicBezTo>
                                                      <a:cubicBezTo>
                                                        <a:pt x="236662" y="187283"/>
                                                        <a:pt x="234005" y="192725"/>
                                                        <a:pt x="229600" y="195122"/>
                                                      </a:cubicBezTo>
                                                      <a:cubicBezTo>
                                                        <a:pt x="227268" y="196353"/>
                                                        <a:pt x="224287" y="197130"/>
                                                        <a:pt x="223316" y="199527"/>
                                                      </a:cubicBezTo>
                                                      <a:cubicBezTo>
                                                        <a:pt x="222344" y="201989"/>
                                                        <a:pt x="223964" y="205034"/>
                                                        <a:pt x="222474" y="207237"/>
                                                      </a:cubicBezTo>
                                                      <a:cubicBezTo>
                                                        <a:pt x="221308" y="208986"/>
                                                        <a:pt x="218910" y="209180"/>
                                                        <a:pt x="216837" y="209569"/>
                                                      </a:cubicBezTo>
                                                      <a:cubicBezTo>
                                                        <a:pt x="214764" y="209958"/>
                                                        <a:pt x="213468" y="211513"/>
                                                        <a:pt x="213987" y="213521"/>
                                                      </a:cubicBezTo>
                                                      <a:cubicBezTo>
                                                        <a:pt x="213015" y="214234"/>
                                                        <a:pt x="212043" y="214882"/>
                                                        <a:pt x="211136" y="215594"/>
                                                      </a:cubicBezTo>
                                                      <a:cubicBezTo>
                                                        <a:pt x="209257" y="220453"/>
                                                        <a:pt x="207378" y="225312"/>
                                                        <a:pt x="205500" y="230171"/>
                                                      </a:cubicBezTo>
                                                      <a:cubicBezTo>
                                                        <a:pt x="204334" y="233151"/>
                                                        <a:pt x="202973" y="236390"/>
                                                        <a:pt x="200187" y="237945"/>
                                                      </a:cubicBezTo>
                                                      <a:cubicBezTo>
                                                        <a:pt x="197920" y="239176"/>
                                                        <a:pt x="195069" y="239047"/>
                                                        <a:pt x="192607" y="239889"/>
                                                      </a:cubicBezTo>
                                                      <a:cubicBezTo>
                                                        <a:pt x="187359" y="241703"/>
                                                        <a:pt x="184639" y="247663"/>
                                                        <a:pt x="184250" y="253235"/>
                                                      </a:cubicBezTo>
                                                      <a:cubicBezTo>
                                                        <a:pt x="183861" y="258806"/>
                                                        <a:pt x="185157" y="264313"/>
                                                        <a:pt x="185092" y="269820"/>
                                                      </a:cubicBezTo>
                                                      <a:cubicBezTo>
                                                        <a:pt x="185092" y="275391"/>
                                                        <a:pt x="183149" y="281481"/>
                                                        <a:pt x="178290" y="284202"/>
                                                      </a:cubicBezTo>
                                                      <a:cubicBezTo>
                                                        <a:pt x="176800" y="285045"/>
                                                        <a:pt x="175180" y="285498"/>
                                                        <a:pt x="173560" y="285951"/>
                                                      </a:cubicBezTo>
                                                      <a:cubicBezTo>
                                                        <a:pt x="169284" y="287118"/>
                                                        <a:pt x="164944" y="288284"/>
                                                        <a:pt x="160668" y="289450"/>
                                                      </a:cubicBezTo>
                                                      <a:cubicBezTo>
                                                        <a:pt x="156781" y="290486"/>
                                                        <a:pt x="151987" y="293013"/>
                                                        <a:pt x="152829" y="296965"/>
                                                      </a:cubicBezTo>
                                                      <a:cubicBezTo>
                                                        <a:pt x="153930" y="301954"/>
                                                        <a:pt x="162028" y="300528"/>
                                                        <a:pt x="165527" y="304156"/>
                                                      </a:cubicBezTo>
                                                      <a:cubicBezTo>
                                                        <a:pt x="167017" y="305646"/>
                                                        <a:pt x="167471" y="307849"/>
                                                        <a:pt x="167859" y="309922"/>
                                                      </a:cubicBezTo>
                                                      <a:cubicBezTo>
                                                        <a:pt x="168442" y="312838"/>
                                                        <a:pt x="168572" y="316595"/>
                                                        <a:pt x="165915" y="317891"/>
                                                      </a:cubicBezTo>
                                                      <a:cubicBezTo>
                                                        <a:pt x="163907" y="318863"/>
                                                        <a:pt x="161381" y="317502"/>
                                                        <a:pt x="160344" y="315559"/>
                                                      </a:cubicBezTo>
                                                      <a:cubicBezTo>
                                                        <a:pt x="159243" y="313615"/>
                                                        <a:pt x="159178" y="311283"/>
                                                        <a:pt x="159178" y="309015"/>
                                                      </a:cubicBezTo>
                                                      <a:cubicBezTo>
                                                        <a:pt x="156651" y="307914"/>
                                                        <a:pt x="153606" y="309922"/>
                                                        <a:pt x="152634" y="312514"/>
                                                      </a:cubicBezTo>
                                                      <a:cubicBezTo>
                                                        <a:pt x="151663" y="315105"/>
                                                        <a:pt x="152181" y="318020"/>
                                                        <a:pt x="152699" y="320741"/>
                                                      </a:cubicBezTo>
                                                      <a:cubicBezTo>
                                                        <a:pt x="150691" y="319187"/>
                                                        <a:pt x="147970" y="321972"/>
                                                        <a:pt x="147646" y="324499"/>
                                                      </a:cubicBezTo>
                                                      <a:cubicBezTo>
                                                        <a:pt x="147387" y="327026"/>
                                                        <a:pt x="148035" y="329876"/>
                                                        <a:pt x="146545" y="331949"/>
                                                      </a:cubicBezTo>
                                                      <a:cubicBezTo>
                                                        <a:pt x="143824" y="335772"/>
                                                        <a:pt x="136633" y="333310"/>
                                                        <a:pt x="133976" y="337197"/>
                                                      </a:cubicBezTo>
                                                      <a:cubicBezTo>
                                                        <a:pt x="132486" y="339335"/>
                                                        <a:pt x="133264" y="342380"/>
                                                        <a:pt x="132227" y="344777"/>
                                                      </a:cubicBezTo>
                                                      <a:cubicBezTo>
                                                        <a:pt x="130219" y="349377"/>
                                                        <a:pt x="123416" y="348858"/>
                                                        <a:pt x="119464" y="351968"/>
                                                      </a:cubicBezTo>
                                                      <a:cubicBezTo>
                                                        <a:pt x="115771" y="354883"/>
                                                        <a:pt x="114670" y="360909"/>
                                                        <a:pt x="110200" y="362269"/>
                                                      </a:cubicBezTo>
                                                      <a:cubicBezTo>
                                                        <a:pt x="108710" y="362723"/>
                                                        <a:pt x="107025" y="362528"/>
                                                        <a:pt x="105471" y="362723"/>
                                                      </a:cubicBezTo>
                                                      <a:cubicBezTo>
                                                        <a:pt x="100612" y="363370"/>
                                                        <a:pt x="96789" y="368359"/>
                                                        <a:pt x="97372" y="373218"/>
                                                      </a:cubicBezTo>
                                                      <a:cubicBezTo>
                                                        <a:pt x="85970" y="372635"/>
                                                        <a:pt x="74568" y="372829"/>
                                                        <a:pt x="63230" y="373866"/>
                                                      </a:cubicBezTo>
                                                      <a:cubicBezTo>
                                                        <a:pt x="61870" y="373995"/>
                                                        <a:pt x="60444" y="374190"/>
                                                        <a:pt x="59473" y="375032"/>
                                                      </a:cubicBezTo>
                                                      <a:cubicBezTo>
                                                        <a:pt x="56816" y="377364"/>
                                                        <a:pt x="59278" y="381640"/>
                                                        <a:pt x="61934" y="383972"/>
                                                      </a:cubicBezTo>
                                                      <a:cubicBezTo>
                                                        <a:pt x="64591" y="386305"/>
                                                        <a:pt x="67765" y="389673"/>
                                                        <a:pt x="66081" y="392718"/>
                                                      </a:cubicBezTo>
                                                      <a:cubicBezTo>
                                                        <a:pt x="63230" y="394338"/>
                                                        <a:pt x="60185" y="395504"/>
                                                        <a:pt x="57011" y="396282"/>
                                                      </a:cubicBezTo>
                                                      <a:cubicBezTo>
                                                        <a:pt x="59473" y="397836"/>
                                                        <a:pt x="57529" y="401788"/>
                                                        <a:pt x="54937" y="403149"/>
                                                      </a:cubicBezTo>
                                                      <a:cubicBezTo>
                                                        <a:pt x="52346" y="404509"/>
                                                        <a:pt x="48977" y="405222"/>
                                                        <a:pt x="47941" y="407943"/>
                                                      </a:cubicBezTo>
                                                      <a:cubicBezTo>
                                                        <a:pt x="47099" y="410081"/>
                                                        <a:pt x="48135" y="412737"/>
                                                        <a:pt x="46969" y="414681"/>
                                                      </a:cubicBezTo>
                                                      <a:cubicBezTo>
                                                        <a:pt x="43730" y="414810"/>
                                                        <a:pt x="40426" y="416365"/>
                                                        <a:pt x="37186" y="416430"/>
                                                      </a:cubicBezTo>
                                                      <a:cubicBezTo>
                                                        <a:pt x="29671" y="416624"/>
                                                        <a:pt x="24164" y="424010"/>
                                                        <a:pt x="22674" y="431331"/>
                                                      </a:cubicBezTo>
                                                      <a:cubicBezTo>
                                                        <a:pt x="21184" y="438651"/>
                                                        <a:pt x="22415" y="446296"/>
                                                        <a:pt x="21897" y="453811"/>
                                                      </a:cubicBezTo>
                                                      <a:cubicBezTo>
                                                        <a:pt x="21379" y="461326"/>
                                                        <a:pt x="18463" y="469489"/>
                                                        <a:pt x="11661" y="472599"/>
                                                      </a:cubicBezTo>
                                                      <a:cubicBezTo>
                                                        <a:pt x="6867" y="474802"/>
                                                        <a:pt x="-778" y="476227"/>
                                                        <a:pt x="64" y="481475"/>
                                                      </a:cubicBezTo>
                                                      <a:cubicBezTo>
                                                        <a:pt x="518" y="484585"/>
                                                        <a:pt x="4016" y="486075"/>
                                                        <a:pt x="7061" y="486787"/>
                                                      </a:cubicBezTo>
                                                      <a:cubicBezTo>
                                                        <a:pt x="15483" y="488796"/>
                                                        <a:pt x="25525" y="488536"/>
                                                        <a:pt x="31550" y="482317"/>
                                                      </a:cubicBezTo>
                                                      <a:cubicBezTo>
                                                        <a:pt x="32716" y="481086"/>
                                                        <a:pt x="33688" y="479726"/>
                                                        <a:pt x="35113" y="478754"/>
                                                      </a:cubicBezTo>
                                                      <a:cubicBezTo>
                                                        <a:pt x="38806" y="476357"/>
                                                        <a:pt x="44572" y="478883"/>
                                                        <a:pt x="45284" y="483224"/>
                                                      </a:cubicBezTo>
                                                      <a:cubicBezTo>
                                                        <a:pt x="45997" y="487565"/>
                                                        <a:pt x="41268" y="491776"/>
                                                        <a:pt x="37057" y="490610"/>
                                                      </a:cubicBezTo>
                                                      <a:cubicBezTo>
                                                        <a:pt x="39583" y="492359"/>
                                                        <a:pt x="39065" y="496570"/>
                                                        <a:pt x="36798" y="498643"/>
                                                      </a:cubicBezTo>
                                                      <a:cubicBezTo>
                                                        <a:pt x="34530" y="500716"/>
                                                        <a:pt x="31291" y="501234"/>
                                                        <a:pt x="28246" y="501623"/>
                                                      </a:cubicBezTo>
                                                      <a:cubicBezTo>
                                                        <a:pt x="26367" y="501882"/>
                                                        <a:pt x="24424" y="502141"/>
                                                        <a:pt x="22545" y="502401"/>
                                                      </a:cubicBezTo>
                                                      <a:cubicBezTo>
                                                        <a:pt x="16714" y="503178"/>
                                                        <a:pt x="10754" y="504020"/>
                                                        <a:pt x="4988" y="502854"/>
                                                      </a:cubicBezTo>
                                                      <a:cubicBezTo>
                                                        <a:pt x="11143" y="507778"/>
                                                        <a:pt x="-1555" y="519957"/>
                                                        <a:pt x="4858" y="524557"/>
                                                      </a:cubicBezTo>
                                                      <a:cubicBezTo>
                                                        <a:pt x="6931" y="526047"/>
                                                        <a:pt x="9847" y="525400"/>
                                                        <a:pt x="12309" y="524622"/>
                                                      </a:cubicBezTo>
                                                      <a:cubicBezTo>
                                                        <a:pt x="20861" y="522095"/>
                                                        <a:pt x="29347" y="519504"/>
                                                        <a:pt x="37899" y="516977"/>
                                                      </a:cubicBezTo>
                                                      <a:cubicBezTo>
                                                        <a:pt x="38806" y="520800"/>
                                                        <a:pt x="35502" y="525011"/>
                                                        <a:pt x="31550" y="525076"/>
                                                      </a:cubicBezTo>
                                                      <a:cubicBezTo>
                                                        <a:pt x="35308" y="527278"/>
                                                        <a:pt x="34595" y="533368"/>
                                                        <a:pt x="31226" y="536089"/>
                                                      </a:cubicBezTo>
                                                      <a:cubicBezTo>
                                                        <a:pt x="27857" y="538810"/>
                                                        <a:pt x="23128" y="538940"/>
                                                        <a:pt x="18852" y="538616"/>
                                                      </a:cubicBezTo>
                                                      <a:cubicBezTo>
                                                        <a:pt x="16584" y="541207"/>
                                                        <a:pt x="18722" y="545418"/>
                                                        <a:pt x="21638" y="547232"/>
                                                      </a:cubicBezTo>
                                                      <a:cubicBezTo>
                                                        <a:pt x="24553" y="549046"/>
                                                        <a:pt x="28246" y="549500"/>
                                                        <a:pt x="30967" y="551573"/>
                                                      </a:cubicBezTo>
                                                      <a:cubicBezTo>
                                                        <a:pt x="34984" y="554553"/>
                                                        <a:pt x="36668" y="560449"/>
                                                        <a:pt x="41462" y="561939"/>
                                                      </a:cubicBezTo>
                                                      <a:cubicBezTo>
                                                        <a:pt x="44766" y="562975"/>
                                                        <a:pt x="48848" y="561550"/>
                                                        <a:pt x="51569" y="563688"/>
                                                      </a:cubicBezTo>
                                                      <a:cubicBezTo>
                                                        <a:pt x="53189" y="564984"/>
                                                        <a:pt x="53707" y="567121"/>
                                                        <a:pt x="54614" y="569000"/>
                                                      </a:cubicBezTo>
                                                      <a:cubicBezTo>
                                                        <a:pt x="57464" y="575155"/>
                                                        <a:pt x="64850" y="578783"/>
                                                        <a:pt x="71458" y="577358"/>
                                                      </a:cubicBezTo>
                                                      <a:cubicBezTo>
                                                        <a:pt x="72883" y="577034"/>
                                                        <a:pt x="74373" y="576451"/>
                                                        <a:pt x="75215" y="575220"/>
                                                      </a:cubicBezTo>
                                                      <a:cubicBezTo>
                                                        <a:pt x="76058" y="573989"/>
                                                        <a:pt x="75993" y="572369"/>
                                                        <a:pt x="76382" y="570944"/>
                                                      </a:cubicBezTo>
                                                      <a:cubicBezTo>
                                                        <a:pt x="78973" y="561291"/>
                                                        <a:pt x="96595" y="564077"/>
                                                        <a:pt x="100093" y="554747"/>
                                                      </a:cubicBezTo>
                                                      <a:cubicBezTo>
                                                        <a:pt x="101130" y="551962"/>
                                                        <a:pt x="100806" y="548334"/>
                                                        <a:pt x="103203" y="546649"/>
                                                      </a:cubicBezTo>
                                                      <a:cubicBezTo>
                                                        <a:pt x="104499" y="545742"/>
                                                        <a:pt x="106118" y="545742"/>
                                                        <a:pt x="107673" y="545548"/>
                                                      </a:cubicBezTo>
                                                      <a:cubicBezTo>
                                                        <a:pt x="113893" y="544576"/>
                                                        <a:pt x="119011" y="538810"/>
                                                        <a:pt x="119334" y="532526"/>
                                                      </a:cubicBezTo>
                                                      <a:cubicBezTo>
                                                        <a:pt x="123481" y="533822"/>
                                                        <a:pt x="128340" y="535053"/>
                                                        <a:pt x="131838" y="532526"/>
                                                      </a:cubicBezTo>
                                                      <a:cubicBezTo>
                                                        <a:pt x="135531" y="529805"/>
                                                        <a:pt x="135596" y="524428"/>
                                                        <a:pt x="136114" y="519893"/>
                                                      </a:cubicBezTo>
                                                      <a:cubicBezTo>
                                                        <a:pt x="136633" y="515293"/>
                                                        <a:pt x="139224" y="509851"/>
                                                        <a:pt x="143824" y="510110"/>
                                                      </a:cubicBezTo>
                                                      <a:cubicBezTo>
                                                        <a:pt x="148424" y="510369"/>
                                                        <a:pt x="150367" y="516006"/>
                                                        <a:pt x="150821" y="520605"/>
                                                      </a:cubicBezTo>
                                                      <a:cubicBezTo>
                                                        <a:pt x="151274" y="525140"/>
                                                        <a:pt x="152052" y="530777"/>
                                                        <a:pt x="156327" y="532396"/>
                                                      </a:cubicBezTo>
                                                      <a:cubicBezTo>
                                                        <a:pt x="160150" y="533886"/>
                                                        <a:pt x="165138" y="531230"/>
                                                        <a:pt x="168248" y="533886"/>
                                                      </a:cubicBezTo>
                                                      <a:cubicBezTo>
                                                        <a:pt x="168442" y="534081"/>
                                                        <a:pt x="168572" y="534275"/>
                                                        <a:pt x="168766" y="534470"/>
                                                      </a:cubicBezTo>
                                                      <a:cubicBezTo>
                                                        <a:pt x="169349" y="533563"/>
                                                        <a:pt x="169738" y="532526"/>
                                                        <a:pt x="169997" y="531425"/>
                                                      </a:cubicBezTo>
                                                      <a:cubicBezTo>
                                                        <a:pt x="171681" y="525076"/>
                                                        <a:pt x="172524" y="518467"/>
                                                        <a:pt x="172459" y="511859"/>
                                                      </a:cubicBezTo>
                                                      <a:cubicBezTo>
                                                        <a:pt x="172459" y="507519"/>
                                                        <a:pt x="172265" y="502530"/>
                                                        <a:pt x="175374" y="499485"/>
                                                      </a:cubicBezTo>
                                                      <a:cubicBezTo>
                                                        <a:pt x="178160" y="496699"/>
                                                        <a:pt x="182695" y="496570"/>
                                                        <a:pt x="185870" y="494302"/>
                                                      </a:cubicBezTo>
                                                      <a:cubicBezTo>
                                                        <a:pt x="191312" y="490545"/>
                                                        <a:pt x="191312" y="482641"/>
                                                        <a:pt x="190728" y="476098"/>
                                                      </a:cubicBezTo>
                                                      <a:cubicBezTo>
                                                        <a:pt x="190405" y="472664"/>
                                                        <a:pt x="189886" y="468842"/>
                                                        <a:pt x="187165" y="466833"/>
                                                      </a:cubicBezTo>
                                                      <a:cubicBezTo>
                                                        <a:pt x="185805" y="465861"/>
                                                        <a:pt x="184120" y="465473"/>
                                                        <a:pt x="182889" y="464307"/>
                                                      </a:cubicBezTo>
                                                      <a:cubicBezTo>
                                                        <a:pt x="179197" y="461003"/>
                                                        <a:pt x="182371" y="454848"/>
                                                        <a:pt x="186258" y="451803"/>
                                                      </a:cubicBezTo>
                                                      <a:cubicBezTo>
                                                        <a:pt x="190146" y="448758"/>
                                                        <a:pt x="195134" y="445713"/>
                                                        <a:pt x="195328" y="440789"/>
                                                      </a:cubicBezTo>
                                                      <a:cubicBezTo>
                                                        <a:pt x="195523" y="434181"/>
                                                        <a:pt x="187165" y="431136"/>
                                                        <a:pt x="183537" y="425629"/>
                                                      </a:cubicBezTo>
                                                      <a:cubicBezTo>
                                                        <a:pt x="181334" y="422325"/>
                                                        <a:pt x="180946" y="418114"/>
                                                        <a:pt x="180687" y="414162"/>
                                                      </a:cubicBezTo>
                                                      <a:cubicBezTo>
                                                        <a:pt x="179132" y="393496"/>
                                                        <a:pt x="177577" y="372376"/>
                                                        <a:pt x="183084" y="352422"/>
                                                      </a:cubicBezTo>
                                                      <a:cubicBezTo>
                                                        <a:pt x="184380" y="347628"/>
                                                        <a:pt x="186193" y="342769"/>
                                                        <a:pt x="189368" y="338946"/>
                                                      </a:cubicBezTo>
                                                      <a:cubicBezTo>
                                                        <a:pt x="192543" y="335124"/>
                                                        <a:pt x="197402" y="332338"/>
                                                        <a:pt x="202390" y="332662"/>
                                                      </a:cubicBezTo>
                                                      <a:cubicBezTo>
                                                        <a:pt x="206795" y="332986"/>
                                                        <a:pt x="211395" y="335513"/>
                                                        <a:pt x="215282" y="333439"/>
                                                      </a:cubicBezTo>
                                                      <a:cubicBezTo>
                                                        <a:pt x="217420" y="332338"/>
                                                        <a:pt x="218651" y="330135"/>
                                                        <a:pt x="220271" y="328386"/>
                                                      </a:cubicBezTo>
                                                      <a:cubicBezTo>
                                                        <a:pt x="221890" y="326637"/>
                                                        <a:pt x="224547" y="325341"/>
                                                        <a:pt x="226620" y="326507"/>
                                                      </a:cubicBezTo>
                                                      <a:cubicBezTo>
                                                        <a:pt x="229146" y="321584"/>
                                                        <a:pt x="227915" y="315040"/>
                                                        <a:pt x="223769" y="311347"/>
                                                      </a:cubicBezTo>
                                                      <a:cubicBezTo>
                                                        <a:pt x="221243" y="309080"/>
                                                        <a:pt x="217744" y="307720"/>
                                                        <a:pt x="216254" y="304675"/>
                                                      </a:cubicBezTo>
                                                      <a:cubicBezTo>
                                                        <a:pt x="214375" y="300917"/>
                                                        <a:pt x="216578" y="296317"/>
                                                        <a:pt x="219428" y="293207"/>
                                                      </a:cubicBezTo>
                                                      <a:cubicBezTo>
                                                        <a:pt x="222279" y="290098"/>
                                                        <a:pt x="225907" y="287506"/>
                                                        <a:pt x="227656" y="283684"/>
                                                      </a:cubicBezTo>
                                                      <a:cubicBezTo>
                                                        <a:pt x="228952" y="280898"/>
                                                        <a:pt x="229211" y="277789"/>
                                                        <a:pt x="229406" y="274744"/>
                                                      </a:cubicBezTo>
                                                      <a:cubicBezTo>
                                                        <a:pt x="230118" y="264248"/>
                                                        <a:pt x="230766" y="253688"/>
                                                        <a:pt x="231479" y="243193"/>
                                                      </a:cubicBezTo>
                                                      <a:cubicBezTo>
                                                        <a:pt x="231932" y="236650"/>
                                                        <a:pt x="246703" y="239176"/>
                                                        <a:pt x="249878" y="233346"/>
                                                      </a:cubicBezTo>
                                                      <a:cubicBezTo>
                                                        <a:pt x="250850" y="231596"/>
                                                        <a:pt x="250655" y="229329"/>
                                                        <a:pt x="251627" y="227580"/>
                                                      </a:cubicBezTo>
                                                      <a:cubicBezTo>
                                                        <a:pt x="252858" y="225247"/>
                                                        <a:pt x="255709" y="224340"/>
                                                        <a:pt x="257976" y="222915"/>
                                                      </a:cubicBezTo>
                                                      <a:cubicBezTo>
                                                        <a:pt x="265038" y="218510"/>
                                                        <a:pt x="266269" y="208986"/>
                                                        <a:pt x="269961" y="201536"/>
                                                      </a:cubicBezTo>
                                                      <a:cubicBezTo>
                                                        <a:pt x="273265" y="194863"/>
                                                        <a:pt x="278902" y="189291"/>
                                                        <a:pt x="280392" y="182035"/>
                                                      </a:cubicBezTo>
                                                      <a:cubicBezTo>
                                                        <a:pt x="281428" y="177047"/>
                                                        <a:pt x="280586" y="171086"/>
                                                        <a:pt x="284214" y="167523"/>
                                                      </a:cubicBezTo>
                                                      <a:cubicBezTo>
                                                        <a:pt x="285834" y="165968"/>
                                                        <a:pt x="288166" y="164997"/>
                                                        <a:pt x="288879" y="162859"/>
                                                      </a:cubicBezTo>
                                                      <a:cubicBezTo>
                                                        <a:pt x="289333" y="161433"/>
                                                        <a:pt x="288879" y="159878"/>
                                                        <a:pt x="288879" y="158388"/>
                                                      </a:cubicBezTo>
                                                      <a:cubicBezTo>
                                                        <a:pt x="288879" y="153529"/>
                                                        <a:pt x="293673" y="149966"/>
                                                        <a:pt x="298402" y="149059"/>
                                                      </a:cubicBezTo>
                                                      <a:cubicBezTo>
                                                        <a:pt x="303132" y="148152"/>
                                                        <a:pt x="308055" y="149059"/>
                                                        <a:pt x="312850" y="148865"/>
                                                      </a:cubicBezTo>
                                                      <a:cubicBezTo>
                                                        <a:pt x="317709" y="148671"/>
                                                        <a:pt x="323021" y="146857"/>
                                                        <a:pt x="325029" y="142451"/>
                                                      </a:cubicBezTo>
                                                      <a:cubicBezTo>
                                                        <a:pt x="326778" y="138694"/>
                                                        <a:pt x="325612" y="134159"/>
                                                        <a:pt x="326519" y="130142"/>
                                                      </a:cubicBezTo>
                                                      <a:cubicBezTo>
                                                        <a:pt x="327880" y="124311"/>
                                                        <a:pt x="335201" y="120165"/>
                                                        <a:pt x="340319" y="123275"/>
                                                      </a:cubicBezTo>
                                                      <a:cubicBezTo>
                                                        <a:pt x="342327" y="124505"/>
                                                        <a:pt x="343687" y="126579"/>
                                                        <a:pt x="345631" y="127874"/>
                                                      </a:cubicBezTo>
                                                      <a:cubicBezTo>
                                                        <a:pt x="348158" y="129559"/>
                                                        <a:pt x="351332" y="129883"/>
                                                        <a:pt x="354183" y="130790"/>
                                                      </a:cubicBezTo>
                                                      <a:cubicBezTo>
                                                        <a:pt x="357098" y="131697"/>
                                                        <a:pt x="360078" y="133835"/>
                                                        <a:pt x="360208" y="136880"/>
                                                      </a:cubicBezTo>
                                                      <a:cubicBezTo>
                                                        <a:pt x="362799" y="139212"/>
                                                        <a:pt x="367334" y="137722"/>
                                                        <a:pt x="369148" y="134742"/>
                                                      </a:cubicBezTo>
                                                      <a:cubicBezTo>
                                                        <a:pt x="370962" y="131761"/>
                                                        <a:pt x="370639" y="127939"/>
                                                        <a:pt x="369667" y="124570"/>
                                                      </a:cubicBezTo>
                                                      <a:cubicBezTo>
                                                        <a:pt x="368695" y="121201"/>
                                                        <a:pt x="367205" y="117962"/>
                                                        <a:pt x="366751" y="114528"/>
                                                      </a:cubicBezTo>
                                                      <a:cubicBezTo>
                                                        <a:pt x="366622" y="113492"/>
                                                        <a:pt x="366557" y="112326"/>
                                                        <a:pt x="367011" y="111354"/>
                                                      </a:cubicBezTo>
                                                      <a:cubicBezTo>
                                                        <a:pt x="367982" y="109151"/>
                                                        <a:pt x="370703" y="108439"/>
                                                        <a:pt x="373036" y="107985"/>
                                                      </a:cubicBezTo>
                                                      <a:cubicBezTo>
                                                        <a:pt x="380356" y="106625"/>
                                                        <a:pt x="387677" y="105264"/>
                                                        <a:pt x="394998" y="103839"/>
                                                      </a:cubicBezTo>
                                                      <a:cubicBezTo>
                                                        <a:pt x="392795" y="100664"/>
                                                        <a:pt x="390593" y="97490"/>
                                                        <a:pt x="388390" y="94315"/>
                                                      </a:cubicBezTo>
                                                      <a:cubicBezTo>
                                                        <a:pt x="397654" y="93344"/>
                                                        <a:pt x="407307" y="95935"/>
                                                        <a:pt x="414822" y="101442"/>
                                                      </a:cubicBezTo>
                                                      <a:cubicBezTo>
                                                        <a:pt x="420847" y="105847"/>
                                                        <a:pt x="425642" y="112067"/>
                                                        <a:pt x="432379" y="115306"/>
                                                      </a:cubicBezTo>
                                                      <a:cubicBezTo>
                                                        <a:pt x="439052" y="118480"/>
                                                        <a:pt x="446762" y="118351"/>
                                                        <a:pt x="454147" y="118092"/>
                                                      </a:cubicBezTo>
                                                      <a:cubicBezTo>
                                                        <a:pt x="462246" y="117833"/>
                                                        <a:pt x="470279" y="117573"/>
                                                        <a:pt x="478377" y="117314"/>
                                                      </a:cubicBezTo>
                                                      <a:cubicBezTo>
                                                        <a:pt x="484532" y="117120"/>
                                                        <a:pt x="492047" y="116148"/>
                                                        <a:pt x="494509" y="110447"/>
                                                      </a:cubicBezTo>
                                                      <a:cubicBezTo>
                                                        <a:pt x="495351" y="108568"/>
                                                        <a:pt x="495480" y="106430"/>
                                                        <a:pt x="496387" y="104551"/>
                                                      </a:cubicBezTo>
                                                      <a:cubicBezTo>
                                                        <a:pt x="497813" y="101701"/>
                                                        <a:pt x="500858" y="100146"/>
                                                        <a:pt x="503320" y="98202"/>
                                                      </a:cubicBezTo>
                                                      <a:cubicBezTo>
                                                        <a:pt x="508049" y="94510"/>
                                                        <a:pt x="511094" y="88744"/>
                                                        <a:pt x="511677" y="82783"/>
                                                      </a:cubicBezTo>
                                                      <a:cubicBezTo>
                                                        <a:pt x="512001" y="79479"/>
                                                        <a:pt x="511547" y="76046"/>
                                                        <a:pt x="512260" y="72806"/>
                                                      </a:cubicBezTo>
                                                      <a:cubicBezTo>
                                                        <a:pt x="513556" y="67041"/>
                                                        <a:pt x="518350" y="62570"/>
                                                        <a:pt x="523727" y="60173"/>
                                                      </a:cubicBezTo>
                                                      <a:cubicBezTo>
                                                        <a:pt x="529104" y="57776"/>
                                                        <a:pt x="535130" y="57064"/>
                                                        <a:pt x="540960" y="56416"/>
                                                      </a:cubicBezTo>
                                                      <a:cubicBezTo>
                                                        <a:pt x="555667" y="54796"/>
                                                        <a:pt x="572446" y="53760"/>
                                                        <a:pt x="583330" y="63866"/>
                                                      </a:cubicBezTo>
                                                      <a:cubicBezTo>
                                                        <a:pt x="589031" y="69114"/>
                                                        <a:pt x="593372" y="79674"/>
                                                        <a:pt x="593112" y="87707"/>
                                                      </a:cubicBezTo>
                                                      <a:cubicBezTo>
                                                        <a:pt x="597065" y="87902"/>
                                                        <a:pt x="601017" y="88290"/>
                                                        <a:pt x="604904" y="88679"/>
                                                      </a:cubicBezTo>
                                                      <a:cubicBezTo>
                                                        <a:pt x="608078" y="82265"/>
                                                        <a:pt x="612224" y="76305"/>
                                                        <a:pt x="617148" y="71122"/>
                                                      </a:cubicBezTo>
                                                      <a:close/>
                                                    </a:path>
                                                  </a:pathLst>
                                                </a:custGeom>
                                                <a:solidFill>
                                                  <a:schemeClr val="accent4"/>
                                                </a:solidFill>
                                                <a:ln w="6472" cap="flat">
                                                  <a:solidFill>
                                                    <a:srgbClr val="FFFFFF"/>
                                                  </a:solidFill>
                                                  <a:prstDash val="solid"/>
                                                  <a:miter/>
                                                </a:ln>
                                              </p:spPr>
                                              <p:txBody>
                                                <a:bodyPr rtlCol="0" anchor="ctr"/>
                                                <a:lstStyle/>
                                                <a:p>
                                                  <a:endParaRPr lang="da-DK"/>
                                                </a:p>
                                              </p:txBody>
                                            </p:sp>
                                          </p:grpSp>
                                        </p:grpSp>
                                        <p:sp>
                                          <p:nvSpPr>
                                            <p:cNvPr id="2059" name="Freeform: Shape 205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0633DF8-52B7-4FF6-965B-B467DD338B1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309833" y="2692875"/>
                                              <a:ext cx="29230" cy="4867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8295 w 29230"/>
                                                <a:gd name="connsiteY0" fmla="*/ 15764 h 48675"/>
                                                <a:gd name="connsiteX1" fmla="*/ 24343 w 29230"/>
                                                <a:gd name="connsiteY1" fmla="*/ 280 h 48675"/>
                                                <a:gd name="connsiteX2" fmla="*/ 23760 w 29230"/>
                                                <a:gd name="connsiteY2" fmla="*/ 151 h 48675"/>
                                                <a:gd name="connsiteX3" fmla="*/ 17735 w 29230"/>
                                                <a:gd name="connsiteY3" fmla="*/ 1058 h 48675"/>
                                                <a:gd name="connsiteX4" fmla="*/ 13913 w 29230"/>
                                                <a:gd name="connsiteY4" fmla="*/ 2094 h 48675"/>
                                                <a:gd name="connsiteX5" fmla="*/ 13589 w 29230"/>
                                                <a:gd name="connsiteY5" fmla="*/ 2094 h 48675"/>
                                                <a:gd name="connsiteX6" fmla="*/ 11386 w 29230"/>
                                                <a:gd name="connsiteY6" fmla="*/ 1835 h 48675"/>
                                                <a:gd name="connsiteX7" fmla="*/ 6786 w 29230"/>
                                                <a:gd name="connsiteY7" fmla="*/ 1965 h 48675"/>
                                                <a:gd name="connsiteX8" fmla="*/ 1733 w 29230"/>
                                                <a:gd name="connsiteY8" fmla="*/ 10711 h 48675"/>
                                                <a:gd name="connsiteX9" fmla="*/ 3353 w 29230"/>
                                                <a:gd name="connsiteY9" fmla="*/ 24964 h 48675"/>
                                                <a:gd name="connsiteX10" fmla="*/ 5167 w 29230"/>
                                                <a:gd name="connsiteY10" fmla="*/ 26648 h 48675"/>
                                                <a:gd name="connsiteX11" fmla="*/ 7564 w 29230"/>
                                                <a:gd name="connsiteY11" fmla="*/ 26778 h 48675"/>
                                                <a:gd name="connsiteX12" fmla="*/ 8600 w 29230"/>
                                                <a:gd name="connsiteY12" fmla="*/ 26713 h 48675"/>
                                                <a:gd name="connsiteX13" fmla="*/ 10738 w 29230"/>
                                                <a:gd name="connsiteY13" fmla="*/ 28656 h 48675"/>
                                                <a:gd name="connsiteX14" fmla="*/ 11062 w 29230"/>
                                                <a:gd name="connsiteY14" fmla="*/ 32414 h 48675"/>
                                                <a:gd name="connsiteX15" fmla="*/ 10155 w 29230"/>
                                                <a:gd name="connsiteY15" fmla="*/ 35977 h 48675"/>
                                                <a:gd name="connsiteX16" fmla="*/ 7110 w 29230"/>
                                                <a:gd name="connsiteY16" fmla="*/ 36884 h 48675"/>
                                                <a:gd name="connsiteX17" fmla="*/ 5555 w 29230"/>
                                                <a:gd name="connsiteY17" fmla="*/ 36819 h 48675"/>
                                                <a:gd name="connsiteX18" fmla="*/ 3158 w 29230"/>
                                                <a:gd name="connsiteY18" fmla="*/ 36819 h 48675"/>
                                                <a:gd name="connsiteX19" fmla="*/ 437 w 29230"/>
                                                <a:gd name="connsiteY19" fmla="*/ 38180 h 48675"/>
                                                <a:gd name="connsiteX20" fmla="*/ 49 w 29230"/>
                                                <a:gd name="connsiteY20" fmla="*/ 39929 h 48675"/>
                                                <a:gd name="connsiteX21" fmla="*/ 437 w 29230"/>
                                                <a:gd name="connsiteY21" fmla="*/ 47833 h 48675"/>
                                                <a:gd name="connsiteX22" fmla="*/ 567 w 29230"/>
                                                <a:gd name="connsiteY22" fmla="*/ 48675 h 48675"/>
                                                <a:gd name="connsiteX23" fmla="*/ 9248 w 29230"/>
                                                <a:gd name="connsiteY23" fmla="*/ 48675 h 48675"/>
                                                <a:gd name="connsiteX24" fmla="*/ 20456 w 29230"/>
                                                <a:gd name="connsiteY24" fmla="*/ 46084 h 48675"/>
                                                <a:gd name="connsiteX25" fmla="*/ 25898 w 29230"/>
                                                <a:gd name="connsiteY25" fmla="*/ 35977 h 48675"/>
                                                <a:gd name="connsiteX26" fmla="*/ 27842 w 29230"/>
                                                <a:gd name="connsiteY26" fmla="*/ 28786 h 48675"/>
                                                <a:gd name="connsiteX27" fmla="*/ 29202 w 29230"/>
                                                <a:gd name="connsiteY27" fmla="*/ 20429 h 48675"/>
                                                <a:gd name="connsiteX28" fmla="*/ 28295 w 29230"/>
                                                <a:gd name="connsiteY28" fmla="*/ 15764 h 48675"/>
                                                <a:gd name="connsiteX29" fmla="*/ 9248 w 29230"/>
                                                <a:gd name="connsiteY29" fmla="*/ 46732 h 48675"/>
                                                <a:gd name="connsiteX30" fmla="*/ 2251 w 29230"/>
                                                <a:gd name="connsiteY30" fmla="*/ 46732 h 48675"/>
                                                <a:gd name="connsiteX31" fmla="*/ 1992 w 29230"/>
                                                <a:gd name="connsiteY31" fmla="*/ 39994 h 48675"/>
                                                <a:gd name="connsiteX32" fmla="*/ 1992 w 29230"/>
                                                <a:gd name="connsiteY32" fmla="*/ 39152 h 48675"/>
                                                <a:gd name="connsiteX33" fmla="*/ 3223 w 29230"/>
                                                <a:gd name="connsiteY33" fmla="*/ 38763 h 48675"/>
                                                <a:gd name="connsiteX34" fmla="*/ 5361 w 29230"/>
                                                <a:gd name="connsiteY34" fmla="*/ 38763 h 48675"/>
                                                <a:gd name="connsiteX35" fmla="*/ 7045 w 29230"/>
                                                <a:gd name="connsiteY35" fmla="*/ 38828 h 48675"/>
                                                <a:gd name="connsiteX36" fmla="*/ 11515 w 29230"/>
                                                <a:gd name="connsiteY36" fmla="*/ 37273 h 48675"/>
                                                <a:gd name="connsiteX37" fmla="*/ 12941 w 29230"/>
                                                <a:gd name="connsiteY37" fmla="*/ 32479 h 48675"/>
                                                <a:gd name="connsiteX38" fmla="*/ 12487 w 29230"/>
                                                <a:gd name="connsiteY38" fmla="*/ 28009 h 48675"/>
                                                <a:gd name="connsiteX39" fmla="*/ 8795 w 29230"/>
                                                <a:gd name="connsiteY39" fmla="*/ 24769 h 48675"/>
                                                <a:gd name="connsiteX40" fmla="*/ 7240 w 29230"/>
                                                <a:gd name="connsiteY40" fmla="*/ 24769 h 48675"/>
                                                <a:gd name="connsiteX41" fmla="*/ 5815 w 29230"/>
                                                <a:gd name="connsiteY41" fmla="*/ 24769 h 48675"/>
                                                <a:gd name="connsiteX42" fmla="*/ 4972 w 29230"/>
                                                <a:gd name="connsiteY42" fmla="*/ 23862 h 48675"/>
                                                <a:gd name="connsiteX43" fmla="*/ 3612 w 29230"/>
                                                <a:gd name="connsiteY43" fmla="*/ 10905 h 48675"/>
                                                <a:gd name="connsiteX44" fmla="*/ 7369 w 29230"/>
                                                <a:gd name="connsiteY44" fmla="*/ 3714 h 48675"/>
                                                <a:gd name="connsiteX45" fmla="*/ 10997 w 29230"/>
                                                <a:gd name="connsiteY45" fmla="*/ 3714 h 48675"/>
                                                <a:gd name="connsiteX46" fmla="*/ 13524 w 29230"/>
                                                <a:gd name="connsiteY46" fmla="*/ 3973 h 48675"/>
                                                <a:gd name="connsiteX47" fmla="*/ 13977 w 29230"/>
                                                <a:gd name="connsiteY47" fmla="*/ 3973 h 48675"/>
                                                <a:gd name="connsiteX48" fmla="*/ 18318 w 29230"/>
                                                <a:gd name="connsiteY48" fmla="*/ 2807 h 48675"/>
                                                <a:gd name="connsiteX49" fmla="*/ 22724 w 29230"/>
                                                <a:gd name="connsiteY49" fmla="*/ 1835 h 48675"/>
                                                <a:gd name="connsiteX50" fmla="*/ 26352 w 29230"/>
                                                <a:gd name="connsiteY50" fmla="*/ 16218 h 48675"/>
                                                <a:gd name="connsiteX51" fmla="*/ 27194 w 29230"/>
                                                <a:gd name="connsiteY51" fmla="*/ 20493 h 48675"/>
                                                <a:gd name="connsiteX52" fmla="*/ 25898 w 29230"/>
                                                <a:gd name="connsiteY52" fmla="*/ 28203 h 48675"/>
                                                <a:gd name="connsiteX53" fmla="*/ 23955 w 29230"/>
                                                <a:gd name="connsiteY53" fmla="*/ 35394 h 48675"/>
                                                <a:gd name="connsiteX54" fmla="*/ 19225 w 29230"/>
                                                <a:gd name="connsiteY54" fmla="*/ 44464 h 48675"/>
                                                <a:gd name="connsiteX55" fmla="*/ 9183 w 29230"/>
                                                <a:gd name="connsiteY55" fmla="*/ 46667 h 4867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9230" h="48675">
                                                  <a:moveTo>
                                                    <a:pt x="28295" y="15764"/>
                                                  </a:moveTo>
                                                  <a:lnTo>
                                                    <a:pt x="24343" y="280"/>
                                                  </a:lnTo>
                                                  <a:lnTo>
                                                    <a:pt x="23760" y="151"/>
                                                  </a:lnTo>
                                                  <a:cubicBezTo>
                                                    <a:pt x="21817" y="-303"/>
                                                    <a:pt x="19679" y="345"/>
                                                    <a:pt x="17735" y="1058"/>
                                                  </a:cubicBezTo>
                                                  <a:cubicBezTo>
                                                    <a:pt x="16439" y="1576"/>
                                                    <a:pt x="15208" y="2030"/>
                                                    <a:pt x="13913" y="2094"/>
                                                  </a:cubicBezTo>
                                                  <a:lnTo>
                                                    <a:pt x="13589" y="2094"/>
                                                  </a:lnTo>
                                                  <a:cubicBezTo>
                                                    <a:pt x="12876" y="2094"/>
                                                    <a:pt x="12164" y="1965"/>
                                                    <a:pt x="11386" y="1835"/>
                                                  </a:cubicBezTo>
                                                  <a:cubicBezTo>
                                                    <a:pt x="9831" y="1641"/>
                                                    <a:pt x="8082" y="1511"/>
                                                    <a:pt x="6786" y="1965"/>
                                                  </a:cubicBezTo>
                                                  <a:cubicBezTo>
                                                    <a:pt x="3158" y="3196"/>
                                                    <a:pt x="2186" y="7536"/>
                                                    <a:pt x="1733" y="10711"/>
                                                  </a:cubicBezTo>
                                                  <a:cubicBezTo>
                                                    <a:pt x="1085" y="15634"/>
                                                    <a:pt x="696" y="20817"/>
                                                    <a:pt x="3353" y="24964"/>
                                                  </a:cubicBezTo>
                                                  <a:cubicBezTo>
                                                    <a:pt x="3741" y="25547"/>
                                                    <a:pt x="4259" y="26259"/>
                                                    <a:pt x="5167" y="26648"/>
                                                  </a:cubicBezTo>
                                                  <a:cubicBezTo>
                                                    <a:pt x="5815" y="26907"/>
                                                    <a:pt x="6657" y="26907"/>
                                                    <a:pt x="7564" y="26778"/>
                                                  </a:cubicBezTo>
                                                  <a:cubicBezTo>
                                                    <a:pt x="7823" y="26778"/>
                                                    <a:pt x="8082" y="26713"/>
                                                    <a:pt x="8600" y="26713"/>
                                                  </a:cubicBezTo>
                                                  <a:cubicBezTo>
                                                    <a:pt x="9637" y="26842"/>
                                                    <a:pt x="10414" y="27749"/>
                                                    <a:pt x="10738" y="28656"/>
                                                  </a:cubicBezTo>
                                                  <a:cubicBezTo>
                                                    <a:pt x="11127" y="29823"/>
                                                    <a:pt x="11062" y="31183"/>
                                                    <a:pt x="11062" y="32414"/>
                                                  </a:cubicBezTo>
                                                  <a:cubicBezTo>
                                                    <a:pt x="11062" y="33839"/>
                                                    <a:pt x="10868" y="35135"/>
                                                    <a:pt x="10155" y="35977"/>
                                                  </a:cubicBezTo>
                                                  <a:cubicBezTo>
                                                    <a:pt x="9572" y="36625"/>
                                                    <a:pt x="8665" y="36884"/>
                                                    <a:pt x="7110" y="36884"/>
                                                  </a:cubicBezTo>
                                                  <a:cubicBezTo>
                                                    <a:pt x="6592" y="36884"/>
                                                    <a:pt x="6074" y="36884"/>
                                                    <a:pt x="5555" y="36819"/>
                                                  </a:cubicBezTo>
                                                  <a:cubicBezTo>
                                                    <a:pt x="4713" y="36819"/>
                                                    <a:pt x="3936" y="36755"/>
                                                    <a:pt x="3158" y="36819"/>
                                                  </a:cubicBezTo>
                                                  <a:cubicBezTo>
                                                    <a:pt x="1539" y="36884"/>
                                                    <a:pt x="761" y="37597"/>
                                                    <a:pt x="437" y="38180"/>
                                                  </a:cubicBezTo>
                                                  <a:cubicBezTo>
                                                    <a:pt x="49" y="38763"/>
                                                    <a:pt x="49" y="39411"/>
                                                    <a:pt x="49" y="39929"/>
                                                  </a:cubicBezTo>
                                                  <a:cubicBezTo>
                                                    <a:pt x="-81" y="42521"/>
                                                    <a:pt x="49" y="45177"/>
                                                    <a:pt x="437" y="47833"/>
                                                  </a:cubicBezTo>
                                                  <a:lnTo>
                                                    <a:pt x="567" y="48675"/>
                                                  </a:lnTo>
                                                  <a:lnTo>
                                                    <a:pt x="9248" y="48675"/>
                                                  </a:lnTo>
                                                  <a:cubicBezTo>
                                                    <a:pt x="13200" y="48675"/>
                                                    <a:pt x="17346" y="48481"/>
                                                    <a:pt x="20456" y="46084"/>
                                                  </a:cubicBezTo>
                                                  <a:cubicBezTo>
                                                    <a:pt x="23760" y="43492"/>
                                                    <a:pt x="24991" y="39152"/>
                                                    <a:pt x="25898" y="35977"/>
                                                  </a:cubicBezTo>
                                                  <a:lnTo>
                                                    <a:pt x="27842" y="28786"/>
                                                  </a:lnTo>
                                                  <a:cubicBezTo>
                                                    <a:pt x="28554" y="26259"/>
                                                    <a:pt x="29396" y="23344"/>
                                                    <a:pt x="29202" y="20429"/>
                                                  </a:cubicBezTo>
                                                  <a:cubicBezTo>
                                                    <a:pt x="29073" y="18744"/>
                                                    <a:pt x="28684" y="17189"/>
                                                    <a:pt x="28295" y="15764"/>
                                                  </a:cubicBezTo>
                                                  <a:close/>
                                                  <a:moveTo>
                                                    <a:pt x="9248" y="46732"/>
                                                  </a:moveTo>
                                                  <a:lnTo>
                                                    <a:pt x="2251" y="46732"/>
                                                  </a:lnTo>
                                                  <a:cubicBezTo>
                                                    <a:pt x="1992" y="44464"/>
                                                    <a:pt x="1927" y="42197"/>
                                                    <a:pt x="1992" y="39994"/>
                                                  </a:cubicBezTo>
                                                  <a:cubicBezTo>
                                                    <a:pt x="1992" y="39670"/>
                                                    <a:pt x="1992" y="39346"/>
                                                    <a:pt x="1992" y="39152"/>
                                                  </a:cubicBezTo>
                                                  <a:cubicBezTo>
                                                    <a:pt x="2186" y="38893"/>
                                                    <a:pt x="2575" y="38763"/>
                                                    <a:pt x="3223" y="38763"/>
                                                  </a:cubicBezTo>
                                                  <a:cubicBezTo>
                                                    <a:pt x="3871" y="38698"/>
                                                    <a:pt x="4648" y="38763"/>
                                                    <a:pt x="5361" y="38763"/>
                                                  </a:cubicBezTo>
                                                  <a:cubicBezTo>
                                                    <a:pt x="5944" y="38828"/>
                                                    <a:pt x="6527" y="38828"/>
                                                    <a:pt x="7045" y="38828"/>
                                                  </a:cubicBezTo>
                                                  <a:cubicBezTo>
                                                    <a:pt x="8471" y="38828"/>
                                                    <a:pt x="10285" y="38698"/>
                                                    <a:pt x="11515" y="37273"/>
                                                  </a:cubicBezTo>
                                                  <a:cubicBezTo>
                                                    <a:pt x="12811" y="35848"/>
                                                    <a:pt x="12876" y="33839"/>
                                                    <a:pt x="12941" y="32479"/>
                                                  </a:cubicBezTo>
                                                  <a:cubicBezTo>
                                                    <a:pt x="12941" y="31183"/>
                                                    <a:pt x="12941" y="29563"/>
                                                    <a:pt x="12487" y="28009"/>
                                                  </a:cubicBezTo>
                                                  <a:cubicBezTo>
                                                    <a:pt x="11840" y="26259"/>
                                                    <a:pt x="10414" y="24964"/>
                                                    <a:pt x="8795" y="24769"/>
                                                  </a:cubicBezTo>
                                                  <a:cubicBezTo>
                                                    <a:pt x="8276" y="24705"/>
                                                    <a:pt x="7758" y="24769"/>
                                                    <a:pt x="7240" y="24769"/>
                                                  </a:cubicBezTo>
                                                  <a:cubicBezTo>
                                                    <a:pt x="6721" y="24834"/>
                                                    <a:pt x="6139" y="24899"/>
                                                    <a:pt x="5815" y="24769"/>
                                                  </a:cubicBezTo>
                                                  <a:cubicBezTo>
                                                    <a:pt x="5490" y="24640"/>
                                                    <a:pt x="5167" y="24186"/>
                                                    <a:pt x="4972" y="23862"/>
                                                  </a:cubicBezTo>
                                                  <a:cubicBezTo>
                                                    <a:pt x="2640" y="20234"/>
                                                    <a:pt x="3029" y="15440"/>
                                                    <a:pt x="3612" y="10905"/>
                                                  </a:cubicBezTo>
                                                  <a:cubicBezTo>
                                                    <a:pt x="4000" y="8249"/>
                                                    <a:pt x="4713" y="4621"/>
                                                    <a:pt x="7369" y="3714"/>
                                                  </a:cubicBezTo>
                                                  <a:cubicBezTo>
                                                    <a:pt x="8341" y="3390"/>
                                                    <a:pt x="9637" y="3520"/>
                                                    <a:pt x="10997" y="3714"/>
                                                  </a:cubicBezTo>
                                                  <a:cubicBezTo>
                                                    <a:pt x="11840" y="3844"/>
                                                    <a:pt x="12682" y="3973"/>
                                                    <a:pt x="13524" y="3973"/>
                                                  </a:cubicBezTo>
                                                  <a:lnTo>
                                                    <a:pt x="13977" y="3973"/>
                                                  </a:lnTo>
                                                  <a:cubicBezTo>
                                                    <a:pt x="15533" y="3844"/>
                                                    <a:pt x="16958" y="3325"/>
                                                    <a:pt x="18318" y="2807"/>
                                                  </a:cubicBezTo>
                                                  <a:cubicBezTo>
                                                    <a:pt x="19873" y="2289"/>
                                                    <a:pt x="21298" y="1706"/>
                                                    <a:pt x="22724" y="1835"/>
                                                  </a:cubicBezTo>
                                                  <a:lnTo>
                                                    <a:pt x="26352" y="16218"/>
                                                  </a:lnTo>
                                                  <a:cubicBezTo>
                                                    <a:pt x="26675" y="17513"/>
                                                    <a:pt x="27064" y="19003"/>
                                                    <a:pt x="27194" y="20493"/>
                                                  </a:cubicBezTo>
                                                  <a:cubicBezTo>
                                                    <a:pt x="27323" y="23085"/>
                                                    <a:pt x="26611" y="25676"/>
                                                    <a:pt x="25898" y="28203"/>
                                                  </a:cubicBezTo>
                                                  <a:lnTo>
                                                    <a:pt x="23955" y="35394"/>
                                                  </a:lnTo>
                                                  <a:cubicBezTo>
                                                    <a:pt x="22853" y="39152"/>
                                                    <a:pt x="21817" y="42456"/>
                                                    <a:pt x="19225" y="44464"/>
                                                  </a:cubicBezTo>
                                                  <a:cubicBezTo>
                                                    <a:pt x="16569" y="46537"/>
                                                    <a:pt x="12941" y="46667"/>
                                                    <a:pt x="9183" y="4666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0" name="Freeform: Shape 205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07E324E-8E49-4315-9C5A-903D5856BE1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236860" y="2626556"/>
                                              <a:ext cx="60482" cy="11098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1730 w 60482"/>
                                                <a:gd name="connsiteY0" fmla="*/ 110200 h 110984"/>
                                                <a:gd name="connsiteX1" fmla="*/ 33114 w 60482"/>
                                                <a:gd name="connsiteY1" fmla="*/ 104629 h 110984"/>
                                                <a:gd name="connsiteX2" fmla="*/ 33373 w 60482"/>
                                                <a:gd name="connsiteY2" fmla="*/ 88109 h 110984"/>
                                                <a:gd name="connsiteX3" fmla="*/ 48857 w 60482"/>
                                                <a:gd name="connsiteY3" fmla="*/ 93356 h 110984"/>
                                                <a:gd name="connsiteX4" fmla="*/ 55011 w 60482"/>
                                                <a:gd name="connsiteY4" fmla="*/ 94393 h 110984"/>
                                                <a:gd name="connsiteX5" fmla="*/ 57214 w 60482"/>
                                                <a:gd name="connsiteY5" fmla="*/ 78844 h 110984"/>
                                                <a:gd name="connsiteX6" fmla="*/ 38426 w 60482"/>
                                                <a:gd name="connsiteY6" fmla="*/ 74892 h 110984"/>
                                                <a:gd name="connsiteX7" fmla="*/ 53262 w 60482"/>
                                                <a:gd name="connsiteY7" fmla="*/ 54938 h 110984"/>
                                                <a:gd name="connsiteX8" fmla="*/ 59935 w 60482"/>
                                                <a:gd name="connsiteY8" fmla="*/ 49691 h 110984"/>
                                                <a:gd name="connsiteX9" fmla="*/ 49375 w 60482"/>
                                                <a:gd name="connsiteY9" fmla="*/ 36410 h 110984"/>
                                                <a:gd name="connsiteX10" fmla="*/ 50152 w 60482"/>
                                                <a:gd name="connsiteY10" fmla="*/ 19371 h 110984"/>
                                                <a:gd name="connsiteX11" fmla="*/ 56113 w 60482"/>
                                                <a:gd name="connsiteY11" fmla="*/ 2591 h 110984"/>
                                                <a:gd name="connsiteX12" fmla="*/ 40370 w 60482"/>
                                                <a:gd name="connsiteY12" fmla="*/ 0 h 110984"/>
                                                <a:gd name="connsiteX13" fmla="*/ 33697 w 60482"/>
                                                <a:gd name="connsiteY13" fmla="*/ 15354 h 110984"/>
                                                <a:gd name="connsiteX14" fmla="*/ 28773 w 60482"/>
                                                <a:gd name="connsiteY14" fmla="*/ 18593 h 110984"/>
                                                <a:gd name="connsiteX15" fmla="*/ 23267 w 60482"/>
                                                <a:gd name="connsiteY15" fmla="*/ 29866 h 110984"/>
                                                <a:gd name="connsiteX16" fmla="*/ 13224 w 60482"/>
                                                <a:gd name="connsiteY16" fmla="*/ 31939 h 110984"/>
                                                <a:gd name="connsiteX17" fmla="*/ 8819 w 60482"/>
                                                <a:gd name="connsiteY17" fmla="*/ 25396 h 110984"/>
                                                <a:gd name="connsiteX18" fmla="*/ 267 w 60482"/>
                                                <a:gd name="connsiteY18" fmla="*/ 25266 h 110984"/>
                                                <a:gd name="connsiteX19" fmla="*/ 3571 w 60482"/>
                                                <a:gd name="connsiteY19" fmla="*/ 55586 h 110984"/>
                                                <a:gd name="connsiteX20" fmla="*/ 5386 w 60482"/>
                                                <a:gd name="connsiteY20" fmla="*/ 78779 h 110984"/>
                                                <a:gd name="connsiteX21" fmla="*/ 7005 w 60482"/>
                                                <a:gd name="connsiteY21" fmla="*/ 82926 h 110984"/>
                                                <a:gd name="connsiteX22" fmla="*/ 4090 w 60482"/>
                                                <a:gd name="connsiteY22" fmla="*/ 94458 h 110984"/>
                                                <a:gd name="connsiteX23" fmla="*/ 7264 w 60482"/>
                                                <a:gd name="connsiteY23" fmla="*/ 104694 h 110984"/>
                                                <a:gd name="connsiteX24" fmla="*/ 12512 w 60482"/>
                                                <a:gd name="connsiteY24" fmla="*/ 104499 h 110984"/>
                                                <a:gd name="connsiteX25" fmla="*/ 17889 w 60482"/>
                                                <a:gd name="connsiteY25" fmla="*/ 106249 h 110984"/>
                                                <a:gd name="connsiteX26" fmla="*/ 18861 w 60482"/>
                                                <a:gd name="connsiteY26" fmla="*/ 107544 h 110984"/>
                                                <a:gd name="connsiteX27" fmla="*/ 18408 w 60482"/>
                                                <a:gd name="connsiteY27" fmla="*/ 109099 h 110984"/>
                                                <a:gd name="connsiteX28" fmla="*/ 41795 w 60482"/>
                                                <a:gd name="connsiteY28" fmla="*/ 110136 h 11098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0482" h="110984">
                                                  <a:moveTo>
                                                    <a:pt x="41730" y="110200"/>
                                                  </a:moveTo>
                                                  <a:cubicBezTo>
                                                    <a:pt x="40111" y="107026"/>
                                                    <a:pt x="36742" y="104629"/>
                                                    <a:pt x="33114" y="104629"/>
                                                  </a:cubicBezTo>
                                                  <a:cubicBezTo>
                                                    <a:pt x="33179" y="99122"/>
                                                    <a:pt x="33308" y="93615"/>
                                                    <a:pt x="33373" y="88109"/>
                                                  </a:cubicBezTo>
                                                  <a:cubicBezTo>
                                                    <a:pt x="38556" y="89858"/>
                                                    <a:pt x="43674" y="91607"/>
                                                    <a:pt x="48857" y="93356"/>
                                                  </a:cubicBezTo>
                                                  <a:cubicBezTo>
                                                    <a:pt x="50865" y="94004"/>
                                                    <a:pt x="52938" y="94717"/>
                                                    <a:pt x="55011" y="94393"/>
                                                  </a:cubicBezTo>
                                                  <a:cubicBezTo>
                                                    <a:pt x="61490" y="93356"/>
                                                    <a:pt x="62202" y="83185"/>
                                                    <a:pt x="57214" y="78844"/>
                                                  </a:cubicBezTo>
                                                  <a:cubicBezTo>
                                                    <a:pt x="52290" y="74568"/>
                                                    <a:pt x="45034" y="74568"/>
                                                    <a:pt x="38426" y="74892"/>
                                                  </a:cubicBezTo>
                                                  <a:cubicBezTo>
                                                    <a:pt x="39852" y="66405"/>
                                                    <a:pt x="45553" y="58761"/>
                                                    <a:pt x="53262" y="54938"/>
                                                  </a:cubicBezTo>
                                                  <a:cubicBezTo>
                                                    <a:pt x="55854" y="53643"/>
                                                    <a:pt x="59028" y="52412"/>
                                                    <a:pt x="59935" y="49691"/>
                                                  </a:cubicBezTo>
                                                  <a:cubicBezTo>
                                                    <a:pt x="61814" y="43990"/>
                                                    <a:pt x="53068" y="41139"/>
                                                    <a:pt x="49375" y="36410"/>
                                                  </a:cubicBezTo>
                                                  <a:cubicBezTo>
                                                    <a:pt x="45682" y="31680"/>
                                                    <a:pt x="47431" y="24683"/>
                                                    <a:pt x="50152" y="19371"/>
                                                  </a:cubicBezTo>
                                                  <a:cubicBezTo>
                                                    <a:pt x="52874" y="13994"/>
                                                    <a:pt x="56502" y="8617"/>
                                                    <a:pt x="56113" y="2591"/>
                                                  </a:cubicBezTo>
                                                  <a:cubicBezTo>
                                                    <a:pt x="50865" y="1749"/>
                                                    <a:pt x="45617" y="842"/>
                                                    <a:pt x="40370" y="0"/>
                                                  </a:cubicBezTo>
                                                  <a:cubicBezTo>
                                                    <a:pt x="39463" y="5636"/>
                                                    <a:pt x="38297" y="11921"/>
                                                    <a:pt x="33697" y="15354"/>
                                                  </a:cubicBezTo>
                                                  <a:cubicBezTo>
                                                    <a:pt x="32077" y="16520"/>
                                                    <a:pt x="30199" y="17298"/>
                                                    <a:pt x="28773" y="18593"/>
                                                  </a:cubicBezTo>
                                                  <a:cubicBezTo>
                                                    <a:pt x="25664" y="21444"/>
                                                    <a:pt x="25275" y="26173"/>
                                                    <a:pt x="23267" y="29866"/>
                                                  </a:cubicBezTo>
                                                  <a:cubicBezTo>
                                                    <a:pt x="21258" y="33559"/>
                                                    <a:pt x="15103" y="35697"/>
                                                    <a:pt x="13224" y="31939"/>
                                                  </a:cubicBezTo>
                                                  <a:cubicBezTo>
                                                    <a:pt x="13873" y="29089"/>
                                                    <a:pt x="11540" y="26303"/>
                                                    <a:pt x="8819" y="25396"/>
                                                  </a:cubicBezTo>
                                                  <a:cubicBezTo>
                                                    <a:pt x="6098" y="24424"/>
                                                    <a:pt x="3118" y="24878"/>
                                                    <a:pt x="267" y="25266"/>
                                                  </a:cubicBezTo>
                                                  <a:cubicBezTo>
                                                    <a:pt x="-380" y="34984"/>
                                                    <a:pt x="-57" y="46581"/>
                                                    <a:pt x="3571" y="55586"/>
                                                  </a:cubicBezTo>
                                                  <a:cubicBezTo>
                                                    <a:pt x="1369" y="63231"/>
                                                    <a:pt x="2017" y="71588"/>
                                                    <a:pt x="5386" y="78779"/>
                                                  </a:cubicBezTo>
                                                  <a:cubicBezTo>
                                                    <a:pt x="6033" y="80140"/>
                                                    <a:pt x="6746" y="81436"/>
                                                    <a:pt x="7005" y="82926"/>
                                                  </a:cubicBezTo>
                                                  <a:cubicBezTo>
                                                    <a:pt x="7848" y="86878"/>
                                                    <a:pt x="5450" y="90635"/>
                                                    <a:pt x="4090" y="94458"/>
                                                  </a:cubicBezTo>
                                                  <a:cubicBezTo>
                                                    <a:pt x="2729" y="98280"/>
                                                    <a:pt x="3377" y="103657"/>
                                                    <a:pt x="7264" y="104694"/>
                                                  </a:cubicBezTo>
                                                  <a:cubicBezTo>
                                                    <a:pt x="8949" y="105147"/>
                                                    <a:pt x="10763" y="104564"/>
                                                    <a:pt x="12512" y="104499"/>
                                                  </a:cubicBezTo>
                                                  <a:cubicBezTo>
                                                    <a:pt x="14455" y="104499"/>
                                                    <a:pt x="16334" y="105082"/>
                                                    <a:pt x="17889" y="106249"/>
                                                  </a:cubicBezTo>
                                                  <a:cubicBezTo>
                                                    <a:pt x="18343" y="106572"/>
                                                    <a:pt x="18731" y="106961"/>
                                                    <a:pt x="18861" y="107544"/>
                                                  </a:cubicBezTo>
                                                  <a:cubicBezTo>
                                                    <a:pt x="18990" y="108127"/>
                                                    <a:pt x="18731" y="108646"/>
                                                    <a:pt x="18408" y="109099"/>
                                                  </a:cubicBezTo>
                                                  <a:cubicBezTo>
                                                    <a:pt x="26376" y="109617"/>
                                                    <a:pt x="34539" y="112338"/>
                                                    <a:pt x="41795" y="11013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1" name="Freeform: Shape 206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AC4F01D-4BFA-42DF-A835-D2781092BA0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183617" y="2735590"/>
                                              <a:ext cx="215668" cy="25452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235 w 215668"/>
                                                <a:gd name="connsiteY0" fmla="*/ 60056 h 254520"/>
                                                <a:gd name="connsiteX1" fmla="*/ 26429 w 215668"/>
                                                <a:gd name="connsiteY1" fmla="*/ 73921 h 254520"/>
                                                <a:gd name="connsiteX2" fmla="*/ 18979 w 215668"/>
                                                <a:gd name="connsiteY2" fmla="*/ 84740 h 254520"/>
                                                <a:gd name="connsiteX3" fmla="*/ 23838 w 215668"/>
                                                <a:gd name="connsiteY3" fmla="*/ 94004 h 254520"/>
                                                <a:gd name="connsiteX4" fmla="*/ 16517 w 215668"/>
                                                <a:gd name="connsiteY4" fmla="*/ 102167 h 254520"/>
                                                <a:gd name="connsiteX5" fmla="*/ 8225 w 215668"/>
                                                <a:gd name="connsiteY5" fmla="*/ 109682 h 254520"/>
                                                <a:gd name="connsiteX6" fmla="*/ 8289 w 215668"/>
                                                <a:gd name="connsiteY6" fmla="*/ 112727 h 254520"/>
                                                <a:gd name="connsiteX7" fmla="*/ 5115 w 215668"/>
                                                <a:gd name="connsiteY7" fmla="*/ 119724 h 254520"/>
                                                <a:gd name="connsiteX8" fmla="*/ 3560 w 215668"/>
                                                <a:gd name="connsiteY8" fmla="*/ 153089 h 254520"/>
                                                <a:gd name="connsiteX9" fmla="*/ 7382 w 215668"/>
                                                <a:gd name="connsiteY9" fmla="*/ 160798 h 254520"/>
                                                <a:gd name="connsiteX10" fmla="*/ 6151 w 215668"/>
                                                <a:gd name="connsiteY10" fmla="*/ 198244 h 254520"/>
                                                <a:gd name="connsiteX11" fmla="*/ 35046 w 215668"/>
                                                <a:gd name="connsiteY11" fmla="*/ 204205 h 254520"/>
                                                <a:gd name="connsiteX12" fmla="*/ 40553 w 215668"/>
                                                <a:gd name="connsiteY12" fmla="*/ 207314 h 254520"/>
                                                <a:gd name="connsiteX13" fmla="*/ 45800 w 215668"/>
                                                <a:gd name="connsiteY13" fmla="*/ 207833 h 254520"/>
                                                <a:gd name="connsiteX14" fmla="*/ 48133 w 215668"/>
                                                <a:gd name="connsiteY14" fmla="*/ 215931 h 254520"/>
                                                <a:gd name="connsiteX15" fmla="*/ 42626 w 215668"/>
                                                <a:gd name="connsiteY15" fmla="*/ 223511 h 254520"/>
                                                <a:gd name="connsiteX16" fmla="*/ 37702 w 215668"/>
                                                <a:gd name="connsiteY16" fmla="*/ 248064 h 254520"/>
                                                <a:gd name="connsiteX17" fmla="*/ 38480 w 215668"/>
                                                <a:gd name="connsiteY17" fmla="*/ 252275 h 254520"/>
                                                <a:gd name="connsiteX18" fmla="*/ 47614 w 215668"/>
                                                <a:gd name="connsiteY18" fmla="*/ 253312 h 254520"/>
                                                <a:gd name="connsiteX19" fmla="*/ 56749 w 215668"/>
                                                <a:gd name="connsiteY19" fmla="*/ 249166 h 254520"/>
                                                <a:gd name="connsiteX20" fmla="*/ 65236 w 215668"/>
                                                <a:gd name="connsiteY20" fmla="*/ 251692 h 254520"/>
                                                <a:gd name="connsiteX21" fmla="*/ 90891 w 215668"/>
                                                <a:gd name="connsiteY21" fmla="*/ 254284 h 254520"/>
                                                <a:gd name="connsiteX22" fmla="*/ 106958 w 215668"/>
                                                <a:gd name="connsiteY22" fmla="*/ 250591 h 254520"/>
                                                <a:gd name="connsiteX23" fmla="*/ 123025 w 215668"/>
                                                <a:gd name="connsiteY23" fmla="*/ 253312 h 254520"/>
                                                <a:gd name="connsiteX24" fmla="*/ 137861 w 215668"/>
                                                <a:gd name="connsiteY24" fmla="*/ 251109 h 254520"/>
                                                <a:gd name="connsiteX25" fmla="*/ 162350 w 215668"/>
                                                <a:gd name="connsiteY25" fmla="*/ 252664 h 254520"/>
                                                <a:gd name="connsiteX26" fmla="*/ 166885 w 215668"/>
                                                <a:gd name="connsiteY26" fmla="*/ 251369 h 254520"/>
                                                <a:gd name="connsiteX27" fmla="*/ 170578 w 215668"/>
                                                <a:gd name="connsiteY27" fmla="*/ 242558 h 254520"/>
                                                <a:gd name="connsiteX28" fmla="*/ 170578 w 215668"/>
                                                <a:gd name="connsiteY28" fmla="*/ 232581 h 254520"/>
                                                <a:gd name="connsiteX29" fmla="*/ 179324 w 215668"/>
                                                <a:gd name="connsiteY29" fmla="*/ 219753 h 254520"/>
                                                <a:gd name="connsiteX30" fmla="*/ 183470 w 215668"/>
                                                <a:gd name="connsiteY30" fmla="*/ 215089 h 254520"/>
                                                <a:gd name="connsiteX31" fmla="*/ 172586 w 215668"/>
                                                <a:gd name="connsiteY31" fmla="*/ 203945 h 254520"/>
                                                <a:gd name="connsiteX32" fmla="*/ 168569 w 215668"/>
                                                <a:gd name="connsiteY32" fmla="*/ 196884 h 254520"/>
                                                <a:gd name="connsiteX33" fmla="*/ 168440 w 215668"/>
                                                <a:gd name="connsiteY33" fmla="*/ 189887 h 254520"/>
                                                <a:gd name="connsiteX34" fmla="*/ 159888 w 215668"/>
                                                <a:gd name="connsiteY34" fmla="*/ 171682 h 254520"/>
                                                <a:gd name="connsiteX35" fmla="*/ 158009 w 215668"/>
                                                <a:gd name="connsiteY35" fmla="*/ 164944 h 254520"/>
                                                <a:gd name="connsiteX36" fmla="*/ 162998 w 215668"/>
                                                <a:gd name="connsiteY36" fmla="*/ 158466 h 254520"/>
                                                <a:gd name="connsiteX37" fmla="*/ 181138 w 215668"/>
                                                <a:gd name="connsiteY37" fmla="*/ 148035 h 254520"/>
                                                <a:gd name="connsiteX38" fmla="*/ 191244 w 215668"/>
                                                <a:gd name="connsiteY38" fmla="*/ 146804 h 254520"/>
                                                <a:gd name="connsiteX39" fmla="*/ 205367 w 215668"/>
                                                <a:gd name="connsiteY39" fmla="*/ 141298 h 254520"/>
                                                <a:gd name="connsiteX40" fmla="*/ 212883 w 215668"/>
                                                <a:gd name="connsiteY40" fmla="*/ 136698 h 254520"/>
                                                <a:gd name="connsiteX41" fmla="*/ 215669 w 215668"/>
                                                <a:gd name="connsiteY41" fmla="*/ 136180 h 254520"/>
                                                <a:gd name="connsiteX42" fmla="*/ 214114 w 215668"/>
                                                <a:gd name="connsiteY42" fmla="*/ 127174 h 254520"/>
                                                <a:gd name="connsiteX43" fmla="*/ 209579 w 215668"/>
                                                <a:gd name="connsiteY43" fmla="*/ 96531 h 254520"/>
                                                <a:gd name="connsiteX44" fmla="*/ 206016 w 215668"/>
                                                <a:gd name="connsiteY44" fmla="*/ 82667 h 254520"/>
                                                <a:gd name="connsiteX45" fmla="*/ 200185 w 215668"/>
                                                <a:gd name="connsiteY45" fmla="*/ 67118 h 254520"/>
                                                <a:gd name="connsiteX46" fmla="*/ 202128 w 215668"/>
                                                <a:gd name="connsiteY46" fmla="*/ 61482 h 254520"/>
                                                <a:gd name="connsiteX47" fmla="*/ 199472 w 215668"/>
                                                <a:gd name="connsiteY47" fmla="*/ 51634 h 254520"/>
                                                <a:gd name="connsiteX48" fmla="*/ 200703 w 215668"/>
                                                <a:gd name="connsiteY48" fmla="*/ 34984 h 254520"/>
                                                <a:gd name="connsiteX49" fmla="*/ 196816 w 215668"/>
                                                <a:gd name="connsiteY49" fmla="*/ 32782 h 254520"/>
                                                <a:gd name="connsiteX50" fmla="*/ 195391 w 215668"/>
                                                <a:gd name="connsiteY50" fmla="*/ 22805 h 254520"/>
                                                <a:gd name="connsiteX51" fmla="*/ 183664 w 215668"/>
                                                <a:gd name="connsiteY51" fmla="*/ 19177 h 254520"/>
                                                <a:gd name="connsiteX52" fmla="*/ 179842 w 215668"/>
                                                <a:gd name="connsiteY52" fmla="*/ 6608 h 254520"/>
                                                <a:gd name="connsiteX53" fmla="*/ 174854 w 215668"/>
                                                <a:gd name="connsiteY53" fmla="*/ 9005 h 254520"/>
                                                <a:gd name="connsiteX54" fmla="*/ 171808 w 215668"/>
                                                <a:gd name="connsiteY54" fmla="*/ 14382 h 254520"/>
                                                <a:gd name="connsiteX55" fmla="*/ 158851 w 215668"/>
                                                <a:gd name="connsiteY55" fmla="*/ 15549 h 254520"/>
                                                <a:gd name="connsiteX56" fmla="*/ 155094 w 215668"/>
                                                <a:gd name="connsiteY56" fmla="*/ 19824 h 254520"/>
                                                <a:gd name="connsiteX57" fmla="*/ 143432 w 215668"/>
                                                <a:gd name="connsiteY57" fmla="*/ 22934 h 254520"/>
                                                <a:gd name="connsiteX58" fmla="*/ 138120 w 215668"/>
                                                <a:gd name="connsiteY58" fmla="*/ 31486 h 254520"/>
                                                <a:gd name="connsiteX59" fmla="*/ 125163 w 215668"/>
                                                <a:gd name="connsiteY59" fmla="*/ 30061 h 254520"/>
                                                <a:gd name="connsiteX60" fmla="*/ 117648 w 215668"/>
                                                <a:gd name="connsiteY60" fmla="*/ 16520 h 254520"/>
                                                <a:gd name="connsiteX61" fmla="*/ 103201 w 215668"/>
                                                <a:gd name="connsiteY61" fmla="*/ 12568 h 254520"/>
                                                <a:gd name="connsiteX62" fmla="*/ 99119 w 215668"/>
                                                <a:gd name="connsiteY62" fmla="*/ 13346 h 254520"/>
                                                <a:gd name="connsiteX63" fmla="*/ 95815 w 215668"/>
                                                <a:gd name="connsiteY63" fmla="*/ 3887 h 254520"/>
                                                <a:gd name="connsiteX64" fmla="*/ 94843 w 215668"/>
                                                <a:gd name="connsiteY64" fmla="*/ 1037 h 254520"/>
                                                <a:gd name="connsiteX65" fmla="*/ 71455 w 215668"/>
                                                <a:gd name="connsiteY65" fmla="*/ 0 h 254520"/>
                                                <a:gd name="connsiteX66" fmla="*/ 71002 w 215668"/>
                                                <a:gd name="connsiteY66" fmla="*/ 648 h 254520"/>
                                                <a:gd name="connsiteX67" fmla="*/ 66143 w 215668"/>
                                                <a:gd name="connsiteY67" fmla="*/ 18075 h 254520"/>
                                                <a:gd name="connsiteX68" fmla="*/ 66856 w 215668"/>
                                                <a:gd name="connsiteY68" fmla="*/ 23128 h 254520"/>
                                                <a:gd name="connsiteX69" fmla="*/ 72622 w 215668"/>
                                                <a:gd name="connsiteY69" fmla="*/ 26757 h 254520"/>
                                                <a:gd name="connsiteX70" fmla="*/ 73982 w 215668"/>
                                                <a:gd name="connsiteY70" fmla="*/ 37381 h 254520"/>
                                                <a:gd name="connsiteX71" fmla="*/ 63552 w 215668"/>
                                                <a:gd name="connsiteY71" fmla="*/ 41916 h 254520"/>
                                                <a:gd name="connsiteX72" fmla="*/ 58822 w 215668"/>
                                                <a:gd name="connsiteY72" fmla="*/ 53967 h 254520"/>
                                                <a:gd name="connsiteX73" fmla="*/ 48586 w 215668"/>
                                                <a:gd name="connsiteY73" fmla="*/ 46063 h 254520"/>
                                                <a:gd name="connsiteX74" fmla="*/ 47938 w 215668"/>
                                                <a:gd name="connsiteY74" fmla="*/ 41981 h 254520"/>
                                                <a:gd name="connsiteX75" fmla="*/ 45606 w 215668"/>
                                                <a:gd name="connsiteY75" fmla="*/ 41074 h 254520"/>
                                                <a:gd name="connsiteX76" fmla="*/ 35499 w 215668"/>
                                                <a:gd name="connsiteY76" fmla="*/ 39519 h 254520"/>
                                                <a:gd name="connsiteX77" fmla="*/ 30382 w 215668"/>
                                                <a:gd name="connsiteY77" fmla="*/ 40426 h 254520"/>
                                                <a:gd name="connsiteX78" fmla="*/ 29280 w 215668"/>
                                                <a:gd name="connsiteY78" fmla="*/ 43277 h 254520"/>
                                                <a:gd name="connsiteX79" fmla="*/ 27207 w 215668"/>
                                                <a:gd name="connsiteY79" fmla="*/ 54485 h 254520"/>
                                                <a:gd name="connsiteX80" fmla="*/ 25328 w 215668"/>
                                                <a:gd name="connsiteY80" fmla="*/ 52412 h 254520"/>
                                                <a:gd name="connsiteX81" fmla="*/ 26105 w 215668"/>
                                                <a:gd name="connsiteY81" fmla="*/ 59797 h 25452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15668" h="254520">
                                                  <a:moveTo>
                                                    <a:pt x="26235" y="60056"/>
                                                  </a:moveTo>
                                                  <a:cubicBezTo>
                                                    <a:pt x="27142" y="64721"/>
                                                    <a:pt x="28826" y="69774"/>
                                                    <a:pt x="26429" y="73921"/>
                                                  </a:cubicBezTo>
                                                  <a:cubicBezTo>
                                                    <a:pt x="24162" y="77808"/>
                                                    <a:pt x="18590" y="80205"/>
                                                    <a:pt x="18979" y="84740"/>
                                                  </a:cubicBezTo>
                                                  <a:cubicBezTo>
                                                    <a:pt x="19303" y="88303"/>
                                                    <a:pt x="23449" y="90506"/>
                                                    <a:pt x="23838" y="94004"/>
                                                  </a:cubicBezTo>
                                                  <a:cubicBezTo>
                                                    <a:pt x="24292" y="97891"/>
                                                    <a:pt x="20145" y="100677"/>
                                                    <a:pt x="16517" y="102167"/>
                                                  </a:cubicBezTo>
                                                  <a:cubicBezTo>
                                                    <a:pt x="12889" y="103722"/>
                                                    <a:pt x="8548" y="105795"/>
                                                    <a:pt x="8225" y="109682"/>
                                                  </a:cubicBezTo>
                                                  <a:cubicBezTo>
                                                    <a:pt x="8160" y="110654"/>
                                                    <a:pt x="8354" y="111691"/>
                                                    <a:pt x="8289" y="112727"/>
                                                  </a:cubicBezTo>
                                                  <a:cubicBezTo>
                                                    <a:pt x="8160" y="115319"/>
                                                    <a:pt x="6476" y="117521"/>
                                                    <a:pt x="5115" y="119724"/>
                                                  </a:cubicBezTo>
                                                  <a:cubicBezTo>
                                                    <a:pt x="-1105" y="129571"/>
                                                    <a:pt x="-1687" y="142723"/>
                                                    <a:pt x="3560" y="153089"/>
                                                  </a:cubicBezTo>
                                                  <a:cubicBezTo>
                                                    <a:pt x="4856" y="155680"/>
                                                    <a:pt x="6476" y="158077"/>
                                                    <a:pt x="7382" y="160798"/>
                                                  </a:cubicBezTo>
                                                  <a:cubicBezTo>
                                                    <a:pt x="11335" y="172913"/>
                                                    <a:pt x="-133" y="187166"/>
                                                    <a:pt x="6151" y="198244"/>
                                                  </a:cubicBezTo>
                                                  <a:cubicBezTo>
                                                    <a:pt x="16129" y="198244"/>
                                                    <a:pt x="26883" y="198439"/>
                                                    <a:pt x="35046" y="204205"/>
                                                  </a:cubicBezTo>
                                                  <a:cubicBezTo>
                                                    <a:pt x="36795" y="205436"/>
                                                    <a:pt x="38480" y="206926"/>
                                                    <a:pt x="40553" y="207314"/>
                                                  </a:cubicBezTo>
                                                  <a:cubicBezTo>
                                                    <a:pt x="42302" y="207638"/>
                                                    <a:pt x="44181" y="207185"/>
                                                    <a:pt x="45800" y="207833"/>
                                                  </a:cubicBezTo>
                                                  <a:cubicBezTo>
                                                    <a:pt x="48716" y="208934"/>
                                                    <a:pt x="49364" y="213015"/>
                                                    <a:pt x="48133" y="215931"/>
                                                  </a:cubicBezTo>
                                                  <a:cubicBezTo>
                                                    <a:pt x="46902" y="218781"/>
                                                    <a:pt x="44440" y="220984"/>
                                                    <a:pt x="42626" y="223511"/>
                                                  </a:cubicBezTo>
                                                  <a:cubicBezTo>
                                                    <a:pt x="37702" y="230378"/>
                                                    <a:pt x="37573" y="239578"/>
                                                    <a:pt x="37702" y="248064"/>
                                                  </a:cubicBezTo>
                                                  <a:cubicBezTo>
                                                    <a:pt x="37702" y="249490"/>
                                                    <a:pt x="37702" y="251045"/>
                                                    <a:pt x="38480" y="252275"/>
                                                  </a:cubicBezTo>
                                                  <a:cubicBezTo>
                                                    <a:pt x="40229" y="255191"/>
                                                    <a:pt x="44634" y="254867"/>
                                                    <a:pt x="47614" y="253312"/>
                                                  </a:cubicBezTo>
                                                  <a:cubicBezTo>
                                                    <a:pt x="50659" y="251757"/>
                                                    <a:pt x="53380" y="249360"/>
                                                    <a:pt x="56749" y="249166"/>
                                                  </a:cubicBezTo>
                                                  <a:cubicBezTo>
                                                    <a:pt x="59729" y="248972"/>
                                                    <a:pt x="62450" y="250591"/>
                                                    <a:pt x="65236" y="251692"/>
                                                  </a:cubicBezTo>
                                                  <a:cubicBezTo>
                                                    <a:pt x="73270" y="254997"/>
                                                    <a:pt x="82275" y="254673"/>
                                                    <a:pt x="90891" y="254284"/>
                                                  </a:cubicBezTo>
                                                  <a:cubicBezTo>
                                                    <a:pt x="95297" y="251109"/>
                                                    <a:pt x="101646" y="249619"/>
                                                    <a:pt x="106958" y="250591"/>
                                                  </a:cubicBezTo>
                                                  <a:cubicBezTo>
                                                    <a:pt x="112335" y="251563"/>
                                                    <a:pt x="117583" y="253377"/>
                                                    <a:pt x="123025" y="253312"/>
                                                  </a:cubicBezTo>
                                                  <a:cubicBezTo>
                                                    <a:pt x="128013" y="253247"/>
                                                    <a:pt x="132872" y="251498"/>
                                                    <a:pt x="137861" y="251109"/>
                                                  </a:cubicBezTo>
                                                  <a:cubicBezTo>
                                                    <a:pt x="146024" y="250462"/>
                                                    <a:pt x="154187" y="253377"/>
                                                    <a:pt x="162350" y="252664"/>
                                                  </a:cubicBezTo>
                                                  <a:cubicBezTo>
                                                    <a:pt x="163905" y="252535"/>
                                                    <a:pt x="165524" y="252275"/>
                                                    <a:pt x="166885" y="251369"/>
                                                  </a:cubicBezTo>
                                                  <a:cubicBezTo>
                                                    <a:pt x="169735" y="249619"/>
                                                    <a:pt x="170642" y="245927"/>
                                                    <a:pt x="170578" y="242558"/>
                                                  </a:cubicBezTo>
                                                  <a:cubicBezTo>
                                                    <a:pt x="170513" y="239189"/>
                                                    <a:pt x="169865" y="235885"/>
                                                    <a:pt x="170578" y="232581"/>
                                                  </a:cubicBezTo>
                                                  <a:cubicBezTo>
                                                    <a:pt x="171614" y="227463"/>
                                                    <a:pt x="175696" y="223575"/>
                                                    <a:pt x="179324" y="219753"/>
                                                  </a:cubicBezTo>
                                                  <a:cubicBezTo>
                                                    <a:pt x="180749" y="218263"/>
                                                    <a:pt x="182110" y="216643"/>
                                                    <a:pt x="183470" y="215089"/>
                                                  </a:cubicBezTo>
                                                  <a:cubicBezTo>
                                                    <a:pt x="179259" y="212108"/>
                                                    <a:pt x="175825" y="208027"/>
                                                    <a:pt x="172586" y="203945"/>
                                                  </a:cubicBezTo>
                                                  <a:cubicBezTo>
                                                    <a:pt x="170902" y="201807"/>
                                                    <a:pt x="169152" y="199540"/>
                                                    <a:pt x="168569" y="196884"/>
                                                  </a:cubicBezTo>
                                                  <a:cubicBezTo>
                                                    <a:pt x="168116" y="194616"/>
                                                    <a:pt x="168569" y="192219"/>
                                                    <a:pt x="168440" y="189887"/>
                                                  </a:cubicBezTo>
                                                  <a:cubicBezTo>
                                                    <a:pt x="168116" y="183084"/>
                                                    <a:pt x="163322" y="177578"/>
                                                    <a:pt x="159888" y="171682"/>
                                                  </a:cubicBezTo>
                                                  <a:cubicBezTo>
                                                    <a:pt x="158657" y="169609"/>
                                                    <a:pt x="157620" y="167277"/>
                                                    <a:pt x="158009" y="164944"/>
                                                  </a:cubicBezTo>
                                                  <a:cubicBezTo>
                                                    <a:pt x="158463" y="162223"/>
                                                    <a:pt x="160795" y="160215"/>
                                                    <a:pt x="162998" y="158466"/>
                                                  </a:cubicBezTo>
                                                  <a:cubicBezTo>
                                                    <a:pt x="168504" y="154060"/>
                                                    <a:pt x="174270" y="149525"/>
                                                    <a:pt x="181138" y="148035"/>
                                                  </a:cubicBezTo>
                                                  <a:cubicBezTo>
                                                    <a:pt x="184442" y="147323"/>
                                                    <a:pt x="187876" y="147323"/>
                                                    <a:pt x="191244" y="146804"/>
                                                  </a:cubicBezTo>
                                                  <a:cubicBezTo>
                                                    <a:pt x="196298" y="146092"/>
                                                    <a:pt x="201157" y="144148"/>
                                                    <a:pt x="205367" y="141298"/>
                                                  </a:cubicBezTo>
                                                  <a:cubicBezTo>
                                                    <a:pt x="207829" y="139613"/>
                                                    <a:pt x="210097" y="137670"/>
                                                    <a:pt x="212883" y="136698"/>
                                                  </a:cubicBezTo>
                                                  <a:cubicBezTo>
                                                    <a:pt x="213790" y="136374"/>
                                                    <a:pt x="214761" y="136244"/>
                                                    <a:pt x="215669" y="136180"/>
                                                  </a:cubicBezTo>
                                                  <a:cubicBezTo>
                                                    <a:pt x="215021" y="133199"/>
                                                    <a:pt x="214502" y="130219"/>
                                                    <a:pt x="214114" y="127174"/>
                                                  </a:cubicBezTo>
                                                  <a:cubicBezTo>
                                                    <a:pt x="212623" y="116938"/>
                                                    <a:pt x="211069" y="106702"/>
                                                    <a:pt x="209579" y="96531"/>
                                                  </a:cubicBezTo>
                                                  <a:cubicBezTo>
                                                    <a:pt x="208866" y="91801"/>
                                                    <a:pt x="208154" y="86942"/>
                                                    <a:pt x="206016" y="82667"/>
                                                  </a:cubicBezTo>
                                                  <a:cubicBezTo>
                                                    <a:pt x="203489" y="77613"/>
                                                    <a:pt x="198889" y="72690"/>
                                                    <a:pt x="200185" y="67118"/>
                                                  </a:cubicBezTo>
                                                  <a:cubicBezTo>
                                                    <a:pt x="200638" y="65174"/>
                                                    <a:pt x="201804" y="63425"/>
                                                    <a:pt x="202128" y="61482"/>
                                                  </a:cubicBezTo>
                                                  <a:cubicBezTo>
                                                    <a:pt x="202647" y="58113"/>
                                                    <a:pt x="200508" y="54938"/>
                                                    <a:pt x="199472" y="51634"/>
                                                  </a:cubicBezTo>
                                                  <a:cubicBezTo>
                                                    <a:pt x="197723" y="46192"/>
                                                    <a:pt x="199019" y="40621"/>
                                                    <a:pt x="200703" y="34984"/>
                                                  </a:cubicBezTo>
                                                  <a:cubicBezTo>
                                                    <a:pt x="199213" y="34660"/>
                                                    <a:pt x="197788" y="33948"/>
                                                    <a:pt x="196816" y="32782"/>
                                                  </a:cubicBezTo>
                                                  <a:cubicBezTo>
                                                    <a:pt x="196362" y="29478"/>
                                                    <a:pt x="195844" y="26109"/>
                                                    <a:pt x="195391" y="22805"/>
                                                  </a:cubicBezTo>
                                                  <a:cubicBezTo>
                                                    <a:pt x="191439" y="24813"/>
                                                    <a:pt x="186320" y="22740"/>
                                                    <a:pt x="183664" y="19177"/>
                                                  </a:cubicBezTo>
                                                  <a:cubicBezTo>
                                                    <a:pt x="181008" y="15613"/>
                                                    <a:pt x="180231" y="11014"/>
                                                    <a:pt x="179842" y="6608"/>
                                                  </a:cubicBezTo>
                                                  <a:cubicBezTo>
                                                    <a:pt x="178093" y="5442"/>
                                                    <a:pt x="175761" y="7126"/>
                                                    <a:pt x="174854" y="9005"/>
                                                  </a:cubicBezTo>
                                                  <a:cubicBezTo>
                                                    <a:pt x="173882" y="10884"/>
                                                    <a:pt x="173428" y="13151"/>
                                                    <a:pt x="171808" y="14382"/>
                                                  </a:cubicBezTo>
                                                  <a:cubicBezTo>
                                                    <a:pt x="168245" y="17103"/>
                                                    <a:pt x="162609" y="13151"/>
                                                    <a:pt x="158851" y="15549"/>
                                                  </a:cubicBezTo>
                                                  <a:cubicBezTo>
                                                    <a:pt x="157232" y="16585"/>
                                                    <a:pt x="156454" y="18464"/>
                                                    <a:pt x="155094" y="19824"/>
                                                  </a:cubicBezTo>
                                                  <a:cubicBezTo>
                                                    <a:pt x="152179" y="22675"/>
                                                    <a:pt x="147449" y="22092"/>
                                                    <a:pt x="143432" y="22934"/>
                                                  </a:cubicBezTo>
                                                  <a:cubicBezTo>
                                                    <a:pt x="139416" y="23776"/>
                                                    <a:pt x="135334" y="28441"/>
                                                    <a:pt x="138120" y="31486"/>
                                                  </a:cubicBezTo>
                                                  <a:cubicBezTo>
                                                    <a:pt x="135723" y="36086"/>
                                                    <a:pt x="128273" y="34272"/>
                                                    <a:pt x="125163" y="30061"/>
                                                  </a:cubicBezTo>
                                                  <a:cubicBezTo>
                                                    <a:pt x="122053" y="25914"/>
                                                    <a:pt x="121082" y="20407"/>
                                                    <a:pt x="117648" y="16520"/>
                                                  </a:cubicBezTo>
                                                  <a:cubicBezTo>
                                                    <a:pt x="114149" y="12568"/>
                                                    <a:pt x="108254" y="10949"/>
                                                    <a:pt x="103201" y="12568"/>
                                                  </a:cubicBezTo>
                                                  <a:cubicBezTo>
                                                    <a:pt x="101905" y="13022"/>
                                                    <a:pt x="100479" y="13605"/>
                                                    <a:pt x="99119" y="13346"/>
                                                  </a:cubicBezTo>
                                                  <a:cubicBezTo>
                                                    <a:pt x="95556" y="12568"/>
                                                    <a:pt x="96268" y="7450"/>
                                                    <a:pt x="95815" y="3887"/>
                                                  </a:cubicBezTo>
                                                  <a:cubicBezTo>
                                                    <a:pt x="95685" y="2851"/>
                                                    <a:pt x="95297" y="1944"/>
                                                    <a:pt x="94843" y="1037"/>
                                                  </a:cubicBezTo>
                                                  <a:cubicBezTo>
                                                    <a:pt x="87587" y="3239"/>
                                                    <a:pt x="79424" y="453"/>
                                                    <a:pt x="71455" y="0"/>
                                                  </a:cubicBezTo>
                                                  <a:cubicBezTo>
                                                    <a:pt x="71326" y="259"/>
                                                    <a:pt x="71132" y="453"/>
                                                    <a:pt x="71002" y="648"/>
                                                  </a:cubicBezTo>
                                                  <a:cubicBezTo>
                                                    <a:pt x="67309" y="5507"/>
                                                    <a:pt x="66661" y="11985"/>
                                                    <a:pt x="66143" y="18075"/>
                                                  </a:cubicBezTo>
                                                  <a:cubicBezTo>
                                                    <a:pt x="66014" y="19824"/>
                                                    <a:pt x="65884" y="21703"/>
                                                    <a:pt x="66856" y="23128"/>
                                                  </a:cubicBezTo>
                                                  <a:cubicBezTo>
                                                    <a:pt x="68151" y="25007"/>
                                                    <a:pt x="70743" y="25396"/>
                                                    <a:pt x="72622" y="26757"/>
                                                  </a:cubicBezTo>
                                                  <a:cubicBezTo>
                                                    <a:pt x="75861" y="29024"/>
                                                    <a:pt x="76250" y="34142"/>
                                                    <a:pt x="73982" y="37381"/>
                                                  </a:cubicBezTo>
                                                  <a:cubicBezTo>
                                                    <a:pt x="71714" y="40621"/>
                                                    <a:pt x="67504" y="42111"/>
                                                    <a:pt x="63552" y="41916"/>
                                                  </a:cubicBezTo>
                                                  <a:cubicBezTo>
                                                    <a:pt x="66208" y="46192"/>
                                                    <a:pt x="63681" y="52606"/>
                                                    <a:pt x="58822" y="53967"/>
                                                  </a:cubicBezTo>
                                                  <a:cubicBezTo>
                                                    <a:pt x="54028" y="55327"/>
                                                    <a:pt x="48521" y="51051"/>
                                                    <a:pt x="48586" y="46063"/>
                                                  </a:cubicBezTo>
                                                  <a:cubicBezTo>
                                                    <a:pt x="48586" y="44637"/>
                                                    <a:pt x="48910" y="43018"/>
                                                    <a:pt x="47938" y="41981"/>
                                                  </a:cubicBezTo>
                                                  <a:cubicBezTo>
                                                    <a:pt x="47355" y="41398"/>
                                                    <a:pt x="46448" y="41204"/>
                                                    <a:pt x="45606" y="41074"/>
                                                  </a:cubicBezTo>
                                                  <a:cubicBezTo>
                                                    <a:pt x="42237" y="40556"/>
                                                    <a:pt x="38868" y="40038"/>
                                                    <a:pt x="35499" y="39519"/>
                                                  </a:cubicBezTo>
                                                  <a:cubicBezTo>
                                                    <a:pt x="33685" y="39260"/>
                                                    <a:pt x="31612" y="39066"/>
                                                    <a:pt x="30382" y="40426"/>
                                                  </a:cubicBezTo>
                                                  <a:cubicBezTo>
                                                    <a:pt x="29669" y="41204"/>
                                                    <a:pt x="29474" y="42305"/>
                                                    <a:pt x="29280" y="43277"/>
                                                  </a:cubicBezTo>
                                                  <a:cubicBezTo>
                                                    <a:pt x="28567" y="47034"/>
                                                    <a:pt x="27920" y="50792"/>
                                                    <a:pt x="27207" y="54485"/>
                                                  </a:cubicBezTo>
                                                  <a:cubicBezTo>
                                                    <a:pt x="26624" y="53772"/>
                                                    <a:pt x="25976" y="53060"/>
                                                    <a:pt x="25328" y="52412"/>
                                                  </a:cubicBezTo>
                                                  <a:cubicBezTo>
                                                    <a:pt x="25393" y="54874"/>
                                                    <a:pt x="25652" y="57335"/>
                                                    <a:pt x="26105" y="5979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2" name="Freeform: Shape 206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C755BB9-05FF-422E-AF3A-B72DFED4E94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126538" y="2785306"/>
                                              <a:ext cx="84776" cy="9086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4382 w 84776"/>
                                                <a:gd name="connsiteY0" fmla="*/ 66380 h 90868"/>
                                                <a:gd name="connsiteX1" fmla="*/ 23128 w 84776"/>
                                                <a:gd name="connsiteY1" fmla="*/ 70267 h 90868"/>
                                                <a:gd name="connsiteX2" fmla="*/ 26303 w 84776"/>
                                                <a:gd name="connsiteY2" fmla="*/ 70721 h 90868"/>
                                                <a:gd name="connsiteX3" fmla="*/ 34077 w 84776"/>
                                                <a:gd name="connsiteY3" fmla="*/ 76292 h 90868"/>
                                                <a:gd name="connsiteX4" fmla="*/ 45220 w 84776"/>
                                                <a:gd name="connsiteY4" fmla="*/ 83937 h 90868"/>
                                                <a:gd name="connsiteX5" fmla="*/ 53124 w 84776"/>
                                                <a:gd name="connsiteY5" fmla="*/ 88602 h 90868"/>
                                                <a:gd name="connsiteX6" fmla="*/ 57270 w 84776"/>
                                                <a:gd name="connsiteY6" fmla="*/ 90869 h 90868"/>
                                                <a:gd name="connsiteX7" fmla="*/ 62259 w 84776"/>
                                                <a:gd name="connsiteY7" fmla="*/ 70008 h 90868"/>
                                                <a:gd name="connsiteX8" fmla="*/ 65433 w 84776"/>
                                                <a:gd name="connsiteY8" fmla="*/ 63011 h 90868"/>
                                                <a:gd name="connsiteX9" fmla="*/ 65369 w 84776"/>
                                                <a:gd name="connsiteY9" fmla="*/ 59966 h 90868"/>
                                                <a:gd name="connsiteX10" fmla="*/ 73661 w 84776"/>
                                                <a:gd name="connsiteY10" fmla="*/ 52451 h 90868"/>
                                                <a:gd name="connsiteX11" fmla="*/ 80982 w 84776"/>
                                                <a:gd name="connsiteY11" fmla="*/ 44288 h 90868"/>
                                                <a:gd name="connsiteX12" fmla="*/ 76123 w 84776"/>
                                                <a:gd name="connsiteY12" fmla="*/ 35024 h 90868"/>
                                                <a:gd name="connsiteX13" fmla="*/ 83573 w 84776"/>
                                                <a:gd name="connsiteY13" fmla="*/ 24205 h 90868"/>
                                                <a:gd name="connsiteX14" fmla="*/ 83379 w 84776"/>
                                                <a:gd name="connsiteY14" fmla="*/ 10340 h 90868"/>
                                                <a:gd name="connsiteX15" fmla="*/ 82602 w 84776"/>
                                                <a:gd name="connsiteY15" fmla="*/ 2955 h 90868"/>
                                                <a:gd name="connsiteX16" fmla="*/ 75410 w 84776"/>
                                                <a:gd name="connsiteY16" fmla="*/ 234 h 90868"/>
                                                <a:gd name="connsiteX17" fmla="*/ 70422 w 84776"/>
                                                <a:gd name="connsiteY17" fmla="*/ 4445 h 90868"/>
                                                <a:gd name="connsiteX18" fmla="*/ 45609 w 84776"/>
                                                <a:gd name="connsiteY18" fmla="*/ 9822 h 90868"/>
                                                <a:gd name="connsiteX19" fmla="*/ 42435 w 84776"/>
                                                <a:gd name="connsiteY19" fmla="*/ 11571 h 90868"/>
                                                <a:gd name="connsiteX20" fmla="*/ 39195 w 84776"/>
                                                <a:gd name="connsiteY20" fmla="*/ 25565 h 90868"/>
                                                <a:gd name="connsiteX21" fmla="*/ 36021 w 84776"/>
                                                <a:gd name="connsiteY21" fmla="*/ 25695 h 90868"/>
                                                <a:gd name="connsiteX22" fmla="*/ 25655 w 84776"/>
                                                <a:gd name="connsiteY22" fmla="*/ 27897 h 90868"/>
                                                <a:gd name="connsiteX23" fmla="*/ 27534 w 84776"/>
                                                <a:gd name="connsiteY23" fmla="*/ 38263 h 90868"/>
                                                <a:gd name="connsiteX24" fmla="*/ 17103 w 84776"/>
                                                <a:gd name="connsiteY24" fmla="*/ 43187 h 90868"/>
                                                <a:gd name="connsiteX25" fmla="*/ 17816 w 84776"/>
                                                <a:gd name="connsiteY25" fmla="*/ 49017 h 90868"/>
                                                <a:gd name="connsiteX26" fmla="*/ 9199 w 84776"/>
                                                <a:gd name="connsiteY26" fmla="*/ 55431 h 90868"/>
                                                <a:gd name="connsiteX27" fmla="*/ 8940 w 84776"/>
                                                <a:gd name="connsiteY27" fmla="*/ 64760 h 90868"/>
                                                <a:gd name="connsiteX28" fmla="*/ 0 w 84776"/>
                                                <a:gd name="connsiteY28" fmla="*/ 66639 h 90868"/>
                                                <a:gd name="connsiteX29" fmla="*/ 14447 w 84776"/>
                                                <a:gd name="connsiteY29" fmla="*/ 66315 h 9086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84776" h="90868">
                                                  <a:moveTo>
                                                    <a:pt x="14382" y="66380"/>
                                                  </a:moveTo>
                                                  <a:cubicBezTo>
                                                    <a:pt x="17427" y="67481"/>
                                                    <a:pt x="20019" y="69684"/>
                                                    <a:pt x="23128" y="70267"/>
                                                  </a:cubicBezTo>
                                                  <a:cubicBezTo>
                                                    <a:pt x="24165" y="70462"/>
                                                    <a:pt x="25266" y="70526"/>
                                                    <a:pt x="26303" y="70721"/>
                                                  </a:cubicBezTo>
                                                  <a:cubicBezTo>
                                                    <a:pt x="29413" y="71498"/>
                                                    <a:pt x="31680" y="74089"/>
                                                    <a:pt x="34077" y="76292"/>
                                                  </a:cubicBezTo>
                                                  <a:cubicBezTo>
                                                    <a:pt x="37381" y="79337"/>
                                                    <a:pt x="41333" y="81605"/>
                                                    <a:pt x="45220" y="83937"/>
                                                  </a:cubicBezTo>
                                                  <a:cubicBezTo>
                                                    <a:pt x="47876" y="85492"/>
                                                    <a:pt x="50468" y="87047"/>
                                                    <a:pt x="53124" y="88602"/>
                                                  </a:cubicBezTo>
                                                  <a:cubicBezTo>
                                                    <a:pt x="54485" y="89379"/>
                                                    <a:pt x="55845" y="90156"/>
                                                    <a:pt x="57270" y="90869"/>
                                                  </a:cubicBezTo>
                                                  <a:cubicBezTo>
                                                    <a:pt x="56688" y="83613"/>
                                                    <a:pt x="58436" y="76163"/>
                                                    <a:pt x="62259" y="70008"/>
                                                  </a:cubicBezTo>
                                                  <a:cubicBezTo>
                                                    <a:pt x="63619" y="67805"/>
                                                    <a:pt x="65369" y="65603"/>
                                                    <a:pt x="65433" y="63011"/>
                                                  </a:cubicBezTo>
                                                  <a:cubicBezTo>
                                                    <a:pt x="65433" y="61975"/>
                                                    <a:pt x="65304" y="61003"/>
                                                    <a:pt x="65369" y="59966"/>
                                                  </a:cubicBezTo>
                                                  <a:cubicBezTo>
                                                    <a:pt x="65692" y="56014"/>
                                                    <a:pt x="70033" y="53941"/>
                                                    <a:pt x="73661" y="52451"/>
                                                  </a:cubicBezTo>
                                                  <a:cubicBezTo>
                                                    <a:pt x="77289" y="50896"/>
                                                    <a:pt x="81435" y="48175"/>
                                                    <a:pt x="80982" y="44288"/>
                                                  </a:cubicBezTo>
                                                  <a:cubicBezTo>
                                                    <a:pt x="80529" y="40790"/>
                                                    <a:pt x="76382" y="38522"/>
                                                    <a:pt x="76123" y="35024"/>
                                                  </a:cubicBezTo>
                                                  <a:cubicBezTo>
                                                    <a:pt x="75735" y="30553"/>
                                                    <a:pt x="81306" y="28156"/>
                                                    <a:pt x="83573" y="24205"/>
                                                  </a:cubicBezTo>
                                                  <a:cubicBezTo>
                                                    <a:pt x="85906" y="20123"/>
                                                    <a:pt x="84286" y="15005"/>
                                                    <a:pt x="83379" y="10340"/>
                                                  </a:cubicBezTo>
                                                  <a:cubicBezTo>
                                                    <a:pt x="82926" y="7878"/>
                                                    <a:pt x="82666" y="5417"/>
                                                    <a:pt x="82602" y="2955"/>
                                                  </a:cubicBezTo>
                                                  <a:cubicBezTo>
                                                    <a:pt x="80529" y="946"/>
                                                    <a:pt x="78067" y="-608"/>
                                                    <a:pt x="75410" y="234"/>
                                                  </a:cubicBezTo>
                                                  <a:cubicBezTo>
                                                    <a:pt x="73337" y="946"/>
                                                    <a:pt x="72042" y="2955"/>
                                                    <a:pt x="70422" y="4445"/>
                                                  </a:cubicBezTo>
                                                  <a:cubicBezTo>
                                                    <a:pt x="64073" y="10276"/>
                                                    <a:pt x="53901" y="7425"/>
                                                    <a:pt x="45609" y="9822"/>
                                                  </a:cubicBezTo>
                                                  <a:cubicBezTo>
                                                    <a:pt x="44443" y="10146"/>
                                                    <a:pt x="43212" y="10664"/>
                                                    <a:pt x="42435" y="11571"/>
                                                  </a:cubicBezTo>
                                                  <a:cubicBezTo>
                                                    <a:pt x="39066" y="15394"/>
                                                    <a:pt x="43989" y="23751"/>
                                                    <a:pt x="39195" y="25565"/>
                                                  </a:cubicBezTo>
                                                  <a:cubicBezTo>
                                                    <a:pt x="38223" y="25954"/>
                                                    <a:pt x="37057" y="25759"/>
                                                    <a:pt x="36021" y="25695"/>
                                                  </a:cubicBezTo>
                                                  <a:cubicBezTo>
                                                    <a:pt x="32457" y="25435"/>
                                                    <a:pt x="28829" y="26213"/>
                                                    <a:pt x="25655" y="27897"/>
                                                  </a:cubicBezTo>
                                                  <a:cubicBezTo>
                                                    <a:pt x="26303" y="31331"/>
                                                    <a:pt x="26951" y="34829"/>
                                                    <a:pt x="27534" y="38263"/>
                                                  </a:cubicBezTo>
                                                  <a:cubicBezTo>
                                                    <a:pt x="23323" y="38198"/>
                                                    <a:pt x="17816" y="39040"/>
                                                    <a:pt x="17103" y="43187"/>
                                                  </a:cubicBezTo>
                                                  <a:cubicBezTo>
                                                    <a:pt x="16779" y="45130"/>
                                                    <a:pt x="17751" y="47074"/>
                                                    <a:pt x="17816" y="49017"/>
                                                  </a:cubicBezTo>
                                                  <a:cubicBezTo>
                                                    <a:pt x="17945" y="53228"/>
                                                    <a:pt x="13151" y="56792"/>
                                                    <a:pt x="9199" y="55431"/>
                                                  </a:cubicBezTo>
                                                  <a:cubicBezTo>
                                                    <a:pt x="9135" y="58541"/>
                                                    <a:pt x="9005" y="61651"/>
                                                    <a:pt x="8940" y="64760"/>
                                                  </a:cubicBezTo>
                                                  <a:cubicBezTo>
                                                    <a:pt x="5895" y="63724"/>
                                                    <a:pt x="2526" y="64631"/>
                                                    <a:pt x="0" y="66639"/>
                                                  </a:cubicBezTo>
                                                  <a:cubicBezTo>
                                                    <a:pt x="4923" y="65603"/>
                                                    <a:pt x="9847" y="64631"/>
                                                    <a:pt x="14447" y="6631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3" name="Freeform: Shape 206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C3E0648-00A1-497F-9633-936129AF809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099069" y="2850774"/>
                                              <a:ext cx="92807" cy="7852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1565 w 92807"/>
                                                <a:gd name="connsiteY0" fmla="*/ 57082 h 78525"/>
                                                <a:gd name="connsiteX1" fmla="*/ 92514 w 92807"/>
                                                <a:gd name="connsiteY1" fmla="*/ 55073 h 78525"/>
                                                <a:gd name="connsiteX2" fmla="*/ 91996 w 92807"/>
                                                <a:gd name="connsiteY2" fmla="*/ 45679 h 78525"/>
                                                <a:gd name="connsiteX3" fmla="*/ 88174 w 92807"/>
                                                <a:gd name="connsiteY3" fmla="*/ 37970 h 78525"/>
                                                <a:gd name="connsiteX4" fmla="*/ 84740 w 92807"/>
                                                <a:gd name="connsiteY4" fmla="*/ 25401 h 78525"/>
                                                <a:gd name="connsiteX5" fmla="*/ 80593 w 92807"/>
                                                <a:gd name="connsiteY5" fmla="*/ 23134 h 78525"/>
                                                <a:gd name="connsiteX6" fmla="*/ 72690 w 92807"/>
                                                <a:gd name="connsiteY6" fmla="*/ 18469 h 78525"/>
                                                <a:gd name="connsiteX7" fmla="*/ 61546 w 92807"/>
                                                <a:gd name="connsiteY7" fmla="*/ 10825 h 78525"/>
                                                <a:gd name="connsiteX8" fmla="*/ 53772 w 92807"/>
                                                <a:gd name="connsiteY8" fmla="*/ 5253 h 78525"/>
                                                <a:gd name="connsiteX9" fmla="*/ 50598 w 92807"/>
                                                <a:gd name="connsiteY9" fmla="*/ 4800 h 78525"/>
                                                <a:gd name="connsiteX10" fmla="*/ 41852 w 92807"/>
                                                <a:gd name="connsiteY10" fmla="*/ 912 h 78525"/>
                                                <a:gd name="connsiteX11" fmla="*/ 27405 w 92807"/>
                                                <a:gd name="connsiteY11" fmla="*/ 1236 h 78525"/>
                                                <a:gd name="connsiteX12" fmla="*/ 23777 w 92807"/>
                                                <a:gd name="connsiteY12" fmla="*/ 7456 h 78525"/>
                                                <a:gd name="connsiteX13" fmla="*/ 22286 w 92807"/>
                                                <a:gd name="connsiteY13" fmla="*/ 13934 h 78525"/>
                                                <a:gd name="connsiteX14" fmla="*/ 19501 w 92807"/>
                                                <a:gd name="connsiteY14" fmla="*/ 14841 h 78525"/>
                                                <a:gd name="connsiteX15" fmla="*/ 8228 w 92807"/>
                                                <a:gd name="connsiteY15" fmla="*/ 15230 h 78525"/>
                                                <a:gd name="connsiteX16" fmla="*/ 5312 w 92807"/>
                                                <a:gd name="connsiteY16" fmla="*/ 23911 h 78525"/>
                                                <a:gd name="connsiteX17" fmla="*/ 0 w 92807"/>
                                                <a:gd name="connsiteY17" fmla="*/ 23911 h 78525"/>
                                                <a:gd name="connsiteX18" fmla="*/ 713 w 92807"/>
                                                <a:gd name="connsiteY18" fmla="*/ 24818 h 78525"/>
                                                <a:gd name="connsiteX19" fmla="*/ 4730 w 92807"/>
                                                <a:gd name="connsiteY19" fmla="*/ 35184 h 78525"/>
                                                <a:gd name="connsiteX20" fmla="*/ 22286 w 92807"/>
                                                <a:gd name="connsiteY20" fmla="*/ 44772 h 78525"/>
                                                <a:gd name="connsiteX21" fmla="*/ 29154 w 92807"/>
                                                <a:gd name="connsiteY21" fmla="*/ 54037 h 78525"/>
                                                <a:gd name="connsiteX22" fmla="*/ 44249 w 92807"/>
                                                <a:gd name="connsiteY22" fmla="*/ 61746 h 78525"/>
                                                <a:gd name="connsiteX23" fmla="*/ 50857 w 92807"/>
                                                <a:gd name="connsiteY23" fmla="*/ 69197 h 78525"/>
                                                <a:gd name="connsiteX24" fmla="*/ 65499 w 92807"/>
                                                <a:gd name="connsiteY24" fmla="*/ 75157 h 78525"/>
                                                <a:gd name="connsiteX25" fmla="*/ 70487 w 92807"/>
                                                <a:gd name="connsiteY25" fmla="*/ 78526 h 78525"/>
                                                <a:gd name="connsiteX26" fmla="*/ 81436 w 92807"/>
                                                <a:gd name="connsiteY26" fmla="*/ 57082 h 7852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2807" h="78525">
                                                  <a:moveTo>
                                                    <a:pt x="81565" y="57082"/>
                                                  </a:moveTo>
                                                  <a:cubicBezTo>
                                                    <a:pt x="84999" y="55527"/>
                                                    <a:pt x="88757" y="55009"/>
                                                    <a:pt x="92514" y="55073"/>
                                                  </a:cubicBezTo>
                                                  <a:cubicBezTo>
                                                    <a:pt x="92968" y="51834"/>
                                                    <a:pt x="92968" y="48660"/>
                                                    <a:pt x="91996" y="45679"/>
                                                  </a:cubicBezTo>
                                                  <a:cubicBezTo>
                                                    <a:pt x="91089" y="42958"/>
                                                    <a:pt x="89469" y="40497"/>
                                                    <a:pt x="88174" y="37970"/>
                                                  </a:cubicBezTo>
                                                  <a:cubicBezTo>
                                                    <a:pt x="86230" y="34083"/>
                                                    <a:pt x="85064" y="29807"/>
                                                    <a:pt x="84740" y="25401"/>
                                                  </a:cubicBezTo>
                                                  <a:cubicBezTo>
                                                    <a:pt x="83315" y="24689"/>
                                                    <a:pt x="81954" y="23911"/>
                                                    <a:pt x="80593" y="23134"/>
                                                  </a:cubicBezTo>
                                                  <a:cubicBezTo>
                                                    <a:pt x="77937" y="21579"/>
                                                    <a:pt x="75346" y="20024"/>
                                                    <a:pt x="72690" y="18469"/>
                                                  </a:cubicBezTo>
                                                  <a:cubicBezTo>
                                                    <a:pt x="68802" y="16202"/>
                                                    <a:pt x="64851" y="13870"/>
                                                    <a:pt x="61546" y="10825"/>
                                                  </a:cubicBezTo>
                                                  <a:cubicBezTo>
                                                    <a:pt x="59149" y="8622"/>
                                                    <a:pt x="56947" y="6031"/>
                                                    <a:pt x="53772" y="5253"/>
                                                  </a:cubicBezTo>
                                                  <a:cubicBezTo>
                                                    <a:pt x="52736" y="4994"/>
                                                    <a:pt x="51634" y="4994"/>
                                                    <a:pt x="50598" y="4800"/>
                                                  </a:cubicBezTo>
                                                  <a:cubicBezTo>
                                                    <a:pt x="47423" y="4152"/>
                                                    <a:pt x="44832" y="2014"/>
                                                    <a:pt x="41852" y="912"/>
                                                  </a:cubicBezTo>
                                                  <a:cubicBezTo>
                                                    <a:pt x="37252" y="-772"/>
                                                    <a:pt x="32328" y="200"/>
                                                    <a:pt x="27405" y="1236"/>
                                                  </a:cubicBezTo>
                                                  <a:cubicBezTo>
                                                    <a:pt x="25461" y="2791"/>
                                                    <a:pt x="24036" y="4929"/>
                                                    <a:pt x="23777" y="7456"/>
                                                  </a:cubicBezTo>
                                                  <a:cubicBezTo>
                                                    <a:pt x="23582" y="9723"/>
                                                    <a:pt x="24036" y="12444"/>
                                                    <a:pt x="22286" y="13934"/>
                                                  </a:cubicBezTo>
                                                  <a:cubicBezTo>
                                                    <a:pt x="21509" y="14582"/>
                                                    <a:pt x="20537" y="14777"/>
                                                    <a:pt x="19501" y="14841"/>
                                                  </a:cubicBezTo>
                                                  <a:cubicBezTo>
                                                    <a:pt x="15743" y="15165"/>
                                                    <a:pt x="11856" y="14064"/>
                                                    <a:pt x="8228" y="15230"/>
                                                  </a:cubicBezTo>
                                                  <a:cubicBezTo>
                                                    <a:pt x="4600" y="16332"/>
                                                    <a:pt x="2268" y="21644"/>
                                                    <a:pt x="5312" y="23911"/>
                                                  </a:cubicBezTo>
                                                  <a:lnTo>
                                                    <a:pt x="0" y="23911"/>
                                                  </a:lnTo>
                                                  <a:cubicBezTo>
                                                    <a:pt x="195" y="24300"/>
                                                    <a:pt x="518" y="24494"/>
                                                    <a:pt x="713" y="24818"/>
                                                  </a:cubicBezTo>
                                                  <a:cubicBezTo>
                                                    <a:pt x="2527" y="28058"/>
                                                    <a:pt x="2592" y="32139"/>
                                                    <a:pt x="4730" y="35184"/>
                                                  </a:cubicBezTo>
                                                  <a:cubicBezTo>
                                                    <a:pt x="8681" y="40691"/>
                                                    <a:pt x="17363" y="40173"/>
                                                    <a:pt x="22286" y="44772"/>
                                                  </a:cubicBezTo>
                                                  <a:cubicBezTo>
                                                    <a:pt x="25072" y="47429"/>
                                                    <a:pt x="26303" y="51381"/>
                                                    <a:pt x="29154" y="54037"/>
                                                  </a:cubicBezTo>
                                                  <a:cubicBezTo>
                                                    <a:pt x="33300" y="57924"/>
                                                    <a:pt x="39908" y="58054"/>
                                                    <a:pt x="44249" y="61746"/>
                                                  </a:cubicBezTo>
                                                  <a:cubicBezTo>
                                                    <a:pt x="46775" y="63884"/>
                                                    <a:pt x="48265" y="67123"/>
                                                    <a:pt x="50857" y="69197"/>
                                                  </a:cubicBezTo>
                                                  <a:cubicBezTo>
                                                    <a:pt x="54939" y="72565"/>
                                                    <a:pt x="60899" y="72501"/>
                                                    <a:pt x="65499" y="75157"/>
                                                  </a:cubicBezTo>
                                                  <a:cubicBezTo>
                                                    <a:pt x="67248" y="76129"/>
                                                    <a:pt x="68802" y="77489"/>
                                                    <a:pt x="70487" y="78526"/>
                                                  </a:cubicBezTo>
                                                  <a:cubicBezTo>
                                                    <a:pt x="68997" y="70039"/>
                                                    <a:pt x="73532" y="60645"/>
                                                    <a:pt x="81436" y="5708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4" name="Freeform: Shape 206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E202F1A-2D00-4407-8A9F-3AD3EF51577C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169404" y="2905841"/>
                                              <a:ext cx="22179" cy="2549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230 w 22179"/>
                                                <a:gd name="connsiteY0" fmla="*/ 2014 h 25492"/>
                                                <a:gd name="connsiteX1" fmla="*/ 282 w 22179"/>
                                                <a:gd name="connsiteY1" fmla="*/ 23458 h 25492"/>
                                                <a:gd name="connsiteX2" fmla="*/ 1189 w 22179"/>
                                                <a:gd name="connsiteY2" fmla="*/ 24041 h 25492"/>
                                                <a:gd name="connsiteX3" fmla="*/ 14988 w 22179"/>
                                                <a:gd name="connsiteY3" fmla="*/ 23912 h 25492"/>
                                                <a:gd name="connsiteX4" fmla="*/ 18551 w 22179"/>
                                                <a:gd name="connsiteY4" fmla="*/ 22033 h 25492"/>
                                                <a:gd name="connsiteX5" fmla="*/ 22179 w 22179"/>
                                                <a:gd name="connsiteY5" fmla="*/ 6 h 25492"/>
                                                <a:gd name="connsiteX6" fmla="*/ 11230 w 22179"/>
                                                <a:gd name="connsiteY6" fmla="*/ 2014 h 2549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2179" h="25492">
                                                  <a:moveTo>
                                                    <a:pt x="11230" y="2014"/>
                                                  </a:moveTo>
                                                  <a:cubicBezTo>
                                                    <a:pt x="3326" y="5642"/>
                                                    <a:pt x="-1208" y="15036"/>
                                                    <a:pt x="282" y="23458"/>
                                                  </a:cubicBezTo>
                                                  <a:cubicBezTo>
                                                    <a:pt x="605" y="23653"/>
                                                    <a:pt x="865" y="23912"/>
                                                    <a:pt x="1189" y="24041"/>
                                                  </a:cubicBezTo>
                                                  <a:cubicBezTo>
                                                    <a:pt x="5400" y="26244"/>
                                                    <a:pt x="10647" y="25726"/>
                                                    <a:pt x="14988" y="23912"/>
                                                  </a:cubicBezTo>
                                                  <a:cubicBezTo>
                                                    <a:pt x="16219" y="23394"/>
                                                    <a:pt x="17385" y="22746"/>
                                                    <a:pt x="18551" y="22033"/>
                                                  </a:cubicBezTo>
                                                  <a:cubicBezTo>
                                                    <a:pt x="17903" y="15101"/>
                                                    <a:pt x="21207" y="7456"/>
                                                    <a:pt x="22179" y="6"/>
                                                  </a:cubicBezTo>
                                                  <a:cubicBezTo>
                                                    <a:pt x="18422" y="-59"/>
                                                    <a:pt x="14664" y="395"/>
                                                    <a:pt x="11230" y="201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5" name="Freeform: Shape 206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8220954-D90A-4D2E-8A34-9C4CD5E07E2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241739" y="3147787"/>
                                              <a:ext cx="29600" cy="4948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4995 w 29600"/>
                                                <a:gd name="connsiteY0" fmla="*/ 41887 h 49481"/>
                                                <a:gd name="connsiteX1" fmla="*/ 26097 w 29600"/>
                                                <a:gd name="connsiteY1" fmla="*/ 39101 h 49481"/>
                                                <a:gd name="connsiteX2" fmla="*/ 26939 w 29600"/>
                                                <a:gd name="connsiteY2" fmla="*/ 25302 h 49481"/>
                                                <a:gd name="connsiteX3" fmla="*/ 28299 w 29600"/>
                                                <a:gd name="connsiteY3" fmla="*/ 2108 h 49481"/>
                                                <a:gd name="connsiteX4" fmla="*/ 25514 w 29600"/>
                                                <a:gd name="connsiteY4" fmla="*/ 35 h 49481"/>
                                                <a:gd name="connsiteX5" fmla="*/ 18970 w 29600"/>
                                                <a:gd name="connsiteY5" fmla="*/ 6838 h 49481"/>
                                                <a:gd name="connsiteX6" fmla="*/ 9641 w 29600"/>
                                                <a:gd name="connsiteY6" fmla="*/ 10206 h 49481"/>
                                                <a:gd name="connsiteX7" fmla="*/ 7374 w 29600"/>
                                                <a:gd name="connsiteY7" fmla="*/ 16879 h 49481"/>
                                                <a:gd name="connsiteX8" fmla="*/ 2709 w 29600"/>
                                                <a:gd name="connsiteY8" fmla="*/ 19406 h 49481"/>
                                                <a:gd name="connsiteX9" fmla="*/ 377 w 29600"/>
                                                <a:gd name="connsiteY9" fmla="*/ 28022 h 49481"/>
                                                <a:gd name="connsiteX10" fmla="*/ 5819 w 29600"/>
                                                <a:gd name="connsiteY10" fmla="*/ 35667 h 49481"/>
                                                <a:gd name="connsiteX11" fmla="*/ 8151 w 29600"/>
                                                <a:gd name="connsiteY11" fmla="*/ 47264 h 49481"/>
                                                <a:gd name="connsiteX12" fmla="*/ 18646 w 29600"/>
                                                <a:gd name="connsiteY12" fmla="*/ 49337 h 49481"/>
                                                <a:gd name="connsiteX13" fmla="*/ 24801 w 29600"/>
                                                <a:gd name="connsiteY13" fmla="*/ 46162 h 49481"/>
                                                <a:gd name="connsiteX14" fmla="*/ 24930 w 29600"/>
                                                <a:gd name="connsiteY14" fmla="*/ 41951 h 4948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9600" h="49481">
                                                  <a:moveTo>
                                                    <a:pt x="24995" y="41887"/>
                                                  </a:moveTo>
                                                  <a:cubicBezTo>
                                                    <a:pt x="25125" y="40915"/>
                                                    <a:pt x="25708" y="40008"/>
                                                    <a:pt x="26097" y="39101"/>
                                                  </a:cubicBezTo>
                                                  <a:cubicBezTo>
                                                    <a:pt x="27911" y="34825"/>
                                                    <a:pt x="26745" y="29901"/>
                                                    <a:pt x="26939" y="25302"/>
                                                  </a:cubicBezTo>
                                                  <a:cubicBezTo>
                                                    <a:pt x="27328" y="17462"/>
                                                    <a:pt x="31733" y="9235"/>
                                                    <a:pt x="28299" y="2108"/>
                                                  </a:cubicBezTo>
                                                  <a:cubicBezTo>
                                                    <a:pt x="27781" y="1007"/>
                                                    <a:pt x="26745" y="-224"/>
                                                    <a:pt x="25514" y="35"/>
                                                  </a:cubicBezTo>
                                                  <a:cubicBezTo>
                                                    <a:pt x="25190" y="3339"/>
                                                    <a:pt x="22080" y="5671"/>
                                                    <a:pt x="18970" y="6838"/>
                                                  </a:cubicBezTo>
                                                  <a:cubicBezTo>
                                                    <a:pt x="15861" y="8004"/>
                                                    <a:pt x="12492" y="8457"/>
                                                    <a:pt x="9641" y="10206"/>
                                                  </a:cubicBezTo>
                                                  <a:cubicBezTo>
                                                    <a:pt x="10354" y="12603"/>
                                                    <a:pt x="9382" y="15389"/>
                                                    <a:pt x="7374" y="16879"/>
                                                  </a:cubicBezTo>
                                                  <a:cubicBezTo>
                                                    <a:pt x="5948" y="17916"/>
                                                    <a:pt x="4134" y="18305"/>
                                                    <a:pt x="2709" y="19406"/>
                                                  </a:cubicBezTo>
                                                  <a:cubicBezTo>
                                                    <a:pt x="183" y="21285"/>
                                                    <a:pt x="-530" y="24977"/>
                                                    <a:pt x="377" y="28022"/>
                                                  </a:cubicBezTo>
                                                  <a:cubicBezTo>
                                                    <a:pt x="1284" y="31067"/>
                                                    <a:pt x="3486" y="33529"/>
                                                    <a:pt x="5819" y="35667"/>
                                                  </a:cubicBezTo>
                                                  <a:cubicBezTo>
                                                    <a:pt x="5365" y="39749"/>
                                                    <a:pt x="5171" y="44478"/>
                                                    <a:pt x="8151" y="47264"/>
                                                  </a:cubicBezTo>
                                                  <a:cubicBezTo>
                                                    <a:pt x="10872" y="49790"/>
                                                    <a:pt x="15018" y="49596"/>
                                                    <a:pt x="18646" y="49337"/>
                                                  </a:cubicBezTo>
                                                  <a:cubicBezTo>
                                                    <a:pt x="21108" y="49143"/>
                                                    <a:pt x="24089" y="48495"/>
                                                    <a:pt x="24801" y="46162"/>
                                                  </a:cubicBezTo>
                                                  <a:cubicBezTo>
                                                    <a:pt x="25190" y="44802"/>
                                                    <a:pt x="24671" y="43377"/>
                                                    <a:pt x="24930" y="4195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6" name="Freeform: Shape 206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780D19E-EB52-40FD-9AA3-334FF0FF5CD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912280" y="2874620"/>
                                              <a:ext cx="320061" cy="29309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89474 w 320061"/>
                                                <a:gd name="connsiteY0" fmla="*/ 221178 h 293090"/>
                                                <a:gd name="connsiteX1" fmla="*/ 299127 w 320061"/>
                                                <a:gd name="connsiteY1" fmla="*/ 188915 h 293090"/>
                                                <a:gd name="connsiteX2" fmla="*/ 287466 w 320061"/>
                                                <a:gd name="connsiteY2" fmla="*/ 164880 h 293090"/>
                                                <a:gd name="connsiteX3" fmla="*/ 283708 w 320061"/>
                                                <a:gd name="connsiteY3" fmla="*/ 161446 h 293090"/>
                                                <a:gd name="connsiteX4" fmla="*/ 275545 w 320061"/>
                                                <a:gd name="connsiteY4" fmla="*/ 158012 h 293090"/>
                                                <a:gd name="connsiteX5" fmla="*/ 280210 w 320061"/>
                                                <a:gd name="connsiteY5" fmla="*/ 145185 h 293090"/>
                                                <a:gd name="connsiteX6" fmla="*/ 292130 w 320061"/>
                                                <a:gd name="connsiteY6" fmla="*/ 135467 h 293090"/>
                                                <a:gd name="connsiteX7" fmla="*/ 293361 w 320061"/>
                                                <a:gd name="connsiteY7" fmla="*/ 127433 h 293090"/>
                                                <a:gd name="connsiteX8" fmla="*/ 301135 w 320061"/>
                                                <a:gd name="connsiteY8" fmla="*/ 119918 h 293090"/>
                                                <a:gd name="connsiteX9" fmla="*/ 310206 w 320061"/>
                                                <a:gd name="connsiteY9" fmla="*/ 113569 h 293090"/>
                                                <a:gd name="connsiteX10" fmla="*/ 309817 w 320061"/>
                                                <a:gd name="connsiteY10" fmla="*/ 113245 h 293090"/>
                                                <a:gd name="connsiteX11" fmla="*/ 309039 w 320061"/>
                                                <a:gd name="connsiteY11" fmla="*/ 109034 h 293090"/>
                                                <a:gd name="connsiteX12" fmla="*/ 313963 w 320061"/>
                                                <a:gd name="connsiteY12" fmla="*/ 84481 h 293090"/>
                                                <a:gd name="connsiteX13" fmla="*/ 319470 w 320061"/>
                                                <a:gd name="connsiteY13" fmla="*/ 76901 h 293090"/>
                                                <a:gd name="connsiteX14" fmla="*/ 317137 w 320061"/>
                                                <a:gd name="connsiteY14" fmla="*/ 68802 h 293090"/>
                                                <a:gd name="connsiteX15" fmla="*/ 311890 w 320061"/>
                                                <a:gd name="connsiteY15" fmla="*/ 68284 h 293090"/>
                                                <a:gd name="connsiteX16" fmla="*/ 306383 w 320061"/>
                                                <a:gd name="connsiteY16" fmla="*/ 65174 h 293090"/>
                                                <a:gd name="connsiteX17" fmla="*/ 277489 w 320061"/>
                                                <a:gd name="connsiteY17" fmla="*/ 59214 h 293090"/>
                                                <a:gd name="connsiteX18" fmla="*/ 275675 w 320061"/>
                                                <a:gd name="connsiteY18" fmla="*/ 53189 h 293090"/>
                                                <a:gd name="connsiteX19" fmla="*/ 272112 w 320061"/>
                                                <a:gd name="connsiteY19" fmla="*/ 55068 h 293090"/>
                                                <a:gd name="connsiteX20" fmla="*/ 258312 w 320061"/>
                                                <a:gd name="connsiteY20" fmla="*/ 55197 h 293090"/>
                                                <a:gd name="connsiteX21" fmla="*/ 252417 w 320061"/>
                                                <a:gd name="connsiteY21" fmla="*/ 51245 h 293090"/>
                                                <a:gd name="connsiteX22" fmla="*/ 237775 w 320061"/>
                                                <a:gd name="connsiteY22" fmla="*/ 45285 h 293090"/>
                                                <a:gd name="connsiteX23" fmla="*/ 231167 w 320061"/>
                                                <a:gd name="connsiteY23" fmla="*/ 37835 h 293090"/>
                                                <a:gd name="connsiteX24" fmla="*/ 216072 w 320061"/>
                                                <a:gd name="connsiteY24" fmla="*/ 30125 h 293090"/>
                                                <a:gd name="connsiteX25" fmla="*/ 209205 w 320061"/>
                                                <a:gd name="connsiteY25" fmla="*/ 20861 h 293090"/>
                                                <a:gd name="connsiteX26" fmla="*/ 191647 w 320061"/>
                                                <a:gd name="connsiteY26" fmla="*/ 11273 h 293090"/>
                                                <a:gd name="connsiteX27" fmla="*/ 187631 w 320061"/>
                                                <a:gd name="connsiteY27" fmla="*/ 907 h 293090"/>
                                                <a:gd name="connsiteX28" fmla="*/ 186918 w 320061"/>
                                                <a:gd name="connsiteY28" fmla="*/ 0 h 293090"/>
                                                <a:gd name="connsiteX29" fmla="*/ 172860 w 320061"/>
                                                <a:gd name="connsiteY29" fmla="*/ 130 h 293090"/>
                                                <a:gd name="connsiteX30" fmla="*/ 167742 w 320061"/>
                                                <a:gd name="connsiteY30" fmla="*/ 1425 h 293090"/>
                                                <a:gd name="connsiteX31" fmla="*/ 165669 w 320061"/>
                                                <a:gd name="connsiteY31" fmla="*/ 5831 h 293090"/>
                                                <a:gd name="connsiteX32" fmla="*/ 159643 w 320061"/>
                                                <a:gd name="connsiteY32" fmla="*/ 31875 h 293090"/>
                                                <a:gd name="connsiteX33" fmla="*/ 135090 w 320061"/>
                                                <a:gd name="connsiteY33" fmla="*/ 46386 h 293090"/>
                                                <a:gd name="connsiteX34" fmla="*/ 125566 w 320061"/>
                                                <a:gd name="connsiteY34" fmla="*/ 49237 h 293090"/>
                                                <a:gd name="connsiteX35" fmla="*/ 123299 w 320061"/>
                                                <a:gd name="connsiteY35" fmla="*/ 58437 h 293090"/>
                                                <a:gd name="connsiteX36" fmla="*/ 116561 w 320061"/>
                                                <a:gd name="connsiteY36" fmla="*/ 61287 h 293090"/>
                                                <a:gd name="connsiteX37" fmla="*/ 85788 w 320061"/>
                                                <a:gd name="connsiteY37" fmla="*/ 49885 h 293090"/>
                                                <a:gd name="connsiteX38" fmla="*/ 71276 w 320061"/>
                                                <a:gd name="connsiteY38" fmla="*/ 44961 h 293090"/>
                                                <a:gd name="connsiteX39" fmla="*/ 82613 w 320061"/>
                                                <a:gd name="connsiteY39" fmla="*/ 85258 h 293090"/>
                                                <a:gd name="connsiteX40" fmla="*/ 16013 w 320061"/>
                                                <a:gd name="connsiteY40" fmla="*/ 80982 h 293090"/>
                                                <a:gd name="connsiteX41" fmla="*/ 12 w 320061"/>
                                                <a:gd name="connsiteY41" fmla="*/ 90052 h 293090"/>
                                                <a:gd name="connsiteX42" fmla="*/ 4417 w 320061"/>
                                                <a:gd name="connsiteY42" fmla="*/ 98863 h 293090"/>
                                                <a:gd name="connsiteX43" fmla="*/ 2797 w 320061"/>
                                                <a:gd name="connsiteY43" fmla="*/ 107415 h 293090"/>
                                                <a:gd name="connsiteX44" fmla="*/ 37393 w 320061"/>
                                                <a:gd name="connsiteY44" fmla="*/ 117457 h 293090"/>
                                                <a:gd name="connsiteX45" fmla="*/ 68879 w 320061"/>
                                                <a:gd name="connsiteY45" fmla="*/ 132811 h 293090"/>
                                                <a:gd name="connsiteX46" fmla="*/ 75681 w 320061"/>
                                                <a:gd name="connsiteY46" fmla="*/ 152635 h 293090"/>
                                                <a:gd name="connsiteX47" fmla="*/ 89027 w 320061"/>
                                                <a:gd name="connsiteY47" fmla="*/ 160280 h 293090"/>
                                                <a:gd name="connsiteX48" fmla="*/ 90971 w 320061"/>
                                                <a:gd name="connsiteY48" fmla="*/ 181076 h 293090"/>
                                                <a:gd name="connsiteX49" fmla="*/ 102308 w 320061"/>
                                                <a:gd name="connsiteY49" fmla="*/ 213858 h 293090"/>
                                                <a:gd name="connsiteX50" fmla="*/ 96089 w 320061"/>
                                                <a:gd name="connsiteY50" fmla="*/ 221761 h 293090"/>
                                                <a:gd name="connsiteX51" fmla="*/ 82289 w 320061"/>
                                                <a:gd name="connsiteY51" fmla="*/ 259208 h 293090"/>
                                                <a:gd name="connsiteX52" fmla="*/ 81447 w 320061"/>
                                                <a:gd name="connsiteY52" fmla="*/ 264002 h 293090"/>
                                                <a:gd name="connsiteX53" fmla="*/ 82419 w 320061"/>
                                                <a:gd name="connsiteY53" fmla="*/ 265945 h 293090"/>
                                                <a:gd name="connsiteX54" fmla="*/ 87407 w 320061"/>
                                                <a:gd name="connsiteY54" fmla="*/ 271646 h 293090"/>
                                                <a:gd name="connsiteX55" fmla="*/ 92785 w 320061"/>
                                                <a:gd name="connsiteY55" fmla="*/ 272035 h 293090"/>
                                                <a:gd name="connsiteX56" fmla="*/ 101466 w 320061"/>
                                                <a:gd name="connsiteY56" fmla="*/ 279550 h 293090"/>
                                                <a:gd name="connsiteX57" fmla="*/ 109111 w 320061"/>
                                                <a:gd name="connsiteY57" fmla="*/ 281688 h 293090"/>
                                                <a:gd name="connsiteX58" fmla="*/ 129907 w 320061"/>
                                                <a:gd name="connsiteY58" fmla="*/ 279162 h 293090"/>
                                                <a:gd name="connsiteX59" fmla="*/ 141763 w 320061"/>
                                                <a:gd name="connsiteY59" fmla="*/ 273720 h 293090"/>
                                                <a:gd name="connsiteX60" fmla="*/ 148436 w 320061"/>
                                                <a:gd name="connsiteY60" fmla="*/ 288037 h 293090"/>
                                                <a:gd name="connsiteX61" fmla="*/ 161976 w 320061"/>
                                                <a:gd name="connsiteY61" fmla="*/ 292896 h 293090"/>
                                                <a:gd name="connsiteX62" fmla="*/ 176812 w 320061"/>
                                                <a:gd name="connsiteY62" fmla="*/ 289333 h 293090"/>
                                                <a:gd name="connsiteX63" fmla="*/ 192425 w 320061"/>
                                                <a:gd name="connsiteY63" fmla="*/ 289592 h 293090"/>
                                                <a:gd name="connsiteX64" fmla="*/ 193850 w 320061"/>
                                                <a:gd name="connsiteY64" fmla="*/ 289527 h 293090"/>
                                                <a:gd name="connsiteX65" fmla="*/ 191972 w 320061"/>
                                                <a:gd name="connsiteY65" fmla="*/ 282336 h 293090"/>
                                                <a:gd name="connsiteX66" fmla="*/ 199875 w 320061"/>
                                                <a:gd name="connsiteY66" fmla="*/ 259791 h 293090"/>
                                                <a:gd name="connsiteX67" fmla="*/ 219117 w 320061"/>
                                                <a:gd name="connsiteY67" fmla="*/ 250850 h 293090"/>
                                                <a:gd name="connsiteX68" fmla="*/ 242375 w 320061"/>
                                                <a:gd name="connsiteY68" fmla="*/ 257199 h 293090"/>
                                                <a:gd name="connsiteX69" fmla="*/ 247363 w 320061"/>
                                                <a:gd name="connsiteY69" fmla="*/ 264455 h 293090"/>
                                                <a:gd name="connsiteX70" fmla="*/ 257600 w 320061"/>
                                                <a:gd name="connsiteY70" fmla="*/ 266204 h 293090"/>
                                                <a:gd name="connsiteX71" fmla="*/ 261098 w 320061"/>
                                                <a:gd name="connsiteY71" fmla="*/ 270545 h 293090"/>
                                                <a:gd name="connsiteX72" fmla="*/ 279368 w 320061"/>
                                                <a:gd name="connsiteY72" fmla="*/ 271323 h 293090"/>
                                                <a:gd name="connsiteX73" fmla="*/ 292713 w 320061"/>
                                                <a:gd name="connsiteY73" fmla="*/ 256357 h 293090"/>
                                                <a:gd name="connsiteX74" fmla="*/ 306902 w 320061"/>
                                                <a:gd name="connsiteY74" fmla="*/ 243205 h 293090"/>
                                                <a:gd name="connsiteX75" fmla="*/ 295369 w 320061"/>
                                                <a:gd name="connsiteY75" fmla="*/ 230119 h 293090"/>
                                                <a:gd name="connsiteX76" fmla="*/ 289474 w 320061"/>
                                                <a:gd name="connsiteY76" fmla="*/ 221114 h 29309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20061" h="293090">
                                                  <a:moveTo>
                                                    <a:pt x="289474" y="221178"/>
                                                  </a:moveTo>
                                                  <a:cubicBezTo>
                                                    <a:pt x="286170" y="210165"/>
                                                    <a:pt x="298220" y="200317"/>
                                                    <a:pt x="299127" y="188915"/>
                                                  </a:cubicBezTo>
                                                  <a:cubicBezTo>
                                                    <a:pt x="299840" y="179780"/>
                                                    <a:pt x="293491" y="171812"/>
                                                    <a:pt x="287466" y="164880"/>
                                                  </a:cubicBezTo>
                                                  <a:cubicBezTo>
                                                    <a:pt x="286364" y="163584"/>
                                                    <a:pt x="285198" y="162288"/>
                                                    <a:pt x="283708" y="161446"/>
                                                  </a:cubicBezTo>
                                                  <a:cubicBezTo>
                                                    <a:pt x="281117" y="160021"/>
                                                    <a:pt x="277618" y="160085"/>
                                                    <a:pt x="275545" y="158012"/>
                                                  </a:cubicBezTo>
                                                  <a:cubicBezTo>
                                                    <a:pt x="271787" y="154320"/>
                                                    <a:pt x="275675" y="147906"/>
                                                    <a:pt x="280210" y="145185"/>
                                                  </a:cubicBezTo>
                                                  <a:cubicBezTo>
                                                    <a:pt x="284745" y="142464"/>
                                                    <a:pt x="290511" y="140455"/>
                                                    <a:pt x="292130" y="135467"/>
                                                  </a:cubicBezTo>
                                                  <a:cubicBezTo>
                                                    <a:pt x="292972" y="132875"/>
                                                    <a:pt x="292454" y="130025"/>
                                                    <a:pt x="293361" y="127433"/>
                                                  </a:cubicBezTo>
                                                  <a:cubicBezTo>
                                                    <a:pt x="294592" y="123935"/>
                                                    <a:pt x="298026" y="121862"/>
                                                    <a:pt x="301135" y="119918"/>
                                                  </a:cubicBezTo>
                                                  <a:cubicBezTo>
                                                    <a:pt x="304245" y="117975"/>
                                                    <a:pt x="307290" y="115837"/>
                                                    <a:pt x="310206" y="113569"/>
                                                  </a:cubicBezTo>
                                                  <a:cubicBezTo>
                                                    <a:pt x="310076" y="113440"/>
                                                    <a:pt x="309946" y="113375"/>
                                                    <a:pt x="309817" y="113245"/>
                                                  </a:cubicBezTo>
                                                  <a:cubicBezTo>
                                                    <a:pt x="309039" y="112014"/>
                                                    <a:pt x="309039" y="110460"/>
                                                    <a:pt x="309039" y="109034"/>
                                                  </a:cubicBezTo>
                                                  <a:cubicBezTo>
                                                    <a:pt x="308910" y="100547"/>
                                                    <a:pt x="309039" y="91413"/>
                                                    <a:pt x="313963" y="84481"/>
                                                  </a:cubicBezTo>
                                                  <a:cubicBezTo>
                                                    <a:pt x="315777" y="81954"/>
                                                    <a:pt x="318239" y="79751"/>
                                                    <a:pt x="319470" y="76901"/>
                                                  </a:cubicBezTo>
                                                  <a:cubicBezTo>
                                                    <a:pt x="320701" y="74050"/>
                                                    <a:pt x="320053" y="69968"/>
                                                    <a:pt x="317137" y="68802"/>
                                                  </a:cubicBezTo>
                                                  <a:cubicBezTo>
                                                    <a:pt x="315518" y="68155"/>
                                                    <a:pt x="313639" y="68608"/>
                                                    <a:pt x="311890" y="68284"/>
                                                  </a:cubicBezTo>
                                                  <a:cubicBezTo>
                                                    <a:pt x="309817" y="67895"/>
                                                    <a:pt x="308132" y="66405"/>
                                                    <a:pt x="306383" y="65174"/>
                                                  </a:cubicBezTo>
                                                  <a:cubicBezTo>
                                                    <a:pt x="298220" y="59408"/>
                                                    <a:pt x="287466" y="59214"/>
                                                    <a:pt x="277489" y="59214"/>
                                                  </a:cubicBezTo>
                                                  <a:cubicBezTo>
                                                    <a:pt x="276387" y="57271"/>
                                                    <a:pt x="275869" y="55262"/>
                                                    <a:pt x="275675" y="53189"/>
                                                  </a:cubicBezTo>
                                                  <a:cubicBezTo>
                                                    <a:pt x="274509" y="53902"/>
                                                    <a:pt x="273343" y="54550"/>
                                                    <a:pt x="272112" y="55068"/>
                                                  </a:cubicBezTo>
                                                  <a:cubicBezTo>
                                                    <a:pt x="267706" y="56947"/>
                                                    <a:pt x="262523" y="57400"/>
                                                    <a:pt x="258312" y="55197"/>
                                                  </a:cubicBezTo>
                                                  <a:cubicBezTo>
                                                    <a:pt x="256174" y="54096"/>
                                                    <a:pt x="254490" y="52412"/>
                                                    <a:pt x="252417" y="51245"/>
                                                  </a:cubicBezTo>
                                                  <a:cubicBezTo>
                                                    <a:pt x="247817" y="48589"/>
                                                    <a:pt x="241856" y="48654"/>
                                                    <a:pt x="237775" y="45285"/>
                                                  </a:cubicBezTo>
                                                  <a:cubicBezTo>
                                                    <a:pt x="235184" y="43147"/>
                                                    <a:pt x="233694" y="39973"/>
                                                    <a:pt x="231167" y="37835"/>
                                                  </a:cubicBezTo>
                                                  <a:cubicBezTo>
                                                    <a:pt x="226826" y="34142"/>
                                                    <a:pt x="220218" y="34013"/>
                                                    <a:pt x="216072" y="30125"/>
                                                  </a:cubicBezTo>
                                                  <a:cubicBezTo>
                                                    <a:pt x="213286" y="27469"/>
                                                    <a:pt x="212055" y="23517"/>
                                                    <a:pt x="209205" y="20861"/>
                                                  </a:cubicBezTo>
                                                  <a:cubicBezTo>
                                                    <a:pt x="204281" y="16261"/>
                                                    <a:pt x="195535" y="16779"/>
                                                    <a:pt x="191647" y="11273"/>
                                                  </a:cubicBezTo>
                                                  <a:cubicBezTo>
                                                    <a:pt x="189510" y="8228"/>
                                                    <a:pt x="189445" y="4146"/>
                                                    <a:pt x="187631" y="907"/>
                                                  </a:cubicBezTo>
                                                  <a:cubicBezTo>
                                                    <a:pt x="187437" y="583"/>
                                                    <a:pt x="187177" y="324"/>
                                                    <a:pt x="186918" y="0"/>
                                                  </a:cubicBezTo>
                                                  <a:cubicBezTo>
                                                    <a:pt x="182254" y="0"/>
                                                    <a:pt x="177524" y="130"/>
                                                    <a:pt x="172860" y="130"/>
                                                  </a:cubicBezTo>
                                                  <a:cubicBezTo>
                                                    <a:pt x="171046" y="130"/>
                                                    <a:pt x="169102" y="259"/>
                                                    <a:pt x="167742" y="1425"/>
                                                  </a:cubicBezTo>
                                                  <a:cubicBezTo>
                                                    <a:pt x="166511" y="2527"/>
                                                    <a:pt x="166057" y="4211"/>
                                                    <a:pt x="165669" y="5831"/>
                                                  </a:cubicBezTo>
                                                  <a:cubicBezTo>
                                                    <a:pt x="163660" y="14512"/>
                                                    <a:pt x="161652" y="23193"/>
                                                    <a:pt x="159643" y="31875"/>
                                                  </a:cubicBezTo>
                                                  <a:cubicBezTo>
                                                    <a:pt x="154590" y="40426"/>
                                                    <a:pt x="145002" y="46063"/>
                                                    <a:pt x="135090" y="46386"/>
                                                  </a:cubicBezTo>
                                                  <a:cubicBezTo>
                                                    <a:pt x="131656" y="46516"/>
                                                    <a:pt x="127445" y="46386"/>
                                                    <a:pt x="125566" y="49237"/>
                                                  </a:cubicBezTo>
                                                  <a:cubicBezTo>
                                                    <a:pt x="123817" y="51893"/>
                                                    <a:pt x="125048" y="55780"/>
                                                    <a:pt x="123299" y="58437"/>
                                                  </a:cubicBezTo>
                                                  <a:cubicBezTo>
                                                    <a:pt x="121874" y="60510"/>
                                                    <a:pt x="119088" y="61093"/>
                                                    <a:pt x="116561" y="61287"/>
                                                  </a:cubicBezTo>
                                                  <a:cubicBezTo>
                                                    <a:pt x="105353" y="62000"/>
                                                    <a:pt x="93886" y="57724"/>
                                                    <a:pt x="85788" y="49885"/>
                                                  </a:cubicBezTo>
                                                  <a:cubicBezTo>
                                                    <a:pt x="81641" y="45868"/>
                                                    <a:pt x="75163" y="40750"/>
                                                    <a:pt x="71276" y="44961"/>
                                                  </a:cubicBezTo>
                                                  <a:cubicBezTo>
                                                    <a:pt x="70757" y="59473"/>
                                                    <a:pt x="89934" y="72689"/>
                                                    <a:pt x="82613" y="85258"/>
                                                  </a:cubicBezTo>
                                                  <a:cubicBezTo>
                                                    <a:pt x="60456" y="82990"/>
                                                    <a:pt x="38235" y="81565"/>
                                                    <a:pt x="16013" y="80982"/>
                                                  </a:cubicBezTo>
                                                  <a:cubicBezTo>
                                                    <a:pt x="9081" y="80788"/>
                                                    <a:pt x="-377" y="83120"/>
                                                    <a:pt x="12" y="90052"/>
                                                  </a:cubicBezTo>
                                                  <a:cubicBezTo>
                                                    <a:pt x="206" y="93356"/>
                                                    <a:pt x="2862" y="95948"/>
                                                    <a:pt x="4417" y="98863"/>
                                                  </a:cubicBezTo>
                                                  <a:cubicBezTo>
                                                    <a:pt x="5972" y="101778"/>
                                                    <a:pt x="5972" y="106443"/>
                                                    <a:pt x="2797" y="107415"/>
                                                  </a:cubicBezTo>
                                                  <a:cubicBezTo>
                                                    <a:pt x="11025" y="116679"/>
                                                    <a:pt x="25084" y="116873"/>
                                                    <a:pt x="37393" y="117457"/>
                                                  </a:cubicBezTo>
                                                  <a:cubicBezTo>
                                                    <a:pt x="49767" y="118040"/>
                                                    <a:pt x="64279" y="121344"/>
                                                    <a:pt x="68879" y="132811"/>
                                                  </a:cubicBezTo>
                                                  <a:cubicBezTo>
                                                    <a:pt x="71535" y="139419"/>
                                                    <a:pt x="70434" y="147906"/>
                                                    <a:pt x="75681" y="152635"/>
                                                  </a:cubicBezTo>
                                                  <a:cubicBezTo>
                                                    <a:pt x="79503" y="156069"/>
                                                    <a:pt x="85658" y="156328"/>
                                                    <a:pt x="89027" y="160280"/>
                                                  </a:cubicBezTo>
                                                  <a:cubicBezTo>
                                                    <a:pt x="93691" y="165722"/>
                                                    <a:pt x="90064" y="174014"/>
                                                    <a:pt x="90971" y="181076"/>
                                                  </a:cubicBezTo>
                                                  <a:cubicBezTo>
                                                    <a:pt x="92461" y="192932"/>
                                                    <a:pt x="106843" y="202844"/>
                                                    <a:pt x="102308" y="213858"/>
                                                  </a:cubicBezTo>
                                                  <a:cubicBezTo>
                                                    <a:pt x="101012" y="216967"/>
                                                    <a:pt x="98421" y="219300"/>
                                                    <a:pt x="96089" y="221761"/>
                                                  </a:cubicBezTo>
                                                  <a:cubicBezTo>
                                                    <a:pt x="86759" y="231738"/>
                                                    <a:pt x="81641" y="245538"/>
                                                    <a:pt x="82289" y="259208"/>
                                                  </a:cubicBezTo>
                                                  <a:cubicBezTo>
                                                    <a:pt x="82354" y="260827"/>
                                                    <a:pt x="82289" y="262771"/>
                                                    <a:pt x="81447" y="264002"/>
                                                  </a:cubicBezTo>
                                                  <a:cubicBezTo>
                                                    <a:pt x="81771" y="264650"/>
                                                    <a:pt x="82095" y="265297"/>
                                                    <a:pt x="82419" y="265945"/>
                                                  </a:cubicBezTo>
                                                  <a:cubicBezTo>
                                                    <a:pt x="83520" y="268278"/>
                                                    <a:pt x="84946" y="270869"/>
                                                    <a:pt x="87407" y="271646"/>
                                                  </a:cubicBezTo>
                                                  <a:cubicBezTo>
                                                    <a:pt x="89157" y="272165"/>
                                                    <a:pt x="91035" y="271646"/>
                                                    <a:pt x="92785" y="272035"/>
                                                  </a:cubicBezTo>
                                                  <a:cubicBezTo>
                                                    <a:pt x="96607" y="272877"/>
                                                    <a:pt x="98291" y="277348"/>
                                                    <a:pt x="101466" y="279550"/>
                                                  </a:cubicBezTo>
                                                  <a:cubicBezTo>
                                                    <a:pt x="103669" y="281040"/>
                                                    <a:pt x="106454" y="281364"/>
                                                    <a:pt x="109111" y="281688"/>
                                                  </a:cubicBezTo>
                                                  <a:cubicBezTo>
                                                    <a:pt x="116237" y="282466"/>
                                                    <a:pt x="123947" y="283113"/>
                                                    <a:pt x="129907" y="279162"/>
                                                  </a:cubicBezTo>
                                                  <a:cubicBezTo>
                                                    <a:pt x="133665" y="276635"/>
                                                    <a:pt x="137487" y="272230"/>
                                                    <a:pt x="141763" y="273720"/>
                                                  </a:cubicBezTo>
                                                  <a:cubicBezTo>
                                                    <a:pt x="146946" y="275534"/>
                                                    <a:pt x="145715" y="283308"/>
                                                    <a:pt x="148436" y="288037"/>
                                                  </a:cubicBezTo>
                                                  <a:cubicBezTo>
                                                    <a:pt x="151027" y="292443"/>
                                                    <a:pt x="156922" y="293609"/>
                                                    <a:pt x="161976" y="292896"/>
                                                  </a:cubicBezTo>
                                                  <a:cubicBezTo>
                                                    <a:pt x="167029" y="292184"/>
                                                    <a:pt x="171759" y="289981"/>
                                                    <a:pt x="176812" y="289333"/>
                                                  </a:cubicBezTo>
                                                  <a:cubicBezTo>
                                                    <a:pt x="181994" y="288685"/>
                                                    <a:pt x="187242" y="289657"/>
                                                    <a:pt x="192425" y="289592"/>
                                                  </a:cubicBezTo>
                                                  <a:cubicBezTo>
                                                    <a:pt x="192878" y="289592"/>
                                                    <a:pt x="193397" y="289592"/>
                                                    <a:pt x="193850" y="289527"/>
                                                  </a:cubicBezTo>
                                                  <a:cubicBezTo>
                                                    <a:pt x="193008" y="287130"/>
                                                    <a:pt x="192231" y="284733"/>
                                                    <a:pt x="191972" y="282336"/>
                                                  </a:cubicBezTo>
                                                  <a:cubicBezTo>
                                                    <a:pt x="191129" y="274238"/>
                                                    <a:pt x="195535" y="266658"/>
                                                    <a:pt x="199875" y="259791"/>
                                                  </a:cubicBezTo>
                                                  <a:cubicBezTo>
                                                    <a:pt x="206549" y="263289"/>
                                                    <a:pt x="212703" y="254737"/>
                                                    <a:pt x="219117" y="250850"/>
                                                  </a:cubicBezTo>
                                                  <a:cubicBezTo>
                                                    <a:pt x="226826" y="246186"/>
                                                    <a:pt x="238099" y="249295"/>
                                                    <a:pt x="242375" y="257199"/>
                                                  </a:cubicBezTo>
                                                  <a:cubicBezTo>
                                                    <a:pt x="243800" y="259855"/>
                                                    <a:pt x="244707" y="263095"/>
                                                    <a:pt x="247363" y="264455"/>
                                                  </a:cubicBezTo>
                                                  <a:cubicBezTo>
                                                    <a:pt x="250473" y="266075"/>
                                                    <a:pt x="254684" y="264261"/>
                                                    <a:pt x="257600" y="266204"/>
                                                  </a:cubicBezTo>
                                                  <a:cubicBezTo>
                                                    <a:pt x="259154" y="267241"/>
                                                    <a:pt x="259932" y="269055"/>
                                                    <a:pt x="261098" y="270545"/>
                                                  </a:cubicBezTo>
                                                  <a:cubicBezTo>
                                                    <a:pt x="265309" y="275793"/>
                                                    <a:pt x="273796" y="275080"/>
                                                    <a:pt x="279368" y="271323"/>
                                                  </a:cubicBezTo>
                                                  <a:cubicBezTo>
                                                    <a:pt x="284939" y="267565"/>
                                                    <a:pt x="288437" y="261540"/>
                                                    <a:pt x="292713" y="256357"/>
                                                  </a:cubicBezTo>
                                                  <a:cubicBezTo>
                                                    <a:pt x="296860" y="251369"/>
                                                    <a:pt x="301783" y="247157"/>
                                                    <a:pt x="306902" y="243205"/>
                                                  </a:cubicBezTo>
                                                  <a:cubicBezTo>
                                                    <a:pt x="303079" y="238865"/>
                                                    <a:pt x="299192" y="234524"/>
                                                    <a:pt x="295369" y="230119"/>
                                                  </a:cubicBezTo>
                                                  <a:cubicBezTo>
                                                    <a:pt x="292972" y="227398"/>
                                                    <a:pt x="290511" y="224547"/>
                                                    <a:pt x="289474" y="22111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7" name="Freeform: Shape 206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126934E-7235-48E9-9EA4-1756033E9F9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186406" y="2984740"/>
                                              <a:ext cx="104198" cy="7315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3877 w 104198"/>
                                                <a:gd name="connsiteY0" fmla="*/ 66681 h 73159"/>
                                                <a:gd name="connsiteX1" fmla="*/ 50462 w 104198"/>
                                                <a:gd name="connsiteY1" fmla="*/ 49966 h 73159"/>
                                                <a:gd name="connsiteX2" fmla="*/ 53701 w 104198"/>
                                                <a:gd name="connsiteY2" fmla="*/ 48217 h 73159"/>
                                                <a:gd name="connsiteX3" fmla="*/ 55127 w 104198"/>
                                                <a:gd name="connsiteY3" fmla="*/ 48735 h 73159"/>
                                                <a:gd name="connsiteX4" fmla="*/ 64067 w 104198"/>
                                                <a:gd name="connsiteY4" fmla="*/ 56963 h 73159"/>
                                                <a:gd name="connsiteX5" fmla="*/ 66205 w 104198"/>
                                                <a:gd name="connsiteY5" fmla="*/ 59943 h 73159"/>
                                                <a:gd name="connsiteX6" fmla="*/ 76376 w 104198"/>
                                                <a:gd name="connsiteY6" fmla="*/ 61045 h 73159"/>
                                                <a:gd name="connsiteX7" fmla="*/ 77089 w 104198"/>
                                                <a:gd name="connsiteY7" fmla="*/ 50614 h 73159"/>
                                                <a:gd name="connsiteX8" fmla="*/ 93739 w 104198"/>
                                                <a:gd name="connsiteY8" fmla="*/ 49254 h 73159"/>
                                                <a:gd name="connsiteX9" fmla="*/ 96136 w 104198"/>
                                                <a:gd name="connsiteY9" fmla="*/ 48606 h 73159"/>
                                                <a:gd name="connsiteX10" fmla="*/ 98079 w 104198"/>
                                                <a:gd name="connsiteY10" fmla="*/ 40702 h 73159"/>
                                                <a:gd name="connsiteX11" fmla="*/ 103716 w 104198"/>
                                                <a:gd name="connsiteY11" fmla="*/ 35843 h 73159"/>
                                                <a:gd name="connsiteX12" fmla="*/ 101772 w 104198"/>
                                                <a:gd name="connsiteY12" fmla="*/ 29365 h 73159"/>
                                                <a:gd name="connsiteX13" fmla="*/ 95618 w 104198"/>
                                                <a:gd name="connsiteY13" fmla="*/ 25412 h 73159"/>
                                                <a:gd name="connsiteX14" fmla="*/ 89852 w 104198"/>
                                                <a:gd name="connsiteY14" fmla="*/ 4746 h 73159"/>
                                                <a:gd name="connsiteX15" fmla="*/ 89852 w 104198"/>
                                                <a:gd name="connsiteY15" fmla="*/ 4228 h 73159"/>
                                                <a:gd name="connsiteX16" fmla="*/ 88232 w 104198"/>
                                                <a:gd name="connsiteY16" fmla="*/ 5135 h 73159"/>
                                                <a:gd name="connsiteX17" fmla="*/ 62577 w 104198"/>
                                                <a:gd name="connsiteY17" fmla="*/ 2543 h 73159"/>
                                                <a:gd name="connsiteX18" fmla="*/ 54090 w 104198"/>
                                                <a:gd name="connsiteY18" fmla="*/ 17 h 73159"/>
                                                <a:gd name="connsiteX19" fmla="*/ 44955 w 104198"/>
                                                <a:gd name="connsiteY19" fmla="*/ 4163 h 73159"/>
                                                <a:gd name="connsiteX20" fmla="*/ 36144 w 104198"/>
                                                <a:gd name="connsiteY20" fmla="*/ 3450 h 73159"/>
                                                <a:gd name="connsiteX21" fmla="*/ 27074 w 104198"/>
                                                <a:gd name="connsiteY21" fmla="*/ 9799 h 73159"/>
                                                <a:gd name="connsiteX22" fmla="*/ 19300 w 104198"/>
                                                <a:gd name="connsiteY22" fmla="*/ 17314 h 73159"/>
                                                <a:gd name="connsiteX23" fmla="*/ 18069 w 104198"/>
                                                <a:gd name="connsiteY23" fmla="*/ 25348 h 73159"/>
                                                <a:gd name="connsiteX24" fmla="*/ 6149 w 104198"/>
                                                <a:gd name="connsiteY24" fmla="*/ 35066 h 73159"/>
                                                <a:gd name="connsiteX25" fmla="*/ 1484 w 104198"/>
                                                <a:gd name="connsiteY25" fmla="*/ 47893 h 73159"/>
                                                <a:gd name="connsiteX26" fmla="*/ 9647 w 104198"/>
                                                <a:gd name="connsiteY26" fmla="*/ 51327 h 73159"/>
                                                <a:gd name="connsiteX27" fmla="*/ 13404 w 104198"/>
                                                <a:gd name="connsiteY27" fmla="*/ 54760 h 73159"/>
                                                <a:gd name="connsiteX28" fmla="*/ 24547 w 104198"/>
                                                <a:gd name="connsiteY28" fmla="*/ 73160 h 73159"/>
                                                <a:gd name="connsiteX29" fmla="*/ 27593 w 104198"/>
                                                <a:gd name="connsiteY29" fmla="*/ 71929 h 73159"/>
                                                <a:gd name="connsiteX30" fmla="*/ 33877 w 104198"/>
                                                <a:gd name="connsiteY30" fmla="*/ 66746 h 7315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4198" h="73159">
                                                  <a:moveTo>
                                                    <a:pt x="33877" y="66681"/>
                                                  </a:moveTo>
                                                  <a:cubicBezTo>
                                                    <a:pt x="39383" y="61109"/>
                                                    <a:pt x="44955" y="55538"/>
                                                    <a:pt x="50462" y="49966"/>
                                                  </a:cubicBezTo>
                                                  <a:cubicBezTo>
                                                    <a:pt x="51369" y="49059"/>
                                                    <a:pt x="52470" y="48087"/>
                                                    <a:pt x="53701" y="48217"/>
                                                  </a:cubicBezTo>
                                                  <a:cubicBezTo>
                                                    <a:pt x="54219" y="48217"/>
                                                    <a:pt x="54673" y="48476"/>
                                                    <a:pt x="55127" y="48735"/>
                                                  </a:cubicBezTo>
                                                  <a:cubicBezTo>
                                                    <a:pt x="58754" y="50614"/>
                                                    <a:pt x="61929" y="53465"/>
                                                    <a:pt x="64067" y="56963"/>
                                                  </a:cubicBezTo>
                                                  <a:cubicBezTo>
                                                    <a:pt x="64715" y="58000"/>
                                                    <a:pt x="65298" y="59101"/>
                                                    <a:pt x="66205" y="59943"/>
                                                  </a:cubicBezTo>
                                                  <a:cubicBezTo>
                                                    <a:pt x="68796" y="62405"/>
                                                    <a:pt x="72878" y="61757"/>
                                                    <a:pt x="76376" y="61045"/>
                                                  </a:cubicBezTo>
                                                  <a:cubicBezTo>
                                                    <a:pt x="77283" y="57676"/>
                                                    <a:pt x="77477" y="54113"/>
                                                    <a:pt x="77089" y="50614"/>
                                                  </a:cubicBezTo>
                                                  <a:lnTo>
                                                    <a:pt x="93739" y="49254"/>
                                                  </a:lnTo>
                                                  <a:cubicBezTo>
                                                    <a:pt x="94581" y="49189"/>
                                                    <a:pt x="95423" y="49124"/>
                                                    <a:pt x="96136" y="48606"/>
                                                  </a:cubicBezTo>
                                                  <a:cubicBezTo>
                                                    <a:pt x="98468" y="47051"/>
                                                    <a:pt x="96784" y="43164"/>
                                                    <a:pt x="98079" y="40702"/>
                                                  </a:cubicBezTo>
                                                  <a:cubicBezTo>
                                                    <a:pt x="99246" y="38499"/>
                                                    <a:pt x="102485" y="38046"/>
                                                    <a:pt x="103716" y="35843"/>
                                                  </a:cubicBezTo>
                                                  <a:cubicBezTo>
                                                    <a:pt x="104947" y="33705"/>
                                                    <a:pt x="103651" y="30984"/>
                                                    <a:pt x="101772" y="29365"/>
                                                  </a:cubicBezTo>
                                                  <a:cubicBezTo>
                                                    <a:pt x="99893" y="27810"/>
                                                    <a:pt x="97561" y="26903"/>
                                                    <a:pt x="95618" y="25412"/>
                                                  </a:cubicBezTo>
                                                  <a:cubicBezTo>
                                                    <a:pt x="89722" y="20813"/>
                                                    <a:pt x="89722" y="12196"/>
                                                    <a:pt x="89852" y="4746"/>
                                                  </a:cubicBezTo>
                                                  <a:cubicBezTo>
                                                    <a:pt x="89852" y="4551"/>
                                                    <a:pt x="89852" y="4357"/>
                                                    <a:pt x="89852" y="4228"/>
                                                  </a:cubicBezTo>
                                                  <a:cubicBezTo>
                                                    <a:pt x="89333" y="4551"/>
                                                    <a:pt x="88750" y="4811"/>
                                                    <a:pt x="88232" y="5135"/>
                                                  </a:cubicBezTo>
                                                  <a:cubicBezTo>
                                                    <a:pt x="79550" y="5523"/>
                                                    <a:pt x="70545" y="5912"/>
                                                    <a:pt x="62577" y="2543"/>
                                                  </a:cubicBezTo>
                                                  <a:cubicBezTo>
                                                    <a:pt x="59791" y="1377"/>
                                                    <a:pt x="57070" y="-178"/>
                                                    <a:pt x="54090" y="17"/>
                                                  </a:cubicBezTo>
                                                  <a:cubicBezTo>
                                                    <a:pt x="50721" y="211"/>
                                                    <a:pt x="47935" y="2608"/>
                                                    <a:pt x="44955" y="4163"/>
                                                  </a:cubicBezTo>
                                                  <a:cubicBezTo>
                                                    <a:pt x="42105" y="5588"/>
                                                    <a:pt x="38088" y="5912"/>
                                                    <a:pt x="36144" y="3450"/>
                                                  </a:cubicBezTo>
                                                  <a:cubicBezTo>
                                                    <a:pt x="33229" y="5653"/>
                                                    <a:pt x="30184" y="7856"/>
                                                    <a:pt x="27074" y="9799"/>
                                                  </a:cubicBezTo>
                                                  <a:cubicBezTo>
                                                    <a:pt x="23965" y="11743"/>
                                                    <a:pt x="20531" y="13816"/>
                                                    <a:pt x="19300" y="17314"/>
                                                  </a:cubicBezTo>
                                                  <a:cubicBezTo>
                                                    <a:pt x="18393" y="19841"/>
                                                    <a:pt x="18911" y="22756"/>
                                                    <a:pt x="18069" y="25348"/>
                                                  </a:cubicBezTo>
                                                  <a:cubicBezTo>
                                                    <a:pt x="16449" y="30336"/>
                                                    <a:pt x="10683" y="32345"/>
                                                    <a:pt x="6149" y="35066"/>
                                                  </a:cubicBezTo>
                                                  <a:cubicBezTo>
                                                    <a:pt x="1613" y="37787"/>
                                                    <a:pt x="-2209" y="44200"/>
                                                    <a:pt x="1484" y="47893"/>
                                                  </a:cubicBezTo>
                                                  <a:cubicBezTo>
                                                    <a:pt x="3622" y="50031"/>
                                                    <a:pt x="7055" y="49901"/>
                                                    <a:pt x="9647" y="51327"/>
                                                  </a:cubicBezTo>
                                                  <a:cubicBezTo>
                                                    <a:pt x="11137" y="52169"/>
                                                    <a:pt x="12303" y="53465"/>
                                                    <a:pt x="13404" y="54760"/>
                                                  </a:cubicBezTo>
                                                  <a:cubicBezTo>
                                                    <a:pt x="18134" y="60202"/>
                                                    <a:pt x="23057" y="66357"/>
                                                    <a:pt x="24547" y="73160"/>
                                                  </a:cubicBezTo>
                                                  <a:cubicBezTo>
                                                    <a:pt x="25584" y="72771"/>
                                                    <a:pt x="26621" y="72382"/>
                                                    <a:pt x="27593" y="71929"/>
                                                  </a:cubicBezTo>
                                                  <a:cubicBezTo>
                                                    <a:pt x="29990" y="70633"/>
                                                    <a:pt x="31933" y="68689"/>
                                                    <a:pt x="33877" y="6674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8" name="Freeform: Shape 206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7DAFDC3B-51B6-4561-862E-7B3DEE6B8CE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276095" y="2941827"/>
                                              <a:ext cx="184801" cy="8796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64459 w 184801"/>
                                                <a:gd name="connsiteY0" fmla="*/ 47269 h 87961"/>
                                                <a:gd name="connsiteX1" fmla="*/ 184802 w 184801"/>
                                                <a:gd name="connsiteY1" fmla="*/ 33470 h 87961"/>
                                                <a:gd name="connsiteX2" fmla="*/ 175278 w 184801"/>
                                                <a:gd name="connsiteY2" fmla="*/ 23039 h 87961"/>
                                                <a:gd name="connsiteX3" fmla="*/ 173140 w 184801"/>
                                                <a:gd name="connsiteY3" fmla="*/ 17727 h 87961"/>
                                                <a:gd name="connsiteX4" fmla="*/ 173853 w 184801"/>
                                                <a:gd name="connsiteY4" fmla="*/ 15589 h 87961"/>
                                                <a:gd name="connsiteX5" fmla="*/ 175019 w 184801"/>
                                                <a:gd name="connsiteY5" fmla="*/ 13062 h 87961"/>
                                                <a:gd name="connsiteX6" fmla="*/ 143987 w 184801"/>
                                                <a:gd name="connsiteY6" fmla="*/ 7815 h 87961"/>
                                                <a:gd name="connsiteX7" fmla="*/ 136666 w 184801"/>
                                                <a:gd name="connsiteY7" fmla="*/ 1854 h 87961"/>
                                                <a:gd name="connsiteX8" fmla="*/ 127726 w 184801"/>
                                                <a:gd name="connsiteY8" fmla="*/ 753 h 87961"/>
                                                <a:gd name="connsiteX9" fmla="*/ 123514 w 184801"/>
                                                <a:gd name="connsiteY9" fmla="*/ 5094 h 87961"/>
                                                <a:gd name="connsiteX10" fmla="*/ 94037 w 184801"/>
                                                <a:gd name="connsiteY10" fmla="*/ 11054 h 87961"/>
                                                <a:gd name="connsiteX11" fmla="*/ 90992 w 184801"/>
                                                <a:gd name="connsiteY11" fmla="*/ 9111 h 87961"/>
                                                <a:gd name="connsiteX12" fmla="*/ 86846 w 184801"/>
                                                <a:gd name="connsiteY12" fmla="*/ 13775 h 87961"/>
                                                <a:gd name="connsiteX13" fmla="*/ 78099 w 184801"/>
                                                <a:gd name="connsiteY13" fmla="*/ 26603 h 87961"/>
                                                <a:gd name="connsiteX14" fmla="*/ 78099 w 184801"/>
                                                <a:gd name="connsiteY14" fmla="*/ 36580 h 87961"/>
                                                <a:gd name="connsiteX15" fmla="*/ 74407 w 184801"/>
                                                <a:gd name="connsiteY15" fmla="*/ 45391 h 87961"/>
                                                <a:gd name="connsiteX16" fmla="*/ 69872 w 184801"/>
                                                <a:gd name="connsiteY16" fmla="*/ 46686 h 87961"/>
                                                <a:gd name="connsiteX17" fmla="*/ 45383 w 184801"/>
                                                <a:gd name="connsiteY17" fmla="*/ 45131 h 87961"/>
                                                <a:gd name="connsiteX18" fmla="*/ 30547 w 184801"/>
                                                <a:gd name="connsiteY18" fmla="*/ 47334 h 87961"/>
                                                <a:gd name="connsiteX19" fmla="*/ 14480 w 184801"/>
                                                <a:gd name="connsiteY19" fmla="*/ 44613 h 87961"/>
                                                <a:gd name="connsiteX20" fmla="*/ 33 w 184801"/>
                                                <a:gd name="connsiteY20" fmla="*/ 47399 h 87961"/>
                                                <a:gd name="connsiteX21" fmla="*/ 33 w 184801"/>
                                                <a:gd name="connsiteY21" fmla="*/ 47917 h 87961"/>
                                                <a:gd name="connsiteX22" fmla="*/ 3985 w 184801"/>
                                                <a:gd name="connsiteY22" fmla="*/ 66835 h 87961"/>
                                                <a:gd name="connsiteX23" fmla="*/ 11629 w 184801"/>
                                                <a:gd name="connsiteY23" fmla="*/ 65604 h 87961"/>
                                                <a:gd name="connsiteX24" fmla="*/ 15193 w 184801"/>
                                                <a:gd name="connsiteY24" fmla="*/ 66057 h 87961"/>
                                                <a:gd name="connsiteX25" fmla="*/ 20505 w 184801"/>
                                                <a:gd name="connsiteY25" fmla="*/ 72017 h 87961"/>
                                                <a:gd name="connsiteX26" fmla="*/ 19080 w 184801"/>
                                                <a:gd name="connsiteY26" fmla="*/ 78302 h 87961"/>
                                                <a:gd name="connsiteX27" fmla="*/ 22514 w 184801"/>
                                                <a:gd name="connsiteY27" fmla="*/ 77265 h 87961"/>
                                                <a:gd name="connsiteX28" fmla="*/ 31324 w 184801"/>
                                                <a:gd name="connsiteY28" fmla="*/ 72406 h 87961"/>
                                                <a:gd name="connsiteX29" fmla="*/ 57239 w 184801"/>
                                                <a:gd name="connsiteY29" fmla="*/ 68843 h 87961"/>
                                                <a:gd name="connsiteX30" fmla="*/ 60867 w 184801"/>
                                                <a:gd name="connsiteY30" fmla="*/ 69880 h 87961"/>
                                                <a:gd name="connsiteX31" fmla="*/ 61968 w 184801"/>
                                                <a:gd name="connsiteY31" fmla="*/ 72017 h 87961"/>
                                                <a:gd name="connsiteX32" fmla="*/ 64171 w 184801"/>
                                                <a:gd name="connsiteY32" fmla="*/ 82254 h 87961"/>
                                                <a:gd name="connsiteX33" fmla="*/ 76609 w 184801"/>
                                                <a:gd name="connsiteY33" fmla="*/ 87955 h 87961"/>
                                                <a:gd name="connsiteX34" fmla="*/ 90927 w 184801"/>
                                                <a:gd name="connsiteY34" fmla="*/ 86270 h 87961"/>
                                                <a:gd name="connsiteX35" fmla="*/ 116258 w 184801"/>
                                                <a:gd name="connsiteY35" fmla="*/ 85622 h 87961"/>
                                                <a:gd name="connsiteX36" fmla="*/ 126689 w 184801"/>
                                                <a:gd name="connsiteY36" fmla="*/ 77913 h 87961"/>
                                                <a:gd name="connsiteX37" fmla="*/ 133492 w 184801"/>
                                                <a:gd name="connsiteY37" fmla="*/ 77265 h 87961"/>
                                                <a:gd name="connsiteX38" fmla="*/ 143727 w 184801"/>
                                                <a:gd name="connsiteY38" fmla="*/ 73313 h 87961"/>
                                                <a:gd name="connsiteX39" fmla="*/ 149364 w 184801"/>
                                                <a:gd name="connsiteY39" fmla="*/ 74674 h 87961"/>
                                                <a:gd name="connsiteX40" fmla="*/ 160183 w 184801"/>
                                                <a:gd name="connsiteY40" fmla="*/ 71240 h 87961"/>
                                                <a:gd name="connsiteX41" fmla="*/ 158564 w 184801"/>
                                                <a:gd name="connsiteY41" fmla="*/ 52128 h 87961"/>
                                                <a:gd name="connsiteX42" fmla="*/ 164394 w 184801"/>
                                                <a:gd name="connsiteY42" fmla="*/ 47528 h 8796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84801" h="87961">
                                                  <a:moveTo>
                                                    <a:pt x="164459" y="47269"/>
                                                  </a:moveTo>
                                                  <a:cubicBezTo>
                                                    <a:pt x="171585" y="43123"/>
                                                    <a:pt x="178323" y="38523"/>
                                                    <a:pt x="184802" y="33470"/>
                                                  </a:cubicBezTo>
                                                  <a:cubicBezTo>
                                                    <a:pt x="180979" y="30749"/>
                                                    <a:pt x="178064" y="26862"/>
                                                    <a:pt x="175278" y="23039"/>
                                                  </a:cubicBezTo>
                                                  <a:cubicBezTo>
                                                    <a:pt x="174112" y="21420"/>
                                                    <a:pt x="172881" y="19671"/>
                                                    <a:pt x="173140" y="17727"/>
                                                  </a:cubicBezTo>
                                                  <a:cubicBezTo>
                                                    <a:pt x="173205" y="16950"/>
                                                    <a:pt x="173529" y="16302"/>
                                                    <a:pt x="173853" y="15589"/>
                                                  </a:cubicBezTo>
                                                  <a:cubicBezTo>
                                                    <a:pt x="174242" y="14747"/>
                                                    <a:pt x="174630" y="13905"/>
                                                    <a:pt x="175019" y="13062"/>
                                                  </a:cubicBezTo>
                                                  <a:cubicBezTo>
                                                    <a:pt x="164200" y="12609"/>
                                                    <a:pt x="152668" y="13969"/>
                                                    <a:pt x="143987" y="7815"/>
                                                  </a:cubicBezTo>
                                                  <a:cubicBezTo>
                                                    <a:pt x="141395" y="6001"/>
                                                    <a:pt x="139322" y="3604"/>
                                                    <a:pt x="136666" y="1854"/>
                                                  </a:cubicBezTo>
                                                  <a:cubicBezTo>
                                                    <a:pt x="134010" y="170"/>
                                                    <a:pt x="130511" y="-737"/>
                                                    <a:pt x="127726" y="753"/>
                                                  </a:cubicBezTo>
                                                  <a:cubicBezTo>
                                                    <a:pt x="125911" y="1725"/>
                                                    <a:pt x="124810" y="3539"/>
                                                    <a:pt x="123514" y="5094"/>
                                                  </a:cubicBezTo>
                                                  <a:cubicBezTo>
                                                    <a:pt x="116647" y="13451"/>
                                                    <a:pt x="103625" y="16107"/>
                                                    <a:pt x="94037" y="11054"/>
                                                  </a:cubicBezTo>
                                                  <a:cubicBezTo>
                                                    <a:pt x="93000" y="10471"/>
                                                    <a:pt x="92029" y="9823"/>
                                                    <a:pt x="90992" y="9111"/>
                                                  </a:cubicBezTo>
                                                  <a:cubicBezTo>
                                                    <a:pt x="89631" y="10730"/>
                                                    <a:pt x="88271" y="12285"/>
                                                    <a:pt x="86846" y="13775"/>
                                                  </a:cubicBezTo>
                                                  <a:cubicBezTo>
                                                    <a:pt x="83218" y="17597"/>
                                                    <a:pt x="79136" y="21420"/>
                                                    <a:pt x="78099" y="26603"/>
                                                  </a:cubicBezTo>
                                                  <a:cubicBezTo>
                                                    <a:pt x="77452" y="29842"/>
                                                    <a:pt x="78099" y="33211"/>
                                                    <a:pt x="78099" y="36580"/>
                                                  </a:cubicBezTo>
                                                  <a:cubicBezTo>
                                                    <a:pt x="78099" y="39948"/>
                                                    <a:pt x="77193" y="43577"/>
                                                    <a:pt x="74407" y="45391"/>
                                                  </a:cubicBezTo>
                                                  <a:cubicBezTo>
                                                    <a:pt x="73046" y="46233"/>
                                                    <a:pt x="71427" y="46492"/>
                                                    <a:pt x="69872" y="46686"/>
                                                  </a:cubicBezTo>
                                                  <a:cubicBezTo>
                                                    <a:pt x="61709" y="47399"/>
                                                    <a:pt x="53546" y="44483"/>
                                                    <a:pt x="45383" y="45131"/>
                                                  </a:cubicBezTo>
                                                  <a:cubicBezTo>
                                                    <a:pt x="40394" y="45520"/>
                                                    <a:pt x="35600" y="47205"/>
                                                    <a:pt x="30547" y="47334"/>
                                                  </a:cubicBezTo>
                                                  <a:cubicBezTo>
                                                    <a:pt x="25105" y="47464"/>
                                                    <a:pt x="19792" y="45650"/>
                                                    <a:pt x="14480" y="44613"/>
                                                  </a:cubicBezTo>
                                                  <a:cubicBezTo>
                                                    <a:pt x="9751" y="43706"/>
                                                    <a:pt x="4309" y="44937"/>
                                                    <a:pt x="33" y="47399"/>
                                                  </a:cubicBezTo>
                                                  <a:cubicBezTo>
                                                    <a:pt x="33" y="47593"/>
                                                    <a:pt x="33" y="47788"/>
                                                    <a:pt x="33" y="47917"/>
                                                  </a:cubicBezTo>
                                                  <a:cubicBezTo>
                                                    <a:pt x="-97" y="54461"/>
                                                    <a:pt x="-32" y="61976"/>
                                                    <a:pt x="3985" y="66835"/>
                                                  </a:cubicBezTo>
                                                  <a:cubicBezTo>
                                                    <a:pt x="6446" y="66122"/>
                                                    <a:pt x="9038" y="65604"/>
                                                    <a:pt x="11629" y="65604"/>
                                                  </a:cubicBezTo>
                                                  <a:cubicBezTo>
                                                    <a:pt x="12860" y="65604"/>
                                                    <a:pt x="14027" y="65668"/>
                                                    <a:pt x="15193" y="66057"/>
                                                  </a:cubicBezTo>
                                                  <a:cubicBezTo>
                                                    <a:pt x="17849" y="66899"/>
                                                    <a:pt x="19987" y="69297"/>
                                                    <a:pt x="20505" y="72017"/>
                                                  </a:cubicBezTo>
                                                  <a:cubicBezTo>
                                                    <a:pt x="20958" y="74220"/>
                                                    <a:pt x="20376" y="76488"/>
                                                    <a:pt x="19080" y="78302"/>
                                                  </a:cubicBezTo>
                                                  <a:cubicBezTo>
                                                    <a:pt x="20246" y="78042"/>
                                                    <a:pt x="21412" y="77719"/>
                                                    <a:pt x="22514" y="77265"/>
                                                  </a:cubicBezTo>
                                                  <a:cubicBezTo>
                                                    <a:pt x="25623" y="75969"/>
                                                    <a:pt x="28344" y="73896"/>
                                                    <a:pt x="31324" y="72406"/>
                                                  </a:cubicBezTo>
                                                  <a:cubicBezTo>
                                                    <a:pt x="39163" y="68389"/>
                                                    <a:pt x="48428" y="68584"/>
                                                    <a:pt x="57239" y="68843"/>
                                                  </a:cubicBezTo>
                                                  <a:cubicBezTo>
                                                    <a:pt x="58534" y="68843"/>
                                                    <a:pt x="59960" y="68972"/>
                                                    <a:pt x="60867" y="69880"/>
                                                  </a:cubicBezTo>
                                                  <a:cubicBezTo>
                                                    <a:pt x="61449" y="70463"/>
                                                    <a:pt x="61709" y="71240"/>
                                                    <a:pt x="61968" y="72017"/>
                                                  </a:cubicBezTo>
                                                  <a:cubicBezTo>
                                                    <a:pt x="62810" y="75386"/>
                                                    <a:pt x="62486" y="79144"/>
                                                    <a:pt x="64171" y="82254"/>
                                                  </a:cubicBezTo>
                                                  <a:cubicBezTo>
                                                    <a:pt x="66438" y="86465"/>
                                                    <a:pt x="71815" y="88084"/>
                                                    <a:pt x="76609" y="87955"/>
                                                  </a:cubicBezTo>
                                                  <a:cubicBezTo>
                                                    <a:pt x="81404" y="87825"/>
                                                    <a:pt x="86133" y="86400"/>
                                                    <a:pt x="90927" y="86270"/>
                                                  </a:cubicBezTo>
                                                  <a:cubicBezTo>
                                                    <a:pt x="99543" y="86141"/>
                                                    <a:pt x="108938" y="90157"/>
                                                    <a:pt x="116258" y="85622"/>
                                                  </a:cubicBezTo>
                                                  <a:cubicBezTo>
                                                    <a:pt x="119951" y="83290"/>
                                                    <a:pt x="122478" y="79014"/>
                                                    <a:pt x="126689" y="77913"/>
                                                  </a:cubicBezTo>
                                                  <a:cubicBezTo>
                                                    <a:pt x="128892" y="77330"/>
                                                    <a:pt x="131224" y="77783"/>
                                                    <a:pt x="133492" y="77265"/>
                                                  </a:cubicBezTo>
                                                  <a:cubicBezTo>
                                                    <a:pt x="137055" y="76423"/>
                                                    <a:pt x="140035" y="73248"/>
                                                    <a:pt x="143727" y="73313"/>
                                                  </a:cubicBezTo>
                                                  <a:cubicBezTo>
                                                    <a:pt x="145671" y="73313"/>
                                                    <a:pt x="147485" y="74350"/>
                                                    <a:pt x="149364" y="74674"/>
                                                  </a:cubicBezTo>
                                                  <a:cubicBezTo>
                                                    <a:pt x="153251" y="75322"/>
                                                    <a:pt x="156685" y="73378"/>
                                                    <a:pt x="160183" y="71240"/>
                                                  </a:cubicBezTo>
                                                  <a:cubicBezTo>
                                                    <a:pt x="158887" y="64567"/>
                                                    <a:pt x="154871" y="57635"/>
                                                    <a:pt x="158564" y="52128"/>
                                                  </a:cubicBezTo>
                                                  <a:cubicBezTo>
                                                    <a:pt x="159989" y="50055"/>
                                                    <a:pt x="162192" y="48824"/>
                                                    <a:pt x="164394" y="4752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69" name="Freeform: Shape 206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0002630-F08E-4B7C-BA4E-F80CE2B70D8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229424" y="3205951"/>
                                              <a:ext cx="43095" cy="7767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901 w 43095"/>
                                                <a:gd name="connsiteY0" fmla="*/ 19678 h 77671"/>
                                                <a:gd name="connsiteX1" fmla="*/ 6991 w 43095"/>
                                                <a:gd name="connsiteY1" fmla="*/ 26740 h 77671"/>
                                                <a:gd name="connsiteX2" fmla="*/ 14247 w 43095"/>
                                                <a:gd name="connsiteY2" fmla="*/ 28036 h 77671"/>
                                                <a:gd name="connsiteX3" fmla="*/ 12822 w 43095"/>
                                                <a:gd name="connsiteY3" fmla="*/ 34968 h 77671"/>
                                                <a:gd name="connsiteX4" fmla="*/ 10619 w 43095"/>
                                                <a:gd name="connsiteY4" fmla="*/ 41900 h 77671"/>
                                                <a:gd name="connsiteX5" fmla="*/ 12368 w 43095"/>
                                                <a:gd name="connsiteY5" fmla="*/ 44038 h 77671"/>
                                                <a:gd name="connsiteX6" fmla="*/ 11979 w 43095"/>
                                                <a:gd name="connsiteY6" fmla="*/ 49804 h 77671"/>
                                                <a:gd name="connsiteX7" fmla="*/ 9777 w 43095"/>
                                                <a:gd name="connsiteY7" fmla="*/ 71183 h 77671"/>
                                                <a:gd name="connsiteX8" fmla="*/ 11331 w 43095"/>
                                                <a:gd name="connsiteY8" fmla="*/ 75718 h 77671"/>
                                                <a:gd name="connsiteX9" fmla="*/ 18523 w 43095"/>
                                                <a:gd name="connsiteY9" fmla="*/ 77208 h 77671"/>
                                                <a:gd name="connsiteX10" fmla="*/ 24937 w 43095"/>
                                                <a:gd name="connsiteY10" fmla="*/ 72803 h 77671"/>
                                                <a:gd name="connsiteX11" fmla="*/ 26621 w 43095"/>
                                                <a:gd name="connsiteY11" fmla="*/ 70470 h 77671"/>
                                                <a:gd name="connsiteX12" fmla="*/ 31091 w 43095"/>
                                                <a:gd name="connsiteY12" fmla="*/ 62502 h 77671"/>
                                                <a:gd name="connsiteX13" fmla="*/ 38671 w 43095"/>
                                                <a:gd name="connsiteY13" fmla="*/ 57513 h 77671"/>
                                                <a:gd name="connsiteX14" fmla="*/ 41522 w 43095"/>
                                                <a:gd name="connsiteY14" fmla="*/ 47860 h 77671"/>
                                                <a:gd name="connsiteX15" fmla="*/ 42364 w 43095"/>
                                                <a:gd name="connsiteY15" fmla="*/ 13848 h 77671"/>
                                                <a:gd name="connsiteX16" fmla="*/ 39319 w 43095"/>
                                                <a:gd name="connsiteY16" fmla="*/ 4454 h 77671"/>
                                                <a:gd name="connsiteX17" fmla="*/ 30897 w 43095"/>
                                                <a:gd name="connsiteY17" fmla="*/ 48 h 77671"/>
                                                <a:gd name="connsiteX18" fmla="*/ 19041 w 43095"/>
                                                <a:gd name="connsiteY18" fmla="*/ 5231 h 77671"/>
                                                <a:gd name="connsiteX19" fmla="*/ 10360 w 43095"/>
                                                <a:gd name="connsiteY19" fmla="*/ 5425 h 77671"/>
                                                <a:gd name="connsiteX20" fmla="*/ 7056 w 43095"/>
                                                <a:gd name="connsiteY20" fmla="*/ 9572 h 77671"/>
                                                <a:gd name="connsiteX21" fmla="*/ 188 w 43095"/>
                                                <a:gd name="connsiteY21" fmla="*/ 14884 h 77671"/>
                                                <a:gd name="connsiteX22" fmla="*/ 966 w 43095"/>
                                                <a:gd name="connsiteY22" fmla="*/ 19549 h 7767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3095" h="77671">
                                                  <a:moveTo>
                                                    <a:pt x="901" y="19678"/>
                                                  </a:moveTo>
                                                  <a:cubicBezTo>
                                                    <a:pt x="2132" y="22658"/>
                                                    <a:pt x="3816" y="26027"/>
                                                    <a:pt x="6991" y="26740"/>
                                                  </a:cubicBezTo>
                                                  <a:cubicBezTo>
                                                    <a:pt x="9453" y="27323"/>
                                                    <a:pt x="12562" y="26157"/>
                                                    <a:pt x="14247" y="28036"/>
                                                  </a:cubicBezTo>
                                                  <a:cubicBezTo>
                                                    <a:pt x="15996" y="29914"/>
                                                    <a:pt x="14506" y="33024"/>
                                                    <a:pt x="12822" y="34968"/>
                                                  </a:cubicBezTo>
                                                  <a:cubicBezTo>
                                                    <a:pt x="11137" y="36911"/>
                                                    <a:pt x="9323" y="39632"/>
                                                    <a:pt x="10619" y="41900"/>
                                                  </a:cubicBezTo>
                                                  <a:cubicBezTo>
                                                    <a:pt x="11072" y="42677"/>
                                                    <a:pt x="11850" y="43260"/>
                                                    <a:pt x="12368" y="44038"/>
                                                  </a:cubicBezTo>
                                                  <a:cubicBezTo>
                                                    <a:pt x="13405" y="45722"/>
                                                    <a:pt x="12627" y="47925"/>
                                                    <a:pt x="11979" y="49804"/>
                                                  </a:cubicBezTo>
                                                  <a:cubicBezTo>
                                                    <a:pt x="9647" y="56606"/>
                                                    <a:pt x="8870" y="63992"/>
                                                    <a:pt x="9777" y="71183"/>
                                                  </a:cubicBezTo>
                                                  <a:cubicBezTo>
                                                    <a:pt x="9971" y="72803"/>
                                                    <a:pt x="10295" y="74487"/>
                                                    <a:pt x="11331" y="75718"/>
                                                  </a:cubicBezTo>
                                                  <a:cubicBezTo>
                                                    <a:pt x="12951" y="77726"/>
                                                    <a:pt x="16061" y="78115"/>
                                                    <a:pt x="18523" y="77208"/>
                                                  </a:cubicBezTo>
                                                  <a:cubicBezTo>
                                                    <a:pt x="20985" y="76366"/>
                                                    <a:pt x="22993" y="74552"/>
                                                    <a:pt x="24937" y="72803"/>
                                                  </a:cubicBezTo>
                                                  <a:cubicBezTo>
                                                    <a:pt x="25649" y="72155"/>
                                                    <a:pt x="26427" y="71442"/>
                                                    <a:pt x="26621" y="70470"/>
                                                  </a:cubicBezTo>
                                                  <a:cubicBezTo>
                                                    <a:pt x="30508" y="71053"/>
                                                    <a:pt x="33618" y="65546"/>
                                                    <a:pt x="31091" y="62502"/>
                                                  </a:cubicBezTo>
                                                  <a:cubicBezTo>
                                                    <a:pt x="33877" y="61271"/>
                                                    <a:pt x="36857" y="59910"/>
                                                    <a:pt x="38671" y="57513"/>
                                                  </a:cubicBezTo>
                                                  <a:cubicBezTo>
                                                    <a:pt x="40744" y="54792"/>
                                                    <a:pt x="41198" y="51229"/>
                                                    <a:pt x="41522" y="47860"/>
                                                  </a:cubicBezTo>
                                                  <a:cubicBezTo>
                                                    <a:pt x="42688" y="36523"/>
                                                    <a:pt x="43919" y="25120"/>
                                                    <a:pt x="42364" y="13848"/>
                                                  </a:cubicBezTo>
                                                  <a:cubicBezTo>
                                                    <a:pt x="41910" y="10543"/>
                                                    <a:pt x="41198" y="7175"/>
                                                    <a:pt x="39319" y="4454"/>
                                                  </a:cubicBezTo>
                                                  <a:cubicBezTo>
                                                    <a:pt x="37440" y="1668"/>
                                                    <a:pt x="34201" y="-341"/>
                                                    <a:pt x="30897" y="48"/>
                                                  </a:cubicBezTo>
                                                  <a:cubicBezTo>
                                                    <a:pt x="26556" y="566"/>
                                                    <a:pt x="23382" y="4907"/>
                                                    <a:pt x="19041" y="5231"/>
                                                  </a:cubicBezTo>
                                                  <a:cubicBezTo>
                                                    <a:pt x="16126" y="5425"/>
                                                    <a:pt x="12822" y="3806"/>
                                                    <a:pt x="10360" y="5425"/>
                                                  </a:cubicBezTo>
                                                  <a:cubicBezTo>
                                                    <a:pt x="8870" y="6397"/>
                                                    <a:pt x="8287" y="8341"/>
                                                    <a:pt x="7056" y="9572"/>
                                                  </a:cubicBezTo>
                                                  <a:cubicBezTo>
                                                    <a:pt x="4982" y="11645"/>
                                                    <a:pt x="1095" y="12098"/>
                                                    <a:pt x="188" y="14884"/>
                                                  </a:cubicBezTo>
                                                  <a:cubicBezTo>
                                                    <a:pt x="-330" y="16439"/>
                                                    <a:pt x="318" y="18059"/>
                                                    <a:pt x="966" y="1954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0" name="Freeform: Shape 206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3AA53BB-EC5F-48A9-AD90-BBB7993078B2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201247" y="3010358"/>
                                              <a:ext cx="280594" cy="33559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51199 w 280594"/>
                                                <a:gd name="connsiteY0" fmla="*/ 19165 h 335590"/>
                                                <a:gd name="connsiteX1" fmla="*/ 139148 w 280594"/>
                                                <a:gd name="connsiteY1" fmla="*/ 13529 h 335590"/>
                                                <a:gd name="connsiteX2" fmla="*/ 136946 w 280594"/>
                                                <a:gd name="connsiteY2" fmla="*/ 3293 h 335590"/>
                                                <a:gd name="connsiteX3" fmla="*/ 135845 w 280594"/>
                                                <a:gd name="connsiteY3" fmla="*/ 1155 h 335590"/>
                                                <a:gd name="connsiteX4" fmla="*/ 132217 w 280594"/>
                                                <a:gd name="connsiteY4" fmla="*/ 118 h 335590"/>
                                                <a:gd name="connsiteX5" fmla="*/ 106302 w 280594"/>
                                                <a:gd name="connsiteY5" fmla="*/ 3681 h 335590"/>
                                                <a:gd name="connsiteX6" fmla="*/ 97491 w 280594"/>
                                                <a:gd name="connsiteY6" fmla="*/ 8540 h 335590"/>
                                                <a:gd name="connsiteX7" fmla="*/ 89717 w 280594"/>
                                                <a:gd name="connsiteY7" fmla="*/ 10419 h 335590"/>
                                                <a:gd name="connsiteX8" fmla="*/ 88616 w 280594"/>
                                                <a:gd name="connsiteY8" fmla="*/ 10613 h 335590"/>
                                                <a:gd name="connsiteX9" fmla="*/ 83303 w 280594"/>
                                                <a:gd name="connsiteY9" fmla="*/ 15084 h 335590"/>
                                                <a:gd name="connsiteX10" fmla="*/ 81360 w 280594"/>
                                                <a:gd name="connsiteY10" fmla="*/ 22988 h 335590"/>
                                                <a:gd name="connsiteX11" fmla="*/ 78963 w 280594"/>
                                                <a:gd name="connsiteY11" fmla="*/ 23635 h 335590"/>
                                                <a:gd name="connsiteX12" fmla="*/ 62313 w 280594"/>
                                                <a:gd name="connsiteY12" fmla="*/ 24996 h 335590"/>
                                                <a:gd name="connsiteX13" fmla="*/ 61600 w 280594"/>
                                                <a:gd name="connsiteY13" fmla="*/ 35426 h 335590"/>
                                                <a:gd name="connsiteX14" fmla="*/ 51429 w 280594"/>
                                                <a:gd name="connsiteY14" fmla="*/ 34325 h 335590"/>
                                                <a:gd name="connsiteX15" fmla="*/ 49291 w 280594"/>
                                                <a:gd name="connsiteY15" fmla="*/ 31345 h 335590"/>
                                                <a:gd name="connsiteX16" fmla="*/ 40350 w 280594"/>
                                                <a:gd name="connsiteY16" fmla="*/ 23117 h 335590"/>
                                                <a:gd name="connsiteX17" fmla="*/ 38925 w 280594"/>
                                                <a:gd name="connsiteY17" fmla="*/ 22599 h 335590"/>
                                                <a:gd name="connsiteX18" fmla="*/ 35686 w 280594"/>
                                                <a:gd name="connsiteY18" fmla="*/ 24348 h 335590"/>
                                                <a:gd name="connsiteX19" fmla="*/ 19101 w 280594"/>
                                                <a:gd name="connsiteY19" fmla="*/ 41063 h 335590"/>
                                                <a:gd name="connsiteX20" fmla="*/ 12816 w 280594"/>
                                                <a:gd name="connsiteY20" fmla="*/ 46246 h 335590"/>
                                                <a:gd name="connsiteX21" fmla="*/ 9771 w 280594"/>
                                                <a:gd name="connsiteY21" fmla="*/ 47477 h 335590"/>
                                                <a:gd name="connsiteX22" fmla="*/ 10225 w 280594"/>
                                                <a:gd name="connsiteY22" fmla="*/ 53113 h 335590"/>
                                                <a:gd name="connsiteX23" fmla="*/ 572 w 280594"/>
                                                <a:gd name="connsiteY23" fmla="*/ 85376 h 335590"/>
                                                <a:gd name="connsiteX24" fmla="*/ 6467 w 280594"/>
                                                <a:gd name="connsiteY24" fmla="*/ 94381 h 335590"/>
                                                <a:gd name="connsiteX25" fmla="*/ 17999 w 280594"/>
                                                <a:gd name="connsiteY25" fmla="*/ 107468 h 335590"/>
                                                <a:gd name="connsiteX26" fmla="*/ 25255 w 280594"/>
                                                <a:gd name="connsiteY26" fmla="*/ 101961 h 335590"/>
                                                <a:gd name="connsiteX27" fmla="*/ 59657 w 280594"/>
                                                <a:gd name="connsiteY27" fmla="*/ 88356 h 335590"/>
                                                <a:gd name="connsiteX28" fmla="*/ 84534 w 280594"/>
                                                <a:gd name="connsiteY28" fmla="*/ 107663 h 335590"/>
                                                <a:gd name="connsiteX29" fmla="*/ 100212 w 280594"/>
                                                <a:gd name="connsiteY29" fmla="*/ 136103 h 335590"/>
                                                <a:gd name="connsiteX30" fmla="*/ 107533 w 280594"/>
                                                <a:gd name="connsiteY30" fmla="*/ 145303 h 335590"/>
                                                <a:gd name="connsiteX31" fmla="*/ 116279 w 280594"/>
                                                <a:gd name="connsiteY31" fmla="*/ 155604 h 335590"/>
                                                <a:gd name="connsiteX32" fmla="*/ 135002 w 280594"/>
                                                <a:gd name="connsiteY32" fmla="*/ 175493 h 335590"/>
                                                <a:gd name="connsiteX33" fmla="*/ 160398 w 280594"/>
                                                <a:gd name="connsiteY33" fmla="*/ 192856 h 335590"/>
                                                <a:gd name="connsiteX34" fmla="*/ 177761 w 280594"/>
                                                <a:gd name="connsiteY34" fmla="*/ 203351 h 335590"/>
                                                <a:gd name="connsiteX35" fmla="*/ 185146 w 280594"/>
                                                <a:gd name="connsiteY35" fmla="*/ 208728 h 335590"/>
                                                <a:gd name="connsiteX36" fmla="*/ 196160 w 280594"/>
                                                <a:gd name="connsiteY36" fmla="*/ 221232 h 335590"/>
                                                <a:gd name="connsiteX37" fmla="*/ 209959 w 280594"/>
                                                <a:gd name="connsiteY37" fmla="*/ 225832 h 335590"/>
                                                <a:gd name="connsiteX38" fmla="*/ 213069 w 280594"/>
                                                <a:gd name="connsiteY38" fmla="*/ 231857 h 335590"/>
                                                <a:gd name="connsiteX39" fmla="*/ 221167 w 280594"/>
                                                <a:gd name="connsiteY39" fmla="*/ 256346 h 335590"/>
                                                <a:gd name="connsiteX40" fmla="*/ 220584 w 280594"/>
                                                <a:gd name="connsiteY40" fmla="*/ 271117 h 335590"/>
                                                <a:gd name="connsiteX41" fmla="*/ 212486 w 280594"/>
                                                <a:gd name="connsiteY41" fmla="*/ 277595 h 335590"/>
                                                <a:gd name="connsiteX42" fmla="*/ 211061 w 280594"/>
                                                <a:gd name="connsiteY42" fmla="*/ 287572 h 335590"/>
                                                <a:gd name="connsiteX43" fmla="*/ 205165 w 280594"/>
                                                <a:gd name="connsiteY43" fmla="*/ 290229 h 335590"/>
                                                <a:gd name="connsiteX44" fmla="*/ 158455 w 280594"/>
                                                <a:gd name="connsiteY44" fmla="*/ 293338 h 335590"/>
                                                <a:gd name="connsiteX45" fmla="*/ 143943 w 280594"/>
                                                <a:gd name="connsiteY45" fmla="*/ 293986 h 335590"/>
                                                <a:gd name="connsiteX46" fmla="*/ 141610 w 280594"/>
                                                <a:gd name="connsiteY46" fmla="*/ 305971 h 335590"/>
                                                <a:gd name="connsiteX47" fmla="*/ 144849 w 280594"/>
                                                <a:gd name="connsiteY47" fmla="*/ 307202 h 335590"/>
                                                <a:gd name="connsiteX48" fmla="*/ 172060 w 280594"/>
                                                <a:gd name="connsiteY48" fmla="*/ 313875 h 335590"/>
                                                <a:gd name="connsiteX49" fmla="*/ 173485 w 280594"/>
                                                <a:gd name="connsiteY49" fmla="*/ 321585 h 335590"/>
                                                <a:gd name="connsiteX50" fmla="*/ 188386 w 280594"/>
                                                <a:gd name="connsiteY50" fmla="*/ 328776 h 335590"/>
                                                <a:gd name="connsiteX51" fmla="*/ 203545 w 280594"/>
                                                <a:gd name="connsiteY51" fmla="*/ 334283 h 335590"/>
                                                <a:gd name="connsiteX52" fmla="*/ 198298 w 280594"/>
                                                <a:gd name="connsiteY52" fmla="*/ 309081 h 335590"/>
                                                <a:gd name="connsiteX53" fmla="*/ 206785 w 280594"/>
                                                <a:gd name="connsiteY53" fmla="*/ 305971 h 335590"/>
                                                <a:gd name="connsiteX54" fmla="*/ 210737 w 280594"/>
                                                <a:gd name="connsiteY54" fmla="*/ 295865 h 335590"/>
                                                <a:gd name="connsiteX55" fmla="*/ 222204 w 280594"/>
                                                <a:gd name="connsiteY55" fmla="*/ 291719 h 335590"/>
                                                <a:gd name="connsiteX56" fmla="*/ 234967 w 280594"/>
                                                <a:gd name="connsiteY56" fmla="*/ 276364 h 335590"/>
                                                <a:gd name="connsiteX57" fmla="*/ 245203 w 280594"/>
                                                <a:gd name="connsiteY57" fmla="*/ 256994 h 335590"/>
                                                <a:gd name="connsiteX58" fmla="*/ 247341 w 280594"/>
                                                <a:gd name="connsiteY58" fmla="*/ 249738 h 335590"/>
                                                <a:gd name="connsiteX59" fmla="*/ 245462 w 280594"/>
                                                <a:gd name="connsiteY59" fmla="*/ 245267 h 335590"/>
                                                <a:gd name="connsiteX60" fmla="*/ 230173 w 280594"/>
                                                <a:gd name="connsiteY60" fmla="*/ 233671 h 335590"/>
                                                <a:gd name="connsiteX61" fmla="*/ 237493 w 280594"/>
                                                <a:gd name="connsiteY61" fmla="*/ 219223 h 335590"/>
                                                <a:gd name="connsiteX62" fmla="*/ 265221 w 280594"/>
                                                <a:gd name="connsiteY62" fmla="*/ 222981 h 335590"/>
                                                <a:gd name="connsiteX63" fmla="*/ 268137 w 280594"/>
                                                <a:gd name="connsiteY63" fmla="*/ 233476 h 335590"/>
                                                <a:gd name="connsiteX64" fmla="*/ 278891 w 280594"/>
                                                <a:gd name="connsiteY64" fmla="*/ 231533 h 335590"/>
                                                <a:gd name="connsiteX65" fmla="*/ 278243 w 280594"/>
                                                <a:gd name="connsiteY65" fmla="*/ 218899 h 335590"/>
                                                <a:gd name="connsiteX66" fmla="*/ 267878 w 280594"/>
                                                <a:gd name="connsiteY66" fmla="*/ 210348 h 335590"/>
                                                <a:gd name="connsiteX67" fmla="*/ 232634 w 280594"/>
                                                <a:gd name="connsiteY67" fmla="*/ 188709 h 335590"/>
                                                <a:gd name="connsiteX68" fmla="*/ 226998 w 280594"/>
                                                <a:gd name="connsiteY68" fmla="*/ 185276 h 335590"/>
                                                <a:gd name="connsiteX69" fmla="*/ 204517 w 280594"/>
                                                <a:gd name="connsiteY69" fmla="*/ 174910 h 335590"/>
                                                <a:gd name="connsiteX70" fmla="*/ 196743 w 280594"/>
                                                <a:gd name="connsiteY70" fmla="*/ 167071 h 335590"/>
                                                <a:gd name="connsiteX71" fmla="*/ 180546 w 280594"/>
                                                <a:gd name="connsiteY71" fmla="*/ 163054 h 335590"/>
                                                <a:gd name="connsiteX72" fmla="*/ 178408 w 280594"/>
                                                <a:gd name="connsiteY72" fmla="*/ 152818 h 335590"/>
                                                <a:gd name="connsiteX73" fmla="*/ 174133 w 280594"/>
                                                <a:gd name="connsiteY73" fmla="*/ 142647 h 335590"/>
                                                <a:gd name="connsiteX74" fmla="*/ 177761 w 280594"/>
                                                <a:gd name="connsiteY74" fmla="*/ 138112 h 335590"/>
                                                <a:gd name="connsiteX75" fmla="*/ 171606 w 280594"/>
                                                <a:gd name="connsiteY75" fmla="*/ 129819 h 335590"/>
                                                <a:gd name="connsiteX76" fmla="*/ 169857 w 280594"/>
                                                <a:gd name="connsiteY76" fmla="*/ 119065 h 335590"/>
                                                <a:gd name="connsiteX77" fmla="*/ 162212 w 280594"/>
                                                <a:gd name="connsiteY77" fmla="*/ 114724 h 335590"/>
                                                <a:gd name="connsiteX78" fmla="*/ 151587 w 280594"/>
                                                <a:gd name="connsiteY78" fmla="*/ 102868 h 335590"/>
                                                <a:gd name="connsiteX79" fmla="*/ 136298 w 280594"/>
                                                <a:gd name="connsiteY79" fmla="*/ 92049 h 335590"/>
                                                <a:gd name="connsiteX80" fmla="*/ 132799 w 280594"/>
                                                <a:gd name="connsiteY80" fmla="*/ 61082 h 335590"/>
                                                <a:gd name="connsiteX81" fmla="*/ 143943 w 280594"/>
                                                <a:gd name="connsiteY81" fmla="*/ 58037 h 335590"/>
                                                <a:gd name="connsiteX82" fmla="*/ 148542 w 280594"/>
                                                <a:gd name="connsiteY82" fmla="*/ 45598 h 335590"/>
                                                <a:gd name="connsiteX83" fmla="*/ 154762 w 280594"/>
                                                <a:gd name="connsiteY83" fmla="*/ 39638 h 335590"/>
                                                <a:gd name="connsiteX84" fmla="*/ 151263 w 280594"/>
                                                <a:gd name="connsiteY84" fmla="*/ 19943 h 335590"/>
                                                <a:gd name="connsiteX85" fmla="*/ 151134 w 280594"/>
                                                <a:gd name="connsiteY85" fmla="*/ 18906 h 33559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80594" h="335590">
                                                  <a:moveTo>
                                                    <a:pt x="151199" y="19165"/>
                                                  </a:moveTo>
                                                  <a:cubicBezTo>
                                                    <a:pt x="146469" y="19165"/>
                                                    <a:pt x="141351" y="17610"/>
                                                    <a:pt x="139148" y="13529"/>
                                                  </a:cubicBezTo>
                                                  <a:cubicBezTo>
                                                    <a:pt x="137464" y="10419"/>
                                                    <a:pt x="137788" y="6726"/>
                                                    <a:pt x="136946" y="3293"/>
                                                  </a:cubicBezTo>
                                                  <a:cubicBezTo>
                                                    <a:pt x="136751" y="2515"/>
                                                    <a:pt x="136427" y="1673"/>
                                                    <a:pt x="135845" y="1155"/>
                                                  </a:cubicBezTo>
                                                  <a:cubicBezTo>
                                                    <a:pt x="134937" y="248"/>
                                                    <a:pt x="133512" y="183"/>
                                                    <a:pt x="132217" y="118"/>
                                                  </a:cubicBezTo>
                                                  <a:cubicBezTo>
                                                    <a:pt x="123405" y="-141"/>
                                                    <a:pt x="114141" y="-335"/>
                                                    <a:pt x="106302" y="3681"/>
                                                  </a:cubicBezTo>
                                                  <a:cubicBezTo>
                                                    <a:pt x="103322" y="5236"/>
                                                    <a:pt x="100601" y="7309"/>
                                                    <a:pt x="97491" y="8540"/>
                                                  </a:cubicBezTo>
                                                  <a:cubicBezTo>
                                                    <a:pt x="95029" y="9512"/>
                                                    <a:pt x="92373" y="9966"/>
                                                    <a:pt x="89717" y="10419"/>
                                                  </a:cubicBezTo>
                                                  <a:cubicBezTo>
                                                    <a:pt x="89328" y="10419"/>
                                                    <a:pt x="89004" y="10549"/>
                                                    <a:pt x="88616" y="10613"/>
                                                  </a:cubicBezTo>
                                                  <a:cubicBezTo>
                                                    <a:pt x="87255" y="12427"/>
                                                    <a:pt x="84405" y="13010"/>
                                                    <a:pt x="83303" y="15084"/>
                                                  </a:cubicBezTo>
                                                  <a:cubicBezTo>
                                                    <a:pt x="82008" y="17546"/>
                                                    <a:pt x="83692" y="21433"/>
                                                    <a:pt x="81360" y="22988"/>
                                                  </a:cubicBezTo>
                                                  <a:cubicBezTo>
                                                    <a:pt x="80647" y="23441"/>
                                                    <a:pt x="79805" y="23506"/>
                                                    <a:pt x="78963" y="23635"/>
                                                  </a:cubicBezTo>
                                                  <a:lnTo>
                                                    <a:pt x="62313" y="24996"/>
                                                  </a:lnTo>
                                                  <a:cubicBezTo>
                                                    <a:pt x="62766" y="28494"/>
                                                    <a:pt x="62507" y="32057"/>
                                                    <a:pt x="61600" y="35426"/>
                                                  </a:cubicBezTo>
                                                  <a:cubicBezTo>
                                                    <a:pt x="58102" y="36204"/>
                                                    <a:pt x="54020" y="36787"/>
                                                    <a:pt x="51429" y="34325"/>
                                                  </a:cubicBezTo>
                                                  <a:cubicBezTo>
                                                    <a:pt x="50522" y="33483"/>
                                                    <a:pt x="49939" y="32381"/>
                                                    <a:pt x="49291" y="31345"/>
                                                  </a:cubicBezTo>
                                                  <a:cubicBezTo>
                                                    <a:pt x="47088" y="27846"/>
                                                    <a:pt x="43978" y="24996"/>
                                                    <a:pt x="40350" y="23117"/>
                                                  </a:cubicBezTo>
                                                  <a:cubicBezTo>
                                                    <a:pt x="39897" y="22858"/>
                                                    <a:pt x="39443" y="22663"/>
                                                    <a:pt x="38925" y="22599"/>
                                                  </a:cubicBezTo>
                                                  <a:cubicBezTo>
                                                    <a:pt x="37629" y="22469"/>
                                                    <a:pt x="36593" y="23441"/>
                                                    <a:pt x="35686" y="24348"/>
                                                  </a:cubicBezTo>
                                                  <a:cubicBezTo>
                                                    <a:pt x="30179" y="29920"/>
                                                    <a:pt x="24607" y="35491"/>
                                                    <a:pt x="19101" y="41063"/>
                                                  </a:cubicBezTo>
                                                  <a:cubicBezTo>
                                                    <a:pt x="17157" y="43006"/>
                                                    <a:pt x="15213" y="44950"/>
                                                    <a:pt x="12816" y="46246"/>
                                                  </a:cubicBezTo>
                                                  <a:cubicBezTo>
                                                    <a:pt x="11845" y="46764"/>
                                                    <a:pt x="10808" y="47152"/>
                                                    <a:pt x="9771" y="47477"/>
                                                  </a:cubicBezTo>
                                                  <a:cubicBezTo>
                                                    <a:pt x="10160" y="49291"/>
                                                    <a:pt x="10419" y="51169"/>
                                                    <a:pt x="10225" y="53113"/>
                                                  </a:cubicBezTo>
                                                  <a:cubicBezTo>
                                                    <a:pt x="9318" y="64580"/>
                                                    <a:pt x="-2732" y="74427"/>
                                                    <a:pt x="572" y="85376"/>
                                                  </a:cubicBezTo>
                                                  <a:cubicBezTo>
                                                    <a:pt x="1608" y="88874"/>
                                                    <a:pt x="4070" y="91660"/>
                                                    <a:pt x="6467" y="94381"/>
                                                  </a:cubicBezTo>
                                                  <a:cubicBezTo>
                                                    <a:pt x="10290" y="98722"/>
                                                    <a:pt x="14177" y="103063"/>
                                                    <a:pt x="17999" y="107468"/>
                                                  </a:cubicBezTo>
                                                  <a:cubicBezTo>
                                                    <a:pt x="20396" y="105589"/>
                                                    <a:pt x="22858" y="103775"/>
                                                    <a:pt x="25255" y="101961"/>
                                                  </a:cubicBezTo>
                                                  <a:cubicBezTo>
                                                    <a:pt x="35427" y="94446"/>
                                                    <a:pt x="47088" y="86542"/>
                                                    <a:pt x="59657" y="88356"/>
                                                  </a:cubicBezTo>
                                                  <a:cubicBezTo>
                                                    <a:pt x="70346" y="89911"/>
                                                    <a:pt x="78833" y="98398"/>
                                                    <a:pt x="84534" y="107663"/>
                                                  </a:cubicBezTo>
                                                  <a:cubicBezTo>
                                                    <a:pt x="90235" y="116862"/>
                                                    <a:pt x="93993" y="127228"/>
                                                    <a:pt x="100212" y="136103"/>
                                                  </a:cubicBezTo>
                                                  <a:cubicBezTo>
                                                    <a:pt x="102480" y="139343"/>
                                                    <a:pt x="105007" y="142323"/>
                                                    <a:pt x="107533" y="145303"/>
                                                  </a:cubicBezTo>
                                                  <a:lnTo>
                                                    <a:pt x="116279" y="155604"/>
                                                  </a:lnTo>
                                                  <a:cubicBezTo>
                                                    <a:pt x="122174" y="162536"/>
                                                    <a:pt x="128135" y="169533"/>
                                                    <a:pt x="135002" y="175493"/>
                                                  </a:cubicBezTo>
                                                  <a:cubicBezTo>
                                                    <a:pt x="142776" y="182231"/>
                                                    <a:pt x="151587" y="187543"/>
                                                    <a:pt x="160398" y="192856"/>
                                                  </a:cubicBezTo>
                                                  <a:cubicBezTo>
                                                    <a:pt x="166164" y="196354"/>
                                                    <a:pt x="171995" y="199852"/>
                                                    <a:pt x="177761" y="203351"/>
                                                  </a:cubicBezTo>
                                                  <a:cubicBezTo>
                                                    <a:pt x="180352" y="204906"/>
                                                    <a:pt x="183008" y="206525"/>
                                                    <a:pt x="185146" y="208728"/>
                                                  </a:cubicBezTo>
                                                  <a:cubicBezTo>
                                                    <a:pt x="189033" y="212745"/>
                                                    <a:pt x="191107" y="218770"/>
                                                    <a:pt x="196160" y="221232"/>
                                                  </a:cubicBezTo>
                                                  <a:cubicBezTo>
                                                    <a:pt x="200565" y="223435"/>
                                                    <a:pt x="206461" y="222398"/>
                                                    <a:pt x="209959" y="225832"/>
                                                  </a:cubicBezTo>
                                                  <a:cubicBezTo>
                                                    <a:pt x="211579" y="227451"/>
                                                    <a:pt x="212356" y="229719"/>
                                                    <a:pt x="213069" y="231857"/>
                                                  </a:cubicBezTo>
                                                  <a:cubicBezTo>
                                                    <a:pt x="215790" y="240020"/>
                                                    <a:pt x="218446" y="248183"/>
                                                    <a:pt x="221167" y="256346"/>
                                                  </a:cubicBezTo>
                                                  <a:cubicBezTo>
                                                    <a:pt x="222787" y="261269"/>
                                                    <a:pt x="224212" y="267359"/>
                                                    <a:pt x="220584" y="271117"/>
                                                  </a:cubicBezTo>
                                                  <a:cubicBezTo>
                                                    <a:pt x="218122" y="273643"/>
                                                    <a:pt x="213911" y="274421"/>
                                                    <a:pt x="212486" y="277595"/>
                                                  </a:cubicBezTo>
                                                  <a:cubicBezTo>
                                                    <a:pt x="211061" y="280705"/>
                                                    <a:pt x="213004" y="284787"/>
                                                    <a:pt x="211061" y="287572"/>
                                                  </a:cubicBezTo>
                                                  <a:cubicBezTo>
                                                    <a:pt x="209765" y="289386"/>
                                                    <a:pt x="207368" y="289840"/>
                                                    <a:pt x="205165" y="290229"/>
                                                  </a:cubicBezTo>
                                                  <a:cubicBezTo>
                                                    <a:pt x="189681" y="292691"/>
                                                    <a:pt x="174003" y="295152"/>
                                                    <a:pt x="158455" y="293338"/>
                                                  </a:cubicBezTo>
                                                  <a:cubicBezTo>
                                                    <a:pt x="153596" y="292755"/>
                                                    <a:pt x="148348" y="291783"/>
                                                    <a:pt x="143943" y="293986"/>
                                                  </a:cubicBezTo>
                                                  <a:cubicBezTo>
                                                    <a:pt x="139537" y="296189"/>
                                                    <a:pt x="137464" y="303250"/>
                                                    <a:pt x="141610" y="305971"/>
                                                  </a:cubicBezTo>
                                                  <a:cubicBezTo>
                                                    <a:pt x="142582" y="306619"/>
                                                    <a:pt x="143748" y="306879"/>
                                                    <a:pt x="144849" y="307202"/>
                                                  </a:cubicBezTo>
                                                  <a:cubicBezTo>
                                                    <a:pt x="153920" y="309405"/>
                                                    <a:pt x="162990" y="311673"/>
                                                    <a:pt x="172060" y="313875"/>
                                                  </a:cubicBezTo>
                                                  <a:cubicBezTo>
                                                    <a:pt x="172513" y="316467"/>
                                                    <a:pt x="172967" y="318993"/>
                                                    <a:pt x="173485" y="321585"/>
                                                  </a:cubicBezTo>
                                                  <a:cubicBezTo>
                                                    <a:pt x="178862" y="318993"/>
                                                    <a:pt x="184498" y="324241"/>
                                                    <a:pt x="188386" y="328776"/>
                                                  </a:cubicBezTo>
                                                  <a:cubicBezTo>
                                                    <a:pt x="192273" y="333311"/>
                                                    <a:pt x="198816" y="337911"/>
                                                    <a:pt x="203545" y="334283"/>
                                                  </a:cubicBezTo>
                                                  <a:cubicBezTo>
                                                    <a:pt x="201796" y="325861"/>
                                                    <a:pt x="200047" y="317438"/>
                                                    <a:pt x="198298" y="309081"/>
                                                  </a:cubicBezTo>
                                                  <a:cubicBezTo>
                                                    <a:pt x="201148" y="308045"/>
                                                    <a:pt x="203934" y="307008"/>
                                                    <a:pt x="206785" y="305971"/>
                                                  </a:cubicBezTo>
                                                  <a:cubicBezTo>
                                                    <a:pt x="204517" y="302603"/>
                                                    <a:pt x="207238" y="297873"/>
                                                    <a:pt x="210737" y="295865"/>
                                                  </a:cubicBezTo>
                                                  <a:cubicBezTo>
                                                    <a:pt x="214300" y="293921"/>
                                                    <a:pt x="218576" y="293533"/>
                                                    <a:pt x="222204" y="291719"/>
                                                  </a:cubicBezTo>
                                                  <a:cubicBezTo>
                                                    <a:pt x="228294" y="288738"/>
                                                    <a:pt x="231792" y="282389"/>
                                                    <a:pt x="234967" y="276364"/>
                                                  </a:cubicBezTo>
                                                  <a:cubicBezTo>
                                                    <a:pt x="238400" y="269886"/>
                                                    <a:pt x="241769" y="263472"/>
                                                    <a:pt x="245203" y="256994"/>
                                                  </a:cubicBezTo>
                                                  <a:cubicBezTo>
                                                    <a:pt x="246369" y="254726"/>
                                                    <a:pt x="247600" y="252264"/>
                                                    <a:pt x="247341" y="249738"/>
                                                  </a:cubicBezTo>
                                                  <a:cubicBezTo>
                                                    <a:pt x="247146" y="248118"/>
                                                    <a:pt x="246369" y="246628"/>
                                                    <a:pt x="245462" y="245267"/>
                                                  </a:cubicBezTo>
                                                  <a:cubicBezTo>
                                                    <a:pt x="241834" y="239825"/>
                                                    <a:pt x="236392" y="235679"/>
                                                    <a:pt x="230173" y="233671"/>
                                                  </a:cubicBezTo>
                                                  <a:cubicBezTo>
                                                    <a:pt x="234254" y="229978"/>
                                                    <a:pt x="236910" y="224730"/>
                                                    <a:pt x="237493" y="219223"/>
                                                  </a:cubicBezTo>
                                                  <a:cubicBezTo>
                                                    <a:pt x="246758" y="220454"/>
                                                    <a:pt x="255957" y="221750"/>
                                                    <a:pt x="265221" y="222981"/>
                                                  </a:cubicBezTo>
                                                  <a:cubicBezTo>
                                                    <a:pt x="263408" y="226544"/>
                                                    <a:pt x="264768" y="231403"/>
                                                    <a:pt x="268137" y="233476"/>
                                                  </a:cubicBezTo>
                                                  <a:cubicBezTo>
                                                    <a:pt x="271506" y="235614"/>
                                                    <a:pt x="276494" y="234707"/>
                                                    <a:pt x="278891" y="231533"/>
                                                  </a:cubicBezTo>
                                                  <a:cubicBezTo>
                                                    <a:pt x="281612" y="227969"/>
                                                    <a:pt x="280835" y="222592"/>
                                                    <a:pt x="278243" y="218899"/>
                                                  </a:cubicBezTo>
                                                  <a:cubicBezTo>
                                                    <a:pt x="275652" y="215207"/>
                                                    <a:pt x="271765" y="212745"/>
                                                    <a:pt x="267878" y="210348"/>
                                                  </a:cubicBezTo>
                                                  <a:cubicBezTo>
                                                    <a:pt x="256151" y="203157"/>
                                                    <a:pt x="244361" y="195901"/>
                                                    <a:pt x="232634" y="188709"/>
                                                  </a:cubicBezTo>
                                                  <a:cubicBezTo>
                                                    <a:pt x="230755" y="187543"/>
                                                    <a:pt x="228877" y="186442"/>
                                                    <a:pt x="226998" y="185276"/>
                                                  </a:cubicBezTo>
                                                  <a:cubicBezTo>
                                                    <a:pt x="219936" y="180935"/>
                                                    <a:pt x="212615" y="176530"/>
                                                    <a:pt x="204517" y="174910"/>
                                                  </a:cubicBezTo>
                                                  <a:cubicBezTo>
                                                    <a:pt x="200112" y="174068"/>
                                                    <a:pt x="193827" y="170505"/>
                                                    <a:pt x="196743" y="167071"/>
                                                  </a:cubicBezTo>
                                                  <a:cubicBezTo>
                                                    <a:pt x="191366" y="165710"/>
                                                    <a:pt x="185989" y="164350"/>
                                                    <a:pt x="180546" y="163054"/>
                                                  </a:cubicBezTo>
                                                  <a:cubicBezTo>
                                                    <a:pt x="183721" y="160657"/>
                                                    <a:pt x="181259" y="155604"/>
                                                    <a:pt x="178408" y="152818"/>
                                                  </a:cubicBezTo>
                                                  <a:cubicBezTo>
                                                    <a:pt x="175558" y="150032"/>
                                                    <a:pt x="172124" y="146080"/>
                                                    <a:pt x="174133" y="142647"/>
                                                  </a:cubicBezTo>
                                                  <a:cubicBezTo>
                                                    <a:pt x="175105" y="140962"/>
                                                    <a:pt x="177242" y="139991"/>
                                                    <a:pt x="177761" y="138112"/>
                                                  </a:cubicBezTo>
                                                  <a:cubicBezTo>
                                                    <a:pt x="178733" y="134613"/>
                                                    <a:pt x="173744" y="132735"/>
                                                    <a:pt x="171606" y="129819"/>
                                                  </a:cubicBezTo>
                                                  <a:cubicBezTo>
                                                    <a:pt x="169468" y="126839"/>
                                                    <a:pt x="170440" y="122693"/>
                                                    <a:pt x="169857" y="119065"/>
                                                  </a:cubicBezTo>
                                                  <a:cubicBezTo>
                                                    <a:pt x="169274" y="115437"/>
                                                    <a:pt x="164545" y="111874"/>
                                                    <a:pt x="162212" y="114724"/>
                                                  </a:cubicBezTo>
                                                  <a:cubicBezTo>
                                                    <a:pt x="158649" y="110772"/>
                                                    <a:pt x="155151" y="106820"/>
                                                    <a:pt x="151587" y="102868"/>
                                                  </a:cubicBezTo>
                                                  <a:cubicBezTo>
                                                    <a:pt x="147311" y="98139"/>
                                                    <a:pt x="142582" y="93086"/>
                                                    <a:pt x="136298" y="92049"/>
                                                  </a:cubicBezTo>
                                                  <a:cubicBezTo>
                                                    <a:pt x="136298" y="81619"/>
                                                    <a:pt x="135196" y="71253"/>
                                                    <a:pt x="132799" y="61082"/>
                                                  </a:cubicBezTo>
                                                  <a:cubicBezTo>
                                                    <a:pt x="135974" y="64191"/>
                                                    <a:pt x="141610" y="61794"/>
                                                    <a:pt x="143943" y="58037"/>
                                                  </a:cubicBezTo>
                                                  <a:cubicBezTo>
                                                    <a:pt x="146275" y="54279"/>
                                                    <a:pt x="146664" y="49614"/>
                                                    <a:pt x="148542" y="45598"/>
                                                  </a:cubicBezTo>
                                                  <a:cubicBezTo>
                                                    <a:pt x="149773" y="42941"/>
                                                    <a:pt x="152105" y="40480"/>
                                                    <a:pt x="154762" y="39638"/>
                                                  </a:cubicBezTo>
                                                  <a:cubicBezTo>
                                                    <a:pt x="154049" y="33094"/>
                                                    <a:pt x="152430" y="26486"/>
                                                    <a:pt x="151263" y="19943"/>
                                                  </a:cubicBezTo>
                                                  <a:cubicBezTo>
                                                    <a:pt x="151263" y="19619"/>
                                                    <a:pt x="151199" y="19295"/>
                                                    <a:pt x="151134" y="1890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1" name="Freeform: Shape 207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0741FE4-FC71-447B-939B-627B5F8C6F7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352381" y="3012614"/>
                                              <a:ext cx="85257" cy="6251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8830 w 85257"/>
                                                <a:gd name="connsiteY0" fmla="*/ 56040 h 62518"/>
                                                <a:gd name="connsiteX1" fmla="*/ 47358 w 85257"/>
                                                <a:gd name="connsiteY1" fmla="*/ 51764 h 62518"/>
                                                <a:gd name="connsiteX2" fmla="*/ 51375 w 85257"/>
                                                <a:gd name="connsiteY2" fmla="*/ 45221 h 62518"/>
                                                <a:gd name="connsiteX3" fmla="*/ 55651 w 85257"/>
                                                <a:gd name="connsiteY3" fmla="*/ 40556 h 62518"/>
                                                <a:gd name="connsiteX4" fmla="*/ 56752 w 85257"/>
                                                <a:gd name="connsiteY4" fmla="*/ 37057 h 62518"/>
                                                <a:gd name="connsiteX5" fmla="*/ 65822 w 85257"/>
                                                <a:gd name="connsiteY5" fmla="*/ 30061 h 62518"/>
                                                <a:gd name="connsiteX6" fmla="*/ 70033 w 85257"/>
                                                <a:gd name="connsiteY6" fmla="*/ 20537 h 62518"/>
                                                <a:gd name="connsiteX7" fmla="*/ 85258 w 85257"/>
                                                <a:gd name="connsiteY7" fmla="*/ 10301 h 62518"/>
                                                <a:gd name="connsiteX8" fmla="*/ 84869 w 85257"/>
                                                <a:gd name="connsiteY8" fmla="*/ 9653 h 62518"/>
                                                <a:gd name="connsiteX9" fmla="*/ 84286 w 85257"/>
                                                <a:gd name="connsiteY9" fmla="*/ 2527 h 62518"/>
                                                <a:gd name="connsiteX10" fmla="*/ 83962 w 85257"/>
                                                <a:gd name="connsiteY10" fmla="*/ 0 h 62518"/>
                                                <a:gd name="connsiteX11" fmla="*/ 73143 w 85257"/>
                                                <a:gd name="connsiteY11" fmla="*/ 3434 h 62518"/>
                                                <a:gd name="connsiteX12" fmla="*/ 67507 w 85257"/>
                                                <a:gd name="connsiteY12" fmla="*/ 2073 h 62518"/>
                                                <a:gd name="connsiteX13" fmla="*/ 57270 w 85257"/>
                                                <a:gd name="connsiteY13" fmla="*/ 6025 h 62518"/>
                                                <a:gd name="connsiteX14" fmla="*/ 50468 w 85257"/>
                                                <a:gd name="connsiteY14" fmla="*/ 6673 h 62518"/>
                                                <a:gd name="connsiteX15" fmla="*/ 40038 w 85257"/>
                                                <a:gd name="connsiteY15" fmla="*/ 14382 h 62518"/>
                                                <a:gd name="connsiteX16" fmla="*/ 14706 w 85257"/>
                                                <a:gd name="connsiteY16" fmla="*/ 15030 h 62518"/>
                                                <a:gd name="connsiteX17" fmla="*/ 389 w 85257"/>
                                                <a:gd name="connsiteY17" fmla="*/ 16715 h 62518"/>
                                                <a:gd name="connsiteX18" fmla="*/ 0 w 85257"/>
                                                <a:gd name="connsiteY18" fmla="*/ 16715 h 62518"/>
                                                <a:gd name="connsiteX19" fmla="*/ 129 w 85257"/>
                                                <a:gd name="connsiteY19" fmla="*/ 17751 h 62518"/>
                                                <a:gd name="connsiteX20" fmla="*/ 3628 w 85257"/>
                                                <a:gd name="connsiteY20" fmla="*/ 37446 h 62518"/>
                                                <a:gd name="connsiteX21" fmla="*/ 7774 w 85257"/>
                                                <a:gd name="connsiteY21" fmla="*/ 37446 h 62518"/>
                                                <a:gd name="connsiteX22" fmla="*/ 11143 w 85257"/>
                                                <a:gd name="connsiteY22" fmla="*/ 45933 h 62518"/>
                                                <a:gd name="connsiteX23" fmla="*/ 19501 w 85257"/>
                                                <a:gd name="connsiteY23" fmla="*/ 51764 h 62518"/>
                                                <a:gd name="connsiteX24" fmla="*/ 21314 w 85257"/>
                                                <a:gd name="connsiteY24" fmla="*/ 58178 h 62518"/>
                                                <a:gd name="connsiteX25" fmla="*/ 23452 w 85257"/>
                                                <a:gd name="connsiteY25" fmla="*/ 62518 h 62518"/>
                                                <a:gd name="connsiteX26" fmla="*/ 25007 w 85257"/>
                                                <a:gd name="connsiteY26" fmla="*/ 59862 h 62518"/>
                                                <a:gd name="connsiteX27" fmla="*/ 28700 w 85257"/>
                                                <a:gd name="connsiteY27" fmla="*/ 55975 h 6251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85257" h="62518">
                                                  <a:moveTo>
                                                    <a:pt x="28830" y="56040"/>
                                                  </a:moveTo>
                                                  <a:cubicBezTo>
                                                    <a:pt x="34401" y="52606"/>
                                                    <a:pt x="43342" y="56882"/>
                                                    <a:pt x="47358" y="51764"/>
                                                  </a:cubicBezTo>
                                                  <a:cubicBezTo>
                                                    <a:pt x="48136" y="49302"/>
                                                    <a:pt x="49496" y="47034"/>
                                                    <a:pt x="51375" y="45221"/>
                                                  </a:cubicBezTo>
                                                  <a:cubicBezTo>
                                                    <a:pt x="52865" y="43730"/>
                                                    <a:pt x="54744" y="42499"/>
                                                    <a:pt x="55651" y="40556"/>
                                                  </a:cubicBezTo>
                                                  <a:cubicBezTo>
                                                    <a:pt x="56169" y="39454"/>
                                                    <a:pt x="56299" y="38224"/>
                                                    <a:pt x="56752" y="37057"/>
                                                  </a:cubicBezTo>
                                                  <a:cubicBezTo>
                                                    <a:pt x="58242" y="33429"/>
                                                    <a:pt x="62454" y="32004"/>
                                                    <a:pt x="65822" y="30061"/>
                                                  </a:cubicBezTo>
                                                  <a:cubicBezTo>
                                                    <a:pt x="69191" y="28117"/>
                                                    <a:pt x="72301" y="23776"/>
                                                    <a:pt x="70033" y="20537"/>
                                                  </a:cubicBezTo>
                                                  <a:cubicBezTo>
                                                    <a:pt x="75929" y="18529"/>
                                                    <a:pt x="81176" y="14965"/>
                                                    <a:pt x="85258" y="10301"/>
                                                  </a:cubicBezTo>
                                                  <a:cubicBezTo>
                                                    <a:pt x="85129" y="10107"/>
                                                    <a:pt x="84999" y="9912"/>
                                                    <a:pt x="84869" y="9653"/>
                                                  </a:cubicBezTo>
                                                  <a:cubicBezTo>
                                                    <a:pt x="83962" y="7450"/>
                                                    <a:pt x="84416" y="4924"/>
                                                    <a:pt x="84286" y="2527"/>
                                                  </a:cubicBezTo>
                                                  <a:cubicBezTo>
                                                    <a:pt x="84286" y="1684"/>
                                                    <a:pt x="84092" y="842"/>
                                                    <a:pt x="83962" y="0"/>
                                                  </a:cubicBezTo>
                                                  <a:cubicBezTo>
                                                    <a:pt x="80529" y="2138"/>
                                                    <a:pt x="77030" y="4082"/>
                                                    <a:pt x="73143" y="3434"/>
                                                  </a:cubicBezTo>
                                                  <a:cubicBezTo>
                                                    <a:pt x="71264" y="3110"/>
                                                    <a:pt x="69450" y="2138"/>
                                                    <a:pt x="67507" y="2073"/>
                                                  </a:cubicBezTo>
                                                  <a:cubicBezTo>
                                                    <a:pt x="63814" y="2008"/>
                                                    <a:pt x="60898" y="5183"/>
                                                    <a:pt x="57270" y="6025"/>
                                                  </a:cubicBezTo>
                                                  <a:cubicBezTo>
                                                    <a:pt x="55068" y="6543"/>
                                                    <a:pt x="52671" y="6090"/>
                                                    <a:pt x="50468" y="6673"/>
                                                  </a:cubicBezTo>
                                                  <a:cubicBezTo>
                                                    <a:pt x="46257" y="7774"/>
                                                    <a:pt x="43730" y="12050"/>
                                                    <a:pt x="40038" y="14382"/>
                                                  </a:cubicBezTo>
                                                  <a:cubicBezTo>
                                                    <a:pt x="32717" y="18982"/>
                                                    <a:pt x="23323" y="14901"/>
                                                    <a:pt x="14706" y="15030"/>
                                                  </a:cubicBezTo>
                                                  <a:cubicBezTo>
                                                    <a:pt x="9912" y="15095"/>
                                                    <a:pt x="5183" y="16585"/>
                                                    <a:pt x="389" y="16715"/>
                                                  </a:cubicBezTo>
                                                  <a:cubicBezTo>
                                                    <a:pt x="259" y="16715"/>
                                                    <a:pt x="129" y="16715"/>
                                                    <a:pt x="0" y="16715"/>
                                                  </a:cubicBezTo>
                                                  <a:cubicBezTo>
                                                    <a:pt x="0" y="17039"/>
                                                    <a:pt x="65" y="17363"/>
                                                    <a:pt x="129" y="17751"/>
                                                  </a:cubicBezTo>
                                                  <a:cubicBezTo>
                                                    <a:pt x="1296" y="24295"/>
                                                    <a:pt x="2851" y="30838"/>
                                                    <a:pt x="3628" y="37446"/>
                                                  </a:cubicBezTo>
                                                  <a:cubicBezTo>
                                                    <a:pt x="4988" y="36993"/>
                                                    <a:pt x="6414" y="36928"/>
                                                    <a:pt x="7774" y="37446"/>
                                                  </a:cubicBezTo>
                                                  <a:cubicBezTo>
                                                    <a:pt x="5701" y="40167"/>
                                                    <a:pt x="8228" y="44184"/>
                                                    <a:pt x="11143" y="45933"/>
                                                  </a:cubicBezTo>
                                                  <a:cubicBezTo>
                                                    <a:pt x="14123" y="47682"/>
                                                    <a:pt x="17751" y="48784"/>
                                                    <a:pt x="19501" y="51764"/>
                                                  </a:cubicBezTo>
                                                  <a:cubicBezTo>
                                                    <a:pt x="20602" y="53643"/>
                                                    <a:pt x="20732" y="55975"/>
                                                    <a:pt x="21314" y="58178"/>
                                                  </a:cubicBezTo>
                                                  <a:cubicBezTo>
                                                    <a:pt x="21768" y="59732"/>
                                                    <a:pt x="22545" y="61223"/>
                                                    <a:pt x="23452" y="62518"/>
                                                  </a:cubicBezTo>
                                                  <a:cubicBezTo>
                                                    <a:pt x="23971" y="61611"/>
                                                    <a:pt x="24489" y="60704"/>
                                                    <a:pt x="25007" y="59862"/>
                                                  </a:cubicBezTo>
                                                  <a:cubicBezTo>
                                                    <a:pt x="26044" y="58372"/>
                                                    <a:pt x="27145" y="56882"/>
                                                    <a:pt x="28700" y="5597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2" name="Freeform: Shape 207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A7BA3F8F-5618-4254-9E29-55E1795728B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376092" y="3023044"/>
                                              <a:ext cx="121805" cy="12121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75281 w 121805"/>
                                                <a:gd name="connsiteY0" fmla="*/ 105536 h 121214"/>
                                                <a:gd name="connsiteX1" fmla="*/ 59409 w 121805"/>
                                                <a:gd name="connsiteY1" fmla="*/ 92320 h 121214"/>
                                                <a:gd name="connsiteX2" fmla="*/ 57141 w 121805"/>
                                                <a:gd name="connsiteY2" fmla="*/ 89922 h 121214"/>
                                                <a:gd name="connsiteX3" fmla="*/ 55716 w 121805"/>
                                                <a:gd name="connsiteY3" fmla="*/ 84480 h 121214"/>
                                                <a:gd name="connsiteX4" fmla="*/ 48071 w 121805"/>
                                                <a:gd name="connsiteY4" fmla="*/ 73856 h 121214"/>
                                                <a:gd name="connsiteX5" fmla="*/ 39390 w 121805"/>
                                                <a:gd name="connsiteY5" fmla="*/ 63879 h 121214"/>
                                                <a:gd name="connsiteX6" fmla="*/ 42046 w 121805"/>
                                                <a:gd name="connsiteY6" fmla="*/ 52023 h 121214"/>
                                                <a:gd name="connsiteX7" fmla="*/ 47358 w 121805"/>
                                                <a:gd name="connsiteY7" fmla="*/ 50598 h 121214"/>
                                                <a:gd name="connsiteX8" fmla="*/ 80788 w 121805"/>
                                                <a:gd name="connsiteY8" fmla="*/ 48654 h 121214"/>
                                                <a:gd name="connsiteX9" fmla="*/ 112079 w 121805"/>
                                                <a:gd name="connsiteY9" fmla="*/ 59279 h 121214"/>
                                                <a:gd name="connsiteX10" fmla="*/ 117586 w 121805"/>
                                                <a:gd name="connsiteY10" fmla="*/ 61546 h 121214"/>
                                                <a:gd name="connsiteX11" fmla="*/ 120890 w 121805"/>
                                                <a:gd name="connsiteY11" fmla="*/ 58501 h 121214"/>
                                                <a:gd name="connsiteX12" fmla="*/ 118623 w 121805"/>
                                                <a:gd name="connsiteY12" fmla="*/ 44249 h 121214"/>
                                                <a:gd name="connsiteX13" fmla="*/ 110719 w 121805"/>
                                                <a:gd name="connsiteY13" fmla="*/ 31486 h 121214"/>
                                                <a:gd name="connsiteX14" fmla="*/ 108387 w 121805"/>
                                                <a:gd name="connsiteY14" fmla="*/ 23776 h 121214"/>
                                                <a:gd name="connsiteX15" fmla="*/ 107674 w 121805"/>
                                                <a:gd name="connsiteY15" fmla="*/ 22157 h 121214"/>
                                                <a:gd name="connsiteX16" fmla="*/ 106961 w 121805"/>
                                                <a:gd name="connsiteY16" fmla="*/ 23258 h 121214"/>
                                                <a:gd name="connsiteX17" fmla="*/ 91866 w 121805"/>
                                                <a:gd name="connsiteY17" fmla="*/ 27469 h 121214"/>
                                                <a:gd name="connsiteX18" fmla="*/ 78585 w 121805"/>
                                                <a:gd name="connsiteY18" fmla="*/ 17622 h 121214"/>
                                                <a:gd name="connsiteX19" fmla="*/ 67183 w 121805"/>
                                                <a:gd name="connsiteY19" fmla="*/ 5377 h 121214"/>
                                                <a:gd name="connsiteX20" fmla="*/ 61676 w 121805"/>
                                                <a:gd name="connsiteY20" fmla="*/ 0 h 121214"/>
                                                <a:gd name="connsiteX21" fmla="*/ 46452 w 121805"/>
                                                <a:gd name="connsiteY21" fmla="*/ 10236 h 121214"/>
                                                <a:gd name="connsiteX22" fmla="*/ 42240 w 121805"/>
                                                <a:gd name="connsiteY22" fmla="*/ 19760 h 121214"/>
                                                <a:gd name="connsiteX23" fmla="*/ 33170 w 121805"/>
                                                <a:gd name="connsiteY23" fmla="*/ 26756 h 121214"/>
                                                <a:gd name="connsiteX24" fmla="*/ 32069 w 121805"/>
                                                <a:gd name="connsiteY24" fmla="*/ 30255 h 121214"/>
                                                <a:gd name="connsiteX25" fmla="*/ 27793 w 121805"/>
                                                <a:gd name="connsiteY25" fmla="*/ 34919 h 121214"/>
                                                <a:gd name="connsiteX26" fmla="*/ 23777 w 121805"/>
                                                <a:gd name="connsiteY26" fmla="*/ 41463 h 121214"/>
                                                <a:gd name="connsiteX27" fmla="*/ 5248 w 121805"/>
                                                <a:gd name="connsiteY27" fmla="*/ 45739 h 121214"/>
                                                <a:gd name="connsiteX28" fmla="*/ 1555 w 121805"/>
                                                <a:gd name="connsiteY28" fmla="*/ 49626 h 121214"/>
                                                <a:gd name="connsiteX29" fmla="*/ 0 w 121805"/>
                                                <a:gd name="connsiteY29" fmla="*/ 52282 h 121214"/>
                                                <a:gd name="connsiteX30" fmla="*/ 15289 w 121805"/>
                                                <a:gd name="connsiteY30" fmla="*/ 57918 h 121214"/>
                                                <a:gd name="connsiteX31" fmla="*/ 23582 w 121805"/>
                                                <a:gd name="connsiteY31" fmla="*/ 82731 h 121214"/>
                                                <a:gd name="connsiteX32" fmla="*/ 27664 w 121805"/>
                                                <a:gd name="connsiteY32" fmla="*/ 89210 h 121214"/>
                                                <a:gd name="connsiteX33" fmla="*/ 35373 w 121805"/>
                                                <a:gd name="connsiteY33" fmla="*/ 92643 h 121214"/>
                                                <a:gd name="connsiteX34" fmla="*/ 36928 w 121805"/>
                                                <a:gd name="connsiteY34" fmla="*/ 99316 h 121214"/>
                                                <a:gd name="connsiteX35" fmla="*/ 47293 w 121805"/>
                                                <a:gd name="connsiteY35" fmla="*/ 100871 h 121214"/>
                                                <a:gd name="connsiteX36" fmla="*/ 55068 w 121805"/>
                                                <a:gd name="connsiteY36" fmla="*/ 112403 h 121214"/>
                                                <a:gd name="connsiteX37" fmla="*/ 63296 w 121805"/>
                                                <a:gd name="connsiteY37" fmla="*/ 115383 h 121214"/>
                                                <a:gd name="connsiteX38" fmla="*/ 66017 w 121805"/>
                                                <a:gd name="connsiteY38" fmla="*/ 119789 h 121214"/>
                                                <a:gd name="connsiteX39" fmla="*/ 75411 w 121805"/>
                                                <a:gd name="connsiteY39" fmla="*/ 120890 h 121214"/>
                                                <a:gd name="connsiteX40" fmla="*/ 75411 w 121805"/>
                                                <a:gd name="connsiteY40" fmla="*/ 105601 h 12121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21805" h="121214">
                                                  <a:moveTo>
                                                    <a:pt x="75281" y="105536"/>
                                                  </a:moveTo>
                                                  <a:lnTo>
                                                    <a:pt x="59409" y="92320"/>
                                                  </a:lnTo>
                                                  <a:cubicBezTo>
                                                    <a:pt x="58567" y="91607"/>
                                                    <a:pt x="57724" y="90894"/>
                                                    <a:pt x="57141" y="89922"/>
                                                  </a:cubicBezTo>
                                                  <a:cubicBezTo>
                                                    <a:pt x="56170" y="88303"/>
                                                    <a:pt x="56170" y="86294"/>
                                                    <a:pt x="55716" y="84480"/>
                                                  </a:cubicBezTo>
                                                  <a:cubicBezTo>
                                                    <a:pt x="54744" y="80140"/>
                                                    <a:pt x="51375" y="76771"/>
                                                    <a:pt x="48071" y="73856"/>
                                                  </a:cubicBezTo>
                                                  <a:cubicBezTo>
                                                    <a:pt x="44767" y="70876"/>
                                                    <a:pt x="41204" y="67960"/>
                                                    <a:pt x="39390" y="63879"/>
                                                  </a:cubicBezTo>
                                                  <a:cubicBezTo>
                                                    <a:pt x="37576" y="59797"/>
                                                    <a:pt x="38224" y="54290"/>
                                                    <a:pt x="42046" y="52023"/>
                                                  </a:cubicBezTo>
                                                  <a:cubicBezTo>
                                                    <a:pt x="43666" y="51051"/>
                                                    <a:pt x="45545" y="50857"/>
                                                    <a:pt x="47358" y="50598"/>
                                                  </a:cubicBezTo>
                                                  <a:cubicBezTo>
                                                    <a:pt x="58437" y="49237"/>
                                                    <a:pt x="69645" y="47877"/>
                                                    <a:pt x="80788" y="48654"/>
                                                  </a:cubicBezTo>
                                                  <a:cubicBezTo>
                                                    <a:pt x="91931" y="49431"/>
                                                    <a:pt x="103204" y="52541"/>
                                                    <a:pt x="112079" y="59279"/>
                                                  </a:cubicBezTo>
                                                  <a:cubicBezTo>
                                                    <a:pt x="113699" y="60510"/>
                                                    <a:pt x="115578" y="61935"/>
                                                    <a:pt x="117586" y="61546"/>
                                                  </a:cubicBezTo>
                                                  <a:cubicBezTo>
                                                    <a:pt x="119141" y="61222"/>
                                                    <a:pt x="120242" y="59862"/>
                                                    <a:pt x="120890" y="58501"/>
                                                  </a:cubicBezTo>
                                                  <a:cubicBezTo>
                                                    <a:pt x="122964" y="53902"/>
                                                    <a:pt x="121214" y="48524"/>
                                                    <a:pt x="118623" y="44249"/>
                                                  </a:cubicBezTo>
                                                  <a:cubicBezTo>
                                                    <a:pt x="116031" y="39973"/>
                                                    <a:pt x="112533" y="36150"/>
                                                    <a:pt x="110719" y="31486"/>
                                                  </a:cubicBezTo>
                                                  <a:cubicBezTo>
                                                    <a:pt x="109747" y="28959"/>
                                                    <a:pt x="109293" y="26303"/>
                                                    <a:pt x="108387" y="23776"/>
                                                  </a:cubicBezTo>
                                                  <a:cubicBezTo>
                                                    <a:pt x="108192" y="23193"/>
                                                    <a:pt x="107933" y="22740"/>
                                                    <a:pt x="107674" y="22157"/>
                                                  </a:cubicBezTo>
                                                  <a:cubicBezTo>
                                                    <a:pt x="107415" y="22545"/>
                                                    <a:pt x="107220" y="22869"/>
                                                    <a:pt x="106961" y="23258"/>
                                                  </a:cubicBezTo>
                                                  <a:cubicBezTo>
                                                    <a:pt x="103787" y="27858"/>
                                                    <a:pt x="97243" y="29089"/>
                                                    <a:pt x="91866" y="27469"/>
                                                  </a:cubicBezTo>
                                                  <a:cubicBezTo>
                                                    <a:pt x="86554" y="25785"/>
                                                    <a:pt x="82278" y="21833"/>
                                                    <a:pt x="78585" y="17622"/>
                                                  </a:cubicBezTo>
                                                  <a:cubicBezTo>
                                                    <a:pt x="74892" y="13410"/>
                                                    <a:pt x="71524" y="8876"/>
                                                    <a:pt x="67183" y="5377"/>
                                                  </a:cubicBezTo>
                                                  <a:cubicBezTo>
                                                    <a:pt x="65174" y="3757"/>
                                                    <a:pt x="62842" y="2267"/>
                                                    <a:pt x="61676" y="0"/>
                                                  </a:cubicBezTo>
                                                  <a:cubicBezTo>
                                                    <a:pt x="57595" y="4665"/>
                                                    <a:pt x="52282" y="8228"/>
                                                    <a:pt x="46452" y="10236"/>
                                                  </a:cubicBezTo>
                                                  <a:cubicBezTo>
                                                    <a:pt x="48719" y="13410"/>
                                                    <a:pt x="45609" y="17751"/>
                                                    <a:pt x="42240" y="19760"/>
                                                  </a:cubicBezTo>
                                                  <a:cubicBezTo>
                                                    <a:pt x="38871" y="21703"/>
                                                    <a:pt x="34661" y="23193"/>
                                                    <a:pt x="33170" y="26756"/>
                                                  </a:cubicBezTo>
                                                  <a:cubicBezTo>
                                                    <a:pt x="32717" y="27858"/>
                                                    <a:pt x="32587" y="29154"/>
                                                    <a:pt x="32069" y="30255"/>
                                                  </a:cubicBezTo>
                                                  <a:cubicBezTo>
                                                    <a:pt x="31162" y="32199"/>
                                                    <a:pt x="29283" y="33429"/>
                                                    <a:pt x="27793" y="34919"/>
                                                  </a:cubicBezTo>
                                                  <a:cubicBezTo>
                                                    <a:pt x="25979" y="36733"/>
                                                    <a:pt x="24554" y="39001"/>
                                                    <a:pt x="23777" y="41463"/>
                                                  </a:cubicBezTo>
                                                  <a:cubicBezTo>
                                                    <a:pt x="19760" y="46581"/>
                                                    <a:pt x="10819" y="42305"/>
                                                    <a:pt x="5248" y="45739"/>
                                                  </a:cubicBezTo>
                                                  <a:cubicBezTo>
                                                    <a:pt x="3693" y="46710"/>
                                                    <a:pt x="2592" y="48136"/>
                                                    <a:pt x="1555" y="49626"/>
                                                  </a:cubicBezTo>
                                                  <a:cubicBezTo>
                                                    <a:pt x="972" y="50468"/>
                                                    <a:pt x="518" y="51375"/>
                                                    <a:pt x="0" y="52282"/>
                                                  </a:cubicBezTo>
                                                  <a:cubicBezTo>
                                                    <a:pt x="3434" y="56882"/>
                                                    <a:pt x="9718" y="59473"/>
                                                    <a:pt x="15289" y="57918"/>
                                                  </a:cubicBezTo>
                                                  <a:cubicBezTo>
                                                    <a:pt x="18075" y="66211"/>
                                                    <a:pt x="20796" y="74439"/>
                                                    <a:pt x="23582" y="82731"/>
                                                  </a:cubicBezTo>
                                                  <a:cubicBezTo>
                                                    <a:pt x="24424" y="85193"/>
                                                    <a:pt x="25396" y="87849"/>
                                                    <a:pt x="27664" y="89210"/>
                                                  </a:cubicBezTo>
                                                  <a:cubicBezTo>
                                                    <a:pt x="30126" y="90635"/>
                                                    <a:pt x="33818" y="90246"/>
                                                    <a:pt x="35373" y="92643"/>
                                                  </a:cubicBezTo>
                                                  <a:cubicBezTo>
                                                    <a:pt x="36604" y="94587"/>
                                                    <a:pt x="35697" y="97373"/>
                                                    <a:pt x="36928" y="99316"/>
                                                  </a:cubicBezTo>
                                                  <a:cubicBezTo>
                                                    <a:pt x="38936" y="102426"/>
                                                    <a:pt x="43666" y="100547"/>
                                                    <a:pt x="47293" y="100871"/>
                                                  </a:cubicBezTo>
                                                  <a:cubicBezTo>
                                                    <a:pt x="52477" y="101325"/>
                                                    <a:pt x="57789" y="107933"/>
                                                    <a:pt x="55068" y="112403"/>
                                                  </a:cubicBezTo>
                                                  <a:cubicBezTo>
                                                    <a:pt x="58048" y="111561"/>
                                                    <a:pt x="61546" y="112792"/>
                                                    <a:pt x="63296" y="115383"/>
                                                  </a:cubicBezTo>
                                                  <a:cubicBezTo>
                                                    <a:pt x="64268" y="116809"/>
                                                    <a:pt x="64786" y="118623"/>
                                                    <a:pt x="66017" y="119789"/>
                                                  </a:cubicBezTo>
                                                  <a:cubicBezTo>
                                                    <a:pt x="68414" y="121991"/>
                                                    <a:pt x="71977" y="121020"/>
                                                    <a:pt x="75411" y="120890"/>
                                                  </a:cubicBezTo>
                                                  <a:cubicBezTo>
                                                    <a:pt x="75152" y="115772"/>
                                                    <a:pt x="75087" y="110719"/>
                                                    <a:pt x="75411" y="10560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3" name="Freeform: Shape 207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13BC629E-A1C4-45B1-BBC6-5A21133DFF1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14448" y="3071471"/>
                                              <a:ext cx="91734" cy="8665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80785 w 91734"/>
                                                <a:gd name="connsiteY0" fmla="*/ 49464 h 86651"/>
                                                <a:gd name="connsiteX1" fmla="*/ 90503 w 91734"/>
                                                <a:gd name="connsiteY1" fmla="*/ 35211 h 86651"/>
                                                <a:gd name="connsiteX2" fmla="*/ 91734 w 91734"/>
                                                <a:gd name="connsiteY2" fmla="*/ 27178 h 86651"/>
                                                <a:gd name="connsiteX3" fmla="*/ 83118 w 91734"/>
                                                <a:gd name="connsiteY3" fmla="*/ 3466 h 86651"/>
                                                <a:gd name="connsiteX4" fmla="*/ 82470 w 91734"/>
                                                <a:gd name="connsiteY4" fmla="*/ 10075 h 86651"/>
                                                <a:gd name="connsiteX5" fmla="*/ 79166 w 91734"/>
                                                <a:gd name="connsiteY5" fmla="*/ 13120 h 86651"/>
                                                <a:gd name="connsiteX6" fmla="*/ 73659 w 91734"/>
                                                <a:gd name="connsiteY6" fmla="*/ 10852 h 86651"/>
                                                <a:gd name="connsiteX7" fmla="*/ 42367 w 91734"/>
                                                <a:gd name="connsiteY7" fmla="*/ 227 h 86651"/>
                                                <a:gd name="connsiteX8" fmla="*/ 8938 w 91734"/>
                                                <a:gd name="connsiteY8" fmla="*/ 2171 h 86651"/>
                                                <a:gd name="connsiteX9" fmla="*/ 3626 w 91734"/>
                                                <a:gd name="connsiteY9" fmla="*/ 3596 h 86651"/>
                                                <a:gd name="connsiteX10" fmla="*/ 969 w 91734"/>
                                                <a:gd name="connsiteY10" fmla="*/ 15452 h 86651"/>
                                                <a:gd name="connsiteX11" fmla="*/ 9651 w 91734"/>
                                                <a:gd name="connsiteY11" fmla="*/ 25429 h 86651"/>
                                                <a:gd name="connsiteX12" fmla="*/ 17295 w 91734"/>
                                                <a:gd name="connsiteY12" fmla="*/ 36054 h 86651"/>
                                                <a:gd name="connsiteX13" fmla="*/ 18721 w 91734"/>
                                                <a:gd name="connsiteY13" fmla="*/ 41495 h 86651"/>
                                                <a:gd name="connsiteX14" fmla="*/ 20988 w 91734"/>
                                                <a:gd name="connsiteY14" fmla="*/ 43893 h 86651"/>
                                                <a:gd name="connsiteX15" fmla="*/ 36860 w 91734"/>
                                                <a:gd name="connsiteY15" fmla="*/ 57109 h 86651"/>
                                                <a:gd name="connsiteX16" fmla="*/ 36860 w 91734"/>
                                                <a:gd name="connsiteY16" fmla="*/ 72398 h 86651"/>
                                                <a:gd name="connsiteX17" fmla="*/ 39841 w 91734"/>
                                                <a:gd name="connsiteY17" fmla="*/ 72593 h 86651"/>
                                                <a:gd name="connsiteX18" fmla="*/ 54806 w 91734"/>
                                                <a:gd name="connsiteY18" fmla="*/ 84448 h 86651"/>
                                                <a:gd name="connsiteX19" fmla="*/ 62516 w 91734"/>
                                                <a:gd name="connsiteY19" fmla="*/ 84708 h 86651"/>
                                                <a:gd name="connsiteX20" fmla="*/ 64654 w 91734"/>
                                                <a:gd name="connsiteY20" fmla="*/ 86651 h 86651"/>
                                                <a:gd name="connsiteX21" fmla="*/ 79036 w 91734"/>
                                                <a:gd name="connsiteY21" fmla="*/ 56331 h 86651"/>
                                                <a:gd name="connsiteX22" fmla="*/ 80785 w 91734"/>
                                                <a:gd name="connsiteY22" fmla="*/ 49464 h 8665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91734" h="86651">
                                                  <a:moveTo>
                                                    <a:pt x="80785" y="49464"/>
                                                  </a:moveTo>
                                                  <a:cubicBezTo>
                                                    <a:pt x="82988" y="44152"/>
                                                    <a:pt x="88365" y="40589"/>
                                                    <a:pt x="90503" y="35211"/>
                                                  </a:cubicBezTo>
                                                  <a:cubicBezTo>
                                                    <a:pt x="91540" y="32685"/>
                                                    <a:pt x="91734" y="29899"/>
                                                    <a:pt x="91734" y="27178"/>
                                                  </a:cubicBezTo>
                                                  <a:cubicBezTo>
                                                    <a:pt x="91604" y="18561"/>
                                                    <a:pt x="88365" y="10269"/>
                                                    <a:pt x="83118" y="3466"/>
                                                  </a:cubicBezTo>
                                                  <a:cubicBezTo>
                                                    <a:pt x="83506" y="5734"/>
                                                    <a:pt x="83377" y="7937"/>
                                                    <a:pt x="82470" y="10075"/>
                                                  </a:cubicBezTo>
                                                  <a:cubicBezTo>
                                                    <a:pt x="81822" y="11500"/>
                                                    <a:pt x="80721" y="12860"/>
                                                    <a:pt x="79166" y="13120"/>
                                                  </a:cubicBezTo>
                                                  <a:cubicBezTo>
                                                    <a:pt x="77157" y="13508"/>
                                                    <a:pt x="75279" y="12083"/>
                                                    <a:pt x="73659" y="10852"/>
                                                  </a:cubicBezTo>
                                                  <a:cubicBezTo>
                                                    <a:pt x="64783" y="4114"/>
                                                    <a:pt x="53510" y="1004"/>
                                                    <a:pt x="42367" y="227"/>
                                                  </a:cubicBezTo>
                                                  <a:cubicBezTo>
                                                    <a:pt x="31224" y="-550"/>
                                                    <a:pt x="20016" y="810"/>
                                                    <a:pt x="8938" y="2171"/>
                                                  </a:cubicBezTo>
                                                  <a:cubicBezTo>
                                                    <a:pt x="7124" y="2365"/>
                                                    <a:pt x="5181" y="2624"/>
                                                    <a:pt x="3626" y="3596"/>
                                                  </a:cubicBezTo>
                                                  <a:cubicBezTo>
                                                    <a:pt x="-197" y="5863"/>
                                                    <a:pt x="-844" y="11435"/>
                                                    <a:pt x="969" y="15452"/>
                                                  </a:cubicBezTo>
                                                  <a:cubicBezTo>
                                                    <a:pt x="2783" y="19533"/>
                                                    <a:pt x="6347" y="22449"/>
                                                    <a:pt x="9651" y="25429"/>
                                                  </a:cubicBezTo>
                                                  <a:cubicBezTo>
                                                    <a:pt x="12955" y="28409"/>
                                                    <a:pt x="16259" y="31778"/>
                                                    <a:pt x="17295" y="36054"/>
                                                  </a:cubicBezTo>
                                                  <a:cubicBezTo>
                                                    <a:pt x="17749" y="37868"/>
                                                    <a:pt x="17749" y="39876"/>
                                                    <a:pt x="18721" y="41495"/>
                                                  </a:cubicBezTo>
                                                  <a:cubicBezTo>
                                                    <a:pt x="19304" y="42467"/>
                                                    <a:pt x="20146" y="43180"/>
                                                    <a:pt x="20988" y="43893"/>
                                                  </a:cubicBezTo>
                                                  <a:lnTo>
                                                    <a:pt x="36860" y="57109"/>
                                                  </a:lnTo>
                                                  <a:cubicBezTo>
                                                    <a:pt x="36537" y="62227"/>
                                                    <a:pt x="36601" y="67280"/>
                                                    <a:pt x="36860" y="72398"/>
                                                  </a:cubicBezTo>
                                                  <a:cubicBezTo>
                                                    <a:pt x="37897" y="72398"/>
                                                    <a:pt x="38934" y="72398"/>
                                                    <a:pt x="39841" y="72593"/>
                                                  </a:cubicBezTo>
                                                  <a:cubicBezTo>
                                                    <a:pt x="46190" y="74148"/>
                                                    <a:pt x="48328" y="83606"/>
                                                    <a:pt x="54806" y="84448"/>
                                                  </a:cubicBezTo>
                                                  <a:cubicBezTo>
                                                    <a:pt x="57398" y="84837"/>
                                                    <a:pt x="60119" y="83671"/>
                                                    <a:pt x="62516" y="84708"/>
                                                  </a:cubicBezTo>
                                                  <a:cubicBezTo>
                                                    <a:pt x="63488" y="85096"/>
                                                    <a:pt x="64135" y="85809"/>
                                                    <a:pt x="64654" y="86651"/>
                                                  </a:cubicBezTo>
                                                  <a:cubicBezTo>
                                                    <a:pt x="71003" y="77257"/>
                                                    <a:pt x="76704" y="67345"/>
                                                    <a:pt x="79036" y="56331"/>
                                                  </a:cubicBezTo>
                                                  <a:cubicBezTo>
                                                    <a:pt x="79490" y="53999"/>
                                                    <a:pt x="79878" y="51667"/>
                                                    <a:pt x="80785" y="4946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4" name="Freeform: Shape 207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AAD5BAB-3C42-4C1F-A28A-96D8204049B9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83637" y="3034113"/>
                                              <a:ext cx="100504" cy="136430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8205 w 100504"/>
                                                <a:gd name="connsiteY0" fmla="*/ 105027 h 136430"/>
                                                <a:gd name="connsiteX1" fmla="*/ 20278 w 100504"/>
                                                <a:gd name="connsiteY1" fmla="*/ 114421 h 136430"/>
                                                <a:gd name="connsiteX2" fmla="*/ 40491 w 100504"/>
                                                <a:gd name="connsiteY2" fmla="*/ 128480 h 136430"/>
                                                <a:gd name="connsiteX3" fmla="*/ 48978 w 100504"/>
                                                <a:gd name="connsiteY3" fmla="*/ 135412 h 136430"/>
                                                <a:gd name="connsiteX4" fmla="*/ 58696 w 100504"/>
                                                <a:gd name="connsiteY4" fmla="*/ 133533 h 136430"/>
                                                <a:gd name="connsiteX5" fmla="*/ 60186 w 100504"/>
                                                <a:gd name="connsiteY5" fmla="*/ 126471 h 136430"/>
                                                <a:gd name="connsiteX6" fmla="*/ 71718 w 100504"/>
                                                <a:gd name="connsiteY6" fmla="*/ 123491 h 136430"/>
                                                <a:gd name="connsiteX7" fmla="*/ 84221 w 100504"/>
                                                <a:gd name="connsiteY7" fmla="*/ 123491 h 136430"/>
                                                <a:gd name="connsiteX8" fmla="*/ 89016 w 100504"/>
                                                <a:gd name="connsiteY8" fmla="*/ 119086 h 136430"/>
                                                <a:gd name="connsiteX9" fmla="*/ 99446 w 100504"/>
                                                <a:gd name="connsiteY9" fmla="*/ 116105 h 136430"/>
                                                <a:gd name="connsiteX10" fmla="*/ 97697 w 100504"/>
                                                <a:gd name="connsiteY10" fmla="*/ 105351 h 136430"/>
                                                <a:gd name="connsiteX11" fmla="*/ 91024 w 100504"/>
                                                <a:gd name="connsiteY11" fmla="*/ 95828 h 136430"/>
                                                <a:gd name="connsiteX12" fmla="*/ 99122 w 100504"/>
                                                <a:gd name="connsiteY12" fmla="*/ 75031 h 136430"/>
                                                <a:gd name="connsiteX13" fmla="*/ 99511 w 100504"/>
                                                <a:gd name="connsiteY13" fmla="*/ 74319 h 136430"/>
                                                <a:gd name="connsiteX14" fmla="*/ 95105 w 100504"/>
                                                <a:gd name="connsiteY14" fmla="*/ 60779 h 136430"/>
                                                <a:gd name="connsiteX15" fmla="*/ 69904 w 100504"/>
                                                <a:gd name="connsiteY15" fmla="*/ 44841 h 136430"/>
                                                <a:gd name="connsiteX16" fmla="*/ 67118 w 100504"/>
                                                <a:gd name="connsiteY16" fmla="*/ 42379 h 136430"/>
                                                <a:gd name="connsiteX17" fmla="*/ 66988 w 100504"/>
                                                <a:gd name="connsiteY17" fmla="*/ 33957 h 136430"/>
                                                <a:gd name="connsiteX18" fmla="*/ 61611 w 100504"/>
                                                <a:gd name="connsiteY18" fmla="*/ 25730 h 136430"/>
                                                <a:gd name="connsiteX19" fmla="*/ 53189 w 100504"/>
                                                <a:gd name="connsiteY19" fmla="*/ 14327 h 136430"/>
                                                <a:gd name="connsiteX20" fmla="*/ 55003 w 100504"/>
                                                <a:gd name="connsiteY20" fmla="*/ 852 h 136430"/>
                                                <a:gd name="connsiteX21" fmla="*/ 55457 w 100504"/>
                                                <a:gd name="connsiteY21" fmla="*/ 398 h 136430"/>
                                                <a:gd name="connsiteX22" fmla="*/ 35308 w 100504"/>
                                                <a:gd name="connsiteY22" fmla="*/ 269 h 136430"/>
                                                <a:gd name="connsiteX23" fmla="*/ 21638 w 100504"/>
                                                <a:gd name="connsiteY23" fmla="*/ 2730 h 136430"/>
                                                <a:gd name="connsiteX24" fmla="*/ 19371 w 100504"/>
                                                <a:gd name="connsiteY24" fmla="*/ 5192 h 136430"/>
                                                <a:gd name="connsiteX25" fmla="*/ 4405 w 100504"/>
                                                <a:gd name="connsiteY25" fmla="*/ 8237 h 136430"/>
                                                <a:gd name="connsiteX26" fmla="*/ 1425 w 100504"/>
                                                <a:gd name="connsiteY26" fmla="*/ 9404 h 136430"/>
                                                <a:gd name="connsiteX27" fmla="*/ 0 w 100504"/>
                                                <a:gd name="connsiteY27" fmla="*/ 11153 h 136430"/>
                                                <a:gd name="connsiteX28" fmla="*/ 713 w 100504"/>
                                                <a:gd name="connsiteY28" fmla="*/ 12772 h 136430"/>
                                                <a:gd name="connsiteX29" fmla="*/ 3045 w 100504"/>
                                                <a:gd name="connsiteY29" fmla="*/ 20482 h 136430"/>
                                                <a:gd name="connsiteX30" fmla="*/ 10949 w 100504"/>
                                                <a:gd name="connsiteY30" fmla="*/ 33245 h 136430"/>
                                                <a:gd name="connsiteX31" fmla="*/ 13864 w 100504"/>
                                                <a:gd name="connsiteY31" fmla="*/ 40954 h 136430"/>
                                                <a:gd name="connsiteX32" fmla="*/ 22480 w 100504"/>
                                                <a:gd name="connsiteY32" fmla="*/ 64666 h 136430"/>
                                                <a:gd name="connsiteX33" fmla="*/ 21250 w 100504"/>
                                                <a:gd name="connsiteY33" fmla="*/ 72699 h 136430"/>
                                                <a:gd name="connsiteX34" fmla="*/ 15937 w 100504"/>
                                                <a:gd name="connsiteY34" fmla="*/ 80409 h 136430"/>
                                                <a:gd name="connsiteX35" fmla="*/ 16196 w 100504"/>
                                                <a:gd name="connsiteY35" fmla="*/ 82806 h 136430"/>
                                                <a:gd name="connsiteX36" fmla="*/ 18140 w 100504"/>
                                                <a:gd name="connsiteY36" fmla="*/ 105157 h 136430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00504" h="136430">
                                                  <a:moveTo>
                                                    <a:pt x="18205" y="105027"/>
                                                  </a:moveTo>
                                                  <a:cubicBezTo>
                                                    <a:pt x="18464" y="108266"/>
                                                    <a:pt x="18788" y="111571"/>
                                                    <a:pt x="20278" y="114421"/>
                                                  </a:cubicBezTo>
                                                  <a:cubicBezTo>
                                                    <a:pt x="24100" y="121807"/>
                                                    <a:pt x="33883" y="123362"/>
                                                    <a:pt x="40491" y="128480"/>
                                                  </a:cubicBezTo>
                                                  <a:cubicBezTo>
                                                    <a:pt x="43406" y="130747"/>
                                                    <a:pt x="45739" y="133727"/>
                                                    <a:pt x="48978" y="135412"/>
                                                  </a:cubicBezTo>
                                                  <a:cubicBezTo>
                                                    <a:pt x="52217" y="137096"/>
                                                    <a:pt x="57011" y="136837"/>
                                                    <a:pt x="58696" y="133533"/>
                                                  </a:cubicBezTo>
                                                  <a:cubicBezTo>
                                                    <a:pt x="59797" y="131395"/>
                                                    <a:pt x="59214" y="128674"/>
                                                    <a:pt x="60186" y="126471"/>
                                                  </a:cubicBezTo>
                                                  <a:cubicBezTo>
                                                    <a:pt x="62000" y="122519"/>
                                                    <a:pt x="67507" y="122455"/>
                                                    <a:pt x="71718" y="123491"/>
                                                  </a:cubicBezTo>
                                                  <a:cubicBezTo>
                                                    <a:pt x="75929" y="124528"/>
                                                    <a:pt x="80723" y="126018"/>
                                                    <a:pt x="84221" y="123491"/>
                                                  </a:cubicBezTo>
                                                  <a:cubicBezTo>
                                                    <a:pt x="85970" y="122195"/>
                                                    <a:pt x="87072" y="119993"/>
                                                    <a:pt x="89016" y="119086"/>
                                                  </a:cubicBezTo>
                                                  <a:cubicBezTo>
                                                    <a:pt x="92449" y="117466"/>
                                                    <a:pt x="98021" y="119604"/>
                                                    <a:pt x="99446" y="116105"/>
                                                  </a:cubicBezTo>
                                                  <a:cubicBezTo>
                                                    <a:pt x="101649" y="112931"/>
                                                    <a:pt x="100094" y="108396"/>
                                                    <a:pt x="97697" y="105351"/>
                                                  </a:cubicBezTo>
                                                  <a:cubicBezTo>
                                                    <a:pt x="95300" y="102241"/>
                                                    <a:pt x="92190" y="99585"/>
                                                    <a:pt x="91024" y="95828"/>
                                                  </a:cubicBezTo>
                                                  <a:cubicBezTo>
                                                    <a:pt x="88692" y="88442"/>
                                                    <a:pt x="94976" y="81510"/>
                                                    <a:pt x="99122" y="75031"/>
                                                  </a:cubicBezTo>
                                                  <a:cubicBezTo>
                                                    <a:pt x="99252" y="74772"/>
                                                    <a:pt x="99381" y="74513"/>
                                                    <a:pt x="99511" y="74319"/>
                                                  </a:cubicBezTo>
                                                  <a:cubicBezTo>
                                                    <a:pt x="96466" y="70755"/>
                                                    <a:pt x="95623" y="65573"/>
                                                    <a:pt x="95105" y="60779"/>
                                                  </a:cubicBezTo>
                                                  <a:cubicBezTo>
                                                    <a:pt x="86683" y="55466"/>
                                                    <a:pt x="78261" y="50154"/>
                                                    <a:pt x="69904" y="44841"/>
                                                  </a:cubicBezTo>
                                                  <a:cubicBezTo>
                                                    <a:pt x="68867" y="44193"/>
                                                    <a:pt x="67766" y="43481"/>
                                                    <a:pt x="67118" y="42379"/>
                                                  </a:cubicBezTo>
                                                  <a:cubicBezTo>
                                                    <a:pt x="65692" y="39918"/>
                                                    <a:pt x="67248" y="36808"/>
                                                    <a:pt x="66988" y="33957"/>
                                                  </a:cubicBezTo>
                                                  <a:cubicBezTo>
                                                    <a:pt x="66729" y="30588"/>
                                                    <a:pt x="64073" y="28062"/>
                                                    <a:pt x="61611" y="25730"/>
                                                  </a:cubicBezTo>
                                                  <a:cubicBezTo>
                                                    <a:pt x="58177" y="22425"/>
                                                    <a:pt x="54873" y="18797"/>
                                                    <a:pt x="53189" y="14327"/>
                                                  </a:cubicBezTo>
                                                  <a:cubicBezTo>
                                                    <a:pt x="51504" y="9857"/>
                                                    <a:pt x="51764" y="4350"/>
                                                    <a:pt x="55003" y="852"/>
                                                  </a:cubicBezTo>
                                                  <a:cubicBezTo>
                                                    <a:pt x="55132" y="722"/>
                                                    <a:pt x="55327" y="593"/>
                                                    <a:pt x="55457" y="398"/>
                                                  </a:cubicBezTo>
                                                  <a:cubicBezTo>
                                                    <a:pt x="48783" y="852"/>
                                                    <a:pt x="42046" y="787"/>
                                                    <a:pt x="35308" y="269"/>
                                                  </a:cubicBezTo>
                                                  <a:cubicBezTo>
                                                    <a:pt x="30514" y="-120"/>
                                                    <a:pt x="25072" y="-573"/>
                                                    <a:pt x="21638" y="2730"/>
                                                  </a:cubicBezTo>
                                                  <a:cubicBezTo>
                                                    <a:pt x="20796" y="3508"/>
                                                    <a:pt x="20148" y="4480"/>
                                                    <a:pt x="19371" y="5192"/>
                                                  </a:cubicBezTo>
                                                  <a:cubicBezTo>
                                                    <a:pt x="15548" y="8691"/>
                                                    <a:pt x="9523" y="7395"/>
                                                    <a:pt x="4405" y="8237"/>
                                                  </a:cubicBezTo>
                                                  <a:cubicBezTo>
                                                    <a:pt x="3369" y="8432"/>
                                                    <a:pt x="2267" y="8691"/>
                                                    <a:pt x="1425" y="9404"/>
                                                  </a:cubicBezTo>
                                                  <a:cubicBezTo>
                                                    <a:pt x="842" y="9857"/>
                                                    <a:pt x="454" y="10505"/>
                                                    <a:pt x="0" y="11153"/>
                                                  </a:cubicBezTo>
                                                  <a:cubicBezTo>
                                                    <a:pt x="194" y="11671"/>
                                                    <a:pt x="518" y="12189"/>
                                                    <a:pt x="713" y="12772"/>
                                                  </a:cubicBezTo>
                                                  <a:cubicBezTo>
                                                    <a:pt x="1555" y="15299"/>
                                                    <a:pt x="2073" y="17955"/>
                                                    <a:pt x="3045" y="20482"/>
                                                  </a:cubicBezTo>
                                                  <a:cubicBezTo>
                                                    <a:pt x="4859" y="25146"/>
                                                    <a:pt x="8357" y="28969"/>
                                                    <a:pt x="10949" y="33245"/>
                                                  </a:cubicBezTo>
                                                  <a:cubicBezTo>
                                                    <a:pt x="12374" y="35577"/>
                                                    <a:pt x="13475" y="38233"/>
                                                    <a:pt x="13864" y="40954"/>
                                                  </a:cubicBezTo>
                                                  <a:cubicBezTo>
                                                    <a:pt x="19111" y="47757"/>
                                                    <a:pt x="22351" y="56114"/>
                                                    <a:pt x="22480" y="64666"/>
                                                  </a:cubicBezTo>
                                                  <a:cubicBezTo>
                                                    <a:pt x="22480" y="67387"/>
                                                    <a:pt x="22286" y="70172"/>
                                                    <a:pt x="21250" y="72699"/>
                                                  </a:cubicBezTo>
                                                  <a:cubicBezTo>
                                                    <a:pt x="20083" y="75614"/>
                                                    <a:pt x="18010" y="77947"/>
                                                    <a:pt x="15937" y="80409"/>
                                                  </a:cubicBezTo>
                                                  <a:cubicBezTo>
                                                    <a:pt x="16002" y="81186"/>
                                                    <a:pt x="16132" y="82028"/>
                                                    <a:pt x="16196" y="82806"/>
                                                  </a:cubicBezTo>
                                                  <a:cubicBezTo>
                                                    <a:pt x="16844" y="90256"/>
                                                    <a:pt x="17492" y="97706"/>
                                                    <a:pt x="18140" y="10515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5" name="Freeform: Shape 207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44E091D-3EA4-4F03-89E8-621CF2E51571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79167" y="3114392"/>
                                              <a:ext cx="47941" cy="70875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3147 w 47941"/>
                                                <a:gd name="connsiteY0" fmla="*/ 59344 h 70875"/>
                                                <a:gd name="connsiteX1" fmla="*/ 47941 w 47941"/>
                                                <a:gd name="connsiteY1" fmla="*/ 50792 h 70875"/>
                                                <a:gd name="connsiteX2" fmla="*/ 45026 w 47941"/>
                                                <a:gd name="connsiteY2" fmla="*/ 48201 h 70875"/>
                                                <a:gd name="connsiteX3" fmla="*/ 24813 w 47941"/>
                                                <a:gd name="connsiteY3" fmla="*/ 34142 h 70875"/>
                                                <a:gd name="connsiteX4" fmla="*/ 22740 w 47941"/>
                                                <a:gd name="connsiteY4" fmla="*/ 24748 h 70875"/>
                                                <a:gd name="connsiteX5" fmla="*/ 20796 w 47941"/>
                                                <a:gd name="connsiteY5" fmla="*/ 2397 h 70875"/>
                                                <a:gd name="connsiteX6" fmla="*/ 20537 w 47941"/>
                                                <a:gd name="connsiteY6" fmla="*/ 0 h 70875"/>
                                                <a:gd name="connsiteX7" fmla="*/ 16132 w 47941"/>
                                                <a:gd name="connsiteY7" fmla="*/ 6543 h 70875"/>
                                                <a:gd name="connsiteX8" fmla="*/ 14382 w 47941"/>
                                                <a:gd name="connsiteY8" fmla="*/ 13411 h 70875"/>
                                                <a:gd name="connsiteX9" fmla="*/ 0 w 47941"/>
                                                <a:gd name="connsiteY9" fmla="*/ 43730 h 70875"/>
                                                <a:gd name="connsiteX10" fmla="*/ 4600 w 47941"/>
                                                <a:gd name="connsiteY10" fmla="*/ 55003 h 70875"/>
                                                <a:gd name="connsiteX11" fmla="*/ 22999 w 47941"/>
                                                <a:gd name="connsiteY11" fmla="*/ 60121 h 70875"/>
                                                <a:gd name="connsiteX12" fmla="*/ 31356 w 47941"/>
                                                <a:gd name="connsiteY12" fmla="*/ 68414 h 70875"/>
                                                <a:gd name="connsiteX13" fmla="*/ 30903 w 47941"/>
                                                <a:gd name="connsiteY13" fmla="*/ 70876 h 70875"/>
                                                <a:gd name="connsiteX14" fmla="*/ 38158 w 47941"/>
                                                <a:gd name="connsiteY14" fmla="*/ 67442 h 70875"/>
                                                <a:gd name="connsiteX15" fmla="*/ 43147 w 47941"/>
                                                <a:gd name="connsiteY15" fmla="*/ 59344 h 70875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7941" h="70875">
                                                  <a:moveTo>
                                                    <a:pt x="43147" y="59344"/>
                                                  </a:moveTo>
                                                  <a:cubicBezTo>
                                                    <a:pt x="44508" y="56364"/>
                                                    <a:pt x="46127" y="53578"/>
                                                    <a:pt x="47941" y="50792"/>
                                                  </a:cubicBezTo>
                                                  <a:cubicBezTo>
                                                    <a:pt x="46970" y="49885"/>
                                                    <a:pt x="46063" y="49043"/>
                                                    <a:pt x="45026" y="48201"/>
                                                  </a:cubicBezTo>
                                                  <a:cubicBezTo>
                                                    <a:pt x="38418" y="43083"/>
                                                    <a:pt x="28635" y="41528"/>
                                                    <a:pt x="24813" y="34142"/>
                                                  </a:cubicBezTo>
                                                  <a:cubicBezTo>
                                                    <a:pt x="23323" y="31292"/>
                                                    <a:pt x="22999" y="27987"/>
                                                    <a:pt x="22740" y="24748"/>
                                                  </a:cubicBezTo>
                                                  <a:cubicBezTo>
                                                    <a:pt x="22092" y="17298"/>
                                                    <a:pt x="21444" y="9848"/>
                                                    <a:pt x="20796" y="2397"/>
                                                  </a:cubicBezTo>
                                                  <a:cubicBezTo>
                                                    <a:pt x="20731" y="1620"/>
                                                    <a:pt x="20667" y="778"/>
                                                    <a:pt x="20537" y="0"/>
                                                  </a:cubicBezTo>
                                                  <a:cubicBezTo>
                                                    <a:pt x="18788" y="2073"/>
                                                    <a:pt x="17103" y="4082"/>
                                                    <a:pt x="16132" y="6543"/>
                                                  </a:cubicBezTo>
                                                  <a:cubicBezTo>
                                                    <a:pt x="15224" y="8746"/>
                                                    <a:pt x="14901" y="11078"/>
                                                    <a:pt x="14382" y="13411"/>
                                                  </a:cubicBezTo>
                                                  <a:cubicBezTo>
                                                    <a:pt x="12050" y="24424"/>
                                                    <a:pt x="6349" y="34337"/>
                                                    <a:pt x="0" y="43730"/>
                                                  </a:cubicBezTo>
                                                  <a:cubicBezTo>
                                                    <a:pt x="2073" y="46840"/>
                                                    <a:pt x="1684" y="52217"/>
                                                    <a:pt x="4600" y="55003"/>
                                                  </a:cubicBezTo>
                                                  <a:cubicBezTo>
                                                    <a:pt x="9458" y="59603"/>
                                                    <a:pt x="19889" y="54161"/>
                                                    <a:pt x="22999" y="60121"/>
                                                  </a:cubicBezTo>
                                                  <a:cubicBezTo>
                                                    <a:pt x="23258" y="64397"/>
                                                    <a:pt x="27080" y="68219"/>
                                                    <a:pt x="31356" y="68414"/>
                                                  </a:cubicBezTo>
                                                  <a:cubicBezTo>
                                                    <a:pt x="31227" y="69256"/>
                                                    <a:pt x="31032" y="70098"/>
                                                    <a:pt x="30903" y="70876"/>
                                                  </a:cubicBezTo>
                                                  <a:cubicBezTo>
                                                    <a:pt x="33559" y="70228"/>
                                                    <a:pt x="36150" y="69256"/>
                                                    <a:pt x="38158" y="67442"/>
                                                  </a:cubicBezTo>
                                                  <a:cubicBezTo>
                                                    <a:pt x="40556" y="65304"/>
                                                    <a:pt x="41786" y="62194"/>
                                                    <a:pt x="43147" y="5934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6" name="Freeform: Shape 207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08766C9C-316B-4A4D-9990-40703E40556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494486" y="3168424"/>
                                              <a:ext cx="49377" cy="84804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8994 w 49377"/>
                                                <a:gd name="connsiteY0" fmla="*/ 81371 h 84804"/>
                                                <a:gd name="connsiteX1" fmla="*/ 31326 w 49377"/>
                                                <a:gd name="connsiteY1" fmla="*/ 74180 h 84804"/>
                                                <a:gd name="connsiteX2" fmla="*/ 48235 w 49377"/>
                                                <a:gd name="connsiteY2" fmla="*/ 59149 h 84804"/>
                                                <a:gd name="connsiteX3" fmla="*/ 42599 w 49377"/>
                                                <a:gd name="connsiteY3" fmla="*/ 45415 h 84804"/>
                                                <a:gd name="connsiteX4" fmla="*/ 30031 w 49377"/>
                                                <a:gd name="connsiteY4" fmla="*/ 34984 h 84804"/>
                                                <a:gd name="connsiteX5" fmla="*/ 29123 w 49377"/>
                                                <a:gd name="connsiteY5" fmla="*/ 29607 h 84804"/>
                                                <a:gd name="connsiteX6" fmla="*/ 30743 w 49377"/>
                                                <a:gd name="connsiteY6" fmla="*/ 0 h 84804"/>
                                                <a:gd name="connsiteX7" fmla="*/ 27763 w 49377"/>
                                                <a:gd name="connsiteY7" fmla="*/ 5248 h 84804"/>
                                                <a:gd name="connsiteX8" fmla="*/ 22775 w 49377"/>
                                                <a:gd name="connsiteY8" fmla="*/ 13346 h 84804"/>
                                                <a:gd name="connsiteX9" fmla="*/ 15519 w 49377"/>
                                                <a:gd name="connsiteY9" fmla="*/ 16779 h 84804"/>
                                                <a:gd name="connsiteX10" fmla="*/ 11890 w 49377"/>
                                                <a:gd name="connsiteY10" fmla="*/ 30060 h 84804"/>
                                                <a:gd name="connsiteX11" fmla="*/ 9299 w 49377"/>
                                                <a:gd name="connsiteY11" fmla="*/ 33753 h 84804"/>
                                                <a:gd name="connsiteX12" fmla="*/ 3209 w 49377"/>
                                                <a:gd name="connsiteY12" fmla="*/ 35049 h 84804"/>
                                                <a:gd name="connsiteX13" fmla="*/ 1654 w 49377"/>
                                                <a:gd name="connsiteY13" fmla="*/ 48136 h 84804"/>
                                                <a:gd name="connsiteX14" fmla="*/ 9429 w 49377"/>
                                                <a:gd name="connsiteY14" fmla="*/ 56363 h 84804"/>
                                                <a:gd name="connsiteX15" fmla="*/ 12538 w 49377"/>
                                                <a:gd name="connsiteY15" fmla="*/ 67701 h 84804"/>
                                                <a:gd name="connsiteX16" fmla="*/ 13121 w 49377"/>
                                                <a:gd name="connsiteY16" fmla="*/ 75346 h 84804"/>
                                                <a:gd name="connsiteX17" fmla="*/ 23228 w 49377"/>
                                                <a:gd name="connsiteY17" fmla="*/ 81954 h 84804"/>
                                                <a:gd name="connsiteX18" fmla="*/ 25625 w 49377"/>
                                                <a:gd name="connsiteY18" fmla="*/ 84804 h 84804"/>
                                                <a:gd name="connsiteX19" fmla="*/ 28800 w 49377"/>
                                                <a:gd name="connsiteY19" fmla="*/ 81306 h 84804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9377" h="84804">
                                                  <a:moveTo>
                                                    <a:pt x="28994" y="81371"/>
                                                  </a:moveTo>
                                                  <a:cubicBezTo>
                                                    <a:pt x="30225" y="79168"/>
                                                    <a:pt x="30549" y="76577"/>
                                                    <a:pt x="31326" y="74180"/>
                                                  </a:cubicBezTo>
                                                  <a:cubicBezTo>
                                                    <a:pt x="33659" y="66600"/>
                                                    <a:pt x="40461" y="60639"/>
                                                    <a:pt x="48235" y="59149"/>
                                                  </a:cubicBezTo>
                                                  <a:cubicBezTo>
                                                    <a:pt x="51475" y="54614"/>
                                                    <a:pt x="47263" y="48395"/>
                                                    <a:pt x="42599" y="45415"/>
                                                  </a:cubicBezTo>
                                                  <a:cubicBezTo>
                                                    <a:pt x="37934" y="42435"/>
                                                    <a:pt x="32039" y="40167"/>
                                                    <a:pt x="30031" y="34984"/>
                                                  </a:cubicBezTo>
                                                  <a:cubicBezTo>
                                                    <a:pt x="29383" y="33300"/>
                                                    <a:pt x="29253" y="31421"/>
                                                    <a:pt x="29123" y="29607"/>
                                                  </a:cubicBezTo>
                                                  <a:cubicBezTo>
                                                    <a:pt x="28605" y="19695"/>
                                                    <a:pt x="29188" y="9783"/>
                                                    <a:pt x="30743" y="0"/>
                                                  </a:cubicBezTo>
                                                  <a:cubicBezTo>
                                                    <a:pt x="29706" y="1749"/>
                                                    <a:pt x="28670" y="3434"/>
                                                    <a:pt x="27763" y="5248"/>
                                                  </a:cubicBezTo>
                                                  <a:cubicBezTo>
                                                    <a:pt x="26403" y="8163"/>
                                                    <a:pt x="25172" y="11208"/>
                                                    <a:pt x="22775" y="13346"/>
                                                  </a:cubicBezTo>
                                                  <a:cubicBezTo>
                                                    <a:pt x="20766" y="15160"/>
                                                    <a:pt x="18175" y="16132"/>
                                                    <a:pt x="15519" y="16779"/>
                                                  </a:cubicBezTo>
                                                  <a:cubicBezTo>
                                                    <a:pt x="14741" y="21314"/>
                                                    <a:pt x="13640" y="25785"/>
                                                    <a:pt x="11890" y="30060"/>
                                                  </a:cubicBezTo>
                                                  <a:cubicBezTo>
                                                    <a:pt x="11307" y="31486"/>
                                                    <a:pt x="10595" y="32976"/>
                                                    <a:pt x="9299" y="33753"/>
                                                  </a:cubicBezTo>
                                                  <a:cubicBezTo>
                                                    <a:pt x="7485" y="34855"/>
                                                    <a:pt x="5153" y="34272"/>
                                                    <a:pt x="3209" y="35049"/>
                                                  </a:cubicBezTo>
                                                  <a:cubicBezTo>
                                                    <a:pt x="-1391" y="36863"/>
                                                    <a:pt x="-225" y="43601"/>
                                                    <a:pt x="1654" y="48136"/>
                                                  </a:cubicBezTo>
                                                  <a:cubicBezTo>
                                                    <a:pt x="5606" y="48395"/>
                                                    <a:pt x="7938" y="52671"/>
                                                    <a:pt x="9429" y="56363"/>
                                                  </a:cubicBezTo>
                                                  <a:cubicBezTo>
                                                    <a:pt x="10919" y="59991"/>
                                                    <a:pt x="12474" y="63749"/>
                                                    <a:pt x="12538" y="67701"/>
                                                  </a:cubicBezTo>
                                                  <a:cubicBezTo>
                                                    <a:pt x="12538" y="70292"/>
                                                    <a:pt x="11955" y="73013"/>
                                                    <a:pt x="13121" y="75346"/>
                                                  </a:cubicBezTo>
                                                  <a:cubicBezTo>
                                                    <a:pt x="15000" y="78974"/>
                                                    <a:pt x="19988" y="79427"/>
                                                    <a:pt x="23228" y="81954"/>
                                                  </a:cubicBezTo>
                                                  <a:cubicBezTo>
                                                    <a:pt x="24265" y="82731"/>
                                                    <a:pt x="25042" y="83703"/>
                                                    <a:pt x="25625" y="84804"/>
                                                  </a:cubicBezTo>
                                                  <a:cubicBezTo>
                                                    <a:pt x="26856" y="83833"/>
                                                    <a:pt x="28022" y="82731"/>
                                                    <a:pt x="28800" y="81306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7" name="Freeform: Shape 207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2F4C8FA7-79DE-4151-BC89-3306BBFA353B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23333" y="3152745"/>
                                              <a:ext cx="66811" cy="6763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37075 w 66811"/>
                                                <a:gd name="connsiteY0" fmla="*/ 60445 h 67636"/>
                                                <a:gd name="connsiteX1" fmla="*/ 51198 w 66811"/>
                                                <a:gd name="connsiteY1" fmla="*/ 49561 h 67636"/>
                                                <a:gd name="connsiteX2" fmla="*/ 65192 w 66811"/>
                                                <a:gd name="connsiteY2" fmla="*/ 42759 h 67636"/>
                                                <a:gd name="connsiteX3" fmla="*/ 66811 w 66811"/>
                                                <a:gd name="connsiteY3" fmla="*/ 27534 h 67636"/>
                                                <a:gd name="connsiteX4" fmla="*/ 57547 w 66811"/>
                                                <a:gd name="connsiteY4" fmla="*/ 17946 h 67636"/>
                                                <a:gd name="connsiteX5" fmla="*/ 56640 w 66811"/>
                                                <a:gd name="connsiteY5" fmla="*/ 12698 h 67636"/>
                                                <a:gd name="connsiteX6" fmla="*/ 53206 w 66811"/>
                                                <a:gd name="connsiteY6" fmla="*/ 6673 h 67636"/>
                                                <a:gd name="connsiteX7" fmla="*/ 51004 w 66811"/>
                                                <a:gd name="connsiteY7" fmla="*/ 0 h 67636"/>
                                                <a:gd name="connsiteX8" fmla="*/ 49254 w 66811"/>
                                                <a:gd name="connsiteY8" fmla="*/ 518 h 67636"/>
                                                <a:gd name="connsiteX9" fmla="*/ 44460 w 66811"/>
                                                <a:gd name="connsiteY9" fmla="*/ 4924 h 67636"/>
                                                <a:gd name="connsiteX10" fmla="*/ 31957 w 66811"/>
                                                <a:gd name="connsiteY10" fmla="*/ 4924 h 67636"/>
                                                <a:gd name="connsiteX11" fmla="*/ 20425 w 66811"/>
                                                <a:gd name="connsiteY11" fmla="*/ 7904 h 67636"/>
                                                <a:gd name="connsiteX12" fmla="*/ 18935 w 66811"/>
                                                <a:gd name="connsiteY12" fmla="*/ 14965 h 67636"/>
                                                <a:gd name="connsiteX13" fmla="*/ 9217 w 66811"/>
                                                <a:gd name="connsiteY13" fmla="*/ 16844 h 67636"/>
                                                <a:gd name="connsiteX14" fmla="*/ 3645 w 66811"/>
                                                <a:gd name="connsiteY14" fmla="*/ 12504 h 67636"/>
                                                <a:gd name="connsiteX15" fmla="*/ 1831 w 66811"/>
                                                <a:gd name="connsiteY15" fmla="*/ 15743 h 67636"/>
                                                <a:gd name="connsiteX16" fmla="*/ 212 w 66811"/>
                                                <a:gd name="connsiteY16" fmla="*/ 45350 h 67636"/>
                                                <a:gd name="connsiteX17" fmla="*/ 1119 w 66811"/>
                                                <a:gd name="connsiteY17" fmla="*/ 50727 h 67636"/>
                                                <a:gd name="connsiteX18" fmla="*/ 13687 w 66811"/>
                                                <a:gd name="connsiteY18" fmla="*/ 61158 h 67636"/>
                                                <a:gd name="connsiteX19" fmla="*/ 19518 w 66811"/>
                                                <a:gd name="connsiteY19" fmla="*/ 67636 h 67636"/>
                                                <a:gd name="connsiteX20" fmla="*/ 31114 w 66811"/>
                                                <a:gd name="connsiteY20" fmla="*/ 62907 h 67636"/>
                                                <a:gd name="connsiteX21" fmla="*/ 37075 w 66811"/>
                                                <a:gd name="connsiteY21" fmla="*/ 60510 h 6763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6811" h="67636">
                                                  <a:moveTo>
                                                    <a:pt x="37075" y="60445"/>
                                                  </a:moveTo>
                                                  <a:cubicBezTo>
                                                    <a:pt x="42776" y="58113"/>
                                                    <a:pt x="48995" y="55262"/>
                                                    <a:pt x="51198" y="49561"/>
                                                  </a:cubicBezTo>
                                                  <a:cubicBezTo>
                                                    <a:pt x="56057" y="47423"/>
                                                    <a:pt x="62276" y="47229"/>
                                                    <a:pt x="65192" y="42759"/>
                                                  </a:cubicBezTo>
                                                  <a:cubicBezTo>
                                                    <a:pt x="68042" y="38418"/>
                                                    <a:pt x="65840" y="32587"/>
                                                    <a:pt x="66811" y="27534"/>
                                                  </a:cubicBezTo>
                                                  <a:cubicBezTo>
                                                    <a:pt x="62276" y="26432"/>
                                                    <a:pt x="58519" y="22546"/>
                                                    <a:pt x="57547" y="17946"/>
                                                  </a:cubicBezTo>
                                                  <a:cubicBezTo>
                                                    <a:pt x="57158" y="16196"/>
                                                    <a:pt x="57223" y="14382"/>
                                                    <a:pt x="56640" y="12698"/>
                                                  </a:cubicBezTo>
                                                  <a:cubicBezTo>
                                                    <a:pt x="55927" y="10495"/>
                                                    <a:pt x="54307" y="8746"/>
                                                    <a:pt x="53206" y="6673"/>
                                                  </a:cubicBezTo>
                                                  <a:cubicBezTo>
                                                    <a:pt x="52105" y="4600"/>
                                                    <a:pt x="51587" y="2268"/>
                                                    <a:pt x="51004" y="0"/>
                                                  </a:cubicBezTo>
                                                  <a:cubicBezTo>
                                                    <a:pt x="50356" y="130"/>
                                                    <a:pt x="49773" y="259"/>
                                                    <a:pt x="49254" y="518"/>
                                                  </a:cubicBezTo>
                                                  <a:cubicBezTo>
                                                    <a:pt x="47246" y="1490"/>
                                                    <a:pt x="46209" y="3628"/>
                                                    <a:pt x="44460" y="4924"/>
                                                  </a:cubicBezTo>
                                                  <a:cubicBezTo>
                                                    <a:pt x="40962" y="7515"/>
                                                    <a:pt x="36168" y="6025"/>
                                                    <a:pt x="31957" y="4924"/>
                                                  </a:cubicBezTo>
                                                  <a:cubicBezTo>
                                                    <a:pt x="27745" y="3887"/>
                                                    <a:pt x="22239" y="3952"/>
                                                    <a:pt x="20425" y="7904"/>
                                                  </a:cubicBezTo>
                                                  <a:cubicBezTo>
                                                    <a:pt x="19388" y="10107"/>
                                                    <a:pt x="20036" y="12828"/>
                                                    <a:pt x="18935" y="14965"/>
                                                  </a:cubicBezTo>
                                                  <a:cubicBezTo>
                                                    <a:pt x="17250" y="18205"/>
                                                    <a:pt x="12521" y="18529"/>
                                                    <a:pt x="9217" y="16844"/>
                                                  </a:cubicBezTo>
                                                  <a:cubicBezTo>
                                                    <a:pt x="7144" y="15743"/>
                                                    <a:pt x="5394" y="14123"/>
                                                    <a:pt x="3645" y="12504"/>
                                                  </a:cubicBezTo>
                                                  <a:cubicBezTo>
                                                    <a:pt x="2997" y="13540"/>
                                                    <a:pt x="2479" y="14706"/>
                                                    <a:pt x="1831" y="15743"/>
                                                  </a:cubicBezTo>
                                                  <a:cubicBezTo>
                                                    <a:pt x="276" y="25526"/>
                                                    <a:pt x="-371" y="35438"/>
                                                    <a:pt x="212" y="45350"/>
                                                  </a:cubicBezTo>
                                                  <a:cubicBezTo>
                                                    <a:pt x="276" y="47164"/>
                                                    <a:pt x="471" y="49043"/>
                                                    <a:pt x="1119" y="50727"/>
                                                  </a:cubicBezTo>
                                                  <a:cubicBezTo>
                                                    <a:pt x="3127" y="55910"/>
                                                    <a:pt x="8957" y="58178"/>
                                                    <a:pt x="13687" y="61158"/>
                                                  </a:cubicBezTo>
                                                  <a:cubicBezTo>
                                                    <a:pt x="16084" y="62648"/>
                                                    <a:pt x="18351" y="65045"/>
                                                    <a:pt x="19518" y="67636"/>
                                                  </a:cubicBezTo>
                                                  <a:cubicBezTo>
                                                    <a:pt x="23405" y="66082"/>
                                                    <a:pt x="27227" y="64462"/>
                                                    <a:pt x="31114" y="62907"/>
                                                  </a:cubicBezTo>
                                                  <a:cubicBezTo>
                                                    <a:pt x="33123" y="62129"/>
                                                    <a:pt x="35066" y="61287"/>
                                                    <a:pt x="37075" y="60510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8" name="Freeform: Shape 207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CD5506C-49F2-418F-9617-BA7A762F8764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663850" y="3177459"/>
                                              <a:ext cx="452921" cy="195169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452484 w 452921"/>
                                                <a:gd name="connsiteY0" fmla="*/ 136020 h 195169"/>
                                                <a:gd name="connsiteX1" fmla="*/ 450605 w 452921"/>
                                                <a:gd name="connsiteY1" fmla="*/ 132068 h 195169"/>
                                                <a:gd name="connsiteX2" fmla="*/ 451577 w 452921"/>
                                                <a:gd name="connsiteY2" fmla="*/ 126172 h 195169"/>
                                                <a:gd name="connsiteX3" fmla="*/ 445552 w 452921"/>
                                                <a:gd name="connsiteY3" fmla="*/ 99351 h 195169"/>
                                                <a:gd name="connsiteX4" fmla="*/ 441665 w 452921"/>
                                                <a:gd name="connsiteY4" fmla="*/ 92160 h 195169"/>
                                                <a:gd name="connsiteX5" fmla="*/ 447301 w 452921"/>
                                                <a:gd name="connsiteY5" fmla="*/ 86912 h 195169"/>
                                                <a:gd name="connsiteX6" fmla="*/ 452225 w 452921"/>
                                                <a:gd name="connsiteY6" fmla="*/ 71363 h 195169"/>
                                                <a:gd name="connsiteX7" fmla="*/ 447690 w 452921"/>
                                                <a:gd name="connsiteY7" fmla="*/ 61322 h 195169"/>
                                                <a:gd name="connsiteX8" fmla="*/ 443154 w 452921"/>
                                                <a:gd name="connsiteY8" fmla="*/ 59832 h 195169"/>
                                                <a:gd name="connsiteX9" fmla="*/ 442507 w 452921"/>
                                                <a:gd name="connsiteY9" fmla="*/ 57564 h 195169"/>
                                                <a:gd name="connsiteX10" fmla="*/ 432530 w 452921"/>
                                                <a:gd name="connsiteY10" fmla="*/ 49336 h 195169"/>
                                                <a:gd name="connsiteX11" fmla="*/ 431428 w 452921"/>
                                                <a:gd name="connsiteY11" fmla="*/ 30354 h 195169"/>
                                                <a:gd name="connsiteX12" fmla="*/ 425922 w 452921"/>
                                                <a:gd name="connsiteY12" fmla="*/ 26467 h 195169"/>
                                                <a:gd name="connsiteX13" fmla="*/ 414973 w 452921"/>
                                                <a:gd name="connsiteY13" fmla="*/ 17851 h 195169"/>
                                                <a:gd name="connsiteX14" fmla="*/ 373899 w 452921"/>
                                                <a:gd name="connsiteY14" fmla="*/ 17203 h 195169"/>
                                                <a:gd name="connsiteX15" fmla="*/ 364051 w 452921"/>
                                                <a:gd name="connsiteY15" fmla="*/ 23487 h 195169"/>
                                                <a:gd name="connsiteX16" fmla="*/ 359451 w 452921"/>
                                                <a:gd name="connsiteY16" fmla="*/ 29318 h 195169"/>
                                                <a:gd name="connsiteX17" fmla="*/ 295767 w 452921"/>
                                                <a:gd name="connsiteY17" fmla="*/ 36962 h 195169"/>
                                                <a:gd name="connsiteX18" fmla="*/ 258969 w 452921"/>
                                                <a:gd name="connsiteY18" fmla="*/ 20053 h 195169"/>
                                                <a:gd name="connsiteX19" fmla="*/ 221004 w 452921"/>
                                                <a:gd name="connsiteY19" fmla="*/ 4829 h 195169"/>
                                                <a:gd name="connsiteX20" fmla="*/ 171638 w 452921"/>
                                                <a:gd name="connsiteY20" fmla="*/ 3338 h 195169"/>
                                                <a:gd name="connsiteX21" fmla="*/ 159069 w 452921"/>
                                                <a:gd name="connsiteY21" fmla="*/ 9428 h 195169"/>
                                                <a:gd name="connsiteX22" fmla="*/ 125769 w 452921"/>
                                                <a:gd name="connsiteY22" fmla="*/ 30484 h 195169"/>
                                                <a:gd name="connsiteX23" fmla="*/ 91822 w 452921"/>
                                                <a:gd name="connsiteY23" fmla="*/ 29642 h 195169"/>
                                                <a:gd name="connsiteX24" fmla="*/ 79707 w 452921"/>
                                                <a:gd name="connsiteY24" fmla="*/ 31585 h 195169"/>
                                                <a:gd name="connsiteX25" fmla="*/ 76532 w 452921"/>
                                                <a:gd name="connsiteY25" fmla="*/ 42145 h 195169"/>
                                                <a:gd name="connsiteX26" fmla="*/ 34681 w 452921"/>
                                                <a:gd name="connsiteY26" fmla="*/ 52705 h 195169"/>
                                                <a:gd name="connsiteX27" fmla="*/ 11228 w 452921"/>
                                                <a:gd name="connsiteY27" fmla="*/ 52770 h 195169"/>
                                                <a:gd name="connsiteX28" fmla="*/ 1057 w 452921"/>
                                                <a:gd name="connsiteY28" fmla="*/ 70780 h 195169"/>
                                                <a:gd name="connsiteX29" fmla="*/ 15763 w 452921"/>
                                                <a:gd name="connsiteY29" fmla="*/ 73631 h 195169"/>
                                                <a:gd name="connsiteX30" fmla="*/ 16735 w 452921"/>
                                                <a:gd name="connsiteY30" fmla="*/ 98833 h 195169"/>
                                                <a:gd name="connsiteX31" fmla="*/ 7212 w 452921"/>
                                                <a:gd name="connsiteY31" fmla="*/ 113474 h 195169"/>
                                                <a:gd name="connsiteX32" fmla="*/ 24509 w 452921"/>
                                                <a:gd name="connsiteY32" fmla="*/ 125784 h 195169"/>
                                                <a:gd name="connsiteX33" fmla="*/ 24250 w 452921"/>
                                                <a:gd name="connsiteY33" fmla="*/ 133299 h 195169"/>
                                                <a:gd name="connsiteX34" fmla="*/ 39604 w 452921"/>
                                                <a:gd name="connsiteY34" fmla="*/ 147292 h 195169"/>
                                                <a:gd name="connsiteX35" fmla="*/ 48804 w 452921"/>
                                                <a:gd name="connsiteY35" fmla="*/ 161221 h 195169"/>
                                                <a:gd name="connsiteX36" fmla="*/ 66814 w 452921"/>
                                                <a:gd name="connsiteY36" fmla="*/ 168736 h 195169"/>
                                                <a:gd name="connsiteX37" fmla="*/ 69147 w 452921"/>
                                                <a:gd name="connsiteY37" fmla="*/ 176446 h 195169"/>
                                                <a:gd name="connsiteX38" fmla="*/ 88647 w 452921"/>
                                                <a:gd name="connsiteY38" fmla="*/ 184738 h 195169"/>
                                                <a:gd name="connsiteX39" fmla="*/ 113978 w 452921"/>
                                                <a:gd name="connsiteY39" fmla="*/ 158177 h 195169"/>
                                                <a:gd name="connsiteX40" fmla="*/ 143844 w 452921"/>
                                                <a:gd name="connsiteY40" fmla="*/ 169190 h 195169"/>
                                                <a:gd name="connsiteX41" fmla="*/ 208306 w 452921"/>
                                                <a:gd name="connsiteY41" fmla="*/ 171911 h 195169"/>
                                                <a:gd name="connsiteX42" fmla="*/ 218413 w 452921"/>
                                                <a:gd name="connsiteY42" fmla="*/ 166275 h 195169"/>
                                                <a:gd name="connsiteX43" fmla="*/ 225993 w 452921"/>
                                                <a:gd name="connsiteY43" fmla="*/ 168283 h 195169"/>
                                                <a:gd name="connsiteX44" fmla="*/ 246076 w 452921"/>
                                                <a:gd name="connsiteY44" fmla="*/ 160250 h 195169"/>
                                                <a:gd name="connsiteX45" fmla="*/ 245882 w 452921"/>
                                                <a:gd name="connsiteY45" fmla="*/ 193485 h 195169"/>
                                                <a:gd name="connsiteX46" fmla="*/ 245882 w 452921"/>
                                                <a:gd name="connsiteY46" fmla="*/ 195169 h 195169"/>
                                                <a:gd name="connsiteX47" fmla="*/ 251907 w 452921"/>
                                                <a:gd name="connsiteY47" fmla="*/ 187719 h 195169"/>
                                                <a:gd name="connsiteX48" fmla="*/ 252944 w 452921"/>
                                                <a:gd name="connsiteY48" fmla="*/ 182082 h 195169"/>
                                                <a:gd name="connsiteX49" fmla="*/ 268492 w 452921"/>
                                                <a:gd name="connsiteY49" fmla="*/ 170810 h 195169"/>
                                                <a:gd name="connsiteX50" fmla="*/ 269853 w 452921"/>
                                                <a:gd name="connsiteY50" fmla="*/ 167894 h 195169"/>
                                                <a:gd name="connsiteX51" fmla="*/ 274258 w 452921"/>
                                                <a:gd name="connsiteY51" fmla="*/ 166534 h 195169"/>
                                                <a:gd name="connsiteX52" fmla="*/ 329974 w 452921"/>
                                                <a:gd name="connsiteY52" fmla="*/ 168153 h 195169"/>
                                                <a:gd name="connsiteX53" fmla="*/ 346494 w 452921"/>
                                                <a:gd name="connsiteY53" fmla="*/ 168542 h 195169"/>
                                                <a:gd name="connsiteX54" fmla="*/ 366707 w 452921"/>
                                                <a:gd name="connsiteY54" fmla="*/ 158112 h 195169"/>
                                                <a:gd name="connsiteX55" fmla="*/ 379988 w 452921"/>
                                                <a:gd name="connsiteY55" fmla="*/ 157788 h 195169"/>
                                                <a:gd name="connsiteX56" fmla="*/ 407134 w 452921"/>
                                                <a:gd name="connsiteY56" fmla="*/ 148588 h 195169"/>
                                                <a:gd name="connsiteX57" fmla="*/ 407522 w 452921"/>
                                                <a:gd name="connsiteY57" fmla="*/ 150856 h 195169"/>
                                                <a:gd name="connsiteX58" fmla="*/ 412835 w 452921"/>
                                                <a:gd name="connsiteY58" fmla="*/ 149690 h 195169"/>
                                                <a:gd name="connsiteX59" fmla="*/ 441405 w 452921"/>
                                                <a:gd name="connsiteY59" fmla="*/ 153188 h 195169"/>
                                                <a:gd name="connsiteX60" fmla="*/ 446523 w 452921"/>
                                                <a:gd name="connsiteY60" fmla="*/ 152864 h 195169"/>
                                                <a:gd name="connsiteX61" fmla="*/ 451771 w 452921"/>
                                                <a:gd name="connsiteY61" fmla="*/ 140943 h 195169"/>
                                                <a:gd name="connsiteX62" fmla="*/ 452419 w 452921"/>
                                                <a:gd name="connsiteY62" fmla="*/ 135955 h 195169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452921" h="195169">
                                                  <a:moveTo>
                                                    <a:pt x="452484" y="136020"/>
                                                  </a:moveTo>
                                                  <a:cubicBezTo>
                                                    <a:pt x="452095" y="134594"/>
                                                    <a:pt x="450994" y="133493"/>
                                                    <a:pt x="450605" y="132068"/>
                                                  </a:cubicBezTo>
                                                  <a:cubicBezTo>
                                                    <a:pt x="450022" y="130124"/>
                                                    <a:pt x="450929" y="128116"/>
                                                    <a:pt x="451577" y="126172"/>
                                                  </a:cubicBezTo>
                                                  <a:cubicBezTo>
                                                    <a:pt x="454687" y="117038"/>
                                                    <a:pt x="452289" y="106283"/>
                                                    <a:pt x="445552" y="99351"/>
                                                  </a:cubicBezTo>
                                                  <a:cubicBezTo>
                                                    <a:pt x="443543" y="97278"/>
                                                    <a:pt x="441016" y="94946"/>
                                                    <a:pt x="441665" y="92160"/>
                                                  </a:cubicBezTo>
                                                  <a:cubicBezTo>
                                                    <a:pt x="442312" y="89633"/>
                                                    <a:pt x="445228" y="88532"/>
                                                    <a:pt x="447301" y="86912"/>
                                                  </a:cubicBezTo>
                                                  <a:cubicBezTo>
                                                    <a:pt x="451706" y="83414"/>
                                                    <a:pt x="452160" y="77000"/>
                                                    <a:pt x="452225" y="71363"/>
                                                  </a:cubicBezTo>
                                                  <a:cubicBezTo>
                                                    <a:pt x="452225" y="67412"/>
                                                    <a:pt x="451577" y="62294"/>
                                                    <a:pt x="447690" y="61322"/>
                                                  </a:cubicBezTo>
                                                  <a:cubicBezTo>
                                                    <a:pt x="446070" y="60933"/>
                                                    <a:pt x="444062" y="61192"/>
                                                    <a:pt x="443154" y="59832"/>
                                                  </a:cubicBezTo>
                                                  <a:cubicBezTo>
                                                    <a:pt x="442701" y="59184"/>
                                                    <a:pt x="442701" y="58342"/>
                                                    <a:pt x="442507" y="57564"/>
                                                  </a:cubicBezTo>
                                                  <a:cubicBezTo>
                                                    <a:pt x="441405" y="53288"/>
                                                    <a:pt x="435121" y="52900"/>
                                                    <a:pt x="432530" y="49336"/>
                                                  </a:cubicBezTo>
                                                  <a:cubicBezTo>
                                                    <a:pt x="428707" y="44024"/>
                                                    <a:pt x="435251" y="35667"/>
                                                    <a:pt x="431428" y="30354"/>
                                                  </a:cubicBezTo>
                                                  <a:cubicBezTo>
                                                    <a:pt x="430132" y="28475"/>
                                                    <a:pt x="427865" y="27633"/>
                                                    <a:pt x="425922" y="26467"/>
                                                  </a:cubicBezTo>
                                                  <a:cubicBezTo>
                                                    <a:pt x="421905" y="24070"/>
                                                    <a:pt x="418925" y="20313"/>
                                                    <a:pt x="414973" y="17851"/>
                                                  </a:cubicBezTo>
                                                  <a:cubicBezTo>
                                                    <a:pt x="403247" y="10465"/>
                                                    <a:pt x="387892" y="16360"/>
                                                    <a:pt x="373899" y="17203"/>
                                                  </a:cubicBezTo>
                                                  <a:cubicBezTo>
                                                    <a:pt x="370594" y="19276"/>
                                                    <a:pt x="367355" y="21414"/>
                                                    <a:pt x="364051" y="23487"/>
                                                  </a:cubicBezTo>
                                                  <a:cubicBezTo>
                                                    <a:pt x="361848" y="24912"/>
                                                    <a:pt x="359387" y="26726"/>
                                                    <a:pt x="359451" y="29318"/>
                                                  </a:cubicBezTo>
                                                  <a:cubicBezTo>
                                                    <a:pt x="338785" y="35667"/>
                                                    <a:pt x="316822" y="42145"/>
                                                    <a:pt x="295767" y="36962"/>
                                                  </a:cubicBezTo>
                                                  <a:cubicBezTo>
                                                    <a:pt x="282616" y="33723"/>
                                                    <a:pt x="271019" y="26273"/>
                                                    <a:pt x="258969" y="20053"/>
                                                  </a:cubicBezTo>
                                                  <a:cubicBezTo>
                                                    <a:pt x="246854" y="13769"/>
                                                    <a:pt x="234091" y="8651"/>
                                                    <a:pt x="221004" y="4829"/>
                                                  </a:cubicBezTo>
                                                  <a:cubicBezTo>
                                                    <a:pt x="204937" y="164"/>
                                                    <a:pt x="187316" y="-2492"/>
                                                    <a:pt x="171638" y="3338"/>
                                                  </a:cubicBezTo>
                                                  <a:cubicBezTo>
                                                    <a:pt x="167297" y="4958"/>
                                                    <a:pt x="163151" y="7226"/>
                                                    <a:pt x="159069" y="9428"/>
                                                  </a:cubicBezTo>
                                                  <a:cubicBezTo>
                                                    <a:pt x="147537" y="15713"/>
                                                    <a:pt x="135876" y="22127"/>
                                                    <a:pt x="125769" y="30484"/>
                                                  </a:cubicBezTo>
                                                  <a:cubicBezTo>
                                                    <a:pt x="114432" y="30225"/>
                                                    <a:pt x="103094" y="29901"/>
                                                    <a:pt x="91822" y="29642"/>
                                                  </a:cubicBezTo>
                                                  <a:cubicBezTo>
                                                    <a:pt x="87675" y="29512"/>
                                                    <a:pt x="83270" y="29512"/>
                                                    <a:pt x="79707" y="31585"/>
                                                  </a:cubicBezTo>
                                                  <a:cubicBezTo>
                                                    <a:pt x="76144" y="33723"/>
                                                    <a:pt x="74006" y="38841"/>
                                                    <a:pt x="76532" y="42145"/>
                                                  </a:cubicBezTo>
                                                  <a:cubicBezTo>
                                                    <a:pt x="64223" y="50049"/>
                                                    <a:pt x="49322" y="53612"/>
                                                    <a:pt x="34681" y="52705"/>
                                                  </a:cubicBezTo>
                                                  <a:cubicBezTo>
                                                    <a:pt x="26841" y="52187"/>
                                                    <a:pt x="18743" y="50438"/>
                                                    <a:pt x="11228" y="52770"/>
                                                  </a:cubicBezTo>
                                                  <a:cubicBezTo>
                                                    <a:pt x="3713" y="55102"/>
                                                    <a:pt x="-2571" y="63784"/>
                                                    <a:pt x="1057" y="70780"/>
                                                  </a:cubicBezTo>
                                                  <a:cubicBezTo>
                                                    <a:pt x="5981" y="71752"/>
                                                    <a:pt x="10840" y="72659"/>
                                                    <a:pt x="15763" y="73631"/>
                                                  </a:cubicBezTo>
                                                  <a:cubicBezTo>
                                                    <a:pt x="19003" y="81794"/>
                                                    <a:pt x="22047" y="91771"/>
                                                    <a:pt x="16735" y="98833"/>
                                                  </a:cubicBezTo>
                                                  <a:cubicBezTo>
                                                    <a:pt x="13042" y="103756"/>
                                                    <a:pt x="5527" y="107644"/>
                                                    <a:pt x="7212" y="113474"/>
                                                  </a:cubicBezTo>
                                                  <a:cubicBezTo>
                                                    <a:pt x="9285" y="120601"/>
                                                    <a:pt x="22242" y="118787"/>
                                                    <a:pt x="24509" y="125784"/>
                                                  </a:cubicBezTo>
                                                  <a:cubicBezTo>
                                                    <a:pt x="25287" y="128181"/>
                                                    <a:pt x="24444" y="130772"/>
                                                    <a:pt x="24250" y="133299"/>
                                                  </a:cubicBezTo>
                                                  <a:cubicBezTo>
                                                    <a:pt x="23732" y="141202"/>
                                                    <a:pt x="31765" y="148523"/>
                                                    <a:pt x="39604" y="147292"/>
                                                  </a:cubicBezTo>
                                                  <a:cubicBezTo>
                                                    <a:pt x="35069" y="152346"/>
                                                    <a:pt x="42196" y="159796"/>
                                                    <a:pt x="48804" y="161221"/>
                                                  </a:cubicBezTo>
                                                  <a:cubicBezTo>
                                                    <a:pt x="55412" y="162582"/>
                                                    <a:pt x="63704" y="162711"/>
                                                    <a:pt x="66814" y="168736"/>
                                                  </a:cubicBezTo>
                                                  <a:cubicBezTo>
                                                    <a:pt x="68045" y="171134"/>
                                                    <a:pt x="68110" y="173984"/>
                                                    <a:pt x="69147" y="176446"/>
                                                  </a:cubicBezTo>
                                                  <a:cubicBezTo>
                                                    <a:pt x="71997" y="183508"/>
                                                    <a:pt x="81067" y="185516"/>
                                                    <a:pt x="88647" y="184738"/>
                                                  </a:cubicBezTo>
                                                  <a:cubicBezTo>
                                                    <a:pt x="102382" y="183249"/>
                                                    <a:pt x="116829" y="171652"/>
                                                    <a:pt x="113978" y="158177"/>
                                                  </a:cubicBezTo>
                                                  <a:cubicBezTo>
                                                    <a:pt x="123955" y="161869"/>
                                                    <a:pt x="133932" y="165497"/>
                                                    <a:pt x="143844" y="169190"/>
                                                  </a:cubicBezTo>
                                                  <a:cubicBezTo>
                                                    <a:pt x="160624" y="185775"/>
                                                    <a:pt x="190231" y="187006"/>
                                                    <a:pt x="208306" y="171911"/>
                                                  </a:cubicBezTo>
                                                  <a:cubicBezTo>
                                                    <a:pt x="211351" y="169384"/>
                                                    <a:pt x="214461" y="166339"/>
                                                    <a:pt x="218413" y="166275"/>
                                                  </a:cubicBezTo>
                                                  <a:cubicBezTo>
                                                    <a:pt x="221069" y="166275"/>
                                                    <a:pt x="223466" y="167570"/>
                                                    <a:pt x="225993" y="168283"/>
                                                  </a:cubicBezTo>
                                                  <a:cubicBezTo>
                                                    <a:pt x="233443" y="170486"/>
                                                    <a:pt x="242189" y="166987"/>
                                                    <a:pt x="246076" y="160250"/>
                                                  </a:cubicBezTo>
                                                  <a:cubicBezTo>
                                                    <a:pt x="246076" y="171328"/>
                                                    <a:pt x="245947" y="182406"/>
                                                    <a:pt x="245882" y="193485"/>
                                                  </a:cubicBezTo>
                                                  <a:cubicBezTo>
                                                    <a:pt x="245882" y="194068"/>
                                                    <a:pt x="245882" y="194586"/>
                                                    <a:pt x="245882" y="195169"/>
                                                  </a:cubicBezTo>
                                                  <a:cubicBezTo>
                                                    <a:pt x="248473" y="193161"/>
                                                    <a:pt x="251065" y="190893"/>
                                                    <a:pt x="251907" y="187719"/>
                                                  </a:cubicBezTo>
                                                  <a:cubicBezTo>
                                                    <a:pt x="252425" y="185840"/>
                                                    <a:pt x="252231" y="183832"/>
                                                    <a:pt x="252944" y="182082"/>
                                                  </a:cubicBezTo>
                                                  <a:cubicBezTo>
                                                    <a:pt x="255406" y="175993"/>
                                                    <a:pt x="265771" y="176770"/>
                                                    <a:pt x="268492" y="170810"/>
                                                  </a:cubicBezTo>
                                                  <a:cubicBezTo>
                                                    <a:pt x="268946" y="169838"/>
                                                    <a:pt x="269140" y="168736"/>
                                                    <a:pt x="269853" y="167894"/>
                                                  </a:cubicBezTo>
                                                  <a:cubicBezTo>
                                                    <a:pt x="270889" y="166728"/>
                                                    <a:pt x="272638" y="166599"/>
                                                    <a:pt x="274258" y="166534"/>
                                                  </a:cubicBezTo>
                                                  <a:cubicBezTo>
                                                    <a:pt x="292852" y="165951"/>
                                                    <a:pt x="311575" y="165368"/>
                                                    <a:pt x="329974" y="168153"/>
                                                  </a:cubicBezTo>
                                                  <a:cubicBezTo>
                                                    <a:pt x="335481" y="168996"/>
                                                    <a:pt x="341182" y="170097"/>
                                                    <a:pt x="346494" y="168542"/>
                                                  </a:cubicBezTo>
                                                  <a:cubicBezTo>
                                                    <a:pt x="353815" y="166404"/>
                                                    <a:pt x="359257" y="159602"/>
                                                    <a:pt x="366707" y="158112"/>
                                                  </a:cubicBezTo>
                                                  <a:cubicBezTo>
                                                    <a:pt x="371048" y="157269"/>
                                                    <a:pt x="375583" y="158306"/>
                                                    <a:pt x="379988" y="157788"/>
                                                  </a:cubicBezTo>
                                                  <a:cubicBezTo>
                                                    <a:pt x="389577" y="156686"/>
                                                    <a:pt x="397481" y="148459"/>
                                                    <a:pt x="407134" y="148588"/>
                                                  </a:cubicBezTo>
                                                  <a:cubicBezTo>
                                                    <a:pt x="407457" y="149301"/>
                                                    <a:pt x="407522" y="150078"/>
                                                    <a:pt x="407522" y="150856"/>
                                                  </a:cubicBezTo>
                                                  <a:cubicBezTo>
                                                    <a:pt x="409272" y="150273"/>
                                                    <a:pt x="411021" y="149819"/>
                                                    <a:pt x="412835" y="149690"/>
                                                  </a:cubicBezTo>
                                                  <a:cubicBezTo>
                                                    <a:pt x="422423" y="148847"/>
                                                    <a:pt x="431882" y="154937"/>
                                                    <a:pt x="441405" y="153188"/>
                                                  </a:cubicBezTo>
                                                  <a:cubicBezTo>
                                                    <a:pt x="443090" y="152864"/>
                                                    <a:pt x="444969" y="152410"/>
                                                    <a:pt x="446523" y="152864"/>
                                                  </a:cubicBezTo>
                                                  <a:cubicBezTo>
                                                    <a:pt x="448791" y="149236"/>
                                                    <a:pt x="450346" y="145025"/>
                                                    <a:pt x="451771" y="140943"/>
                                                  </a:cubicBezTo>
                                                  <a:cubicBezTo>
                                                    <a:pt x="452354" y="139324"/>
                                                    <a:pt x="452872" y="137575"/>
                                                    <a:pt x="452419" y="13595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79" name="Freeform: Shape 207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B281BC2B-124D-48EB-9075-1CC41E60C0E7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653764" y="3172260"/>
                                              <a:ext cx="81134" cy="52777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5369 w 81134"/>
                                                <a:gd name="connsiteY0" fmla="*/ 21106 h 52777"/>
                                                <a:gd name="connsiteX1" fmla="*/ 58955 w 81134"/>
                                                <a:gd name="connsiteY1" fmla="*/ 9834 h 52777"/>
                                                <a:gd name="connsiteX2" fmla="*/ 53578 w 81134"/>
                                                <a:gd name="connsiteY2" fmla="*/ 245 h 52777"/>
                                                <a:gd name="connsiteX3" fmla="*/ 45221 w 81134"/>
                                                <a:gd name="connsiteY3" fmla="*/ 1023 h 52777"/>
                                                <a:gd name="connsiteX4" fmla="*/ 39973 w 81134"/>
                                                <a:gd name="connsiteY4" fmla="*/ 3420 h 52777"/>
                                                <a:gd name="connsiteX5" fmla="*/ 26433 w 81134"/>
                                                <a:gd name="connsiteY5" fmla="*/ 4068 h 52777"/>
                                                <a:gd name="connsiteX6" fmla="*/ 20602 w 81134"/>
                                                <a:gd name="connsiteY6" fmla="*/ 8149 h 52777"/>
                                                <a:gd name="connsiteX7" fmla="*/ 0 w 81134"/>
                                                <a:gd name="connsiteY7" fmla="*/ 40348 h 52777"/>
                                                <a:gd name="connsiteX8" fmla="*/ 648 w 81134"/>
                                                <a:gd name="connsiteY8" fmla="*/ 40412 h 52777"/>
                                                <a:gd name="connsiteX9" fmla="*/ 8746 w 81134"/>
                                                <a:gd name="connsiteY9" fmla="*/ 43911 h 52777"/>
                                                <a:gd name="connsiteX10" fmla="*/ 11986 w 81134"/>
                                                <a:gd name="connsiteY10" fmla="*/ 48316 h 52777"/>
                                                <a:gd name="connsiteX11" fmla="*/ 35697 w 81134"/>
                                                <a:gd name="connsiteY11" fmla="*/ 43133 h 52777"/>
                                                <a:gd name="connsiteX12" fmla="*/ 58955 w 81134"/>
                                                <a:gd name="connsiteY12" fmla="*/ 33286 h 52777"/>
                                                <a:gd name="connsiteX13" fmla="*/ 79168 w 81134"/>
                                                <a:gd name="connsiteY13" fmla="*/ 36007 h 52777"/>
                                                <a:gd name="connsiteX14" fmla="*/ 77937 w 81134"/>
                                                <a:gd name="connsiteY14" fmla="*/ 24475 h 52777"/>
                                                <a:gd name="connsiteX15" fmla="*/ 65434 w 81134"/>
                                                <a:gd name="connsiteY15" fmla="*/ 21042 h 52777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81134" h="52777">
                                                  <a:moveTo>
                                                    <a:pt x="65369" y="21106"/>
                                                  </a:moveTo>
                                                  <a:cubicBezTo>
                                                    <a:pt x="63231" y="17349"/>
                                                    <a:pt x="61093" y="13591"/>
                                                    <a:pt x="58955" y="9834"/>
                                                  </a:cubicBezTo>
                                                  <a:cubicBezTo>
                                                    <a:pt x="57141" y="6659"/>
                                                    <a:pt x="55327" y="3484"/>
                                                    <a:pt x="53578" y="245"/>
                                                  </a:cubicBezTo>
                                                  <a:cubicBezTo>
                                                    <a:pt x="50792" y="-208"/>
                                                    <a:pt x="48006" y="-79"/>
                                                    <a:pt x="45221" y="1023"/>
                                                  </a:cubicBezTo>
                                                  <a:cubicBezTo>
                                                    <a:pt x="43471" y="1735"/>
                                                    <a:pt x="41852" y="2837"/>
                                                    <a:pt x="39973" y="3420"/>
                                                  </a:cubicBezTo>
                                                  <a:cubicBezTo>
                                                    <a:pt x="35632" y="4715"/>
                                                    <a:pt x="30709" y="2642"/>
                                                    <a:pt x="26433" y="4068"/>
                                                  </a:cubicBezTo>
                                                  <a:cubicBezTo>
                                                    <a:pt x="24165" y="4845"/>
                                                    <a:pt x="22286" y="6465"/>
                                                    <a:pt x="20602" y="8149"/>
                                                  </a:cubicBezTo>
                                                  <a:cubicBezTo>
                                                    <a:pt x="11402" y="17154"/>
                                                    <a:pt x="4406" y="28297"/>
                                                    <a:pt x="0" y="40348"/>
                                                  </a:cubicBezTo>
                                                  <a:cubicBezTo>
                                                    <a:pt x="195" y="40348"/>
                                                    <a:pt x="454" y="40348"/>
                                                    <a:pt x="648" y="40412"/>
                                                  </a:cubicBezTo>
                                                  <a:cubicBezTo>
                                                    <a:pt x="3564" y="40995"/>
                                                    <a:pt x="6608" y="41838"/>
                                                    <a:pt x="8746" y="43911"/>
                                                  </a:cubicBezTo>
                                                  <a:cubicBezTo>
                                                    <a:pt x="10042" y="45206"/>
                                                    <a:pt x="10884" y="46891"/>
                                                    <a:pt x="11986" y="48316"/>
                                                  </a:cubicBezTo>
                                                  <a:cubicBezTo>
                                                    <a:pt x="18140" y="56285"/>
                                                    <a:pt x="33365" y="52981"/>
                                                    <a:pt x="35697" y="43133"/>
                                                  </a:cubicBezTo>
                                                  <a:cubicBezTo>
                                                    <a:pt x="44184" y="44818"/>
                                                    <a:pt x="50339" y="33351"/>
                                                    <a:pt x="58955" y="33286"/>
                                                  </a:cubicBezTo>
                                                  <a:cubicBezTo>
                                                    <a:pt x="66082" y="33221"/>
                                                    <a:pt x="73791" y="40672"/>
                                                    <a:pt x="79168" y="36007"/>
                                                  </a:cubicBezTo>
                                                  <a:cubicBezTo>
                                                    <a:pt x="82472" y="33092"/>
                                                    <a:pt x="81306" y="27261"/>
                                                    <a:pt x="77937" y="24475"/>
                                                  </a:cubicBezTo>
                                                  <a:cubicBezTo>
                                                    <a:pt x="74504" y="21689"/>
                                                    <a:pt x="69839" y="21171"/>
                                                    <a:pt x="65434" y="21042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0" name="Freeform: Shape 207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6D1A3ECD-6C3A-420C-8C10-73944B1F35C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97694" y="3374053"/>
                                              <a:ext cx="68953" cy="2792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68833 w 68953"/>
                                                <a:gd name="connsiteY0" fmla="*/ 16132 h 27922"/>
                                                <a:gd name="connsiteX1" fmla="*/ 61966 w 68953"/>
                                                <a:gd name="connsiteY1" fmla="*/ 11791 h 27922"/>
                                                <a:gd name="connsiteX2" fmla="*/ 59115 w 68953"/>
                                                <a:gd name="connsiteY2" fmla="*/ 11013 h 27922"/>
                                                <a:gd name="connsiteX3" fmla="*/ 55811 w 68953"/>
                                                <a:gd name="connsiteY3" fmla="*/ 9329 h 27922"/>
                                                <a:gd name="connsiteX4" fmla="*/ 48944 w 68953"/>
                                                <a:gd name="connsiteY4" fmla="*/ 7126 h 27922"/>
                                                <a:gd name="connsiteX5" fmla="*/ 46158 w 68953"/>
                                                <a:gd name="connsiteY5" fmla="*/ 8098 h 27922"/>
                                                <a:gd name="connsiteX6" fmla="*/ 45445 w 68953"/>
                                                <a:gd name="connsiteY6" fmla="*/ 8357 h 27922"/>
                                                <a:gd name="connsiteX7" fmla="*/ 35209 w 68953"/>
                                                <a:gd name="connsiteY7" fmla="*/ 10171 h 27922"/>
                                                <a:gd name="connsiteX8" fmla="*/ 29378 w 68953"/>
                                                <a:gd name="connsiteY8" fmla="*/ 9912 h 27922"/>
                                                <a:gd name="connsiteX9" fmla="*/ 26592 w 68953"/>
                                                <a:gd name="connsiteY9" fmla="*/ 9459 h 27922"/>
                                                <a:gd name="connsiteX10" fmla="*/ 24714 w 68953"/>
                                                <a:gd name="connsiteY10" fmla="*/ 7969 h 27922"/>
                                                <a:gd name="connsiteX11" fmla="*/ 24455 w 68953"/>
                                                <a:gd name="connsiteY11" fmla="*/ 7710 h 27922"/>
                                                <a:gd name="connsiteX12" fmla="*/ 9942 w 68953"/>
                                                <a:gd name="connsiteY12" fmla="*/ 194 h 27922"/>
                                                <a:gd name="connsiteX13" fmla="*/ 6185 w 68953"/>
                                                <a:gd name="connsiteY13" fmla="*/ 777 h 27922"/>
                                                <a:gd name="connsiteX14" fmla="*/ 5019 w 68953"/>
                                                <a:gd name="connsiteY14" fmla="*/ 2915 h 27922"/>
                                                <a:gd name="connsiteX15" fmla="*/ 5019 w 68953"/>
                                                <a:gd name="connsiteY15" fmla="*/ 3174 h 27922"/>
                                                <a:gd name="connsiteX16" fmla="*/ 2751 w 68953"/>
                                                <a:gd name="connsiteY16" fmla="*/ 7256 h 27922"/>
                                                <a:gd name="connsiteX17" fmla="*/ 743 w 68953"/>
                                                <a:gd name="connsiteY17" fmla="*/ 10754 h 27922"/>
                                                <a:gd name="connsiteX18" fmla="*/ 484 w 68953"/>
                                                <a:gd name="connsiteY18" fmla="*/ 16974 h 27922"/>
                                                <a:gd name="connsiteX19" fmla="*/ 3140 w 68953"/>
                                                <a:gd name="connsiteY19" fmla="*/ 19630 h 27922"/>
                                                <a:gd name="connsiteX20" fmla="*/ 7999 w 68953"/>
                                                <a:gd name="connsiteY20" fmla="*/ 19695 h 27922"/>
                                                <a:gd name="connsiteX21" fmla="*/ 12016 w 68953"/>
                                                <a:gd name="connsiteY21" fmla="*/ 20148 h 27922"/>
                                                <a:gd name="connsiteX22" fmla="*/ 12729 w 68953"/>
                                                <a:gd name="connsiteY22" fmla="*/ 21833 h 27922"/>
                                                <a:gd name="connsiteX23" fmla="*/ 13247 w 68953"/>
                                                <a:gd name="connsiteY23" fmla="*/ 23452 h 27922"/>
                                                <a:gd name="connsiteX24" fmla="*/ 20891 w 68953"/>
                                                <a:gd name="connsiteY24" fmla="*/ 27404 h 27922"/>
                                                <a:gd name="connsiteX25" fmla="*/ 28407 w 68953"/>
                                                <a:gd name="connsiteY25" fmla="*/ 27923 h 27922"/>
                                                <a:gd name="connsiteX26" fmla="*/ 42141 w 68953"/>
                                                <a:gd name="connsiteY26" fmla="*/ 24165 h 27922"/>
                                                <a:gd name="connsiteX27" fmla="*/ 43048 w 68953"/>
                                                <a:gd name="connsiteY27" fmla="*/ 23388 h 27922"/>
                                                <a:gd name="connsiteX28" fmla="*/ 45834 w 68953"/>
                                                <a:gd name="connsiteY28" fmla="*/ 21638 h 27922"/>
                                                <a:gd name="connsiteX29" fmla="*/ 51082 w 68953"/>
                                                <a:gd name="connsiteY29" fmla="*/ 22416 h 27922"/>
                                                <a:gd name="connsiteX30" fmla="*/ 54191 w 68953"/>
                                                <a:gd name="connsiteY30" fmla="*/ 23323 h 27922"/>
                                                <a:gd name="connsiteX31" fmla="*/ 59892 w 68953"/>
                                                <a:gd name="connsiteY31" fmla="*/ 23323 h 27922"/>
                                                <a:gd name="connsiteX32" fmla="*/ 65917 w 68953"/>
                                                <a:gd name="connsiteY32" fmla="*/ 21898 h 27922"/>
                                                <a:gd name="connsiteX33" fmla="*/ 68833 w 68953"/>
                                                <a:gd name="connsiteY33" fmla="*/ 16067 h 27922"/>
                                                <a:gd name="connsiteX34" fmla="*/ 64946 w 68953"/>
                                                <a:gd name="connsiteY34" fmla="*/ 20278 h 27922"/>
                                                <a:gd name="connsiteX35" fmla="*/ 59763 w 68953"/>
                                                <a:gd name="connsiteY35" fmla="*/ 21444 h 27922"/>
                                                <a:gd name="connsiteX36" fmla="*/ 54515 w 68953"/>
                                                <a:gd name="connsiteY36" fmla="*/ 21444 h 27922"/>
                                                <a:gd name="connsiteX37" fmla="*/ 51729 w 68953"/>
                                                <a:gd name="connsiteY37" fmla="*/ 20602 h 27922"/>
                                                <a:gd name="connsiteX38" fmla="*/ 45316 w 68953"/>
                                                <a:gd name="connsiteY38" fmla="*/ 19760 h 27922"/>
                                                <a:gd name="connsiteX39" fmla="*/ 41882 w 68953"/>
                                                <a:gd name="connsiteY39" fmla="*/ 21898 h 27922"/>
                                                <a:gd name="connsiteX40" fmla="*/ 40975 w 68953"/>
                                                <a:gd name="connsiteY40" fmla="*/ 22610 h 27922"/>
                                                <a:gd name="connsiteX41" fmla="*/ 28407 w 68953"/>
                                                <a:gd name="connsiteY41" fmla="*/ 25979 h 27922"/>
                                                <a:gd name="connsiteX42" fmla="*/ 21086 w 68953"/>
                                                <a:gd name="connsiteY42" fmla="*/ 25461 h 27922"/>
                                                <a:gd name="connsiteX43" fmla="*/ 14996 w 68953"/>
                                                <a:gd name="connsiteY43" fmla="*/ 22675 h 27922"/>
                                                <a:gd name="connsiteX44" fmla="*/ 14607 w 68953"/>
                                                <a:gd name="connsiteY44" fmla="*/ 21379 h 27922"/>
                                                <a:gd name="connsiteX45" fmla="*/ 13570 w 68953"/>
                                                <a:gd name="connsiteY45" fmla="*/ 18917 h 27922"/>
                                                <a:gd name="connsiteX46" fmla="*/ 10267 w 68953"/>
                                                <a:gd name="connsiteY46" fmla="*/ 17492 h 27922"/>
                                                <a:gd name="connsiteX47" fmla="*/ 7675 w 68953"/>
                                                <a:gd name="connsiteY47" fmla="*/ 17751 h 27922"/>
                                                <a:gd name="connsiteX48" fmla="*/ 3788 w 68953"/>
                                                <a:gd name="connsiteY48" fmla="*/ 17751 h 27922"/>
                                                <a:gd name="connsiteX49" fmla="*/ 2298 w 68953"/>
                                                <a:gd name="connsiteY49" fmla="*/ 16196 h 27922"/>
                                                <a:gd name="connsiteX50" fmla="*/ 2492 w 68953"/>
                                                <a:gd name="connsiteY50" fmla="*/ 11467 h 27922"/>
                                                <a:gd name="connsiteX51" fmla="*/ 4371 w 68953"/>
                                                <a:gd name="connsiteY51" fmla="*/ 8293 h 27922"/>
                                                <a:gd name="connsiteX52" fmla="*/ 6768 w 68953"/>
                                                <a:gd name="connsiteY52" fmla="*/ 3757 h 27922"/>
                                                <a:gd name="connsiteX53" fmla="*/ 6898 w 68953"/>
                                                <a:gd name="connsiteY53" fmla="*/ 3434 h 27922"/>
                                                <a:gd name="connsiteX54" fmla="*/ 7481 w 68953"/>
                                                <a:gd name="connsiteY54" fmla="*/ 2138 h 27922"/>
                                                <a:gd name="connsiteX55" fmla="*/ 9554 w 68953"/>
                                                <a:gd name="connsiteY55" fmla="*/ 2008 h 27922"/>
                                                <a:gd name="connsiteX56" fmla="*/ 23159 w 68953"/>
                                                <a:gd name="connsiteY56" fmla="*/ 9070 h 27922"/>
                                                <a:gd name="connsiteX57" fmla="*/ 23418 w 68953"/>
                                                <a:gd name="connsiteY57" fmla="*/ 9329 h 27922"/>
                                                <a:gd name="connsiteX58" fmla="*/ 25815 w 68953"/>
                                                <a:gd name="connsiteY58" fmla="*/ 11143 h 27922"/>
                                                <a:gd name="connsiteX59" fmla="*/ 29249 w 68953"/>
                                                <a:gd name="connsiteY59" fmla="*/ 11791 h 27922"/>
                                                <a:gd name="connsiteX60" fmla="*/ 35209 w 68953"/>
                                                <a:gd name="connsiteY60" fmla="*/ 12050 h 27922"/>
                                                <a:gd name="connsiteX61" fmla="*/ 46223 w 68953"/>
                                                <a:gd name="connsiteY61" fmla="*/ 10107 h 27922"/>
                                                <a:gd name="connsiteX62" fmla="*/ 46935 w 68953"/>
                                                <a:gd name="connsiteY62" fmla="*/ 9783 h 27922"/>
                                                <a:gd name="connsiteX63" fmla="*/ 49267 w 68953"/>
                                                <a:gd name="connsiteY63" fmla="*/ 8940 h 27922"/>
                                                <a:gd name="connsiteX64" fmla="*/ 54774 w 68953"/>
                                                <a:gd name="connsiteY64" fmla="*/ 10884 h 27922"/>
                                                <a:gd name="connsiteX65" fmla="*/ 58467 w 68953"/>
                                                <a:gd name="connsiteY65" fmla="*/ 12828 h 27922"/>
                                                <a:gd name="connsiteX66" fmla="*/ 61577 w 68953"/>
                                                <a:gd name="connsiteY66" fmla="*/ 13605 h 27922"/>
                                                <a:gd name="connsiteX67" fmla="*/ 66954 w 68953"/>
                                                <a:gd name="connsiteY67" fmla="*/ 16520 h 27922"/>
                                                <a:gd name="connsiteX68" fmla="*/ 64946 w 68953"/>
                                                <a:gd name="connsiteY68" fmla="*/ 20213 h 2792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68953" h="27922">
                                                  <a:moveTo>
                                                    <a:pt x="68833" y="16132"/>
                                                  </a:moveTo>
                                                  <a:cubicBezTo>
                                                    <a:pt x="67991" y="13022"/>
                                                    <a:pt x="64816" y="12374"/>
                                                    <a:pt x="61966" y="11791"/>
                                                  </a:cubicBezTo>
                                                  <a:cubicBezTo>
                                                    <a:pt x="60929" y="11532"/>
                                                    <a:pt x="59957" y="11338"/>
                                                    <a:pt x="59115" y="11013"/>
                                                  </a:cubicBezTo>
                                                  <a:cubicBezTo>
                                                    <a:pt x="58014" y="10625"/>
                                                    <a:pt x="56912" y="9977"/>
                                                    <a:pt x="55811" y="9329"/>
                                                  </a:cubicBezTo>
                                                  <a:cubicBezTo>
                                                    <a:pt x="53738" y="8033"/>
                                                    <a:pt x="51535" y="6738"/>
                                                    <a:pt x="48944" y="7126"/>
                                                  </a:cubicBezTo>
                                                  <a:cubicBezTo>
                                                    <a:pt x="47907" y="7256"/>
                                                    <a:pt x="47000" y="7710"/>
                                                    <a:pt x="46158" y="8098"/>
                                                  </a:cubicBezTo>
                                                  <a:lnTo>
                                                    <a:pt x="45445" y="8357"/>
                                                  </a:lnTo>
                                                  <a:cubicBezTo>
                                                    <a:pt x="42724" y="9588"/>
                                                    <a:pt x="39420" y="10171"/>
                                                    <a:pt x="35209" y="10171"/>
                                                  </a:cubicBezTo>
                                                  <a:cubicBezTo>
                                                    <a:pt x="33330" y="10171"/>
                                                    <a:pt x="31451" y="10042"/>
                                                    <a:pt x="29378" y="9912"/>
                                                  </a:cubicBezTo>
                                                  <a:cubicBezTo>
                                                    <a:pt x="28407" y="9847"/>
                                                    <a:pt x="27435" y="9783"/>
                                                    <a:pt x="26592" y="9459"/>
                                                  </a:cubicBezTo>
                                                  <a:cubicBezTo>
                                                    <a:pt x="25945" y="9135"/>
                                                    <a:pt x="25361" y="8552"/>
                                                    <a:pt x="24714" y="7969"/>
                                                  </a:cubicBezTo>
                                                  <a:lnTo>
                                                    <a:pt x="24455" y="7710"/>
                                                  </a:lnTo>
                                                  <a:cubicBezTo>
                                                    <a:pt x="20373" y="3952"/>
                                                    <a:pt x="15385" y="1360"/>
                                                    <a:pt x="9942" y="194"/>
                                                  </a:cubicBezTo>
                                                  <a:cubicBezTo>
                                                    <a:pt x="8129" y="-194"/>
                                                    <a:pt x="7027" y="0"/>
                                                    <a:pt x="6185" y="777"/>
                                                  </a:cubicBezTo>
                                                  <a:cubicBezTo>
                                                    <a:pt x="5472" y="1360"/>
                                                    <a:pt x="5213" y="2203"/>
                                                    <a:pt x="5019" y="2915"/>
                                                  </a:cubicBezTo>
                                                  <a:lnTo>
                                                    <a:pt x="5019" y="3174"/>
                                                  </a:lnTo>
                                                  <a:cubicBezTo>
                                                    <a:pt x="4501" y="4600"/>
                                                    <a:pt x="3658" y="5896"/>
                                                    <a:pt x="2751" y="7256"/>
                                                  </a:cubicBezTo>
                                                  <a:cubicBezTo>
                                                    <a:pt x="2039" y="8357"/>
                                                    <a:pt x="1261" y="9459"/>
                                                    <a:pt x="743" y="10754"/>
                                                  </a:cubicBezTo>
                                                  <a:cubicBezTo>
                                                    <a:pt x="-164" y="12698"/>
                                                    <a:pt x="-229" y="15160"/>
                                                    <a:pt x="484" y="16974"/>
                                                  </a:cubicBezTo>
                                                  <a:cubicBezTo>
                                                    <a:pt x="1002" y="18270"/>
                                                    <a:pt x="1909" y="19177"/>
                                                    <a:pt x="3140" y="19630"/>
                                                  </a:cubicBezTo>
                                                  <a:cubicBezTo>
                                                    <a:pt x="4436" y="20148"/>
                                                    <a:pt x="6314" y="19954"/>
                                                    <a:pt x="7999" y="19695"/>
                                                  </a:cubicBezTo>
                                                  <a:cubicBezTo>
                                                    <a:pt x="9813" y="19371"/>
                                                    <a:pt x="11303" y="19241"/>
                                                    <a:pt x="12016" y="20148"/>
                                                  </a:cubicBezTo>
                                                  <a:cubicBezTo>
                                                    <a:pt x="12404" y="20537"/>
                                                    <a:pt x="12534" y="21185"/>
                                                    <a:pt x="12729" y="21833"/>
                                                  </a:cubicBezTo>
                                                  <a:cubicBezTo>
                                                    <a:pt x="12858" y="22416"/>
                                                    <a:pt x="12988" y="22934"/>
                                                    <a:pt x="13247" y="23452"/>
                                                  </a:cubicBezTo>
                                                  <a:cubicBezTo>
                                                    <a:pt x="14542" y="26368"/>
                                                    <a:pt x="18041" y="27080"/>
                                                    <a:pt x="20891" y="27404"/>
                                                  </a:cubicBezTo>
                                                  <a:cubicBezTo>
                                                    <a:pt x="22964" y="27663"/>
                                                    <a:pt x="25686" y="27923"/>
                                                    <a:pt x="28407" y="27923"/>
                                                  </a:cubicBezTo>
                                                  <a:cubicBezTo>
                                                    <a:pt x="34237" y="27923"/>
                                                    <a:pt x="38707" y="26692"/>
                                                    <a:pt x="42141" y="24165"/>
                                                  </a:cubicBezTo>
                                                  <a:cubicBezTo>
                                                    <a:pt x="42400" y="23906"/>
                                                    <a:pt x="42724" y="23647"/>
                                                    <a:pt x="43048" y="23388"/>
                                                  </a:cubicBezTo>
                                                  <a:cubicBezTo>
                                                    <a:pt x="44020" y="22675"/>
                                                    <a:pt x="44862" y="21962"/>
                                                    <a:pt x="45834" y="21638"/>
                                                  </a:cubicBezTo>
                                                  <a:cubicBezTo>
                                                    <a:pt x="47389" y="21185"/>
                                                    <a:pt x="49203" y="21768"/>
                                                    <a:pt x="51082" y="22416"/>
                                                  </a:cubicBezTo>
                                                  <a:cubicBezTo>
                                                    <a:pt x="52118" y="22805"/>
                                                    <a:pt x="53090" y="23129"/>
                                                    <a:pt x="54191" y="23323"/>
                                                  </a:cubicBezTo>
                                                  <a:cubicBezTo>
                                                    <a:pt x="55811" y="23647"/>
                                                    <a:pt x="57884" y="23582"/>
                                                    <a:pt x="59892" y="23323"/>
                                                  </a:cubicBezTo>
                                                  <a:cubicBezTo>
                                                    <a:pt x="61836" y="23193"/>
                                                    <a:pt x="64039" y="22999"/>
                                                    <a:pt x="65917" y="21898"/>
                                                  </a:cubicBezTo>
                                                  <a:cubicBezTo>
                                                    <a:pt x="67796" y="20796"/>
                                                    <a:pt x="69416" y="18464"/>
                                                    <a:pt x="68833" y="16067"/>
                                                  </a:cubicBezTo>
                                                  <a:close/>
                                                  <a:moveTo>
                                                    <a:pt x="64946" y="20278"/>
                                                  </a:moveTo>
                                                  <a:cubicBezTo>
                                                    <a:pt x="63391" y="21185"/>
                                                    <a:pt x="61577" y="21315"/>
                                                    <a:pt x="59763" y="21444"/>
                                                  </a:cubicBezTo>
                                                  <a:cubicBezTo>
                                                    <a:pt x="57949" y="21638"/>
                                                    <a:pt x="56005" y="21703"/>
                                                    <a:pt x="54515" y="21444"/>
                                                  </a:cubicBezTo>
                                                  <a:cubicBezTo>
                                                    <a:pt x="53608" y="21250"/>
                                                    <a:pt x="52701" y="20926"/>
                                                    <a:pt x="51729" y="20602"/>
                                                  </a:cubicBezTo>
                                                  <a:cubicBezTo>
                                                    <a:pt x="49656" y="19889"/>
                                                    <a:pt x="47324" y="19177"/>
                                                    <a:pt x="45316" y="19760"/>
                                                  </a:cubicBezTo>
                                                  <a:cubicBezTo>
                                                    <a:pt x="43955" y="20213"/>
                                                    <a:pt x="42854" y="21055"/>
                                                    <a:pt x="41882" y="21898"/>
                                                  </a:cubicBezTo>
                                                  <a:cubicBezTo>
                                                    <a:pt x="41558" y="22092"/>
                                                    <a:pt x="41234" y="22351"/>
                                                    <a:pt x="40975" y="22610"/>
                                                  </a:cubicBezTo>
                                                  <a:cubicBezTo>
                                                    <a:pt x="37865" y="24878"/>
                                                    <a:pt x="33848" y="25979"/>
                                                    <a:pt x="28407" y="25979"/>
                                                  </a:cubicBezTo>
                                                  <a:cubicBezTo>
                                                    <a:pt x="25815" y="25979"/>
                                                    <a:pt x="23094" y="25720"/>
                                                    <a:pt x="21086" y="25461"/>
                                                  </a:cubicBezTo>
                                                  <a:cubicBezTo>
                                                    <a:pt x="18754" y="25202"/>
                                                    <a:pt x="15903" y="24683"/>
                                                    <a:pt x="14996" y="22675"/>
                                                  </a:cubicBezTo>
                                                  <a:cubicBezTo>
                                                    <a:pt x="14801" y="22221"/>
                                                    <a:pt x="14672" y="21833"/>
                                                    <a:pt x="14607" y="21379"/>
                                                  </a:cubicBezTo>
                                                  <a:cubicBezTo>
                                                    <a:pt x="14413" y="20537"/>
                                                    <a:pt x="14154" y="19630"/>
                                                    <a:pt x="13570" y="18917"/>
                                                  </a:cubicBezTo>
                                                  <a:cubicBezTo>
                                                    <a:pt x="12793" y="17946"/>
                                                    <a:pt x="11692" y="17492"/>
                                                    <a:pt x="10267" y="17492"/>
                                                  </a:cubicBezTo>
                                                  <a:cubicBezTo>
                                                    <a:pt x="9424" y="17492"/>
                                                    <a:pt x="8517" y="17622"/>
                                                    <a:pt x="7675" y="17751"/>
                                                  </a:cubicBezTo>
                                                  <a:cubicBezTo>
                                                    <a:pt x="6250" y="18010"/>
                                                    <a:pt x="4760" y="18205"/>
                                                    <a:pt x="3788" y="17751"/>
                                                  </a:cubicBezTo>
                                                  <a:cubicBezTo>
                                                    <a:pt x="3140" y="17492"/>
                                                    <a:pt x="2622" y="16974"/>
                                                    <a:pt x="2298" y="16196"/>
                                                  </a:cubicBezTo>
                                                  <a:cubicBezTo>
                                                    <a:pt x="1715" y="14836"/>
                                                    <a:pt x="1844" y="12957"/>
                                                    <a:pt x="2492" y="11467"/>
                                                  </a:cubicBezTo>
                                                  <a:cubicBezTo>
                                                    <a:pt x="3011" y="10366"/>
                                                    <a:pt x="3658" y="9329"/>
                                                    <a:pt x="4371" y="8293"/>
                                                  </a:cubicBezTo>
                                                  <a:cubicBezTo>
                                                    <a:pt x="5278" y="6867"/>
                                                    <a:pt x="6250" y="5442"/>
                                                    <a:pt x="6768" y="3757"/>
                                                  </a:cubicBezTo>
                                                  <a:lnTo>
                                                    <a:pt x="6898" y="3434"/>
                                                  </a:lnTo>
                                                  <a:cubicBezTo>
                                                    <a:pt x="7027" y="2915"/>
                                                    <a:pt x="7222" y="2397"/>
                                                    <a:pt x="7481" y="2138"/>
                                                  </a:cubicBezTo>
                                                  <a:cubicBezTo>
                                                    <a:pt x="7805" y="1814"/>
                                                    <a:pt x="8452" y="1814"/>
                                                    <a:pt x="9554" y="2008"/>
                                                  </a:cubicBezTo>
                                                  <a:cubicBezTo>
                                                    <a:pt x="14607" y="3110"/>
                                                    <a:pt x="19336" y="5507"/>
                                                    <a:pt x="23159" y="9070"/>
                                                  </a:cubicBezTo>
                                                  <a:lnTo>
                                                    <a:pt x="23418" y="9329"/>
                                                  </a:lnTo>
                                                  <a:cubicBezTo>
                                                    <a:pt x="24066" y="9977"/>
                                                    <a:pt x="24843" y="10690"/>
                                                    <a:pt x="25815" y="11143"/>
                                                  </a:cubicBezTo>
                                                  <a:cubicBezTo>
                                                    <a:pt x="26916" y="11661"/>
                                                    <a:pt x="28147" y="11726"/>
                                                    <a:pt x="29249" y="11791"/>
                                                  </a:cubicBezTo>
                                                  <a:cubicBezTo>
                                                    <a:pt x="31322" y="11921"/>
                                                    <a:pt x="33265" y="12050"/>
                                                    <a:pt x="35209" y="12050"/>
                                                  </a:cubicBezTo>
                                                  <a:cubicBezTo>
                                                    <a:pt x="39744" y="12050"/>
                                                    <a:pt x="43242" y="11402"/>
                                                    <a:pt x="46223" y="10107"/>
                                                  </a:cubicBezTo>
                                                  <a:lnTo>
                                                    <a:pt x="46935" y="9783"/>
                                                  </a:lnTo>
                                                  <a:cubicBezTo>
                                                    <a:pt x="47713" y="9459"/>
                                                    <a:pt x="48490" y="9070"/>
                                                    <a:pt x="49267" y="8940"/>
                                                  </a:cubicBezTo>
                                                  <a:cubicBezTo>
                                                    <a:pt x="51146" y="8681"/>
                                                    <a:pt x="52895" y="9783"/>
                                                    <a:pt x="54774" y="10884"/>
                                                  </a:cubicBezTo>
                                                  <a:cubicBezTo>
                                                    <a:pt x="55940" y="11597"/>
                                                    <a:pt x="57171" y="12374"/>
                                                    <a:pt x="58467" y="12828"/>
                                                  </a:cubicBezTo>
                                                  <a:cubicBezTo>
                                                    <a:pt x="59439" y="13151"/>
                                                    <a:pt x="60540" y="13411"/>
                                                    <a:pt x="61577" y="13605"/>
                                                  </a:cubicBezTo>
                                                  <a:cubicBezTo>
                                                    <a:pt x="64622" y="14253"/>
                                                    <a:pt x="66436" y="14771"/>
                                                    <a:pt x="66954" y="16520"/>
                                                  </a:cubicBezTo>
                                                  <a:cubicBezTo>
                                                    <a:pt x="67278" y="18010"/>
                                                    <a:pt x="66177" y="19501"/>
                                                    <a:pt x="64946" y="2021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1" name="Freeform: Shape 2080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35C017C4-97CE-48D6-8170-0A985241D8F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20241" y="3184814"/>
                                              <a:ext cx="139289" cy="16500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4541 w 139289"/>
                                                <a:gd name="connsiteY0" fmla="*/ 4211 h 165008"/>
                                                <a:gd name="connsiteX1" fmla="*/ 108581 w 139289"/>
                                                <a:gd name="connsiteY1" fmla="*/ 5507 h 165008"/>
                                                <a:gd name="connsiteX2" fmla="*/ 73014 w 139289"/>
                                                <a:gd name="connsiteY2" fmla="*/ 1879 h 165008"/>
                                                <a:gd name="connsiteX3" fmla="*/ 69645 w 139289"/>
                                                <a:gd name="connsiteY3" fmla="*/ 0 h 165008"/>
                                                <a:gd name="connsiteX4" fmla="*/ 68284 w 139289"/>
                                                <a:gd name="connsiteY4" fmla="*/ 10625 h 165008"/>
                                                <a:gd name="connsiteX5" fmla="*/ 54290 w 139289"/>
                                                <a:gd name="connsiteY5" fmla="*/ 17427 h 165008"/>
                                                <a:gd name="connsiteX6" fmla="*/ 40167 w 139289"/>
                                                <a:gd name="connsiteY6" fmla="*/ 28311 h 165008"/>
                                                <a:gd name="connsiteX7" fmla="*/ 34207 w 139289"/>
                                                <a:gd name="connsiteY7" fmla="*/ 30708 h 165008"/>
                                                <a:gd name="connsiteX8" fmla="*/ 22610 w 139289"/>
                                                <a:gd name="connsiteY8" fmla="*/ 35438 h 165008"/>
                                                <a:gd name="connsiteX9" fmla="*/ 22416 w 139289"/>
                                                <a:gd name="connsiteY9" fmla="*/ 42694 h 165008"/>
                                                <a:gd name="connsiteX10" fmla="*/ 5507 w 139289"/>
                                                <a:gd name="connsiteY10" fmla="*/ 57724 h 165008"/>
                                                <a:gd name="connsiteX11" fmla="*/ 3174 w 139289"/>
                                                <a:gd name="connsiteY11" fmla="*/ 64915 h 165008"/>
                                                <a:gd name="connsiteX12" fmla="*/ 0 w 139289"/>
                                                <a:gd name="connsiteY12" fmla="*/ 68414 h 165008"/>
                                                <a:gd name="connsiteX13" fmla="*/ 2203 w 139289"/>
                                                <a:gd name="connsiteY13" fmla="*/ 80529 h 165008"/>
                                                <a:gd name="connsiteX14" fmla="*/ 16974 w 139289"/>
                                                <a:gd name="connsiteY14" fmla="*/ 89728 h 165008"/>
                                                <a:gd name="connsiteX15" fmla="*/ 15614 w 139289"/>
                                                <a:gd name="connsiteY15" fmla="*/ 96531 h 165008"/>
                                                <a:gd name="connsiteX16" fmla="*/ 18853 w 139289"/>
                                                <a:gd name="connsiteY16" fmla="*/ 101908 h 165008"/>
                                                <a:gd name="connsiteX17" fmla="*/ 21898 w 139289"/>
                                                <a:gd name="connsiteY17" fmla="*/ 101390 h 165008"/>
                                                <a:gd name="connsiteX18" fmla="*/ 45674 w 139289"/>
                                                <a:gd name="connsiteY18" fmla="*/ 93032 h 165008"/>
                                                <a:gd name="connsiteX19" fmla="*/ 47618 w 139289"/>
                                                <a:gd name="connsiteY19" fmla="*/ 99057 h 165008"/>
                                                <a:gd name="connsiteX20" fmla="*/ 54679 w 139289"/>
                                                <a:gd name="connsiteY20" fmla="*/ 101260 h 165008"/>
                                                <a:gd name="connsiteX21" fmla="*/ 58955 w 139289"/>
                                                <a:gd name="connsiteY21" fmla="*/ 107868 h 165008"/>
                                                <a:gd name="connsiteX22" fmla="*/ 58113 w 139289"/>
                                                <a:gd name="connsiteY22" fmla="*/ 110395 h 165008"/>
                                                <a:gd name="connsiteX23" fmla="*/ 55780 w 139289"/>
                                                <a:gd name="connsiteY23" fmla="*/ 111107 h 165008"/>
                                                <a:gd name="connsiteX24" fmla="*/ 26951 w 139289"/>
                                                <a:gd name="connsiteY24" fmla="*/ 113828 h 165008"/>
                                                <a:gd name="connsiteX25" fmla="*/ 28052 w 139289"/>
                                                <a:gd name="connsiteY25" fmla="*/ 120242 h 165008"/>
                                                <a:gd name="connsiteX26" fmla="*/ 25526 w 139289"/>
                                                <a:gd name="connsiteY26" fmla="*/ 126915 h 165008"/>
                                                <a:gd name="connsiteX27" fmla="*/ 38936 w 139289"/>
                                                <a:gd name="connsiteY27" fmla="*/ 142269 h 165008"/>
                                                <a:gd name="connsiteX28" fmla="*/ 37770 w 139289"/>
                                                <a:gd name="connsiteY28" fmla="*/ 146804 h 165008"/>
                                                <a:gd name="connsiteX29" fmla="*/ 43860 w 139289"/>
                                                <a:gd name="connsiteY29" fmla="*/ 152700 h 165008"/>
                                                <a:gd name="connsiteX30" fmla="*/ 53124 w 139289"/>
                                                <a:gd name="connsiteY30" fmla="*/ 153088 h 165008"/>
                                                <a:gd name="connsiteX31" fmla="*/ 53124 w 139289"/>
                                                <a:gd name="connsiteY31" fmla="*/ 163454 h 165008"/>
                                                <a:gd name="connsiteX32" fmla="*/ 72625 w 139289"/>
                                                <a:gd name="connsiteY32" fmla="*/ 162742 h 165008"/>
                                                <a:gd name="connsiteX33" fmla="*/ 70033 w 139289"/>
                                                <a:gd name="connsiteY33" fmla="*/ 154060 h 165008"/>
                                                <a:gd name="connsiteX34" fmla="*/ 62713 w 139289"/>
                                                <a:gd name="connsiteY34" fmla="*/ 147063 h 165008"/>
                                                <a:gd name="connsiteX35" fmla="*/ 72042 w 139289"/>
                                                <a:gd name="connsiteY35" fmla="*/ 137346 h 165008"/>
                                                <a:gd name="connsiteX36" fmla="*/ 87267 w 139289"/>
                                                <a:gd name="connsiteY36" fmla="*/ 136050 h 165008"/>
                                                <a:gd name="connsiteX37" fmla="*/ 80011 w 139289"/>
                                                <a:gd name="connsiteY37" fmla="*/ 130154 h 165008"/>
                                                <a:gd name="connsiteX38" fmla="*/ 69321 w 139289"/>
                                                <a:gd name="connsiteY38" fmla="*/ 129118 h 165008"/>
                                                <a:gd name="connsiteX39" fmla="*/ 66017 w 139289"/>
                                                <a:gd name="connsiteY39" fmla="*/ 122056 h 165008"/>
                                                <a:gd name="connsiteX40" fmla="*/ 73986 w 139289"/>
                                                <a:gd name="connsiteY40" fmla="*/ 116614 h 165008"/>
                                                <a:gd name="connsiteX41" fmla="*/ 87007 w 139289"/>
                                                <a:gd name="connsiteY41" fmla="*/ 117780 h 165008"/>
                                                <a:gd name="connsiteX42" fmla="*/ 99511 w 139289"/>
                                                <a:gd name="connsiteY42" fmla="*/ 114930 h 165008"/>
                                                <a:gd name="connsiteX43" fmla="*/ 104370 w 139289"/>
                                                <a:gd name="connsiteY43" fmla="*/ 103722 h 165008"/>
                                                <a:gd name="connsiteX44" fmla="*/ 94134 w 139289"/>
                                                <a:gd name="connsiteY44" fmla="*/ 99057 h 165008"/>
                                                <a:gd name="connsiteX45" fmla="*/ 90571 w 139289"/>
                                                <a:gd name="connsiteY45" fmla="*/ 92708 h 165008"/>
                                                <a:gd name="connsiteX46" fmla="*/ 84740 w 139289"/>
                                                <a:gd name="connsiteY46" fmla="*/ 95429 h 165008"/>
                                                <a:gd name="connsiteX47" fmla="*/ 72755 w 139289"/>
                                                <a:gd name="connsiteY47" fmla="*/ 101584 h 165008"/>
                                                <a:gd name="connsiteX48" fmla="*/ 64786 w 139289"/>
                                                <a:gd name="connsiteY48" fmla="*/ 92773 h 165008"/>
                                                <a:gd name="connsiteX49" fmla="*/ 69515 w 139289"/>
                                                <a:gd name="connsiteY49" fmla="*/ 90765 h 165008"/>
                                                <a:gd name="connsiteX50" fmla="*/ 68608 w 139289"/>
                                                <a:gd name="connsiteY50" fmla="*/ 84934 h 165008"/>
                                                <a:gd name="connsiteX51" fmla="*/ 75476 w 139289"/>
                                                <a:gd name="connsiteY51" fmla="*/ 83444 h 165008"/>
                                                <a:gd name="connsiteX52" fmla="*/ 77095 w 139289"/>
                                                <a:gd name="connsiteY52" fmla="*/ 77289 h 165008"/>
                                                <a:gd name="connsiteX53" fmla="*/ 71070 w 139289"/>
                                                <a:gd name="connsiteY53" fmla="*/ 73726 h 165008"/>
                                                <a:gd name="connsiteX54" fmla="*/ 68867 w 139289"/>
                                                <a:gd name="connsiteY54" fmla="*/ 66081 h 165008"/>
                                                <a:gd name="connsiteX55" fmla="*/ 64915 w 139289"/>
                                                <a:gd name="connsiteY55" fmla="*/ 61222 h 165008"/>
                                                <a:gd name="connsiteX56" fmla="*/ 58113 w 139289"/>
                                                <a:gd name="connsiteY56" fmla="*/ 35373 h 165008"/>
                                                <a:gd name="connsiteX57" fmla="*/ 61352 w 139289"/>
                                                <a:gd name="connsiteY57" fmla="*/ 40556 h 165008"/>
                                                <a:gd name="connsiteX58" fmla="*/ 74892 w 139289"/>
                                                <a:gd name="connsiteY58" fmla="*/ 43536 h 165008"/>
                                                <a:gd name="connsiteX59" fmla="*/ 92773 w 139289"/>
                                                <a:gd name="connsiteY59" fmla="*/ 49561 h 165008"/>
                                                <a:gd name="connsiteX60" fmla="*/ 92190 w 139289"/>
                                                <a:gd name="connsiteY60" fmla="*/ 29413 h 165008"/>
                                                <a:gd name="connsiteX61" fmla="*/ 133523 w 139289"/>
                                                <a:gd name="connsiteY61" fmla="*/ 27728 h 165008"/>
                                                <a:gd name="connsiteX62" fmla="*/ 139289 w 139289"/>
                                                <a:gd name="connsiteY62" fmla="*/ 15354 h 165008"/>
                                                <a:gd name="connsiteX63" fmla="*/ 121862 w 139289"/>
                                                <a:gd name="connsiteY63" fmla="*/ 8228 h 165008"/>
                                                <a:gd name="connsiteX64" fmla="*/ 114477 w 139289"/>
                                                <a:gd name="connsiteY64" fmla="*/ 4211 h 16500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39289" h="165008">
                                                  <a:moveTo>
                                                    <a:pt x="114541" y="4211"/>
                                                  </a:moveTo>
                                                  <a:cubicBezTo>
                                                    <a:pt x="112533" y="4017"/>
                                                    <a:pt x="110524" y="4859"/>
                                                    <a:pt x="108581" y="5507"/>
                                                  </a:cubicBezTo>
                                                  <a:cubicBezTo>
                                                    <a:pt x="96984" y="9524"/>
                                                    <a:pt x="83639" y="8163"/>
                                                    <a:pt x="73014" y="1879"/>
                                                  </a:cubicBezTo>
                                                  <a:cubicBezTo>
                                                    <a:pt x="71912" y="1231"/>
                                                    <a:pt x="70811" y="583"/>
                                                    <a:pt x="69645" y="0"/>
                                                  </a:cubicBezTo>
                                                  <a:cubicBezTo>
                                                    <a:pt x="69774" y="3757"/>
                                                    <a:pt x="70228" y="7580"/>
                                                    <a:pt x="68284" y="10625"/>
                                                  </a:cubicBezTo>
                                                  <a:cubicBezTo>
                                                    <a:pt x="65369" y="15030"/>
                                                    <a:pt x="59149" y="15224"/>
                                                    <a:pt x="54290" y="17427"/>
                                                  </a:cubicBezTo>
                                                  <a:cubicBezTo>
                                                    <a:pt x="52088" y="23128"/>
                                                    <a:pt x="45868" y="26044"/>
                                                    <a:pt x="40167" y="28311"/>
                                                  </a:cubicBezTo>
                                                  <a:cubicBezTo>
                                                    <a:pt x="38159" y="29089"/>
                                                    <a:pt x="36215" y="29931"/>
                                                    <a:pt x="34207" y="30708"/>
                                                  </a:cubicBezTo>
                                                  <a:cubicBezTo>
                                                    <a:pt x="30320" y="32263"/>
                                                    <a:pt x="26498" y="33883"/>
                                                    <a:pt x="22610" y="35438"/>
                                                  </a:cubicBezTo>
                                                  <a:cubicBezTo>
                                                    <a:pt x="23777" y="37899"/>
                                                    <a:pt x="23971" y="40491"/>
                                                    <a:pt x="22416" y="42694"/>
                                                  </a:cubicBezTo>
                                                  <a:cubicBezTo>
                                                    <a:pt x="14642" y="44119"/>
                                                    <a:pt x="7839" y="50144"/>
                                                    <a:pt x="5507" y="57724"/>
                                                  </a:cubicBezTo>
                                                  <a:cubicBezTo>
                                                    <a:pt x="4730" y="60121"/>
                                                    <a:pt x="4405" y="62713"/>
                                                    <a:pt x="3174" y="64915"/>
                                                  </a:cubicBezTo>
                                                  <a:cubicBezTo>
                                                    <a:pt x="2397" y="66341"/>
                                                    <a:pt x="1231" y="67442"/>
                                                    <a:pt x="0" y="68414"/>
                                                  </a:cubicBezTo>
                                                  <a:cubicBezTo>
                                                    <a:pt x="2008" y="71847"/>
                                                    <a:pt x="2203" y="76382"/>
                                                    <a:pt x="2203" y="80529"/>
                                                  </a:cubicBezTo>
                                                  <a:cubicBezTo>
                                                    <a:pt x="8422" y="77095"/>
                                                    <a:pt x="17557" y="82666"/>
                                                    <a:pt x="16974" y="89728"/>
                                                  </a:cubicBezTo>
                                                  <a:cubicBezTo>
                                                    <a:pt x="16780" y="92060"/>
                                                    <a:pt x="15743" y="94198"/>
                                                    <a:pt x="15614" y="96531"/>
                                                  </a:cubicBezTo>
                                                  <a:cubicBezTo>
                                                    <a:pt x="15419" y="98863"/>
                                                    <a:pt x="16585" y="101584"/>
                                                    <a:pt x="18853" y="101908"/>
                                                  </a:cubicBezTo>
                                                  <a:cubicBezTo>
                                                    <a:pt x="19889" y="102038"/>
                                                    <a:pt x="20861" y="101713"/>
                                                    <a:pt x="21898" y="101390"/>
                                                  </a:cubicBezTo>
                                                  <a:cubicBezTo>
                                                    <a:pt x="29802" y="98604"/>
                                                    <a:pt x="37705" y="95818"/>
                                                    <a:pt x="45674" y="93032"/>
                                                  </a:cubicBezTo>
                                                  <a:cubicBezTo>
                                                    <a:pt x="43860" y="94717"/>
                                                    <a:pt x="45350" y="97956"/>
                                                    <a:pt x="47618" y="99057"/>
                                                  </a:cubicBezTo>
                                                  <a:cubicBezTo>
                                                    <a:pt x="49885" y="100159"/>
                                                    <a:pt x="52477" y="100159"/>
                                                    <a:pt x="54679" y="101260"/>
                                                  </a:cubicBezTo>
                                                  <a:cubicBezTo>
                                                    <a:pt x="57141" y="102491"/>
                                                    <a:pt x="58826" y="105147"/>
                                                    <a:pt x="58955" y="107868"/>
                                                  </a:cubicBezTo>
                                                  <a:cubicBezTo>
                                                    <a:pt x="58955" y="108775"/>
                                                    <a:pt x="58826" y="109812"/>
                                                    <a:pt x="58113" y="110395"/>
                                                  </a:cubicBezTo>
                                                  <a:cubicBezTo>
                                                    <a:pt x="57465" y="110913"/>
                                                    <a:pt x="56623" y="111043"/>
                                                    <a:pt x="55780" y="111107"/>
                                                  </a:cubicBezTo>
                                                  <a:cubicBezTo>
                                                    <a:pt x="46192" y="112014"/>
                                                    <a:pt x="36604" y="112921"/>
                                                    <a:pt x="26951" y="113828"/>
                                                  </a:cubicBezTo>
                                                  <a:cubicBezTo>
                                                    <a:pt x="29089" y="114865"/>
                                                    <a:pt x="29089" y="118040"/>
                                                    <a:pt x="28052" y="120242"/>
                                                  </a:cubicBezTo>
                                                  <a:cubicBezTo>
                                                    <a:pt x="27080" y="122445"/>
                                                    <a:pt x="25461" y="124518"/>
                                                    <a:pt x="25526" y="126915"/>
                                                  </a:cubicBezTo>
                                                  <a:cubicBezTo>
                                                    <a:pt x="25785" y="134106"/>
                                                    <a:pt x="39714" y="135143"/>
                                                    <a:pt x="38936" y="142269"/>
                                                  </a:cubicBezTo>
                                                  <a:cubicBezTo>
                                                    <a:pt x="38742" y="143824"/>
                                                    <a:pt x="37835" y="145249"/>
                                                    <a:pt x="37770" y="146804"/>
                                                  </a:cubicBezTo>
                                                  <a:cubicBezTo>
                                                    <a:pt x="37576" y="149914"/>
                                                    <a:pt x="40815" y="152182"/>
                                                    <a:pt x="43860" y="152700"/>
                                                  </a:cubicBezTo>
                                                  <a:cubicBezTo>
                                                    <a:pt x="46905" y="153218"/>
                                                    <a:pt x="50080" y="152570"/>
                                                    <a:pt x="53124" y="153088"/>
                                                  </a:cubicBezTo>
                                                  <a:cubicBezTo>
                                                    <a:pt x="53124" y="156522"/>
                                                    <a:pt x="53124" y="160021"/>
                                                    <a:pt x="53124" y="163454"/>
                                                  </a:cubicBezTo>
                                                  <a:cubicBezTo>
                                                    <a:pt x="59409" y="165722"/>
                                                    <a:pt x="66535" y="165527"/>
                                                    <a:pt x="72625" y="162742"/>
                                                  </a:cubicBezTo>
                                                  <a:cubicBezTo>
                                                    <a:pt x="75022" y="160280"/>
                                                    <a:pt x="72819" y="156069"/>
                                                    <a:pt x="70033" y="154060"/>
                                                  </a:cubicBezTo>
                                                  <a:cubicBezTo>
                                                    <a:pt x="67248" y="152052"/>
                                                    <a:pt x="63684" y="150368"/>
                                                    <a:pt x="62713" y="147063"/>
                                                  </a:cubicBezTo>
                                                  <a:cubicBezTo>
                                                    <a:pt x="61287" y="142140"/>
                                                    <a:pt x="66924" y="137929"/>
                                                    <a:pt x="72042" y="137346"/>
                                                  </a:cubicBezTo>
                                                  <a:cubicBezTo>
                                                    <a:pt x="77095" y="136763"/>
                                                    <a:pt x="82537" y="137994"/>
                                                    <a:pt x="87267" y="136050"/>
                                                  </a:cubicBezTo>
                                                  <a:cubicBezTo>
                                                    <a:pt x="88433" y="132552"/>
                                                    <a:pt x="83703" y="129960"/>
                                                    <a:pt x="80011" y="130154"/>
                                                  </a:cubicBezTo>
                                                  <a:cubicBezTo>
                                                    <a:pt x="76318" y="130349"/>
                                                    <a:pt x="72171" y="131450"/>
                                                    <a:pt x="69321" y="129118"/>
                                                  </a:cubicBezTo>
                                                  <a:cubicBezTo>
                                                    <a:pt x="70293" y="126591"/>
                                                    <a:pt x="66600" y="124713"/>
                                                    <a:pt x="66017" y="122056"/>
                                                  </a:cubicBezTo>
                                                  <a:cubicBezTo>
                                                    <a:pt x="65174" y="118428"/>
                                                    <a:pt x="70228" y="116485"/>
                                                    <a:pt x="73986" y="116614"/>
                                                  </a:cubicBezTo>
                                                  <a:cubicBezTo>
                                                    <a:pt x="78326" y="116744"/>
                                                    <a:pt x="82667" y="117586"/>
                                                    <a:pt x="87007" y="117780"/>
                                                  </a:cubicBezTo>
                                                  <a:cubicBezTo>
                                                    <a:pt x="91348" y="117910"/>
                                                    <a:pt x="95883" y="117327"/>
                                                    <a:pt x="99511" y="114930"/>
                                                  </a:cubicBezTo>
                                                  <a:cubicBezTo>
                                                    <a:pt x="103139" y="112533"/>
                                                    <a:pt x="105536" y="107933"/>
                                                    <a:pt x="104370" y="103722"/>
                                                  </a:cubicBezTo>
                                                  <a:cubicBezTo>
                                                    <a:pt x="103204" y="99511"/>
                                                    <a:pt x="97827" y="96725"/>
                                                    <a:pt x="94134" y="99057"/>
                                                  </a:cubicBezTo>
                                                  <a:cubicBezTo>
                                                    <a:pt x="93874" y="96466"/>
                                                    <a:pt x="93097" y="93356"/>
                                                    <a:pt x="90571" y="92708"/>
                                                  </a:cubicBezTo>
                                                  <a:cubicBezTo>
                                                    <a:pt x="88368" y="92125"/>
                                                    <a:pt x="86359" y="93874"/>
                                                    <a:pt x="84740" y="95429"/>
                                                  </a:cubicBezTo>
                                                  <a:cubicBezTo>
                                                    <a:pt x="81371" y="98604"/>
                                                    <a:pt x="77354" y="101584"/>
                                                    <a:pt x="72755" y="101584"/>
                                                  </a:cubicBezTo>
                                                  <a:cubicBezTo>
                                                    <a:pt x="68155" y="101584"/>
                                                    <a:pt x="63425" y="97179"/>
                                                    <a:pt x="64786" y="92773"/>
                                                  </a:cubicBezTo>
                                                  <a:cubicBezTo>
                                                    <a:pt x="66341" y="94069"/>
                                                    <a:pt x="68932" y="92773"/>
                                                    <a:pt x="69515" y="90765"/>
                                                  </a:cubicBezTo>
                                                  <a:cubicBezTo>
                                                    <a:pt x="70163" y="88821"/>
                                                    <a:pt x="69450" y="86748"/>
                                                    <a:pt x="68608" y="84934"/>
                                                  </a:cubicBezTo>
                                                  <a:cubicBezTo>
                                                    <a:pt x="71005" y="84934"/>
                                                    <a:pt x="73532" y="84804"/>
                                                    <a:pt x="75476" y="83444"/>
                                                  </a:cubicBezTo>
                                                  <a:cubicBezTo>
                                                    <a:pt x="77419" y="82083"/>
                                                    <a:pt x="78520" y="79168"/>
                                                    <a:pt x="77095" y="77289"/>
                                                  </a:cubicBezTo>
                                                  <a:cubicBezTo>
                                                    <a:pt x="75670" y="75410"/>
                                                    <a:pt x="72755" y="75410"/>
                                                    <a:pt x="71070" y="73726"/>
                                                  </a:cubicBezTo>
                                                  <a:cubicBezTo>
                                                    <a:pt x="69191" y="71847"/>
                                                    <a:pt x="69645" y="68673"/>
                                                    <a:pt x="68867" y="66081"/>
                                                  </a:cubicBezTo>
                                                  <a:cubicBezTo>
                                                    <a:pt x="68155" y="63619"/>
                                                    <a:pt x="67053" y="62583"/>
                                                    <a:pt x="64915" y="61222"/>
                                                  </a:cubicBezTo>
                                                  <a:cubicBezTo>
                                                    <a:pt x="56688" y="55910"/>
                                                    <a:pt x="53578" y="43989"/>
                                                    <a:pt x="58113" y="35373"/>
                                                  </a:cubicBezTo>
                                                  <a:cubicBezTo>
                                                    <a:pt x="59214" y="37122"/>
                                                    <a:pt x="60251" y="38807"/>
                                                    <a:pt x="61352" y="40556"/>
                                                  </a:cubicBezTo>
                                                  <a:cubicBezTo>
                                                    <a:pt x="66017" y="40750"/>
                                                    <a:pt x="70617" y="41787"/>
                                                    <a:pt x="74892" y="43536"/>
                                                  </a:cubicBezTo>
                                                  <a:cubicBezTo>
                                                    <a:pt x="75540" y="51505"/>
                                                    <a:pt x="87461" y="55521"/>
                                                    <a:pt x="92773" y="49561"/>
                                                  </a:cubicBezTo>
                                                  <a:cubicBezTo>
                                                    <a:pt x="91996" y="42888"/>
                                                    <a:pt x="91802" y="36085"/>
                                                    <a:pt x="92190" y="29413"/>
                                                  </a:cubicBezTo>
                                                  <a:cubicBezTo>
                                                    <a:pt x="105601" y="25655"/>
                                                    <a:pt x="119854" y="25072"/>
                                                    <a:pt x="133523" y="27728"/>
                                                  </a:cubicBezTo>
                                                  <a:cubicBezTo>
                                                    <a:pt x="135078" y="23452"/>
                                                    <a:pt x="137087" y="19306"/>
                                                    <a:pt x="139289" y="15354"/>
                                                  </a:cubicBezTo>
                                                  <a:cubicBezTo>
                                                    <a:pt x="133005" y="14123"/>
                                                    <a:pt x="127045" y="11985"/>
                                                    <a:pt x="121862" y="8228"/>
                                                  </a:cubicBezTo>
                                                  <a:cubicBezTo>
                                                    <a:pt x="119595" y="6543"/>
                                                    <a:pt x="117327" y="4470"/>
                                                    <a:pt x="114477" y="421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2" name="Freeform: Shape 208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0F502953-E626-4359-98D4-7D20ACA3D1A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574221" y="3104300"/>
                                              <a:ext cx="149965" cy="9593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26188 w 149965"/>
                                                <a:gd name="connsiteY0" fmla="*/ 44429 h 95933"/>
                                                <a:gd name="connsiteX1" fmla="*/ 132278 w 149965"/>
                                                <a:gd name="connsiteY1" fmla="*/ 37043 h 95933"/>
                                                <a:gd name="connsiteX2" fmla="*/ 149965 w 149965"/>
                                                <a:gd name="connsiteY2" fmla="*/ 12165 h 95933"/>
                                                <a:gd name="connsiteX3" fmla="*/ 126577 w 149965"/>
                                                <a:gd name="connsiteY3" fmla="*/ 1411 h 95933"/>
                                                <a:gd name="connsiteX4" fmla="*/ 119321 w 149965"/>
                                                <a:gd name="connsiteY4" fmla="*/ 633 h 95933"/>
                                                <a:gd name="connsiteX5" fmla="*/ 116924 w 149965"/>
                                                <a:gd name="connsiteY5" fmla="*/ 2512 h 95933"/>
                                                <a:gd name="connsiteX6" fmla="*/ 112907 w 149965"/>
                                                <a:gd name="connsiteY6" fmla="*/ 3160 h 95933"/>
                                                <a:gd name="connsiteX7" fmla="*/ 101440 w 149965"/>
                                                <a:gd name="connsiteY7" fmla="*/ 2966 h 95933"/>
                                                <a:gd name="connsiteX8" fmla="*/ 96257 w 149965"/>
                                                <a:gd name="connsiteY8" fmla="*/ 3549 h 95933"/>
                                                <a:gd name="connsiteX9" fmla="*/ 89779 w 149965"/>
                                                <a:gd name="connsiteY9" fmla="*/ 8797 h 95933"/>
                                                <a:gd name="connsiteX10" fmla="*/ 67363 w 149965"/>
                                                <a:gd name="connsiteY10" fmla="*/ 14692 h 95933"/>
                                                <a:gd name="connsiteX11" fmla="*/ 38469 w 149965"/>
                                                <a:gd name="connsiteY11" fmla="*/ 15469 h 95933"/>
                                                <a:gd name="connsiteX12" fmla="*/ 26678 w 149965"/>
                                                <a:gd name="connsiteY12" fmla="*/ 14109 h 95933"/>
                                                <a:gd name="connsiteX13" fmla="*/ 20069 w 149965"/>
                                                <a:gd name="connsiteY13" fmla="*/ 10351 h 95933"/>
                                                <a:gd name="connsiteX14" fmla="*/ 10287 w 149965"/>
                                                <a:gd name="connsiteY14" fmla="*/ 5687 h 95933"/>
                                                <a:gd name="connsiteX15" fmla="*/ 8991 w 149965"/>
                                                <a:gd name="connsiteY15" fmla="*/ 4132 h 95933"/>
                                                <a:gd name="connsiteX16" fmla="*/ 8603 w 149965"/>
                                                <a:gd name="connsiteY16" fmla="*/ 4844 h 95933"/>
                                                <a:gd name="connsiteX17" fmla="*/ 504 w 149965"/>
                                                <a:gd name="connsiteY17" fmla="*/ 25641 h 95933"/>
                                                <a:gd name="connsiteX18" fmla="*/ 7177 w 149965"/>
                                                <a:gd name="connsiteY18" fmla="*/ 35164 h 95933"/>
                                                <a:gd name="connsiteX19" fmla="*/ 8926 w 149965"/>
                                                <a:gd name="connsiteY19" fmla="*/ 45919 h 95933"/>
                                                <a:gd name="connsiteX20" fmla="*/ 245 w 149965"/>
                                                <a:gd name="connsiteY20" fmla="*/ 48445 h 95933"/>
                                                <a:gd name="connsiteX21" fmla="*/ 2448 w 149965"/>
                                                <a:gd name="connsiteY21" fmla="*/ 55118 h 95933"/>
                                                <a:gd name="connsiteX22" fmla="*/ 5881 w 149965"/>
                                                <a:gd name="connsiteY22" fmla="*/ 61143 h 95933"/>
                                                <a:gd name="connsiteX23" fmla="*/ 6788 w 149965"/>
                                                <a:gd name="connsiteY23" fmla="*/ 66391 h 95933"/>
                                                <a:gd name="connsiteX24" fmla="*/ 16053 w 149965"/>
                                                <a:gd name="connsiteY24" fmla="*/ 75979 h 95933"/>
                                                <a:gd name="connsiteX25" fmla="*/ 15794 w 149965"/>
                                                <a:gd name="connsiteY25" fmla="*/ 80579 h 95933"/>
                                                <a:gd name="connsiteX26" fmla="*/ 19163 w 149965"/>
                                                <a:gd name="connsiteY26" fmla="*/ 82458 h 95933"/>
                                                <a:gd name="connsiteX27" fmla="*/ 54730 w 149965"/>
                                                <a:gd name="connsiteY27" fmla="*/ 86086 h 95933"/>
                                                <a:gd name="connsiteX28" fmla="*/ 60690 w 149965"/>
                                                <a:gd name="connsiteY28" fmla="*/ 84790 h 95933"/>
                                                <a:gd name="connsiteX29" fmla="*/ 68076 w 149965"/>
                                                <a:gd name="connsiteY29" fmla="*/ 88807 h 95933"/>
                                                <a:gd name="connsiteX30" fmla="*/ 85503 w 149965"/>
                                                <a:gd name="connsiteY30" fmla="*/ 95933 h 95933"/>
                                                <a:gd name="connsiteX31" fmla="*/ 100339 w 149965"/>
                                                <a:gd name="connsiteY31" fmla="*/ 76109 h 95933"/>
                                                <a:gd name="connsiteX32" fmla="*/ 106170 w 149965"/>
                                                <a:gd name="connsiteY32" fmla="*/ 72027 h 95933"/>
                                                <a:gd name="connsiteX33" fmla="*/ 119710 w 149965"/>
                                                <a:gd name="connsiteY33" fmla="*/ 71380 h 95933"/>
                                                <a:gd name="connsiteX34" fmla="*/ 124957 w 149965"/>
                                                <a:gd name="connsiteY34" fmla="*/ 68983 h 95933"/>
                                                <a:gd name="connsiteX35" fmla="*/ 133315 w 149965"/>
                                                <a:gd name="connsiteY35" fmla="*/ 68205 h 95933"/>
                                                <a:gd name="connsiteX36" fmla="*/ 128067 w 149965"/>
                                                <a:gd name="connsiteY36" fmla="*/ 57515 h 95933"/>
                                                <a:gd name="connsiteX37" fmla="*/ 126383 w 149965"/>
                                                <a:gd name="connsiteY37" fmla="*/ 44429 h 9593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49965" h="95933">
                                                  <a:moveTo>
                                                    <a:pt x="126188" y="44429"/>
                                                  </a:moveTo>
                                                  <a:cubicBezTo>
                                                    <a:pt x="127354" y="41449"/>
                                                    <a:pt x="129946" y="39246"/>
                                                    <a:pt x="132278" y="37043"/>
                                                  </a:cubicBezTo>
                                                  <a:cubicBezTo>
                                                    <a:pt x="139729" y="30046"/>
                                                    <a:pt x="145754" y="21559"/>
                                                    <a:pt x="149965" y="12165"/>
                                                  </a:cubicBezTo>
                                                  <a:cubicBezTo>
                                                    <a:pt x="142191" y="8602"/>
                                                    <a:pt x="134351" y="4974"/>
                                                    <a:pt x="126577" y="1411"/>
                                                  </a:cubicBezTo>
                                                  <a:cubicBezTo>
                                                    <a:pt x="124245" y="374"/>
                                                    <a:pt x="121459" y="-727"/>
                                                    <a:pt x="119321" y="633"/>
                                                  </a:cubicBezTo>
                                                  <a:cubicBezTo>
                                                    <a:pt x="118479" y="1152"/>
                                                    <a:pt x="117831" y="1994"/>
                                                    <a:pt x="116924" y="2512"/>
                                                  </a:cubicBezTo>
                                                  <a:cubicBezTo>
                                                    <a:pt x="115758" y="3225"/>
                                                    <a:pt x="114268" y="3225"/>
                                                    <a:pt x="112907" y="3160"/>
                                                  </a:cubicBezTo>
                                                  <a:cubicBezTo>
                                                    <a:pt x="109085" y="3095"/>
                                                    <a:pt x="105263" y="3030"/>
                                                    <a:pt x="101440" y="2966"/>
                                                  </a:cubicBezTo>
                                                  <a:cubicBezTo>
                                                    <a:pt x="99691" y="2966"/>
                                                    <a:pt x="97877" y="2966"/>
                                                    <a:pt x="96257" y="3549"/>
                                                  </a:cubicBezTo>
                                                  <a:cubicBezTo>
                                                    <a:pt x="93666" y="4521"/>
                                                    <a:pt x="91917" y="6983"/>
                                                    <a:pt x="89779" y="8797"/>
                                                  </a:cubicBezTo>
                                                  <a:cubicBezTo>
                                                    <a:pt x="83884" y="13979"/>
                                                    <a:pt x="75267" y="14498"/>
                                                    <a:pt x="67363" y="14692"/>
                                                  </a:cubicBezTo>
                                                  <a:cubicBezTo>
                                                    <a:pt x="57710" y="14951"/>
                                                    <a:pt x="48057" y="15210"/>
                                                    <a:pt x="38469" y="15469"/>
                                                  </a:cubicBezTo>
                                                  <a:cubicBezTo>
                                                    <a:pt x="34517" y="15599"/>
                                                    <a:pt x="30370" y="15664"/>
                                                    <a:pt x="26678" y="14109"/>
                                                  </a:cubicBezTo>
                                                  <a:cubicBezTo>
                                                    <a:pt x="24345" y="13137"/>
                                                    <a:pt x="22337" y="11517"/>
                                                    <a:pt x="20069" y="10351"/>
                                                  </a:cubicBezTo>
                                                  <a:cubicBezTo>
                                                    <a:pt x="16830" y="8732"/>
                                                    <a:pt x="13073" y="8019"/>
                                                    <a:pt x="10287" y="5687"/>
                                                  </a:cubicBezTo>
                                                  <a:cubicBezTo>
                                                    <a:pt x="9769" y="5233"/>
                                                    <a:pt x="9380" y="4650"/>
                                                    <a:pt x="8991" y="4132"/>
                                                  </a:cubicBezTo>
                                                  <a:cubicBezTo>
                                                    <a:pt x="8862" y="4391"/>
                                                    <a:pt x="8732" y="4650"/>
                                                    <a:pt x="8603" y="4844"/>
                                                  </a:cubicBezTo>
                                                  <a:cubicBezTo>
                                                    <a:pt x="4456" y="11323"/>
                                                    <a:pt x="-1828" y="18255"/>
                                                    <a:pt x="504" y="25641"/>
                                                  </a:cubicBezTo>
                                                  <a:cubicBezTo>
                                                    <a:pt x="1670" y="29333"/>
                                                    <a:pt x="4845" y="32055"/>
                                                    <a:pt x="7177" y="35164"/>
                                                  </a:cubicBezTo>
                                                  <a:cubicBezTo>
                                                    <a:pt x="9574" y="38274"/>
                                                    <a:pt x="11129" y="42744"/>
                                                    <a:pt x="8926" y="45919"/>
                                                  </a:cubicBezTo>
                                                  <a:cubicBezTo>
                                                    <a:pt x="7760" y="48899"/>
                                                    <a:pt x="3549" y="47862"/>
                                                    <a:pt x="245" y="48445"/>
                                                  </a:cubicBezTo>
                                                  <a:cubicBezTo>
                                                    <a:pt x="763" y="50778"/>
                                                    <a:pt x="1282" y="53045"/>
                                                    <a:pt x="2448" y="55118"/>
                                                  </a:cubicBezTo>
                                                  <a:cubicBezTo>
                                                    <a:pt x="3549" y="57191"/>
                                                    <a:pt x="5169" y="58941"/>
                                                    <a:pt x="5881" y="61143"/>
                                                  </a:cubicBezTo>
                                                  <a:cubicBezTo>
                                                    <a:pt x="6465" y="62828"/>
                                                    <a:pt x="6400" y="64642"/>
                                                    <a:pt x="6788" y="66391"/>
                                                  </a:cubicBezTo>
                                                  <a:cubicBezTo>
                                                    <a:pt x="7760" y="70991"/>
                                                    <a:pt x="11453" y="74878"/>
                                                    <a:pt x="16053" y="75979"/>
                                                  </a:cubicBezTo>
                                                  <a:cubicBezTo>
                                                    <a:pt x="15729" y="77469"/>
                                                    <a:pt x="15729" y="79024"/>
                                                    <a:pt x="15794" y="80579"/>
                                                  </a:cubicBezTo>
                                                  <a:cubicBezTo>
                                                    <a:pt x="16960" y="81162"/>
                                                    <a:pt x="18061" y="81810"/>
                                                    <a:pt x="19163" y="82458"/>
                                                  </a:cubicBezTo>
                                                  <a:cubicBezTo>
                                                    <a:pt x="29723" y="88742"/>
                                                    <a:pt x="43069" y="90103"/>
                                                    <a:pt x="54730" y="86086"/>
                                                  </a:cubicBezTo>
                                                  <a:cubicBezTo>
                                                    <a:pt x="56673" y="85438"/>
                                                    <a:pt x="58617" y="84596"/>
                                                    <a:pt x="60690" y="84790"/>
                                                  </a:cubicBezTo>
                                                  <a:cubicBezTo>
                                                    <a:pt x="63541" y="85049"/>
                                                    <a:pt x="65808" y="87122"/>
                                                    <a:pt x="68076" y="88807"/>
                                                  </a:cubicBezTo>
                                                  <a:cubicBezTo>
                                                    <a:pt x="73259" y="92629"/>
                                                    <a:pt x="79219" y="94767"/>
                                                    <a:pt x="85503" y="95933"/>
                                                  </a:cubicBezTo>
                                                  <a:cubicBezTo>
                                                    <a:pt x="89520" y="88677"/>
                                                    <a:pt x="94379" y="81940"/>
                                                    <a:pt x="100339" y="76109"/>
                                                  </a:cubicBezTo>
                                                  <a:cubicBezTo>
                                                    <a:pt x="102088" y="74424"/>
                                                    <a:pt x="103902" y="72805"/>
                                                    <a:pt x="106170" y="72027"/>
                                                  </a:cubicBezTo>
                                                  <a:cubicBezTo>
                                                    <a:pt x="110510" y="70602"/>
                                                    <a:pt x="115369" y="72675"/>
                                                    <a:pt x="119710" y="71380"/>
                                                  </a:cubicBezTo>
                                                  <a:cubicBezTo>
                                                    <a:pt x="121524" y="70861"/>
                                                    <a:pt x="123144" y="69760"/>
                                                    <a:pt x="124957" y="68983"/>
                                                  </a:cubicBezTo>
                                                  <a:cubicBezTo>
                                                    <a:pt x="127679" y="67881"/>
                                                    <a:pt x="130464" y="67752"/>
                                                    <a:pt x="133315" y="68205"/>
                                                  </a:cubicBezTo>
                                                  <a:cubicBezTo>
                                                    <a:pt x="131436" y="64707"/>
                                                    <a:pt x="129622" y="61208"/>
                                                    <a:pt x="128067" y="57515"/>
                                                  </a:cubicBezTo>
                                                  <a:cubicBezTo>
                                                    <a:pt x="126253" y="53369"/>
                                                    <a:pt x="124763" y="48640"/>
                                                    <a:pt x="126383" y="4442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3" name="Freeform: Shape 2082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DA1633D-CF61-43A9-9EF4-FF38AB3B918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7089352" y="3245065"/>
                                              <a:ext cx="29365" cy="2461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6108 w 29365"/>
                                                <a:gd name="connsiteY0" fmla="*/ 1296 h 24618"/>
                                                <a:gd name="connsiteX1" fmla="*/ 23451 w 29365"/>
                                                <a:gd name="connsiteY1" fmla="*/ 324 h 24618"/>
                                                <a:gd name="connsiteX2" fmla="*/ 20407 w 29365"/>
                                                <a:gd name="connsiteY2" fmla="*/ 0 h 24618"/>
                                                <a:gd name="connsiteX3" fmla="*/ 6283 w 29365"/>
                                                <a:gd name="connsiteY3" fmla="*/ 7515 h 24618"/>
                                                <a:gd name="connsiteX4" fmla="*/ 193 w 29365"/>
                                                <a:gd name="connsiteY4" fmla="*/ 13475 h 24618"/>
                                                <a:gd name="connsiteX5" fmla="*/ 3433 w 29365"/>
                                                <a:gd name="connsiteY5" fmla="*/ 21703 h 24618"/>
                                                <a:gd name="connsiteX6" fmla="*/ 7773 w 29365"/>
                                                <a:gd name="connsiteY6" fmla="*/ 23388 h 24618"/>
                                                <a:gd name="connsiteX7" fmla="*/ 18657 w 29365"/>
                                                <a:gd name="connsiteY7" fmla="*/ 24618 h 24618"/>
                                                <a:gd name="connsiteX8" fmla="*/ 21184 w 29365"/>
                                                <a:gd name="connsiteY8" fmla="*/ 24618 h 24618"/>
                                                <a:gd name="connsiteX9" fmla="*/ 21443 w 29365"/>
                                                <a:gd name="connsiteY9" fmla="*/ 24230 h 24618"/>
                                                <a:gd name="connsiteX10" fmla="*/ 23192 w 29365"/>
                                                <a:gd name="connsiteY10" fmla="*/ 16779 h 24618"/>
                                                <a:gd name="connsiteX11" fmla="*/ 28246 w 29365"/>
                                                <a:gd name="connsiteY11" fmla="*/ 14059 h 24618"/>
                                                <a:gd name="connsiteX12" fmla="*/ 28375 w 29365"/>
                                                <a:gd name="connsiteY12" fmla="*/ 13670 h 24618"/>
                                                <a:gd name="connsiteX13" fmla="*/ 29347 w 29365"/>
                                                <a:gd name="connsiteY13" fmla="*/ 7256 h 24618"/>
                                                <a:gd name="connsiteX14" fmla="*/ 26108 w 29365"/>
                                                <a:gd name="connsiteY14" fmla="*/ 1296 h 24618"/>
                                                <a:gd name="connsiteX15" fmla="*/ 26561 w 29365"/>
                                                <a:gd name="connsiteY15" fmla="*/ 12763 h 24618"/>
                                                <a:gd name="connsiteX16" fmla="*/ 20860 w 29365"/>
                                                <a:gd name="connsiteY16" fmla="*/ 15808 h 24618"/>
                                                <a:gd name="connsiteX17" fmla="*/ 21119 w 29365"/>
                                                <a:gd name="connsiteY17" fmla="*/ 16520 h 24618"/>
                                                <a:gd name="connsiteX18" fmla="*/ 20212 w 29365"/>
                                                <a:gd name="connsiteY18" fmla="*/ 22675 h 24618"/>
                                                <a:gd name="connsiteX19" fmla="*/ 8227 w 29365"/>
                                                <a:gd name="connsiteY19" fmla="*/ 21509 h 24618"/>
                                                <a:gd name="connsiteX20" fmla="*/ 4534 w 29365"/>
                                                <a:gd name="connsiteY20" fmla="*/ 20084 h 24618"/>
                                                <a:gd name="connsiteX21" fmla="*/ 2072 w 29365"/>
                                                <a:gd name="connsiteY21" fmla="*/ 13864 h 24618"/>
                                                <a:gd name="connsiteX22" fmla="*/ 6996 w 29365"/>
                                                <a:gd name="connsiteY22" fmla="*/ 9394 h 24618"/>
                                                <a:gd name="connsiteX23" fmla="*/ 7449 w 29365"/>
                                                <a:gd name="connsiteY23" fmla="*/ 9394 h 24618"/>
                                                <a:gd name="connsiteX24" fmla="*/ 7708 w 29365"/>
                                                <a:gd name="connsiteY24" fmla="*/ 8940 h 24618"/>
                                                <a:gd name="connsiteX25" fmla="*/ 20407 w 29365"/>
                                                <a:gd name="connsiteY25" fmla="*/ 1943 h 24618"/>
                                                <a:gd name="connsiteX26" fmla="*/ 23063 w 29365"/>
                                                <a:gd name="connsiteY26" fmla="*/ 2203 h 24618"/>
                                                <a:gd name="connsiteX27" fmla="*/ 25071 w 29365"/>
                                                <a:gd name="connsiteY27" fmla="*/ 2915 h 24618"/>
                                                <a:gd name="connsiteX28" fmla="*/ 27404 w 29365"/>
                                                <a:gd name="connsiteY28" fmla="*/ 7386 h 24618"/>
                                                <a:gd name="connsiteX29" fmla="*/ 26561 w 29365"/>
                                                <a:gd name="connsiteY29" fmla="*/ 12763 h 2461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9365" h="24618">
                                                  <a:moveTo>
                                                    <a:pt x="26108" y="1296"/>
                                                  </a:moveTo>
                                                  <a:cubicBezTo>
                                                    <a:pt x="25201" y="713"/>
                                                    <a:pt x="24229" y="454"/>
                                                    <a:pt x="23451" y="324"/>
                                                  </a:cubicBezTo>
                                                  <a:cubicBezTo>
                                                    <a:pt x="22480" y="130"/>
                                                    <a:pt x="21443" y="0"/>
                                                    <a:pt x="20407" y="0"/>
                                                  </a:cubicBezTo>
                                                  <a:cubicBezTo>
                                                    <a:pt x="14770" y="0"/>
                                                    <a:pt x="9264" y="2980"/>
                                                    <a:pt x="6283" y="7515"/>
                                                  </a:cubicBezTo>
                                                  <a:cubicBezTo>
                                                    <a:pt x="3368" y="8163"/>
                                                    <a:pt x="906" y="10495"/>
                                                    <a:pt x="193" y="13475"/>
                                                  </a:cubicBezTo>
                                                  <a:cubicBezTo>
                                                    <a:pt x="-519" y="16520"/>
                                                    <a:pt x="776" y="19889"/>
                                                    <a:pt x="3433" y="21703"/>
                                                  </a:cubicBezTo>
                                                  <a:cubicBezTo>
                                                    <a:pt x="4793" y="22610"/>
                                                    <a:pt x="6348" y="23064"/>
                                                    <a:pt x="7773" y="23388"/>
                                                  </a:cubicBezTo>
                                                  <a:cubicBezTo>
                                                    <a:pt x="11336" y="24230"/>
                                                    <a:pt x="14964" y="24618"/>
                                                    <a:pt x="18657" y="24618"/>
                                                  </a:cubicBezTo>
                                                  <a:lnTo>
                                                    <a:pt x="21184" y="24618"/>
                                                  </a:lnTo>
                                                  <a:cubicBezTo>
                                                    <a:pt x="21184" y="24618"/>
                                                    <a:pt x="21443" y="24230"/>
                                                    <a:pt x="21443" y="24230"/>
                                                  </a:cubicBezTo>
                                                  <a:cubicBezTo>
                                                    <a:pt x="23063" y="22157"/>
                                                    <a:pt x="23711" y="19371"/>
                                                    <a:pt x="23192" y="16779"/>
                                                  </a:cubicBezTo>
                                                  <a:lnTo>
                                                    <a:pt x="28246" y="14059"/>
                                                  </a:lnTo>
                                                  <a:lnTo>
                                                    <a:pt x="28375" y="13670"/>
                                                  </a:lnTo>
                                                  <a:cubicBezTo>
                                                    <a:pt x="28893" y="11726"/>
                                                    <a:pt x="29477" y="9524"/>
                                                    <a:pt x="29347" y="7256"/>
                                                  </a:cubicBezTo>
                                                  <a:cubicBezTo>
                                                    <a:pt x="29217" y="4665"/>
                                                    <a:pt x="27986" y="2397"/>
                                                    <a:pt x="26108" y="1296"/>
                                                  </a:cubicBezTo>
                                                  <a:close/>
                                                  <a:moveTo>
                                                    <a:pt x="26561" y="12763"/>
                                                  </a:moveTo>
                                                  <a:lnTo>
                                                    <a:pt x="20860" y="15808"/>
                                                  </a:lnTo>
                                                  <a:lnTo>
                                                    <a:pt x="21119" y="16520"/>
                                                  </a:lnTo>
                                                  <a:cubicBezTo>
                                                    <a:pt x="21702" y="18593"/>
                                                    <a:pt x="21378" y="20926"/>
                                                    <a:pt x="20212" y="22675"/>
                                                  </a:cubicBezTo>
                                                  <a:cubicBezTo>
                                                    <a:pt x="16195" y="22869"/>
                                                    <a:pt x="12114" y="22416"/>
                                                    <a:pt x="8227" y="21509"/>
                                                  </a:cubicBezTo>
                                                  <a:cubicBezTo>
                                                    <a:pt x="6931" y="21185"/>
                                                    <a:pt x="5571" y="20796"/>
                                                    <a:pt x="4534" y="20084"/>
                                                  </a:cubicBezTo>
                                                  <a:cubicBezTo>
                                                    <a:pt x="2590" y="18788"/>
                                                    <a:pt x="1554" y="16132"/>
                                                    <a:pt x="2072" y="13864"/>
                                                  </a:cubicBezTo>
                                                  <a:cubicBezTo>
                                                    <a:pt x="2590" y="11597"/>
                                                    <a:pt x="4664" y="9718"/>
                                                    <a:pt x="6996" y="9394"/>
                                                  </a:cubicBezTo>
                                                  <a:lnTo>
                                                    <a:pt x="7449" y="9394"/>
                                                  </a:lnTo>
                                                  <a:cubicBezTo>
                                                    <a:pt x="7449" y="9394"/>
                                                    <a:pt x="7708" y="8940"/>
                                                    <a:pt x="7708" y="8940"/>
                                                  </a:cubicBezTo>
                                                  <a:cubicBezTo>
                                                    <a:pt x="10300" y="4729"/>
                                                    <a:pt x="15289" y="1943"/>
                                                    <a:pt x="20407" y="1943"/>
                                                  </a:cubicBezTo>
                                                  <a:cubicBezTo>
                                                    <a:pt x="21314" y="1943"/>
                                                    <a:pt x="22221" y="2073"/>
                                                    <a:pt x="23063" y="2203"/>
                                                  </a:cubicBezTo>
                                                  <a:cubicBezTo>
                                                    <a:pt x="23970" y="2397"/>
                                                    <a:pt x="24618" y="2591"/>
                                                    <a:pt x="25071" y="2915"/>
                                                  </a:cubicBezTo>
                                                  <a:cubicBezTo>
                                                    <a:pt x="26691" y="3887"/>
                                                    <a:pt x="27339" y="5831"/>
                                                    <a:pt x="27404" y="7386"/>
                                                  </a:cubicBezTo>
                                                  <a:cubicBezTo>
                                                    <a:pt x="27533" y="9200"/>
                                                    <a:pt x="27080" y="11014"/>
                                                    <a:pt x="26561" y="12763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4" name="Freeform: Shape 208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46AC7F9-0E02-4A52-AACE-3FB5C7712208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808244" y="3121148"/>
                                              <a:ext cx="302281" cy="238141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97952 w 302281"/>
                                                <a:gd name="connsiteY0" fmla="*/ 43065 h 238141"/>
                                                <a:gd name="connsiteX1" fmla="*/ 296526 w 302281"/>
                                                <a:gd name="connsiteY1" fmla="*/ 43129 h 238141"/>
                                                <a:gd name="connsiteX2" fmla="*/ 280913 w 302281"/>
                                                <a:gd name="connsiteY2" fmla="*/ 42870 h 238141"/>
                                                <a:gd name="connsiteX3" fmla="*/ 266077 w 302281"/>
                                                <a:gd name="connsiteY3" fmla="*/ 46434 h 238141"/>
                                                <a:gd name="connsiteX4" fmla="*/ 252537 w 302281"/>
                                                <a:gd name="connsiteY4" fmla="*/ 41575 h 238141"/>
                                                <a:gd name="connsiteX5" fmla="*/ 245864 w 302281"/>
                                                <a:gd name="connsiteY5" fmla="*/ 27257 h 238141"/>
                                                <a:gd name="connsiteX6" fmla="*/ 234008 w 302281"/>
                                                <a:gd name="connsiteY6" fmla="*/ 32699 h 238141"/>
                                                <a:gd name="connsiteX7" fmla="*/ 213212 w 302281"/>
                                                <a:gd name="connsiteY7" fmla="*/ 35226 h 238141"/>
                                                <a:gd name="connsiteX8" fmla="*/ 205567 w 302281"/>
                                                <a:gd name="connsiteY8" fmla="*/ 33088 h 238141"/>
                                                <a:gd name="connsiteX9" fmla="*/ 196886 w 302281"/>
                                                <a:gd name="connsiteY9" fmla="*/ 25573 h 238141"/>
                                                <a:gd name="connsiteX10" fmla="*/ 191509 w 302281"/>
                                                <a:gd name="connsiteY10" fmla="*/ 25184 h 238141"/>
                                                <a:gd name="connsiteX11" fmla="*/ 186520 w 302281"/>
                                                <a:gd name="connsiteY11" fmla="*/ 19483 h 238141"/>
                                                <a:gd name="connsiteX12" fmla="*/ 185548 w 302281"/>
                                                <a:gd name="connsiteY12" fmla="*/ 17539 h 238141"/>
                                                <a:gd name="connsiteX13" fmla="*/ 184512 w 302281"/>
                                                <a:gd name="connsiteY13" fmla="*/ 18446 h 238141"/>
                                                <a:gd name="connsiteX14" fmla="*/ 181661 w 302281"/>
                                                <a:gd name="connsiteY14" fmla="*/ 18640 h 238141"/>
                                                <a:gd name="connsiteX15" fmla="*/ 37707 w 302281"/>
                                                <a:gd name="connsiteY15" fmla="*/ 11125 h 238141"/>
                                                <a:gd name="connsiteX16" fmla="*/ 25528 w 302281"/>
                                                <a:gd name="connsiteY16" fmla="*/ 47 h 238141"/>
                                                <a:gd name="connsiteX17" fmla="*/ 11663 w 302281"/>
                                                <a:gd name="connsiteY17" fmla="*/ 8858 h 238141"/>
                                                <a:gd name="connsiteX18" fmla="*/ 9007 w 302281"/>
                                                <a:gd name="connsiteY18" fmla="*/ 14624 h 238141"/>
                                                <a:gd name="connsiteX19" fmla="*/ 1557 w 302281"/>
                                                <a:gd name="connsiteY19" fmla="*/ 17993 h 238141"/>
                                                <a:gd name="connsiteX20" fmla="*/ 2593 w 302281"/>
                                                <a:gd name="connsiteY20" fmla="*/ 27581 h 238141"/>
                                                <a:gd name="connsiteX21" fmla="*/ 11858 w 302281"/>
                                                <a:gd name="connsiteY21" fmla="*/ 33088 h 238141"/>
                                                <a:gd name="connsiteX22" fmla="*/ 23908 w 302281"/>
                                                <a:gd name="connsiteY22" fmla="*/ 62760 h 238141"/>
                                                <a:gd name="connsiteX23" fmla="*/ 50211 w 302281"/>
                                                <a:gd name="connsiteY23" fmla="*/ 62112 h 238141"/>
                                                <a:gd name="connsiteX24" fmla="*/ 63946 w 302281"/>
                                                <a:gd name="connsiteY24" fmla="*/ 68655 h 238141"/>
                                                <a:gd name="connsiteX25" fmla="*/ 59993 w 302281"/>
                                                <a:gd name="connsiteY25" fmla="*/ 80316 h 238141"/>
                                                <a:gd name="connsiteX26" fmla="*/ 47749 w 302281"/>
                                                <a:gd name="connsiteY26" fmla="*/ 85111 h 238141"/>
                                                <a:gd name="connsiteX27" fmla="*/ 52478 w 302281"/>
                                                <a:gd name="connsiteY27" fmla="*/ 108952 h 238141"/>
                                                <a:gd name="connsiteX28" fmla="*/ 46518 w 302281"/>
                                                <a:gd name="connsiteY28" fmla="*/ 115560 h 238141"/>
                                                <a:gd name="connsiteX29" fmla="*/ 48397 w 302281"/>
                                                <a:gd name="connsiteY29" fmla="*/ 132728 h 238141"/>
                                                <a:gd name="connsiteX30" fmla="*/ 38874 w 302281"/>
                                                <a:gd name="connsiteY30" fmla="*/ 137717 h 238141"/>
                                                <a:gd name="connsiteX31" fmla="*/ 49822 w 302281"/>
                                                <a:gd name="connsiteY31" fmla="*/ 152358 h 238141"/>
                                                <a:gd name="connsiteX32" fmla="*/ 39392 w 302281"/>
                                                <a:gd name="connsiteY32" fmla="*/ 171988 h 238141"/>
                                                <a:gd name="connsiteX33" fmla="*/ 48915 w 302281"/>
                                                <a:gd name="connsiteY33" fmla="*/ 182095 h 238141"/>
                                                <a:gd name="connsiteX34" fmla="*/ 42113 w 302281"/>
                                                <a:gd name="connsiteY34" fmla="*/ 189416 h 238141"/>
                                                <a:gd name="connsiteX35" fmla="*/ 40169 w 302281"/>
                                                <a:gd name="connsiteY35" fmla="*/ 193951 h 238141"/>
                                                <a:gd name="connsiteX36" fmla="*/ 37837 w 302281"/>
                                                <a:gd name="connsiteY36" fmla="*/ 202308 h 238141"/>
                                                <a:gd name="connsiteX37" fmla="*/ 34921 w 302281"/>
                                                <a:gd name="connsiteY37" fmla="*/ 213321 h 238141"/>
                                                <a:gd name="connsiteX38" fmla="*/ 55977 w 302281"/>
                                                <a:gd name="connsiteY38" fmla="*/ 213451 h 238141"/>
                                                <a:gd name="connsiteX39" fmla="*/ 60641 w 302281"/>
                                                <a:gd name="connsiteY39" fmla="*/ 228352 h 238141"/>
                                                <a:gd name="connsiteX40" fmla="*/ 73728 w 302281"/>
                                                <a:gd name="connsiteY40" fmla="*/ 237163 h 238141"/>
                                                <a:gd name="connsiteX41" fmla="*/ 97375 w 302281"/>
                                                <a:gd name="connsiteY41" fmla="*/ 234960 h 238141"/>
                                                <a:gd name="connsiteX42" fmla="*/ 118041 w 302281"/>
                                                <a:gd name="connsiteY42" fmla="*/ 223363 h 238141"/>
                                                <a:gd name="connsiteX43" fmla="*/ 123354 w 302281"/>
                                                <a:gd name="connsiteY43" fmla="*/ 224011 h 238141"/>
                                                <a:gd name="connsiteX44" fmla="*/ 129962 w 302281"/>
                                                <a:gd name="connsiteY44" fmla="*/ 222780 h 238141"/>
                                                <a:gd name="connsiteX45" fmla="*/ 156071 w 302281"/>
                                                <a:gd name="connsiteY45" fmla="*/ 222197 h 238141"/>
                                                <a:gd name="connsiteX46" fmla="*/ 167862 w 302281"/>
                                                <a:gd name="connsiteY46" fmla="*/ 219217 h 238141"/>
                                                <a:gd name="connsiteX47" fmla="*/ 170583 w 302281"/>
                                                <a:gd name="connsiteY47" fmla="*/ 214034 h 238141"/>
                                                <a:gd name="connsiteX48" fmla="*/ 181402 w 302281"/>
                                                <a:gd name="connsiteY48" fmla="*/ 201271 h 238141"/>
                                                <a:gd name="connsiteX49" fmla="*/ 186715 w 302281"/>
                                                <a:gd name="connsiteY49" fmla="*/ 197643 h 238141"/>
                                                <a:gd name="connsiteX50" fmla="*/ 195849 w 302281"/>
                                                <a:gd name="connsiteY50" fmla="*/ 196672 h 238141"/>
                                                <a:gd name="connsiteX51" fmla="*/ 206021 w 302281"/>
                                                <a:gd name="connsiteY51" fmla="*/ 184881 h 238141"/>
                                                <a:gd name="connsiteX52" fmla="*/ 208288 w 302281"/>
                                                <a:gd name="connsiteY52" fmla="*/ 177236 h 238141"/>
                                                <a:gd name="connsiteX53" fmla="*/ 208288 w 302281"/>
                                                <a:gd name="connsiteY53" fmla="*/ 170433 h 238141"/>
                                                <a:gd name="connsiteX54" fmla="*/ 213341 w 302281"/>
                                                <a:gd name="connsiteY54" fmla="*/ 167453 h 238141"/>
                                                <a:gd name="connsiteX55" fmla="*/ 222087 w 302281"/>
                                                <a:gd name="connsiteY55" fmla="*/ 154237 h 238141"/>
                                                <a:gd name="connsiteX56" fmla="*/ 217682 w 302281"/>
                                                <a:gd name="connsiteY56" fmla="*/ 137263 h 238141"/>
                                                <a:gd name="connsiteX57" fmla="*/ 232259 w 302281"/>
                                                <a:gd name="connsiteY57" fmla="*/ 104352 h 238141"/>
                                                <a:gd name="connsiteX58" fmla="*/ 241523 w 302281"/>
                                                <a:gd name="connsiteY58" fmla="*/ 97485 h 238141"/>
                                                <a:gd name="connsiteX59" fmla="*/ 245216 w 302281"/>
                                                <a:gd name="connsiteY59" fmla="*/ 88479 h 238141"/>
                                                <a:gd name="connsiteX60" fmla="*/ 251759 w 302281"/>
                                                <a:gd name="connsiteY60" fmla="*/ 84787 h 238141"/>
                                                <a:gd name="connsiteX61" fmla="*/ 289076 w 302281"/>
                                                <a:gd name="connsiteY61" fmla="*/ 72024 h 238141"/>
                                                <a:gd name="connsiteX62" fmla="*/ 301385 w 302281"/>
                                                <a:gd name="connsiteY62" fmla="*/ 62241 h 238141"/>
                                                <a:gd name="connsiteX63" fmla="*/ 298146 w 302281"/>
                                                <a:gd name="connsiteY63" fmla="*/ 43194 h 238141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302281" h="238141">
                                                  <a:moveTo>
                                                    <a:pt x="297952" y="43065"/>
                                                  </a:moveTo>
                                                  <a:cubicBezTo>
                                                    <a:pt x="297498" y="43065"/>
                                                    <a:pt x="296980" y="43129"/>
                                                    <a:pt x="296526" y="43129"/>
                                                  </a:cubicBezTo>
                                                  <a:cubicBezTo>
                                                    <a:pt x="291343" y="43194"/>
                                                    <a:pt x="286096" y="42223"/>
                                                    <a:pt x="280913" y="42870"/>
                                                  </a:cubicBezTo>
                                                  <a:cubicBezTo>
                                                    <a:pt x="275859" y="43518"/>
                                                    <a:pt x="271130" y="45721"/>
                                                    <a:pt x="266077" y="46434"/>
                                                  </a:cubicBezTo>
                                                  <a:cubicBezTo>
                                                    <a:pt x="261024" y="47146"/>
                                                    <a:pt x="255128" y="45980"/>
                                                    <a:pt x="252537" y="41575"/>
                                                  </a:cubicBezTo>
                                                  <a:cubicBezTo>
                                                    <a:pt x="249751" y="36845"/>
                                                    <a:pt x="250982" y="29136"/>
                                                    <a:pt x="245864" y="27257"/>
                                                  </a:cubicBezTo>
                                                  <a:cubicBezTo>
                                                    <a:pt x="241588" y="25702"/>
                                                    <a:pt x="237830" y="30172"/>
                                                    <a:pt x="234008" y="32699"/>
                                                  </a:cubicBezTo>
                                                  <a:cubicBezTo>
                                                    <a:pt x="228047" y="36651"/>
                                                    <a:pt x="220274" y="36003"/>
                                                    <a:pt x="213212" y="35226"/>
                                                  </a:cubicBezTo>
                                                  <a:cubicBezTo>
                                                    <a:pt x="210556" y="34902"/>
                                                    <a:pt x="207770" y="34578"/>
                                                    <a:pt x="205567" y="33088"/>
                                                  </a:cubicBezTo>
                                                  <a:cubicBezTo>
                                                    <a:pt x="202328" y="30885"/>
                                                    <a:pt x="200643" y="26415"/>
                                                    <a:pt x="196886" y="25573"/>
                                                  </a:cubicBezTo>
                                                  <a:cubicBezTo>
                                                    <a:pt x="195137" y="25184"/>
                                                    <a:pt x="193258" y="25702"/>
                                                    <a:pt x="191509" y="25184"/>
                                                  </a:cubicBezTo>
                                                  <a:cubicBezTo>
                                                    <a:pt x="189047" y="24407"/>
                                                    <a:pt x="187621" y="21880"/>
                                                    <a:pt x="186520" y="19483"/>
                                                  </a:cubicBezTo>
                                                  <a:cubicBezTo>
                                                    <a:pt x="186196" y="18835"/>
                                                    <a:pt x="185872" y="18187"/>
                                                    <a:pt x="185548" y="17539"/>
                                                  </a:cubicBezTo>
                                                  <a:cubicBezTo>
                                                    <a:pt x="185289" y="17928"/>
                                                    <a:pt x="184965" y="18187"/>
                                                    <a:pt x="184512" y="18446"/>
                                                  </a:cubicBezTo>
                                                  <a:cubicBezTo>
                                                    <a:pt x="183669" y="18835"/>
                                                    <a:pt x="182633" y="18770"/>
                                                    <a:pt x="181661" y="18640"/>
                                                  </a:cubicBezTo>
                                                  <a:cubicBezTo>
                                                    <a:pt x="133914" y="12874"/>
                                                    <a:pt x="85778" y="10413"/>
                                                    <a:pt x="37707" y="11125"/>
                                                  </a:cubicBezTo>
                                                  <a:cubicBezTo>
                                                    <a:pt x="36671" y="5359"/>
                                                    <a:pt x="31423" y="565"/>
                                                    <a:pt x="25528" y="47"/>
                                                  </a:cubicBezTo>
                                                  <a:cubicBezTo>
                                                    <a:pt x="19697" y="-471"/>
                                                    <a:pt x="13672" y="3351"/>
                                                    <a:pt x="11663" y="8858"/>
                                                  </a:cubicBezTo>
                                                  <a:cubicBezTo>
                                                    <a:pt x="10951" y="10866"/>
                                                    <a:pt x="10562" y="13134"/>
                                                    <a:pt x="9007" y="14624"/>
                                                  </a:cubicBezTo>
                                                  <a:cubicBezTo>
                                                    <a:pt x="6999" y="16438"/>
                                                    <a:pt x="3630" y="16179"/>
                                                    <a:pt x="1557" y="17993"/>
                                                  </a:cubicBezTo>
                                                  <a:cubicBezTo>
                                                    <a:pt x="-1164" y="20390"/>
                                                    <a:pt x="2" y="25054"/>
                                                    <a:pt x="2593" y="27581"/>
                                                  </a:cubicBezTo>
                                                  <a:cubicBezTo>
                                                    <a:pt x="5185" y="30043"/>
                                                    <a:pt x="8813" y="31209"/>
                                                    <a:pt x="11858" y="33088"/>
                                                  </a:cubicBezTo>
                                                  <a:cubicBezTo>
                                                    <a:pt x="21575" y="39113"/>
                                                    <a:pt x="24037" y="50774"/>
                                                    <a:pt x="23908" y="62760"/>
                                                  </a:cubicBezTo>
                                                  <a:cubicBezTo>
                                                    <a:pt x="32654" y="61788"/>
                                                    <a:pt x="41465" y="61529"/>
                                                    <a:pt x="50211" y="62112"/>
                                                  </a:cubicBezTo>
                                                  <a:cubicBezTo>
                                                    <a:pt x="55523" y="62436"/>
                                                    <a:pt x="61808" y="63731"/>
                                                    <a:pt x="63946" y="68655"/>
                                                  </a:cubicBezTo>
                                                  <a:cubicBezTo>
                                                    <a:pt x="65695" y="72737"/>
                                                    <a:pt x="63427" y="77596"/>
                                                    <a:pt x="59993" y="80316"/>
                                                  </a:cubicBezTo>
                                                  <a:cubicBezTo>
                                                    <a:pt x="56495" y="83038"/>
                                                    <a:pt x="52025" y="84139"/>
                                                    <a:pt x="47749" y="85111"/>
                                                  </a:cubicBezTo>
                                                  <a:cubicBezTo>
                                                    <a:pt x="44380" y="92885"/>
                                                    <a:pt x="56690" y="101631"/>
                                                    <a:pt x="52478" y="108952"/>
                                                  </a:cubicBezTo>
                                                  <a:cubicBezTo>
                                                    <a:pt x="50988" y="111543"/>
                                                    <a:pt x="47749" y="112839"/>
                                                    <a:pt x="46518" y="115560"/>
                                                  </a:cubicBezTo>
                                                  <a:cubicBezTo>
                                                    <a:pt x="43991" y="120937"/>
                                                    <a:pt x="50794" y="127351"/>
                                                    <a:pt x="48397" y="132728"/>
                                                  </a:cubicBezTo>
                                                  <a:cubicBezTo>
                                                    <a:pt x="45222" y="134413"/>
                                                    <a:pt x="42048" y="136032"/>
                                                    <a:pt x="38874" y="137717"/>
                                                  </a:cubicBezTo>
                                                  <a:cubicBezTo>
                                                    <a:pt x="36412" y="143742"/>
                                                    <a:pt x="48462" y="145944"/>
                                                    <a:pt x="49822" y="152358"/>
                                                  </a:cubicBezTo>
                                                  <a:cubicBezTo>
                                                    <a:pt x="51442" y="160068"/>
                                                    <a:pt x="36282" y="164732"/>
                                                    <a:pt x="39392" y="171988"/>
                                                  </a:cubicBezTo>
                                                  <a:cubicBezTo>
                                                    <a:pt x="41335" y="176458"/>
                                                    <a:pt x="49304" y="177301"/>
                                                    <a:pt x="48915" y="182095"/>
                                                  </a:cubicBezTo>
                                                  <a:cubicBezTo>
                                                    <a:pt x="48656" y="185529"/>
                                                    <a:pt x="44250" y="186695"/>
                                                    <a:pt x="42113" y="189416"/>
                                                  </a:cubicBezTo>
                                                  <a:cubicBezTo>
                                                    <a:pt x="41076" y="190711"/>
                                                    <a:pt x="40622" y="192331"/>
                                                    <a:pt x="40169" y="193951"/>
                                                  </a:cubicBezTo>
                                                  <a:cubicBezTo>
                                                    <a:pt x="39392" y="196736"/>
                                                    <a:pt x="38614" y="199522"/>
                                                    <a:pt x="37837" y="202308"/>
                                                  </a:cubicBezTo>
                                                  <a:cubicBezTo>
                                                    <a:pt x="36800" y="205936"/>
                                                    <a:pt x="35828" y="209629"/>
                                                    <a:pt x="34921" y="213321"/>
                                                  </a:cubicBezTo>
                                                  <a:cubicBezTo>
                                                    <a:pt x="41853" y="212091"/>
                                                    <a:pt x="49045" y="212091"/>
                                                    <a:pt x="55977" y="213451"/>
                                                  </a:cubicBezTo>
                                                  <a:cubicBezTo>
                                                    <a:pt x="55977" y="218699"/>
                                                    <a:pt x="57661" y="223946"/>
                                                    <a:pt x="60641" y="228352"/>
                                                  </a:cubicBezTo>
                                                  <a:cubicBezTo>
                                                    <a:pt x="63427" y="232498"/>
                                                    <a:pt x="68804" y="236321"/>
                                                    <a:pt x="73728" y="237163"/>
                                                  </a:cubicBezTo>
                                                  <a:cubicBezTo>
                                                    <a:pt x="81697" y="238588"/>
                                                    <a:pt x="90313" y="238912"/>
                                                    <a:pt x="97375" y="234960"/>
                                                  </a:cubicBezTo>
                                                  <a:cubicBezTo>
                                                    <a:pt x="104437" y="231008"/>
                                                    <a:pt x="110008" y="222975"/>
                                                    <a:pt x="118041" y="223363"/>
                                                  </a:cubicBezTo>
                                                  <a:cubicBezTo>
                                                    <a:pt x="119791" y="223428"/>
                                                    <a:pt x="121540" y="224011"/>
                                                    <a:pt x="123354" y="224011"/>
                                                  </a:cubicBezTo>
                                                  <a:cubicBezTo>
                                                    <a:pt x="125621" y="224011"/>
                                                    <a:pt x="127759" y="223299"/>
                                                    <a:pt x="129962" y="222780"/>
                                                  </a:cubicBezTo>
                                                  <a:cubicBezTo>
                                                    <a:pt x="138449" y="220707"/>
                                                    <a:pt x="147325" y="221679"/>
                                                    <a:pt x="156071" y="222197"/>
                                                  </a:cubicBezTo>
                                                  <a:cubicBezTo>
                                                    <a:pt x="160282" y="222456"/>
                                                    <a:pt x="165141" y="222392"/>
                                                    <a:pt x="167862" y="219217"/>
                                                  </a:cubicBezTo>
                                                  <a:cubicBezTo>
                                                    <a:pt x="169158" y="217727"/>
                                                    <a:pt x="169740" y="215848"/>
                                                    <a:pt x="170583" y="214034"/>
                                                  </a:cubicBezTo>
                                                  <a:cubicBezTo>
                                                    <a:pt x="172980" y="208981"/>
                                                    <a:pt x="177256" y="205029"/>
                                                    <a:pt x="181402" y="201271"/>
                                                  </a:cubicBezTo>
                                                  <a:cubicBezTo>
                                                    <a:pt x="183022" y="199846"/>
                                                    <a:pt x="184641" y="198356"/>
                                                    <a:pt x="186715" y="197643"/>
                                                  </a:cubicBezTo>
                                                  <a:cubicBezTo>
                                                    <a:pt x="189630" y="196672"/>
                                                    <a:pt x="192869" y="197449"/>
                                                    <a:pt x="195849" y="196672"/>
                                                  </a:cubicBezTo>
                                                  <a:cubicBezTo>
                                                    <a:pt x="201097" y="195311"/>
                                                    <a:pt x="203883" y="189804"/>
                                                    <a:pt x="206021" y="184881"/>
                                                  </a:cubicBezTo>
                                                  <a:cubicBezTo>
                                                    <a:pt x="207057" y="182419"/>
                                                    <a:pt x="208159" y="179892"/>
                                                    <a:pt x="208288" y="177236"/>
                                                  </a:cubicBezTo>
                                                  <a:cubicBezTo>
                                                    <a:pt x="208353" y="174968"/>
                                                    <a:pt x="207770" y="172636"/>
                                                    <a:pt x="208288" y="170433"/>
                                                  </a:cubicBezTo>
                                                  <a:cubicBezTo>
                                                    <a:pt x="208871" y="168231"/>
                                                    <a:pt x="211398" y="166222"/>
                                                    <a:pt x="213341" y="167453"/>
                                                  </a:cubicBezTo>
                                                  <a:cubicBezTo>
                                                    <a:pt x="219172" y="166935"/>
                                                    <a:pt x="222476" y="160068"/>
                                                    <a:pt x="222087" y="154237"/>
                                                  </a:cubicBezTo>
                                                  <a:cubicBezTo>
                                                    <a:pt x="221699" y="148406"/>
                                                    <a:pt x="218848" y="143029"/>
                                                    <a:pt x="217682" y="137263"/>
                                                  </a:cubicBezTo>
                                                  <a:cubicBezTo>
                                                    <a:pt x="215090" y="124760"/>
                                                    <a:pt x="221180" y="110895"/>
                                                    <a:pt x="232259" y="104352"/>
                                                  </a:cubicBezTo>
                                                  <a:cubicBezTo>
                                                    <a:pt x="235628" y="102408"/>
                                                    <a:pt x="239580" y="100854"/>
                                                    <a:pt x="241523" y="97485"/>
                                                  </a:cubicBezTo>
                                                  <a:cubicBezTo>
                                                    <a:pt x="243208" y="94699"/>
                                                    <a:pt x="243143" y="91006"/>
                                                    <a:pt x="245216" y="88479"/>
                                                  </a:cubicBezTo>
                                                  <a:cubicBezTo>
                                                    <a:pt x="246836" y="86471"/>
                                                    <a:pt x="249362" y="85564"/>
                                                    <a:pt x="251759" y="84787"/>
                                                  </a:cubicBezTo>
                                                  <a:cubicBezTo>
                                                    <a:pt x="264198" y="80511"/>
                                                    <a:pt x="276637" y="76300"/>
                                                    <a:pt x="289076" y="72024"/>
                                                  </a:cubicBezTo>
                                                  <a:cubicBezTo>
                                                    <a:pt x="289788" y="66258"/>
                                                    <a:pt x="295619" y="61593"/>
                                                    <a:pt x="301385" y="62241"/>
                                                  </a:cubicBezTo>
                                                  <a:cubicBezTo>
                                                    <a:pt x="303912" y="56087"/>
                                                    <a:pt x="300543" y="49673"/>
                                                    <a:pt x="298146" y="43194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5" name="Freeform: Shape 2084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AB9B7979-E416-4754-B854-F6300CF98D3D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793053" y="3182822"/>
                                              <a:ext cx="79619" cy="15925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55230 w 79619"/>
                                                <a:gd name="connsiteY0" fmla="*/ 132147 h 159256"/>
                                                <a:gd name="connsiteX1" fmla="*/ 57173 w 79619"/>
                                                <a:gd name="connsiteY1" fmla="*/ 127612 h 159256"/>
                                                <a:gd name="connsiteX2" fmla="*/ 63976 w 79619"/>
                                                <a:gd name="connsiteY2" fmla="*/ 120291 h 159256"/>
                                                <a:gd name="connsiteX3" fmla="*/ 54452 w 79619"/>
                                                <a:gd name="connsiteY3" fmla="*/ 110185 h 159256"/>
                                                <a:gd name="connsiteX4" fmla="*/ 64883 w 79619"/>
                                                <a:gd name="connsiteY4" fmla="*/ 90555 h 159256"/>
                                                <a:gd name="connsiteX5" fmla="*/ 53934 w 79619"/>
                                                <a:gd name="connsiteY5" fmla="*/ 75913 h 159256"/>
                                                <a:gd name="connsiteX6" fmla="*/ 63457 w 79619"/>
                                                <a:gd name="connsiteY6" fmla="*/ 70925 h 159256"/>
                                                <a:gd name="connsiteX7" fmla="*/ 61579 w 79619"/>
                                                <a:gd name="connsiteY7" fmla="*/ 53757 h 159256"/>
                                                <a:gd name="connsiteX8" fmla="*/ 67539 w 79619"/>
                                                <a:gd name="connsiteY8" fmla="*/ 47148 h 159256"/>
                                                <a:gd name="connsiteX9" fmla="*/ 62810 w 79619"/>
                                                <a:gd name="connsiteY9" fmla="*/ 23307 h 159256"/>
                                                <a:gd name="connsiteX10" fmla="*/ 75054 w 79619"/>
                                                <a:gd name="connsiteY10" fmla="*/ 18513 h 159256"/>
                                                <a:gd name="connsiteX11" fmla="*/ 79006 w 79619"/>
                                                <a:gd name="connsiteY11" fmla="*/ 6852 h 159256"/>
                                                <a:gd name="connsiteX12" fmla="*/ 65272 w 79619"/>
                                                <a:gd name="connsiteY12" fmla="*/ 308 h 159256"/>
                                                <a:gd name="connsiteX13" fmla="*/ 38969 w 79619"/>
                                                <a:gd name="connsiteY13" fmla="*/ 956 h 159256"/>
                                                <a:gd name="connsiteX14" fmla="*/ 37738 w 79619"/>
                                                <a:gd name="connsiteY14" fmla="*/ 15857 h 159256"/>
                                                <a:gd name="connsiteX15" fmla="*/ 32166 w 79619"/>
                                                <a:gd name="connsiteY15" fmla="*/ 28879 h 159256"/>
                                                <a:gd name="connsiteX16" fmla="*/ 26530 w 79619"/>
                                                <a:gd name="connsiteY16" fmla="*/ 31988 h 159256"/>
                                                <a:gd name="connsiteX17" fmla="*/ 20829 w 79619"/>
                                                <a:gd name="connsiteY17" fmla="*/ 56866 h 159256"/>
                                                <a:gd name="connsiteX18" fmla="*/ 19274 w 79619"/>
                                                <a:gd name="connsiteY18" fmla="*/ 61272 h 159256"/>
                                                <a:gd name="connsiteX19" fmla="*/ 14804 w 79619"/>
                                                <a:gd name="connsiteY19" fmla="*/ 62567 h 159256"/>
                                                <a:gd name="connsiteX20" fmla="*/ 10722 w 79619"/>
                                                <a:gd name="connsiteY20" fmla="*/ 70407 h 159256"/>
                                                <a:gd name="connsiteX21" fmla="*/ 162 w 79619"/>
                                                <a:gd name="connsiteY21" fmla="*/ 81420 h 159256"/>
                                                <a:gd name="connsiteX22" fmla="*/ 10009 w 79619"/>
                                                <a:gd name="connsiteY22" fmla="*/ 102281 h 159256"/>
                                                <a:gd name="connsiteX23" fmla="*/ 16747 w 79619"/>
                                                <a:gd name="connsiteY23" fmla="*/ 107010 h 159256"/>
                                                <a:gd name="connsiteX24" fmla="*/ 18561 w 79619"/>
                                                <a:gd name="connsiteY24" fmla="*/ 117441 h 159256"/>
                                                <a:gd name="connsiteX25" fmla="*/ 17006 w 79619"/>
                                                <a:gd name="connsiteY25" fmla="*/ 141865 h 159256"/>
                                                <a:gd name="connsiteX26" fmla="*/ 24651 w 79619"/>
                                                <a:gd name="connsiteY26" fmla="*/ 159163 h 159256"/>
                                                <a:gd name="connsiteX27" fmla="*/ 34045 w 79619"/>
                                                <a:gd name="connsiteY27" fmla="*/ 156507 h 159256"/>
                                                <a:gd name="connsiteX28" fmla="*/ 49723 w 79619"/>
                                                <a:gd name="connsiteY28" fmla="*/ 151518 h 159256"/>
                                                <a:gd name="connsiteX29" fmla="*/ 52638 w 79619"/>
                                                <a:gd name="connsiteY29" fmla="*/ 140505 h 159256"/>
                                                <a:gd name="connsiteX30" fmla="*/ 54970 w 79619"/>
                                                <a:gd name="connsiteY30" fmla="*/ 132147 h 15925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79619" h="159256">
                                                  <a:moveTo>
                                                    <a:pt x="55230" y="132147"/>
                                                  </a:moveTo>
                                                  <a:cubicBezTo>
                                                    <a:pt x="55683" y="130528"/>
                                                    <a:pt x="56137" y="128908"/>
                                                    <a:pt x="57173" y="127612"/>
                                                  </a:cubicBezTo>
                                                  <a:cubicBezTo>
                                                    <a:pt x="59311" y="124956"/>
                                                    <a:pt x="63717" y="123725"/>
                                                    <a:pt x="63976" y="120291"/>
                                                  </a:cubicBezTo>
                                                  <a:cubicBezTo>
                                                    <a:pt x="64364" y="115497"/>
                                                    <a:pt x="56396" y="114590"/>
                                                    <a:pt x="54452" y="110185"/>
                                                  </a:cubicBezTo>
                                                  <a:cubicBezTo>
                                                    <a:pt x="51342" y="102929"/>
                                                    <a:pt x="66503" y="98329"/>
                                                    <a:pt x="64883" y="90555"/>
                                                  </a:cubicBezTo>
                                                  <a:cubicBezTo>
                                                    <a:pt x="63522" y="84206"/>
                                                    <a:pt x="51537" y="81938"/>
                                                    <a:pt x="53934" y="75913"/>
                                                  </a:cubicBezTo>
                                                  <a:cubicBezTo>
                                                    <a:pt x="57108" y="74229"/>
                                                    <a:pt x="60283" y="72609"/>
                                                    <a:pt x="63457" y="70925"/>
                                                  </a:cubicBezTo>
                                                  <a:cubicBezTo>
                                                    <a:pt x="65855" y="65483"/>
                                                    <a:pt x="59117" y="59134"/>
                                                    <a:pt x="61579" y="53757"/>
                                                  </a:cubicBezTo>
                                                  <a:cubicBezTo>
                                                    <a:pt x="62810" y="51035"/>
                                                    <a:pt x="66049" y="49740"/>
                                                    <a:pt x="67539" y="47148"/>
                                                  </a:cubicBezTo>
                                                  <a:cubicBezTo>
                                                    <a:pt x="71815" y="39828"/>
                                                    <a:pt x="59506" y="31082"/>
                                                    <a:pt x="62810" y="23307"/>
                                                  </a:cubicBezTo>
                                                  <a:cubicBezTo>
                                                    <a:pt x="67150" y="22335"/>
                                                    <a:pt x="71556" y="21234"/>
                                                    <a:pt x="75054" y="18513"/>
                                                  </a:cubicBezTo>
                                                  <a:cubicBezTo>
                                                    <a:pt x="78553" y="15792"/>
                                                    <a:pt x="80755" y="10868"/>
                                                    <a:pt x="79006" y="6852"/>
                                                  </a:cubicBezTo>
                                                  <a:cubicBezTo>
                                                    <a:pt x="76933" y="1928"/>
                                                    <a:pt x="70649" y="632"/>
                                                    <a:pt x="65272" y="308"/>
                                                  </a:cubicBezTo>
                                                  <a:cubicBezTo>
                                                    <a:pt x="56526" y="-275"/>
                                                    <a:pt x="47714" y="-16"/>
                                                    <a:pt x="38969" y="956"/>
                                                  </a:cubicBezTo>
                                                  <a:cubicBezTo>
                                                    <a:pt x="38904" y="6009"/>
                                                    <a:pt x="38450" y="11063"/>
                                                    <a:pt x="37738" y="15857"/>
                                                  </a:cubicBezTo>
                                                  <a:cubicBezTo>
                                                    <a:pt x="37025" y="20651"/>
                                                    <a:pt x="36053" y="25963"/>
                                                    <a:pt x="32166" y="28879"/>
                                                  </a:cubicBezTo>
                                                  <a:cubicBezTo>
                                                    <a:pt x="30417" y="30174"/>
                                                    <a:pt x="28344" y="30758"/>
                                                    <a:pt x="26530" y="31988"/>
                                                  </a:cubicBezTo>
                                                  <a:cubicBezTo>
                                                    <a:pt x="19144" y="36977"/>
                                                    <a:pt x="20958" y="47991"/>
                                                    <a:pt x="20829" y="56866"/>
                                                  </a:cubicBezTo>
                                                  <a:cubicBezTo>
                                                    <a:pt x="20829" y="58486"/>
                                                    <a:pt x="20569" y="60300"/>
                                                    <a:pt x="19274" y="61272"/>
                                                  </a:cubicBezTo>
                                                  <a:cubicBezTo>
                                                    <a:pt x="18043" y="62179"/>
                                                    <a:pt x="16229" y="61984"/>
                                                    <a:pt x="14804" y="62567"/>
                                                  </a:cubicBezTo>
                                                  <a:cubicBezTo>
                                                    <a:pt x="12017" y="63798"/>
                                                    <a:pt x="11564" y="67426"/>
                                                    <a:pt x="10722" y="70407"/>
                                                  </a:cubicBezTo>
                                                  <a:cubicBezTo>
                                                    <a:pt x="9232" y="75460"/>
                                                    <a:pt x="5215" y="79736"/>
                                                    <a:pt x="162" y="81420"/>
                                                  </a:cubicBezTo>
                                                  <a:cubicBezTo>
                                                    <a:pt x="-875" y="89454"/>
                                                    <a:pt x="3142" y="98005"/>
                                                    <a:pt x="10009" y="102281"/>
                                                  </a:cubicBezTo>
                                                  <a:cubicBezTo>
                                                    <a:pt x="12342" y="103771"/>
                                                    <a:pt x="15063" y="104808"/>
                                                    <a:pt x="16747" y="107010"/>
                                                  </a:cubicBezTo>
                                                  <a:cubicBezTo>
                                                    <a:pt x="18950" y="109861"/>
                                                    <a:pt x="18820" y="113878"/>
                                                    <a:pt x="18561" y="117441"/>
                                                  </a:cubicBezTo>
                                                  <a:cubicBezTo>
                                                    <a:pt x="18043" y="125604"/>
                                                    <a:pt x="17525" y="133702"/>
                                                    <a:pt x="17006" y="141865"/>
                                                  </a:cubicBezTo>
                                                  <a:cubicBezTo>
                                                    <a:pt x="16553" y="148797"/>
                                                    <a:pt x="17784" y="158062"/>
                                                    <a:pt x="24651" y="159163"/>
                                                  </a:cubicBezTo>
                                                  <a:cubicBezTo>
                                                    <a:pt x="27890" y="159681"/>
                                                    <a:pt x="31065" y="157932"/>
                                                    <a:pt x="34045" y="156507"/>
                                                  </a:cubicBezTo>
                                                  <a:cubicBezTo>
                                                    <a:pt x="38969" y="154110"/>
                                                    <a:pt x="44281" y="152425"/>
                                                    <a:pt x="49723" y="151518"/>
                                                  </a:cubicBezTo>
                                                  <a:cubicBezTo>
                                                    <a:pt x="50565" y="147825"/>
                                                    <a:pt x="51602" y="144133"/>
                                                    <a:pt x="52638" y="140505"/>
                                                  </a:cubicBezTo>
                                                  <a:cubicBezTo>
                                                    <a:pt x="53416" y="137719"/>
                                                    <a:pt x="54193" y="134933"/>
                                                    <a:pt x="54970" y="132147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DDDDDD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6" name="Freeform: Shape 2085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65B84FF-03FE-44D7-A446-2258E50FCE9F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871924" y="2579689"/>
                                              <a:ext cx="209654" cy="33082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90800 w 209654"/>
                                                <a:gd name="connsiteY0" fmla="*/ 232024 h 330822"/>
                                                <a:gd name="connsiteX1" fmla="*/ 195854 w 209654"/>
                                                <a:gd name="connsiteY1" fmla="*/ 232931 h 330822"/>
                                                <a:gd name="connsiteX2" fmla="*/ 199093 w 209654"/>
                                                <a:gd name="connsiteY2" fmla="*/ 237013 h 330822"/>
                                                <a:gd name="connsiteX3" fmla="*/ 208940 w 209654"/>
                                                <a:gd name="connsiteY3" fmla="*/ 240446 h 330822"/>
                                                <a:gd name="connsiteX4" fmla="*/ 207191 w 209654"/>
                                                <a:gd name="connsiteY4" fmla="*/ 247508 h 330822"/>
                                                <a:gd name="connsiteX5" fmla="*/ 199611 w 209654"/>
                                                <a:gd name="connsiteY5" fmla="*/ 249905 h 330822"/>
                                                <a:gd name="connsiteX6" fmla="*/ 182313 w 209654"/>
                                                <a:gd name="connsiteY6" fmla="*/ 252237 h 330822"/>
                                                <a:gd name="connsiteX7" fmla="*/ 183091 w 209654"/>
                                                <a:gd name="connsiteY7" fmla="*/ 261566 h 330822"/>
                                                <a:gd name="connsiteX8" fmla="*/ 175900 w 209654"/>
                                                <a:gd name="connsiteY8" fmla="*/ 265972 h 330822"/>
                                                <a:gd name="connsiteX9" fmla="*/ 176353 w 209654"/>
                                                <a:gd name="connsiteY9" fmla="*/ 272645 h 330822"/>
                                                <a:gd name="connsiteX10" fmla="*/ 168449 w 209654"/>
                                                <a:gd name="connsiteY10" fmla="*/ 278540 h 330822"/>
                                                <a:gd name="connsiteX11" fmla="*/ 190347 w 209654"/>
                                                <a:gd name="connsiteY11" fmla="*/ 282816 h 330822"/>
                                                <a:gd name="connsiteX12" fmla="*/ 187755 w 209654"/>
                                                <a:gd name="connsiteY12" fmla="*/ 290850 h 330822"/>
                                                <a:gd name="connsiteX13" fmla="*/ 177843 w 209654"/>
                                                <a:gd name="connsiteY13" fmla="*/ 289359 h 330822"/>
                                                <a:gd name="connsiteX14" fmla="*/ 159379 w 209654"/>
                                                <a:gd name="connsiteY14" fmla="*/ 300049 h 330822"/>
                                                <a:gd name="connsiteX15" fmla="*/ 136575 w 209654"/>
                                                <a:gd name="connsiteY15" fmla="*/ 303483 h 330822"/>
                                                <a:gd name="connsiteX16" fmla="*/ 132817 w 209654"/>
                                                <a:gd name="connsiteY16" fmla="*/ 306981 h 330822"/>
                                                <a:gd name="connsiteX17" fmla="*/ 109883 w 209654"/>
                                                <a:gd name="connsiteY17" fmla="*/ 299725 h 330822"/>
                                                <a:gd name="connsiteX18" fmla="*/ 103016 w 209654"/>
                                                <a:gd name="connsiteY18" fmla="*/ 304908 h 330822"/>
                                                <a:gd name="connsiteX19" fmla="*/ 85070 w 209654"/>
                                                <a:gd name="connsiteY19" fmla="*/ 302705 h 330822"/>
                                                <a:gd name="connsiteX20" fmla="*/ 71854 w 209654"/>
                                                <a:gd name="connsiteY20" fmla="*/ 303159 h 330822"/>
                                                <a:gd name="connsiteX21" fmla="*/ 63302 w 209654"/>
                                                <a:gd name="connsiteY21" fmla="*/ 306981 h 330822"/>
                                                <a:gd name="connsiteX22" fmla="*/ 60970 w 209654"/>
                                                <a:gd name="connsiteY22" fmla="*/ 312099 h 330822"/>
                                                <a:gd name="connsiteX23" fmla="*/ 55592 w 209654"/>
                                                <a:gd name="connsiteY23" fmla="*/ 315922 h 330822"/>
                                                <a:gd name="connsiteX24" fmla="*/ 23718 w 209654"/>
                                                <a:gd name="connsiteY24" fmla="*/ 330822 h 330822"/>
                                                <a:gd name="connsiteX25" fmla="*/ 22941 w 209654"/>
                                                <a:gd name="connsiteY25" fmla="*/ 319355 h 330822"/>
                                                <a:gd name="connsiteX26" fmla="*/ 35055 w 209654"/>
                                                <a:gd name="connsiteY26" fmla="*/ 307176 h 330822"/>
                                                <a:gd name="connsiteX27" fmla="*/ 42052 w 209654"/>
                                                <a:gd name="connsiteY27" fmla="*/ 307240 h 330822"/>
                                                <a:gd name="connsiteX28" fmla="*/ 50410 w 209654"/>
                                                <a:gd name="connsiteY28" fmla="*/ 294866 h 330822"/>
                                                <a:gd name="connsiteX29" fmla="*/ 55010 w 209654"/>
                                                <a:gd name="connsiteY29" fmla="*/ 290331 h 330822"/>
                                                <a:gd name="connsiteX30" fmla="*/ 59933 w 209654"/>
                                                <a:gd name="connsiteY30" fmla="*/ 290072 h 330822"/>
                                                <a:gd name="connsiteX31" fmla="*/ 78332 w 209654"/>
                                                <a:gd name="connsiteY31" fmla="*/ 290396 h 330822"/>
                                                <a:gd name="connsiteX32" fmla="*/ 89799 w 209654"/>
                                                <a:gd name="connsiteY32" fmla="*/ 277763 h 330822"/>
                                                <a:gd name="connsiteX33" fmla="*/ 87532 w 209654"/>
                                                <a:gd name="connsiteY33" fmla="*/ 272904 h 330822"/>
                                                <a:gd name="connsiteX34" fmla="*/ 68550 w 209654"/>
                                                <a:gd name="connsiteY34" fmla="*/ 278799 h 330822"/>
                                                <a:gd name="connsiteX35" fmla="*/ 65699 w 209654"/>
                                                <a:gd name="connsiteY35" fmla="*/ 272062 h 330822"/>
                                                <a:gd name="connsiteX36" fmla="*/ 57666 w 209654"/>
                                                <a:gd name="connsiteY36" fmla="*/ 271219 h 330822"/>
                                                <a:gd name="connsiteX37" fmla="*/ 43801 w 209654"/>
                                                <a:gd name="connsiteY37" fmla="*/ 272256 h 330822"/>
                                                <a:gd name="connsiteX38" fmla="*/ 29419 w 209654"/>
                                                <a:gd name="connsiteY38" fmla="*/ 270636 h 330822"/>
                                                <a:gd name="connsiteX39" fmla="*/ 24949 w 209654"/>
                                                <a:gd name="connsiteY39" fmla="*/ 258457 h 330822"/>
                                                <a:gd name="connsiteX40" fmla="*/ 40821 w 209654"/>
                                                <a:gd name="connsiteY40" fmla="*/ 252367 h 330822"/>
                                                <a:gd name="connsiteX41" fmla="*/ 49632 w 209654"/>
                                                <a:gd name="connsiteY41" fmla="*/ 249516 h 330822"/>
                                                <a:gd name="connsiteX42" fmla="*/ 58508 w 209654"/>
                                                <a:gd name="connsiteY42" fmla="*/ 242195 h 330822"/>
                                                <a:gd name="connsiteX43" fmla="*/ 46911 w 209654"/>
                                                <a:gd name="connsiteY43" fmla="*/ 238438 h 330822"/>
                                                <a:gd name="connsiteX44" fmla="*/ 40692 w 209654"/>
                                                <a:gd name="connsiteY44" fmla="*/ 226971 h 330822"/>
                                                <a:gd name="connsiteX45" fmla="*/ 46717 w 209654"/>
                                                <a:gd name="connsiteY45" fmla="*/ 214273 h 330822"/>
                                                <a:gd name="connsiteX46" fmla="*/ 52418 w 209654"/>
                                                <a:gd name="connsiteY46" fmla="*/ 213625 h 330822"/>
                                                <a:gd name="connsiteX47" fmla="*/ 58249 w 209654"/>
                                                <a:gd name="connsiteY47" fmla="*/ 210450 h 330822"/>
                                                <a:gd name="connsiteX48" fmla="*/ 60905 w 209654"/>
                                                <a:gd name="connsiteY48" fmla="*/ 218419 h 330822"/>
                                                <a:gd name="connsiteX49" fmla="*/ 77814 w 209654"/>
                                                <a:gd name="connsiteY49" fmla="*/ 215439 h 330822"/>
                                                <a:gd name="connsiteX50" fmla="*/ 80082 w 209654"/>
                                                <a:gd name="connsiteY50" fmla="*/ 214532 h 330822"/>
                                                <a:gd name="connsiteX51" fmla="*/ 80988 w 209654"/>
                                                <a:gd name="connsiteY51" fmla="*/ 212070 h 330822"/>
                                                <a:gd name="connsiteX52" fmla="*/ 86236 w 209654"/>
                                                <a:gd name="connsiteY52" fmla="*/ 175984 h 330822"/>
                                                <a:gd name="connsiteX53" fmla="*/ 69392 w 209654"/>
                                                <a:gd name="connsiteY53" fmla="*/ 170283 h 330822"/>
                                                <a:gd name="connsiteX54" fmla="*/ 74704 w 209654"/>
                                                <a:gd name="connsiteY54" fmla="*/ 158751 h 330822"/>
                                                <a:gd name="connsiteX55" fmla="*/ 77879 w 209654"/>
                                                <a:gd name="connsiteY55" fmla="*/ 146896 h 330822"/>
                                                <a:gd name="connsiteX56" fmla="*/ 61488 w 209654"/>
                                                <a:gd name="connsiteY56" fmla="*/ 142749 h 330822"/>
                                                <a:gd name="connsiteX57" fmla="*/ 56370 w 209654"/>
                                                <a:gd name="connsiteY57" fmla="*/ 152467 h 330822"/>
                                                <a:gd name="connsiteX58" fmla="*/ 44579 w 209654"/>
                                                <a:gd name="connsiteY58" fmla="*/ 154022 h 330822"/>
                                                <a:gd name="connsiteX59" fmla="*/ 33047 w 209654"/>
                                                <a:gd name="connsiteY59" fmla="*/ 151301 h 330822"/>
                                                <a:gd name="connsiteX60" fmla="*/ 31945 w 209654"/>
                                                <a:gd name="connsiteY60" fmla="*/ 141000 h 330822"/>
                                                <a:gd name="connsiteX61" fmla="*/ 42117 w 209654"/>
                                                <a:gd name="connsiteY61" fmla="*/ 133355 h 330822"/>
                                                <a:gd name="connsiteX62" fmla="*/ 41469 w 209654"/>
                                                <a:gd name="connsiteY62" fmla="*/ 118066 h 330822"/>
                                                <a:gd name="connsiteX63" fmla="*/ 41923 w 209654"/>
                                                <a:gd name="connsiteY63" fmla="*/ 105109 h 330822"/>
                                                <a:gd name="connsiteX64" fmla="*/ 32464 w 209654"/>
                                                <a:gd name="connsiteY64" fmla="*/ 108219 h 330822"/>
                                                <a:gd name="connsiteX65" fmla="*/ 28901 w 209654"/>
                                                <a:gd name="connsiteY65" fmla="*/ 119038 h 330822"/>
                                                <a:gd name="connsiteX66" fmla="*/ 19960 w 209654"/>
                                                <a:gd name="connsiteY66" fmla="*/ 124091 h 330822"/>
                                                <a:gd name="connsiteX67" fmla="*/ 16527 w 209654"/>
                                                <a:gd name="connsiteY67" fmla="*/ 106729 h 330822"/>
                                                <a:gd name="connsiteX68" fmla="*/ 5060 w 209654"/>
                                                <a:gd name="connsiteY68" fmla="*/ 96687 h 330822"/>
                                                <a:gd name="connsiteX69" fmla="*/ 2079 w 209654"/>
                                                <a:gd name="connsiteY69" fmla="*/ 83794 h 330822"/>
                                                <a:gd name="connsiteX70" fmla="*/ 11020 w 209654"/>
                                                <a:gd name="connsiteY70" fmla="*/ 63711 h 330822"/>
                                                <a:gd name="connsiteX71" fmla="*/ 15490 w 209654"/>
                                                <a:gd name="connsiteY71" fmla="*/ 53345 h 330822"/>
                                                <a:gd name="connsiteX72" fmla="*/ 17758 w 209654"/>
                                                <a:gd name="connsiteY72" fmla="*/ 48162 h 330822"/>
                                                <a:gd name="connsiteX73" fmla="*/ 28123 w 209654"/>
                                                <a:gd name="connsiteY73" fmla="*/ 23997 h 330822"/>
                                                <a:gd name="connsiteX74" fmla="*/ 34926 w 209654"/>
                                                <a:gd name="connsiteY74" fmla="*/ 12595 h 330822"/>
                                                <a:gd name="connsiteX75" fmla="*/ 47170 w 209654"/>
                                                <a:gd name="connsiteY75" fmla="*/ 10781 h 330822"/>
                                                <a:gd name="connsiteX76" fmla="*/ 49697 w 209654"/>
                                                <a:gd name="connsiteY76" fmla="*/ 12724 h 330822"/>
                                                <a:gd name="connsiteX77" fmla="*/ 66865 w 209654"/>
                                                <a:gd name="connsiteY77" fmla="*/ 6635 h 330822"/>
                                                <a:gd name="connsiteX78" fmla="*/ 77814 w 209654"/>
                                                <a:gd name="connsiteY78" fmla="*/ 545 h 330822"/>
                                                <a:gd name="connsiteX79" fmla="*/ 74056 w 209654"/>
                                                <a:gd name="connsiteY79" fmla="*/ 12465 h 330822"/>
                                                <a:gd name="connsiteX80" fmla="*/ 70234 w 209654"/>
                                                <a:gd name="connsiteY80" fmla="*/ 24386 h 330822"/>
                                                <a:gd name="connsiteX81" fmla="*/ 56046 w 209654"/>
                                                <a:gd name="connsiteY81" fmla="*/ 30540 h 330822"/>
                                                <a:gd name="connsiteX82" fmla="*/ 51770 w 209654"/>
                                                <a:gd name="connsiteY82" fmla="*/ 44405 h 330822"/>
                                                <a:gd name="connsiteX83" fmla="*/ 68550 w 209654"/>
                                                <a:gd name="connsiteY83" fmla="*/ 43303 h 330822"/>
                                                <a:gd name="connsiteX84" fmla="*/ 116232 w 209654"/>
                                                <a:gd name="connsiteY84" fmla="*/ 45506 h 330822"/>
                                                <a:gd name="connsiteX85" fmla="*/ 103728 w 209654"/>
                                                <a:gd name="connsiteY85" fmla="*/ 58010 h 330822"/>
                                                <a:gd name="connsiteX86" fmla="*/ 101526 w 209654"/>
                                                <a:gd name="connsiteY86" fmla="*/ 64294 h 330822"/>
                                                <a:gd name="connsiteX87" fmla="*/ 94464 w 209654"/>
                                                <a:gd name="connsiteY87" fmla="*/ 67209 h 330822"/>
                                                <a:gd name="connsiteX88" fmla="*/ 89086 w 209654"/>
                                                <a:gd name="connsiteY88" fmla="*/ 76992 h 330822"/>
                                                <a:gd name="connsiteX89" fmla="*/ 83061 w 209654"/>
                                                <a:gd name="connsiteY89" fmla="*/ 99278 h 330822"/>
                                                <a:gd name="connsiteX90" fmla="*/ 81183 w 209654"/>
                                                <a:gd name="connsiteY90" fmla="*/ 116511 h 330822"/>
                                                <a:gd name="connsiteX91" fmla="*/ 109041 w 209654"/>
                                                <a:gd name="connsiteY91" fmla="*/ 116382 h 330822"/>
                                                <a:gd name="connsiteX92" fmla="*/ 107939 w 209654"/>
                                                <a:gd name="connsiteY92" fmla="*/ 131541 h 330822"/>
                                                <a:gd name="connsiteX93" fmla="*/ 113705 w 209654"/>
                                                <a:gd name="connsiteY93" fmla="*/ 134522 h 330822"/>
                                                <a:gd name="connsiteX94" fmla="*/ 126403 w 209654"/>
                                                <a:gd name="connsiteY94" fmla="*/ 154994 h 330822"/>
                                                <a:gd name="connsiteX95" fmla="*/ 126274 w 209654"/>
                                                <a:gd name="connsiteY95" fmla="*/ 162703 h 330822"/>
                                                <a:gd name="connsiteX96" fmla="*/ 131716 w 209654"/>
                                                <a:gd name="connsiteY96" fmla="*/ 167109 h 330822"/>
                                                <a:gd name="connsiteX97" fmla="*/ 135149 w 209654"/>
                                                <a:gd name="connsiteY97" fmla="*/ 166202 h 330822"/>
                                                <a:gd name="connsiteX98" fmla="*/ 137676 w 209654"/>
                                                <a:gd name="connsiteY98" fmla="*/ 172551 h 330822"/>
                                                <a:gd name="connsiteX99" fmla="*/ 144479 w 209654"/>
                                                <a:gd name="connsiteY99" fmla="*/ 180973 h 330822"/>
                                                <a:gd name="connsiteX100" fmla="*/ 147329 w 209654"/>
                                                <a:gd name="connsiteY100" fmla="*/ 190626 h 330822"/>
                                                <a:gd name="connsiteX101" fmla="*/ 155233 w 209654"/>
                                                <a:gd name="connsiteY101" fmla="*/ 193153 h 330822"/>
                                                <a:gd name="connsiteX102" fmla="*/ 161258 w 209654"/>
                                                <a:gd name="connsiteY102" fmla="*/ 232737 h 330822"/>
                                                <a:gd name="connsiteX103" fmla="*/ 190541 w 209654"/>
                                                <a:gd name="connsiteY103" fmla="*/ 232218 h 33082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  <a:cxn ang="0">
                                                  <a:pos x="connsiteX48" y="connsiteY48"/>
                                                </a:cxn>
                                                <a:cxn ang="0">
                                                  <a:pos x="connsiteX49" y="connsiteY49"/>
                                                </a:cxn>
                                                <a:cxn ang="0">
                                                  <a:pos x="connsiteX50" y="connsiteY50"/>
                                                </a:cxn>
                                                <a:cxn ang="0">
                                                  <a:pos x="connsiteX51" y="connsiteY51"/>
                                                </a:cxn>
                                                <a:cxn ang="0">
                                                  <a:pos x="connsiteX52" y="connsiteY52"/>
                                                </a:cxn>
                                                <a:cxn ang="0">
                                                  <a:pos x="connsiteX53" y="connsiteY53"/>
                                                </a:cxn>
                                                <a:cxn ang="0">
                                                  <a:pos x="connsiteX54" y="connsiteY54"/>
                                                </a:cxn>
                                                <a:cxn ang="0">
                                                  <a:pos x="connsiteX55" y="connsiteY55"/>
                                                </a:cxn>
                                                <a:cxn ang="0">
                                                  <a:pos x="connsiteX56" y="connsiteY56"/>
                                                </a:cxn>
                                                <a:cxn ang="0">
                                                  <a:pos x="connsiteX57" y="connsiteY57"/>
                                                </a:cxn>
                                                <a:cxn ang="0">
                                                  <a:pos x="connsiteX58" y="connsiteY58"/>
                                                </a:cxn>
                                                <a:cxn ang="0">
                                                  <a:pos x="connsiteX59" y="connsiteY59"/>
                                                </a:cxn>
                                                <a:cxn ang="0">
                                                  <a:pos x="connsiteX60" y="connsiteY60"/>
                                                </a:cxn>
                                                <a:cxn ang="0">
                                                  <a:pos x="connsiteX61" y="connsiteY61"/>
                                                </a:cxn>
                                                <a:cxn ang="0">
                                                  <a:pos x="connsiteX62" y="connsiteY62"/>
                                                </a:cxn>
                                                <a:cxn ang="0">
                                                  <a:pos x="connsiteX63" y="connsiteY63"/>
                                                </a:cxn>
                                                <a:cxn ang="0">
                                                  <a:pos x="connsiteX64" y="connsiteY64"/>
                                                </a:cxn>
                                                <a:cxn ang="0">
                                                  <a:pos x="connsiteX65" y="connsiteY65"/>
                                                </a:cxn>
                                                <a:cxn ang="0">
                                                  <a:pos x="connsiteX66" y="connsiteY66"/>
                                                </a:cxn>
                                                <a:cxn ang="0">
                                                  <a:pos x="connsiteX67" y="connsiteY67"/>
                                                </a:cxn>
                                                <a:cxn ang="0">
                                                  <a:pos x="connsiteX68" y="connsiteY68"/>
                                                </a:cxn>
                                                <a:cxn ang="0">
                                                  <a:pos x="connsiteX69" y="connsiteY69"/>
                                                </a:cxn>
                                                <a:cxn ang="0">
                                                  <a:pos x="connsiteX70" y="connsiteY70"/>
                                                </a:cxn>
                                                <a:cxn ang="0">
                                                  <a:pos x="connsiteX71" y="connsiteY71"/>
                                                </a:cxn>
                                                <a:cxn ang="0">
                                                  <a:pos x="connsiteX72" y="connsiteY72"/>
                                                </a:cxn>
                                                <a:cxn ang="0">
                                                  <a:pos x="connsiteX73" y="connsiteY73"/>
                                                </a:cxn>
                                                <a:cxn ang="0">
                                                  <a:pos x="connsiteX74" y="connsiteY74"/>
                                                </a:cxn>
                                                <a:cxn ang="0">
                                                  <a:pos x="connsiteX75" y="connsiteY75"/>
                                                </a:cxn>
                                                <a:cxn ang="0">
                                                  <a:pos x="connsiteX76" y="connsiteY76"/>
                                                </a:cxn>
                                                <a:cxn ang="0">
                                                  <a:pos x="connsiteX77" y="connsiteY77"/>
                                                </a:cxn>
                                                <a:cxn ang="0">
                                                  <a:pos x="connsiteX78" y="connsiteY78"/>
                                                </a:cxn>
                                                <a:cxn ang="0">
                                                  <a:pos x="connsiteX79" y="connsiteY79"/>
                                                </a:cxn>
                                                <a:cxn ang="0">
                                                  <a:pos x="connsiteX80" y="connsiteY80"/>
                                                </a:cxn>
                                                <a:cxn ang="0">
                                                  <a:pos x="connsiteX81" y="connsiteY81"/>
                                                </a:cxn>
                                                <a:cxn ang="0">
                                                  <a:pos x="connsiteX82" y="connsiteY82"/>
                                                </a:cxn>
                                                <a:cxn ang="0">
                                                  <a:pos x="connsiteX83" y="connsiteY83"/>
                                                </a:cxn>
                                                <a:cxn ang="0">
                                                  <a:pos x="connsiteX84" y="connsiteY84"/>
                                                </a:cxn>
                                                <a:cxn ang="0">
                                                  <a:pos x="connsiteX85" y="connsiteY85"/>
                                                </a:cxn>
                                                <a:cxn ang="0">
                                                  <a:pos x="connsiteX86" y="connsiteY86"/>
                                                </a:cxn>
                                                <a:cxn ang="0">
                                                  <a:pos x="connsiteX87" y="connsiteY87"/>
                                                </a:cxn>
                                                <a:cxn ang="0">
                                                  <a:pos x="connsiteX88" y="connsiteY88"/>
                                                </a:cxn>
                                                <a:cxn ang="0">
                                                  <a:pos x="connsiteX89" y="connsiteY89"/>
                                                </a:cxn>
                                                <a:cxn ang="0">
                                                  <a:pos x="connsiteX90" y="connsiteY90"/>
                                                </a:cxn>
                                                <a:cxn ang="0">
                                                  <a:pos x="connsiteX91" y="connsiteY91"/>
                                                </a:cxn>
                                                <a:cxn ang="0">
                                                  <a:pos x="connsiteX92" y="connsiteY92"/>
                                                </a:cxn>
                                                <a:cxn ang="0">
                                                  <a:pos x="connsiteX93" y="connsiteY93"/>
                                                </a:cxn>
                                                <a:cxn ang="0">
                                                  <a:pos x="connsiteX94" y="connsiteY94"/>
                                                </a:cxn>
                                                <a:cxn ang="0">
                                                  <a:pos x="connsiteX95" y="connsiteY95"/>
                                                </a:cxn>
                                                <a:cxn ang="0">
                                                  <a:pos x="connsiteX96" y="connsiteY96"/>
                                                </a:cxn>
                                                <a:cxn ang="0">
                                                  <a:pos x="connsiteX97" y="connsiteY97"/>
                                                </a:cxn>
                                                <a:cxn ang="0">
                                                  <a:pos x="connsiteX98" y="connsiteY98"/>
                                                </a:cxn>
                                                <a:cxn ang="0">
                                                  <a:pos x="connsiteX99" y="connsiteY99"/>
                                                </a:cxn>
                                                <a:cxn ang="0">
                                                  <a:pos x="connsiteX100" y="connsiteY100"/>
                                                </a:cxn>
                                                <a:cxn ang="0">
                                                  <a:pos x="connsiteX101" y="connsiteY101"/>
                                                </a:cxn>
                                                <a:cxn ang="0">
                                                  <a:pos x="connsiteX102" y="connsiteY102"/>
                                                </a:cxn>
                                                <a:cxn ang="0">
                                                  <a:pos x="connsiteX103" y="connsiteY103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09654" h="330822">
                                                  <a:moveTo>
                                                    <a:pt x="190800" y="232024"/>
                                                  </a:moveTo>
                                                  <a:cubicBezTo>
                                                    <a:pt x="192549" y="232024"/>
                                                    <a:pt x="194363" y="232024"/>
                                                    <a:pt x="195854" y="232931"/>
                                                  </a:cubicBezTo>
                                                  <a:cubicBezTo>
                                                    <a:pt x="197344" y="233903"/>
                                                    <a:pt x="198056" y="235652"/>
                                                    <a:pt x="199093" y="237013"/>
                                                  </a:cubicBezTo>
                                                  <a:cubicBezTo>
                                                    <a:pt x="201360" y="239928"/>
                                                    <a:pt x="205377" y="241353"/>
                                                    <a:pt x="208940" y="240446"/>
                                                  </a:cubicBezTo>
                                                  <a:cubicBezTo>
                                                    <a:pt x="210495" y="242649"/>
                                                    <a:pt x="209329" y="245888"/>
                                                    <a:pt x="207191" y="247508"/>
                                                  </a:cubicBezTo>
                                                  <a:cubicBezTo>
                                                    <a:pt x="205053" y="249128"/>
                                                    <a:pt x="202267" y="249516"/>
                                                    <a:pt x="199611" y="249905"/>
                                                  </a:cubicBezTo>
                                                  <a:cubicBezTo>
                                                    <a:pt x="193845" y="250682"/>
                                                    <a:pt x="188079" y="251460"/>
                                                    <a:pt x="182313" y="252237"/>
                                                  </a:cubicBezTo>
                                                  <a:cubicBezTo>
                                                    <a:pt x="183155" y="255282"/>
                                                    <a:pt x="183998" y="258521"/>
                                                    <a:pt x="183091" y="261566"/>
                                                  </a:cubicBezTo>
                                                  <a:cubicBezTo>
                                                    <a:pt x="182184" y="264611"/>
                                                    <a:pt x="178880" y="267138"/>
                                                    <a:pt x="175900" y="265972"/>
                                                  </a:cubicBezTo>
                                                  <a:cubicBezTo>
                                                    <a:pt x="176029" y="268175"/>
                                                    <a:pt x="176223" y="270377"/>
                                                    <a:pt x="176353" y="272645"/>
                                                  </a:cubicBezTo>
                                                  <a:cubicBezTo>
                                                    <a:pt x="172725" y="271997"/>
                                                    <a:pt x="168903" y="274912"/>
                                                    <a:pt x="168449" y="278540"/>
                                                  </a:cubicBezTo>
                                                  <a:lnTo>
                                                    <a:pt x="190347" y="282816"/>
                                                  </a:lnTo>
                                                  <a:cubicBezTo>
                                                    <a:pt x="192938" y="285019"/>
                                                    <a:pt x="190995" y="289748"/>
                                                    <a:pt x="187755" y="290850"/>
                                                  </a:cubicBezTo>
                                                  <a:cubicBezTo>
                                                    <a:pt x="184516" y="291951"/>
                                                    <a:pt x="181017" y="290655"/>
                                                    <a:pt x="177843" y="289359"/>
                                                  </a:cubicBezTo>
                                                  <a:cubicBezTo>
                                                    <a:pt x="177519" y="297328"/>
                                                    <a:pt x="167283" y="300503"/>
                                                    <a:pt x="159379" y="300049"/>
                                                  </a:cubicBezTo>
                                                  <a:cubicBezTo>
                                                    <a:pt x="151475" y="299596"/>
                                                    <a:pt x="142276" y="297976"/>
                                                    <a:pt x="136575" y="303483"/>
                                                  </a:cubicBezTo>
                                                  <a:cubicBezTo>
                                                    <a:pt x="135344" y="304649"/>
                                                    <a:pt x="134307" y="306139"/>
                                                    <a:pt x="132817" y="306981"/>
                                                  </a:cubicBezTo>
                                                  <a:cubicBezTo>
                                                    <a:pt x="125496" y="311192"/>
                                                    <a:pt x="117851" y="296810"/>
                                                    <a:pt x="109883" y="299725"/>
                                                  </a:cubicBezTo>
                                                  <a:cubicBezTo>
                                                    <a:pt x="107162" y="300697"/>
                                                    <a:pt x="105542" y="303483"/>
                                                    <a:pt x="103016" y="304908"/>
                                                  </a:cubicBezTo>
                                                  <a:cubicBezTo>
                                                    <a:pt x="97638" y="308018"/>
                                                    <a:pt x="91160" y="303936"/>
                                                    <a:pt x="85070" y="302705"/>
                                                  </a:cubicBezTo>
                                                  <a:cubicBezTo>
                                                    <a:pt x="80729" y="301863"/>
                                                    <a:pt x="76259" y="302511"/>
                                                    <a:pt x="71854" y="303159"/>
                                                  </a:cubicBezTo>
                                                  <a:cubicBezTo>
                                                    <a:pt x="68679" y="303612"/>
                                                    <a:pt x="65116" y="304325"/>
                                                    <a:pt x="63302" y="306981"/>
                                                  </a:cubicBezTo>
                                                  <a:cubicBezTo>
                                                    <a:pt x="62266" y="308536"/>
                                                    <a:pt x="62006" y="310480"/>
                                                    <a:pt x="60970" y="312099"/>
                                                  </a:cubicBezTo>
                                                  <a:cubicBezTo>
                                                    <a:pt x="59739" y="313978"/>
                                                    <a:pt x="57601" y="315015"/>
                                                    <a:pt x="55592" y="315922"/>
                                                  </a:cubicBezTo>
                                                  <a:lnTo>
                                                    <a:pt x="23718" y="330822"/>
                                                  </a:lnTo>
                                                  <a:cubicBezTo>
                                                    <a:pt x="23459" y="327000"/>
                                                    <a:pt x="23200" y="323178"/>
                                                    <a:pt x="22941" y="319355"/>
                                                  </a:cubicBezTo>
                                                  <a:cubicBezTo>
                                                    <a:pt x="29484" y="320262"/>
                                                    <a:pt x="35963" y="313784"/>
                                                    <a:pt x="35055" y="307176"/>
                                                  </a:cubicBezTo>
                                                  <a:cubicBezTo>
                                                    <a:pt x="37388" y="307176"/>
                                                    <a:pt x="39720" y="307176"/>
                                                    <a:pt x="42052" y="307240"/>
                                                  </a:cubicBezTo>
                                                  <a:cubicBezTo>
                                                    <a:pt x="44838" y="303094"/>
                                                    <a:pt x="47624" y="298948"/>
                                                    <a:pt x="50410" y="294866"/>
                                                  </a:cubicBezTo>
                                                  <a:cubicBezTo>
                                                    <a:pt x="51641" y="293052"/>
                                                    <a:pt x="53001" y="291109"/>
                                                    <a:pt x="55010" y="290331"/>
                                                  </a:cubicBezTo>
                                                  <a:cubicBezTo>
                                                    <a:pt x="56564" y="289748"/>
                                                    <a:pt x="58313" y="289878"/>
                                                    <a:pt x="59933" y="290072"/>
                                                  </a:cubicBezTo>
                                                  <a:cubicBezTo>
                                                    <a:pt x="66023" y="290785"/>
                                                    <a:pt x="72307" y="291886"/>
                                                    <a:pt x="78332" y="290396"/>
                                                  </a:cubicBezTo>
                                                  <a:cubicBezTo>
                                                    <a:pt x="84292" y="288906"/>
                                                    <a:pt x="89994" y="283917"/>
                                                    <a:pt x="89799" y="277763"/>
                                                  </a:cubicBezTo>
                                                  <a:cubicBezTo>
                                                    <a:pt x="89799" y="275884"/>
                                                    <a:pt x="89086" y="273940"/>
                                                    <a:pt x="87532" y="272904"/>
                                                  </a:cubicBezTo>
                                                  <a:cubicBezTo>
                                                    <a:pt x="81701" y="268887"/>
                                                    <a:pt x="75028" y="281585"/>
                                                    <a:pt x="68550" y="278799"/>
                                                  </a:cubicBezTo>
                                                  <a:cubicBezTo>
                                                    <a:pt x="69845" y="276402"/>
                                                    <a:pt x="68161" y="273293"/>
                                                    <a:pt x="65699" y="272062"/>
                                                  </a:cubicBezTo>
                                                  <a:cubicBezTo>
                                                    <a:pt x="63237" y="270831"/>
                                                    <a:pt x="60386" y="271025"/>
                                                    <a:pt x="57666" y="271219"/>
                                                  </a:cubicBezTo>
                                                  <a:cubicBezTo>
                                                    <a:pt x="53066" y="271543"/>
                                                    <a:pt x="48466" y="271932"/>
                                                    <a:pt x="43801" y="272256"/>
                                                  </a:cubicBezTo>
                                                  <a:cubicBezTo>
                                                    <a:pt x="38942" y="272645"/>
                                                    <a:pt x="33760" y="272904"/>
                                                    <a:pt x="29419" y="270636"/>
                                                  </a:cubicBezTo>
                                                  <a:cubicBezTo>
                                                    <a:pt x="25078" y="268369"/>
                                                    <a:pt x="22292" y="262538"/>
                                                    <a:pt x="24949" y="258457"/>
                                                  </a:cubicBezTo>
                                                  <a:cubicBezTo>
                                                    <a:pt x="30456" y="260465"/>
                                                    <a:pt x="35638" y="255153"/>
                                                    <a:pt x="40821" y="252367"/>
                                                  </a:cubicBezTo>
                                                  <a:cubicBezTo>
                                                    <a:pt x="43542" y="250877"/>
                                                    <a:pt x="46587" y="250035"/>
                                                    <a:pt x="49632" y="249516"/>
                                                  </a:cubicBezTo>
                                                  <a:cubicBezTo>
                                                    <a:pt x="53973" y="248739"/>
                                                    <a:pt x="59868" y="246342"/>
                                                    <a:pt x="58508" y="242195"/>
                                                  </a:cubicBezTo>
                                                  <a:cubicBezTo>
                                                    <a:pt x="57147" y="238114"/>
                                                    <a:pt x="51057" y="239669"/>
                                                    <a:pt x="46911" y="238438"/>
                                                  </a:cubicBezTo>
                                                  <a:cubicBezTo>
                                                    <a:pt x="42376" y="237077"/>
                                                    <a:pt x="40044" y="231635"/>
                                                    <a:pt x="40692" y="226971"/>
                                                  </a:cubicBezTo>
                                                  <a:cubicBezTo>
                                                    <a:pt x="41275" y="222241"/>
                                                    <a:pt x="44061" y="218160"/>
                                                    <a:pt x="46717" y="214273"/>
                                                  </a:cubicBezTo>
                                                  <a:cubicBezTo>
                                                    <a:pt x="48595" y="214078"/>
                                                    <a:pt x="50474" y="213819"/>
                                                    <a:pt x="52418" y="213625"/>
                                                  </a:cubicBezTo>
                                                  <a:cubicBezTo>
                                                    <a:pt x="51511" y="210839"/>
                                                    <a:pt x="55916" y="208766"/>
                                                    <a:pt x="58249" y="210450"/>
                                                  </a:cubicBezTo>
                                                  <a:cubicBezTo>
                                                    <a:pt x="60646" y="212135"/>
                                                    <a:pt x="61035" y="215504"/>
                                                    <a:pt x="60905" y="218419"/>
                                                  </a:cubicBezTo>
                                                  <a:cubicBezTo>
                                                    <a:pt x="66541" y="217447"/>
                                                    <a:pt x="72178" y="216411"/>
                                                    <a:pt x="77814" y="215439"/>
                                                  </a:cubicBezTo>
                                                  <a:cubicBezTo>
                                                    <a:pt x="78656" y="215309"/>
                                                    <a:pt x="79498" y="215115"/>
                                                    <a:pt x="80082" y="214532"/>
                                                  </a:cubicBezTo>
                                                  <a:cubicBezTo>
                                                    <a:pt x="80729" y="213884"/>
                                                    <a:pt x="80859" y="212912"/>
                                                    <a:pt x="80988" y="212070"/>
                                                  </a:cubicBezTo>
                                                  <a:cubicBezTo>
                                                    <a:pt x="82738" y="200020"/>
                                                    <a:pt x="84487" y="188035"/>
                                                    <a:pt x="86236" y="175984"/>
                                                  </a:cubicBezTo>
                                                  <a:cubicBezTo>
                                                    <a:pt x="79757" y="177086"/>
                                                    <a:pt x="70817" y="176697"/>
                                                    <a:pt x="69392" y="170283"/>
                                                  </a:cubicBezTo>
                                                  <a:cubicBezTo>
                                                    <a:pt x="68420" y="166007"/>
                                                    <a:pt x="71854" y="162120"/>
                                                    <a:pt x="74704" y="158751"/>
                                                  </a:cubicBezTo>
                                                  <a:cubicBezTo>
                                                    <a:pt x="77555" y="155447"/>
                                                    <a:pt x="80276" y="150588"/>
                                                    <a:pt x="77879" y="146896"/>
                                                  </a:cubicBezTo>
                                                  <a:cubicBezTo>
                                                    <a:pt x="72437" y="145535"/>
                                                    <a:pt x="66930" y="144175"/>
                                                    <a:pt x="61488" y="142749"/>
                                                  </a:cubicBezTo>
                                                  <a:cubicBezTo>
                                                    <a:pt x="62719" y="146572"/>
                                                    <a:pt x="59998" y="150718"/>
                                                    <a:pt x="56370" y="152467"/>
                                                  </a:cubicBezTo>
                                                  <a:cubicBezTo>
                                                    <a:pt x="52807" y="154216"/>
                                                    <a:pt x="48595" y="154152"/>
                                                    <a:pt x="44579" y="154022"/>
                                                  </a:cubicBezTo>
                                                  <a:cubicBezTo>
                                                    <a:pt x="40562" y="153893"/>
                                                    <a:pt x="36286" y="153698"/>
                                                    <a:pt x="33047" y="151301"/>
                                                  </a:cubicBezTo>
                                                  <a:cubicBezTo>
                                                    <a:pt x="29873" y="148904"/>
                                                    <a:pt x="28706" y="143397"/>
                                                    <a:pt x="31945" y="141000"/>
                                                  </a:cubicBezTo>
                                                  <a:cubicBezTo>
                                                    <a:pt x="36222" y="143851"/>
                                                    <a:pt x="41663" y="138473"/>
                                                    <a:pt x="42117" y="133355"/>
                                                  </a:cubicBezTo>
                                                  <a:cubicBezTo>
                                                    <a:pt x="42570" y="128237"/>
                                                    <a:pt x="40497" y="123054"/>
                                                    <a:pt x="41469" y="118066"/>
                                                  </a:cubicBezTo>
                                                  <a:cubicBezTo>
                                                    <a:pt x="42376" y="113596"/>
                                                    <a:pt x="45356" y="108154"/>
                                                    <a:pt x="41923" y="105109"/>
                                                  </a:cubicBezTo>
                                                  <a:cubicBezTo>
                                                    <a:pt x="39072" y="102582"/>
                                                    <a:pt x="34343" y="104850"/>
                                                    <a:pt x="32464" y="108219"/>
                                                  </a:cubicBezTo>
                                                  <a:cubicBezTo>
                                                    <a:pt x="30585" y="111587"/>
                                                    <a:pt x="30391" y="115539"/>
                                                    <a:pt x="28901" y="119038"/>
                                                  </a:cubicBezTo>
                                                  <a:cubicBezTo>
                                                    <a:pt x="27411" y="122536"/>
                                                    <a:pt x="23459" y="125646"/>
                                                    <a:pt x="19960" y="124091"/>
                                                  </a:cubicBezTo>
                                                  <a:cubicBezTo>
                                                    <a:pt x="14259" y="121500"/>
                                                    <a:pt x="18405" y="112689"/>
                                                    <a:pt x="16527" y="106729"/>
                                                  </a:cubicBezTo>
                                                  <a:cubicBezTo>
                                                    <a:pt x="14907" y="101805"/>
                                                    <a:pt x="9335" y="99667"/>
                                                    <a:pt x="5060" y="96687"/>
                                                  </a:cubicBezTo>
                                                  <a:cubicBezTo>
                                                    <a:pt x="784" y="93707"/>
                                                    <a:pt x="-2196" y="86775"/>
                                                    <a:pt x="2079" y="83794"/>
                                                  </a:cubicBezTo>
                                                  <a:cubicBezTo>
                                                    <a:pt x="5189" y="77186"/>
                                                    <a:pt x="8104" y="70448"/>
                                                    <a:pt x="11020" y="63711"/>
                                                  </a:cubicBezTo>
                                                  <a:cubicBezTo>
                                                    <a:pt x="12510" y="60277"/>
                                                    <a:pt x="14000" y="56779"/>
                                                    <a:pt x="15490" y="53345"/>
                                                  </a:cubicBezTo>
                                                  <a:cubicBezTo>
                                                    <a:pt x="16267" y="51596"/>
                                                    <a:pt x="16980" y="49911"/>
                                                    <a:pt x="17758" y="48162"/>
                                                  </a:cubicBezTo>
                                                  <a:cubicBezTo>
                                                    <a:pt x="21256" y="40129"/>
                                                    <a:pt x="24689" y="32031"/>
                                                    <a:pt x="28123" y="23997"/>
                                                  </a:cubicBezTo>
                                                  <a:cubicBezTo>
                                                    <a:pt x="29873" y="19851"/>
                                                    <a:pt x="31622" y="15640"/>
                                                    <a:pt x="34926" y="12595"/>
                                                  </a:cubicBezTo>
                                                  <a:cubicBezTo>
                                                    <a:pt x="38230" y="9615"/>
                                                    <a:pt x="43477" y="8254"/>
                                                    <a:pt x="47170" y="10781"/>
                                                  </a:cubicBezTo>
                                                  <a:cubicBezTo>
                                                    <a:pt x="48077" y="11364"/>
                                                    <a:pt x="48790" y="12141"/>
                                                    <a:pt x="49697" y="12724"/>
                                                  </a:cubicBezTo>
                                                  <a:cubicBezTo>
                                                    <a:pt x="55269" y="16547"/>
                                                    <a:pt x="62784" y="11947"/>
                                                    <a:pt x="66865" y="6635"/>
                                                  </a:cubicBezTo>
                                                  <a:cubicBezTo>
                                                    <a:pt x="69651" y="3007"/>
                                                    <a:pt x="73797" y="-1593"/>
                                                    <a:pt x="77814" y="545"/>
                                                  </a:cubicBezTo>
                                                  <a:cubicBezTo>
                                                    <a:pt x="80859" y="4043"/>
                                                    <a:pt x="77360" y="9226"/>
                                                    <a:pt x="74056" y="12465"/>
                                                  </a:cubicBezTo>
                                                  <a:cubicBezTo>
                                                    <a:pt x="70752" y="15705"/>
                                                    <a:pt x="67254" y="20823"/>
                                                    <a:pt x="70234" y="24386"/>
                                                  </a:cubicBezTo>
                                                  <a:cubicBezTo>
                                                    <a:pt x="65245" y="25746"/>
                                                    <a:pt x="59998" y="27172"/>
                                                    <a:pt x="56046" y="30540"/>
                                                  </a:cubicBezTo>
                                                  <a:cubicBezTo>
                                                    <a:pt x="52029" y="33909"/>
                                                    <a:pt x="49632" y="39675"/>
                                                    <a:pt x="51770" y="44405"/>
                                                  </a:cubicBezTo>
                                                  <a:cubicBezTo>
                                                    <a:pt x="54750" y="51013"/>
                                                    <a:pt x="66411" y="50235"/>
                                                    <a:pt x="68550" y="43303"/>
                                                  </a:cubicBezTo>
                                                  <a:cubicBezTo>
                                                    <a:pt x="84422" y="41748"/>
                                                    <a:pt x="100554" y="42461"/>
                                                    <a:pt x="116232" y="45506"/>
                                                  </a:cubicBezTo>
                                                  <a:cubicBezTo>
                                                    <a:pt x="116556" y="52114"/>
                                                    <a:pt x="110401" y="58334"/>
                                                    <a:pt x="103728" y="58010"/>
                                                  </a:cubicBezTo>
                                                  <a:cubicBezTo>
                                                    <a:pt x="105413" y="59953"/>
                                                    <a:pt x="103728" y="63063"/>
                                                    <a:pt x="101526" y="64294"/>
                                                  </a:cubicBezTo>
                                                  <a:cubicBezTo>
                                                    <a:pt x="99323" y="65525"/>
                                                    <a:pt x="96602" y="65849"/>
                                                    <a:pt x="94464" y="67209"/>
                                                  </a:cubicBezTo>
                                                  <a:cubicBezTo>
                                                    <a:pt x="91289" y="69282"/>
                                                    <a:pt x="90058" y="73299"/>
                                                    <a:pt x="89086" y="76992"/>
                                                  </a:cubicBezTo>
                                                  <a:cubicBezTo>
                                                    <a:pt x="87078" y="84442"/>
                                                    <a:pt x="85070" y="91893"/>
                                                    <a:pt x="83061" y="99278"/>
                                                  </a:cubicBezTo>
                                                  <a:cubicBezTo>
                                                    <a:pt x="81572" y="104915"/>
                                                    <a:pt x="80017" y="110745"/>
                                                    <a:pt x="81183" y="116511"/>
                                                  </a:cubicBezTo>
                                                  <a:cubicBezTo>
                                                    <a:pt x="90447" y="115734"/>
                                                    <a:pt x="99776" y="115669"/>
                                                    <a:pt x="109041" y="116382"/>
                                                  </a:cubicBezTo>
                                                  <a:cubicBezTo>
                                                    <a:pt x="106449" y="121176"/>
                                                    <a:pt x="103988" y="127719"/>
                                                    <a:pt x="107939" y="131541"/>
                                                  </a:cubicBezTo>
                                                  <a:cubicBezTo>
                                                    <a:pt x="109494" y="133032"/>
                                                    <a:pt x="111697" y="133679"/>
                                                    <a:pt x="113705" y="134522"/>
                                                  </a:cubicBezTo>
                                                  <a:cubicBezTo>
                                                    <a:pt x="121544" y="137955"/>
                                                    <a:pt x="126857" y="146507"/>
                                                    <a:pt x="126403" y="154994"/>
                                                  </a:cubicBezTo>
                                                  <a:cubicBezTo>
                                                    <a:pt x="126274" y="157585"/>
                                                    <a:pt x="125691" y="160177"/>
                                                    <a:pt x="126274" y="162703"/>
                                                  </a:cubicBezTo>
                                                  <a:cubicBezTo>
                                                    <a:pt x="126857" y="165230"/>
                                                    <a:pt x="129189" y="167627"/>
                                                    <a:pt x="131716" y="167109"/>
                                                  </a:cubicBezTo>
                                                  <a:cubicBezTo>
                                                    <a:pt x="132882" y="166850"/>
                                                    <a:pt x="133983" y="166007"/>
                                                    <a:pt x="135149" y="166202"/>
                                                  </a:cubicBezTo>
                                                  <a:cubicBezTo>
                                                    <a:pt x="137546" y="166590"/>
                                                    <a:pt x="137222" y="170089"/>
                                                    <a:pt x="137676" y="172551"/>
                                                  </a:cubicBezTo>
                                                  <a:cubicBezTo>
                                                    <a:pt x="138324" y="176179"/>
                                                    <a:pt x="141757" y="178511"/>
                                                    <a:pt x="144479" y="180973"/>
                                                  </a:cubicBezTo>
                                                  <a:cubicBezTo>
                                                    <a:pt x="147199" y="183435"/>
                                                    <a:pt x="149467" y="187646"/>
                                                    <a:pt x="147329" y="190626"/>
                                                  </a:cubicBezTo>
                                                  <a:cubicBezTo>
                                                    <a:pt x="150179" y="190043"/>
                                                    <a:pt x="153225" y="191015"/>
                                                    <a:pt x="155233" y="193153"/>
                                                  </a:cubicBezTo>
                                                  <a:cubicBezTo>
                                                    <a:pt x="160351" y="205592"/>
                                                    <a:pt x="162489" y="219326"/>
                                                    <a:pt x="161258" y="232737"/>
                                                  </a:cubicBezTo>
                                                  <a:cubicBezTo>
                                                    <a:pt x="171041" y="232542"/>
                                                    <a:pt x="180758" y="232413"/>
                                                    <a:pt x="190541" y="23221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7" name="Freeform: Shape 2086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A9A58D6A-6076-431E-B51E-DAB632717B50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861397" y="2632052"/>
                                              <a:ext cx="16835" cy="1347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7164 w 16835"/>
                                                <a:gd name="connsiteY0" fmla="*/ 723 h 13473"/>
                                                <a:gd name="connsiteX1" fmla="*/ 2888 w 16835"/>
                                                <a:gd name="connsiteY1" fmla="*/ 3314 h 13473"/>
                                                <a:gd name="connsiteX2" fmla="*/ 1981 w 16835"/>
                                                <a:gd name="connsiteY2" fmla="*/ 5517 h 13473"/>
                                                <a:gd name="connsiteX3" fmla="*/ 103 w 16835"/>
                                                <a:gd name="connsiteY3" fmla="*/ 11866 h 13473"/>
                                                <a:gd name="connsiteX4" fmla="*/ 103 w 16835"/>
                                                <a:gd name="connsiteY4" fmla="*/ 12773 h 13473"/>
                                                <a:gd name="connsiteX5" fmla="*/ 751 w 16835"/>
                                                <a:gd name="connsiteY5" fmla="*/ 13097 h 13473"/>
                                                <a:gd name="connsiteX6" fmla="*/ 12736 w 16835"/>
                                                <a:gd name="connsiteY6" fmla="*/ 11477 h 13473"/>
                                                <a:gd name="connsiteX7" fmla="*/ 16494 w 16835"/>
                                                <a:gd name="connsiteY7" fmla="*/ 6683 h 13473"/>
                                                <a:gd name="connsiteX8" fmla="*/ 16494 w 16835"/>
                                                <a:gd name="connsiteY8" fmla="*/ 2990 h 13473"/>
                                                <a:gd name="connsiteX9" fmla="*/ 12282 w 16835"/>
                                                <a:gd name="connsiteY9" fmla="*/ 75 h 13473"/>
                                                <a:gd name="connsiteX10" fmla="*/ 6970 w 16835"/>
                                                <a:gd name="connsiteY10" fmla="*/ 788 h 1347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6835" h="13473">
                                                  <a:moveTo>
                                                    <a:pt x="7164" y="723"/>
                                                  </a:moveTo>
                                                  <a:cubicBezTo>
                                                    <a:pt x="5545" y="1241"/>
                                                    <a:pt x="3795" y="1889"/>
                                                    <a:pt x="2888" y="3314"/>
                                                  </a:cubicBezTo>
                                                  <a:cubicBezTo>
                                                    <a:pt x="2435" y="3962"/>
                                                    <a:pt x="2241" y="4740"/>
                                                    <a:pt x="1981" y="5517"/>
                                                  </a:cubicBezTo>
                                                  <a:cubicBezTo>
                                                    <a:pt x="1334" y="7655"/>
                                                    <a:pt x="751" y="9728"/>
                                                    <a:pt x="103" y="11866"/>
                                                  </a:cubicBezTo>
                                                  <a:cubicBezTo>
                                                    <a:pt x="38" y="12190"/>
                                                    <a:pt x="-92" y="12514"/>
                                                    <a:pt x="103" y="12773"/>
                                                  </a:cubicBezTo>
                                                  <a:cubicBezTo>
                                                    <a:pt x="232" y="12968"/>
                                                    <a:pt x="491" y="13032"/>
                                                    <a:pt x="751" y="13097"/>
                                                  </a:cubicBezTo>
                                                  <a:cubicBezTo>
                                                    <a:pt x="4767" y="13939"/>
                                                    <a:pt x="9108" y="13356"/>
                                                    <a:pt x="12736" y="11477"/>
                                                  </a:cubicBezTo>
                                                  <a:cubicBezTo>
                                                    <a:pt x="14485" y="10376"/>
                                                    <a:pt x="15910" y="8692"/>
                                                    <a:pt x="16494" y="6683"/>
                                                  </a:cubicBezTo>
                                                  <a:cubicBezTo>
                                                    <a:pt x="16882" y="5517"/>
                                                    <a:pt x="17012" y="4157"/>
                                                    <a:pt x="16494" y="2990"/>
                                                  </a:cubicBezTo>
                                                  <a:cubicBezTo>
                                                    <a:pt x="15845" y="1306"/>
                                                    <a:pt x="14032" y="269"/>
                                                    <a:pt x="12282" y="75"/>
                                                  </a:cubicBezTo>
                                                  <a:cubicBezTo>
                                                    <a:pt x="10533" y="-184"/>
                                                    <a:pt x="8719" y="269"/>
                                                    <a:pt x="6970" y="788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rgbClr val="666666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8" name="Freeform: Shape 2087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9E29C894-CBEE-4F56-95EC-0D4B460AC73E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847894" y="2595524"/>
                                              <a:ext cx="22574" cy="31356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21056 w 22574"/>
                                                <a:gd name="connsiteY0" fmla="*/ 1620 h 31356"/>
                                                <a:gd name="connsiteX1" fmla="*/ 20149 w 22574"/>
                                                <a:gd name="connsiteY1" fmla="*/ 324 h 31356"/>
                                                <a:gd name="connsiteX2" fmla="*/ 18788 w 22574"/>
                                                <a:gd name="connsiteY2" fmla="*/ 0 h 31356"/>
                                                <a:gd name="connsiteX3" fmla="*/ 12699 w 22574"/>
                                                <a:gd name="connsiteY3" fmla="*/ 3758 h 31356"/>
                                                <a:gd name="connsiteX4" fmla="*/ 11533 w 22574"/>
                                                <a:gd name="connsiteY4" fmla="*/ 5312 h 31356"/>
                                                <a:gd name="connsiteX5" fmla="*/ 8682 w 22574"/>
                                                <a:gd name="connsiteY5" fmla="*/ 8617 h 31356"/>
                                                <a:gd name="connsiteX6" fmla="*/ 4341 w 22574"/>
                                                <a:gd name="connsiteY6" fmla="*/ 10690 h 31356"/>
                                                <a:gd name="connsiteX7" fmla="*/ 2722 w 22574"/>
                                                <a:gd name="connsiteY7" fmla="*/ 11338 h 31356"/>
                                                <a:gd name="connsiteX8" fmla="*/ 972 w 22574"/>
                                                <a:gd name="connsiteY8" fmla="*/ 12374 h 31356"/>
                                                <a:gd name="connsiteX9" fmla="*/ 584 w 22574"/>
                                                <a:gd name="connsiteY9" fmla="*/ 17363 h 31356"/>
                                                <a:gd name="connsiteX10" fmla="*/ 1426 w 22574"/>
                                                <a:gd name="connsiteY10" fmla="*/ 18853 h 31356"/>
                                                <a:gd name="connsiteX11" fmla="*/ 2463 w 22574"/>
                                                <a:gd name="connsiteY11" fmla="*/ 20861 h 31356"/>
                                                <a:gd name="connsiteX12" fmla="*/ 2398 w 22574"/>
                                                <a:gd name="connsiteY12" fmla="*/ 25072 h 31356"/>
                                                <a:gd name="connsiteX13" fmla="*/ 2657 w 22574"/>
                                                <a:gd name="connsiteY13" fmla="*/ 30708 h 31356"/>
                                                <a:gd name="connsiteX14" fmla="*/ 2851 w 22574"/>
                                                <a:gd name="connsiteY14" fmla="*/ 31227 h 31356"/>
                                                <a:gd name="connsiteX15" fmla="*/ 3434 w 22574"/>
                                                <a:gd name="connsiteY15" fmla="*/ 31227 h 31356"/>
                                                <a:gd name="connsiteX16" fmla="*/ 4082 w 22574"/>
                                                <a:gd name="connsiteY16" fmla="*/ 31356 h 31356"/>
                                                <a:gd name="connsiteX17" fmla="*/ 10043 w 22574"/>
                                                <a:gd name="connsiteY17" fmla="*/ 28570 h 31356"/>
                                                <a:gd name="connsiteX18" fmla="*/ 12181 w 22574"/>
                                                <a:gd name="connsiteY18" fmla="*/ 22416 h 31356"/>
                                                <a:gd name="connsiteX19" fmla="*/ 12181 w 22574"/>
                                                <a:gd name="connsiteY19" fmla="*/ 21833 h 31356"/>
                                                <a:gd name="connsiteX20" fmla="*/ 12828 w 22574"/>
                                                <a:gd name="connsiteY20" fmla="*/ 21638 h 31356"/>
                                                <a:gd name="connsiteX21" fmla="*/ 13800 w 22574"/>
                                                <a:gd name="connsiteY21" fmla="*/ 21703 h 31356"/>
                                                <a:gd name="connsiteX22" fmla="*/ 14318 w 22574"/>
                                                <a:gd name="connsiteY22" fmla="*/ 21703 h 31356"/>
                                                <a:gd name="connsiteX23" fmla="*/ 19760 w 22574"/>
                                                <a:gd name="connsiteY23" fmla="*/ 19241 h 31356"/>
                                                <a:gd name="connsiteX24" fmla="*/ 22093 w 22574"/>
                                                <a:gd name="connsiteY24" fmla="*/ 13994 h 31356"/>
                                                <a:gd name="connsiteX25" fmla="*/ 21056 w 22574"/>
                                                <a:gd name="connsiteY25" fmla="*/ 1620 h 31356"/>
                                                <a:gd name="connsiteX26" fmla="*/ 20214 w 22574"/>
                                                <a:gd name="connsiteY26" fmla="*/ 13605 h 31356"/>
                                                <a:gd name="connsiteX27" fmla="*/ 18270 w 22574"/>
                                                <a:gd name="connsiteY27" fmla="*/ 18010 h 31356"/>
                                                <a:gd name="connsiteX28" fmla="*/ 14707 w 22574"/>
                                                <a:gd name="connsiteY28" fmla="*/ 19824 h 31356"/>
                                                <a:gd name="connsiteX29" fmla="*/ 13994 w 22574"/>
                                                <a:gd name="connsiteY29" fmla="*/ 19824 h 31356"/>
                                                <a:gd name="connsiteX30" fmla="*/ 12828 w 22574"/>
                                                <a:gd name="connsiteY30" fmla="*/ 19695 h 31356"/>
                                                <a:gd name="connsiteX31" fmla="*/ 10366 w 22574"/>
                                                <a:gd name="connsiteY31" fmla="*/ 21055 h 31356"/>
                                                <a:gd name="connsiteX32" fmla="*/ 10237 w 22574"/>
                                                <a:gd name="connsiteY32" fmla="*/ 22740 h 31356"/>
                                                <a:gd name="connsiteX33" fmla="*/ 8617 w 22574"/>
                                                <a:gd name="connsiteY33" fmla="*/ 27275 h 31356"/>
                                                <a:gd name="connsiteX34" fmla="*/ 4212 w 22574"/>
                                                <a:gd name="connsiteY34" fmla="*/ 29413 h 31356"/>
                                                <a:gd name="connsiteX35" fmla="*/ 4212 w 22574"/>
                                                <a:gd name="connsiteY35" fmla="*/ 25396 h 31356"/>
                                                <a:gd name="connsiteX36" fmla="*/ 4212 w 22574"/>
                                                <a:gd name="connsiteY36" fmla="*/ 20278 h 31356"/>
                                                <a:gd name="connsiteX37" fmla="*/ 2981 w 22574"/>
                                                <a:gd name="connsiteY37" fmla="*/ 17816 h 31356"/>
                                                <a:gd name="connsiteX38" fmla="*/ 2268 w 22574"/>
                                                <a:gd name="connsiteY38" fmla="*/ 16520 h 31356"/>
                                                <a:gd name="connsiteX39" fmla="*/ 2268 w 22574"/>
                                                <a:gd name="connsiteY39" fmla="*/ 13735 h 31356"/>
                                                <a:gd name="connsiteX40" fmla="*/ 3369 w 22574"/>
                                                <a:gd name="connsiteY40" fmla="*/ 13087 h 31356"/>
                                                <a:gd name="connsiteX41" fmla="*/ 4925 w 22574"/>
                                                <a:gd name="connsiteY41" fmla="*/ 12504 h 31356"/>
                                                <a:gd name="connsiteX42" fmla="*/ 9784 w 22574"/>
                                                <a:gd name="connsiteY42" fmla="*/ 10171 h 31356"/>
                                                <a:gd name="connsiteX43" fmla="*/ 13087 w 22574"/>
                                                <a:gd name="connsiteY43" fmla="*/ 6414 h 31356"/>
                                                <a:gd name="connsiteX44" fmla="*/ 14124 w 22574"/>
                                                <a:gd name="connsiteY44" fmla="*/ 4988 h 31356"/>
                                                <a:gd name="connsiteX45" fmla="*/ 18983 w 22574"/>
                                                <a:gd name="connsiteY45" fmla="*/ 1943 h 31356"/>
                                                <a:gd name="connsiteX46" fmla="*/ 19177 w 22574"/>
                                                <a:gd name="connsiteY46" fmla="*/ 2332 h 31356"/>
                                                <a:gd name="connsiteX47" fmla="*/ 20149 w 22574"/>
                                                <a:gd name="connsiteY47" fmla="*/ 13605 h 31356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  <a:cxn ang="0">
                                                  <a:pos x="connsiteX47" y="connsiteY47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2574" h="31356">
                                                  <a:moveTo>
                                                    <a:pt x="21056" y="1620"/>
                                                  </a:moveTo>
                                                  <a:cubicBezTo>
                                                    <a:pt x="20927" y="1296"/>
                                                    <a:pt x="20668" y="713"/>
                                                    <a:pt x="20149" y="324"/>
                                                  </a:cubicBezTo>
                                                  <a:cubicBezTo>
                                                    <a:pt x="19825" y="130"/>
                                                    <a:pt x="19437" y="0"/>
                                                    <a:pt x="18788" y="0"/>
                                                  </a:cubicBezTo>
                                                  <a:cubicBezTo>
                                                    <a:pt x="16651" y="65"/>
                                                    <a:pt x="14578" y="1360"/>
                                                    <a:pt x="12699" y="3758"/>
                                                  </a:cubicBezTo>
                                                  <a:cubicBezTo>
                                                    <a:pt x="12310" y="4276"/>
                                                    <a:pt x="11921" y="4794"/>
                                                    <a:pt x="11533" y="5312"/>
                                                  </a:cubicBezTo>
                                                  <a:cubicBezTo>
                                                    <a:pt x="10625" y="6543"/>
                                                    <a:pt x="9784" y="7774"/>
                                                    <a:pt x="8682" y="8617"/>
                                                  </a:cubicBezTo>
                                                  <a:cubicBezTo>
                                                    <a:pt x="7451" y="9588"/>
                                                    <a:pt x="5961" y="10107"/>
                                                    <a:pt x="4341" y="10690"/>
                                                  </a:cubicBezTo>
                                                  <a:cubicBezTo>
                                                    <a:pt x="3758" y="10884"/>
                                                    <a:pt x="3240" y="11078"/>
                                                    <a:pt x="2722" y="11338"/>
                                                  </a:cubicBezTo>
                                                  <a:cubicBezTo>
                                                    <a:pt x="2139" y="11532"/>
                                                    <a:pt x="1491" y="11856"/>
                                                    <a:pt x="972" y="12374"/>
                                                  </a:cubicBezTo>
                                                  <a:cubicBezTo>
                                                    <a:pt x="-388" y="13735"/>
                                                    <a:pt x="-129" y="15937"/>
                                                    <a:pt x="584" y="17363"/>
                                                  </a:cubicBezTo>
                                                  <a:cubicBezTo>
                                                    <a:pt x="843" y="17881"/>
                                                    <a:pt x="1102" y="18334"/>
                                                    <a:pt x="1426" y="18853"/>
                                                  </a:cubicBezTo>
                                                  <a:cubicBezTo>
                                                    <a:pt x="1815" y="19565"/>
                                                    <a:pt x="2203" y="20213"/>
                                                    <a:pt x="2463" y="20861"/>
                                                  </a:cubicBezTo>
                                                  <a:cubicBezTo>
                                                    <a:pt x="2851" y="22157"/>
                                                    <a:pt x="2592" y="23582"/>
                                                    <a:pt x="2398" y="25072"/>
                                                  </a:cubicBezTo>
                                                  <a:cubicBezTo>
                                                    <a:pt x="2074" y="26951"/>
                                                    <a:pt x="1815" y="28894"/>
                                                    <a:pt x="2657" y="30708"/>
                                                  </a:cubicBezTo>
                                                  <a:lnTo>
                                                    <a:pt x="2851" y="31227"/>
                                                  </a:lnTo>
                                                  <a:lnTo>
                                                    <a:pt x="3434" y="31227"/>
                                                  </a:lnTo>
                                                  <a:cubicBezTo>
                                                    <a:pt x="3434" y="31227"/>
                                                    <a:pt x="3888" y="31356"/>
                                                    <a:pt x="4082" y="31356"/>
                                                  </a:cubicBezTo>
                                                  <a:cubicBezTo>
                                                    <a:pt x="6285" y="31356"/>
                                                    <a:pt x="8423" y="30320"/>
                                                    <a:pt x="10043" y="28570"/>
                                                  </a:cubicBezTo>
                                                  <a:cubicBezTo>
                                                    <a:pt x="11597" y="26821"/>
                                                    <a:pt x="12375" y="24683"/>
                                                    <a:pt x="12181" y="22416"/>
                                                  </a:cubicBezTo>
                                                  <a:cubicBezTo>
                                                    <a:pt x="12181" y="22157"/>
                                                    <a:pt x="12116" y="21898"/>
                                                    <a:pt x="12181" y="21833"/>
                                                  </a:cubicBezTo>
                                                  <a:cubicBezTo>
                                                    <a:pt x="12181" y="21703"/>
                                                    <a:pt x="12634" y="21638"/>
                                                    <a:pt x="12828" y="21638"/>
                                                  </a:cubicBezTo>
                                                  <a:cubicBezTo>
                                                    <a:pt x="13152" y="21638"/>
                                                    <a:pt x="13476" y="21703"/>
                                                    <a:pt x="13800" y="21703"/>
                                                  </a:cubicBezTo>
                                                  <a:lnTo>
                                                    <a:pt x="14318" y="21703"/>
                                                  </a:lnTo>
                                                  <a:cubicBezTo>
                                                    <a:pt x="16327" y="21898"/>
                                                    <a:pt x="18335" y="20991"/>
                                                    <a:pt x="19760" y="19241"/>
                                                  </a:cubicBezTo>
                                                  <a:cubicBezTo>
                                                    <a:pt x="20862" y="17946"/>
                                                    <a:pt x="21639" y="16261"/>
                                                    <a:pt x="22093" y="13994"/>
                                                  </a:cubicBezTo>
                                                  <a:cubicBezTo>
                                                    <a:pt x="23000" y="9912"/>
                                                    <a:pt x="22611" y="5507"/>
                                                    <a:pt x="21056" y="1620"/>
                                                  </a:cubicBezTo>
                                                  <a:close/>
                                                  <a:moveTo>
                                                    <a:pt x="20214" y="13605"/>
                                                  </a:moveTo>
                                                  <a:cubicBezTo>
                                                    <a:pt x="19825" y="15484"/>
                                                    <a:pt x="19177" y="16974"/>
                                                    <a:pt x="18270" y="18010"/>
                                                  </a:cubicBezTo>
                                                  <a:cubicBezTo>
                                                    <a:pt x="17299" y="19177"/>
                                                    <a:pt x="16003" y="19824"/>
                                                    <a:pt x="14707" y="19824"/>
                                                  </a:cubicBezTo>
                                                  <a:lnTo>
                                                    <a:pt x="13994" y="19824"/>
                                                  </a:lnTo>
                                                  <a:cubicBezTo>
                                                    <a:pt x="13606" y="19760"/>
                                                    <a:pt x="13217" y="19695"/>
                                                    <a:pt x="12828" y="19695"/>
                                                  </a:cubicBezTo>
                                                  <a:cubicBezTo>
                                                    <a:pt x="11597" y="19695"/>
                                                    <a:pt x="10755" y="20148"/>
                                                    <a:pt x="10366" y="21055"/>
                                                  </a:cubicBezTo>
                                                  <a:cubicBezTo>
                                                    <a:pt x="10107" y="21638"/>
                                                    <a:pt x="10172" y="22157"/>
                                                    <a:pt x="10237" y="22740"/>
                                                  </a:cubicBezTo>
                                                  <a:cubicBezTo>
                                                    <a:pt x="10431" y="24295"/>
                                                    <a:pt x="9784" y="25914"/>
                                                    <a:pt x="8617" y="27275"/>
                                                  </a:cubicBezTo>
                                                  <a:cubicBezTo>
                                                    <a:pt x="7386" y="28570"/>
                                                    <a:pt x="5766" y="29348"/>
                                                    <a:pt x="4212" y="29413"/>
                                                  </a:cubicBezTo>
                                                  <a:cubicBezTo>
                                                    <a:pt x="3888" y="28182"/>
                                                    <a:pt x="4082" y="26821"/>
                                                    <a:pt x="4212" y="25396"/>
                                                  </a:cubicBezTo>
                                                  <a:cubicBezTo>
                                                    <a:pt x="4471" y="23711"/>
                                                    <a:pt x="4730" y="21962"/>
                                                    <a:pt x="4212" y="20278"/>
                                                  </a:cubicBezTo>
                                                  <a:cubicBezTo>
                                                    <a:pt x="3953" y="19371"/>
                                                    <a:pt x="3499" y="18593"/>
                                                    <a:pt x="2981" y="17816"/>
                                                  </a:cubicBezTo>
                                                  <a:cubicBezTo>
                                                    <a:pt x="2722" y="17427"/>
                                                    <a:pt x="2463" y="16974"/>
                                                    <a:pt x="2268" y="16520"/>
                                                  </a:cubicBezTo>
                                                  <a:cubicBezTo>
                                                    <a:pt x="1815" y="15549"/>
                                                    <a:pt x="1685" y="14382"/>
                                                    <a:pt x="2268" y="13735"/>
                                                  </a:cubicBezTo>
                                                  <a:cubicBezTo>
                                                    <a:pt x="2527" y="13475"/>
                                                    <a:pt x="2981" y="13281"/>
                                                    <a:pt x="3369" y="13087"/>
                                                  </a:cubicBezTo>
                                                  <a:lnTo>
                                                    <a:pt x="4925" y="12504"/>
                                                  </a:lnTo>
                                                  <a:cubicBezTo>
                                                    <a:pt x="6609" y="11921"/>
                                                    <a:pt x="8358" y="11338"/>
                                                    <a:pt x="9784" y="10171"/>
                                                  </a:cubicBezTo>
                                                  <a:cubicBezTo>
                                                    <a:pt x="11144" y="9070"/>
                                                    <a:pt x="12116" y="7774"/>
                                                    <a:pt x="13087" y="6414"/>
                                                  </a:cubicBezTo>
                                                  <a:cubicBezTo>
                                                    <a:pt x="13412" y="5960"/>
                                                    <a:pt x="13800" y="5442"/>
                                                    <a:pt x="14124" y="4988"/>
                                                  </a:cubicBezTo>
                                                  <a:cubicBezTo>
                                                    <a:pt x="15225" y="3628"/>
                                                    <a:pt x="16845" y="2008"/>
                                                    <a:pt x="18983" y="1943"/>
                                                  </a:cubicBezTo>
                                                  <a:cubicBezTo>
                                                    <a:pt x="19048" y="2008"/>
                                                    <a:pt x="19177" y="2267"/>
                                                    <a:pt x="19177" y="2332"/>
                                                  </a:cubicBezTo>
                                                  <a:cubicBezTo>
                                                    <a:pt x="20603" y="5831"/>
                                                    <a:pt x="20927" y="9847"/>
                                                    <a:pt x="20149" y="13605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89" name="Freeform: Shape 2088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5C933875-1A3C-4189-B892-87EC0DE60163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815868" y="2711943"/>
                                              <a:ext cx="72323" cy="57723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9652 w 72323"/>
                                                <a:gd name="connsiteY0" fmla="*/ 57724 h 57723"/>
                                                <a:gd name="connsiteX1" fmla="*/ 27038 w 72323"/>
                                                <a:gd name="connsiteY1" fmla="*/ 57724 h 57723"/>
                                                <a:gd name="connsiteX2" fmla="*/ 31120 w 72323"/>
                                                <a:gd name="connsiteY2" fmla="*/ 47877 h 57723"/>
                                                <a:gd name="connsiteX3" fmla="*/ 35655 w 72323"/>
                                                <a:gd name="connsiteY3" fmla="*/ 46905 h 57723"/>
                                                <a:gd name="connsiteX4" fmla="*/ 48741 w 72323"/>
                                                <a:gd name="connsiteY4" fmla="*/ 50986 h 57723"/>
                                                <a:gd name="connsiteX5" fmla="*/ 55414 w 72323"/>
                                                <a:gd name="connsiteY5" fmla="*/ 46127 h 57723"/>
                                                <a:gd name="connsiteX6" fmla="*/ 66169 w 72323"/>
                                                <a:gd name="connsiteY6" fmla="*/ 47034 h 57723"/>
                                                <a:gd name="connsiteX7" fmla="*/ 72323 w 72323"/>
                                                <a:gd name="connsiteY7" fmla="*/ 26173 h 57723"/>
                                                <a:gd name="connsiteX8" fmla="*/ 65067 w 72323"/>
                                                <a:gd name="connsiteY8" fmla="*/ 22416 h 57723"/>
                                                <a:gd name="connsiteX9" fmla="*/ 64160 w 72323"/>
                                                <a:gd name="connsiteY9" fmla="*/ 14771 h 57723"/>
                                                <a:gd name="connsiteX10" fmla="*/ 56775 w 72323"/>
                                                <a:gd name="connsiteY10" fmla="*/ 11143 h 57723"/>
                                                <a:gd name="connsiteX11" fmla="*/ 49324 w 72323"/>
                                                <a:gd name="connsiteY11" fmla="*/ 0 h 57723"/>
                                                <a:gd name="connsiteX12" fmla="*/ 43688 w 72323"/>
                                                <a:gd name="connsiteY12" fmla="*/ 7191 h 57723"/>
                                                <a:gd name="connsiteX13" fmla="*/ 38829 w 72323"/>
                                                <a:gd name="connsiteY13" fmla="*/ 8098 h 57723"/>
                                                <a:gd name="connsiteX14" fmla="*/ 35071 w 72323"/>
                                                <a:gd name="connsiteY14" fmla="*/ 14188 h 57723"/>
                                                <a:gd name="connsiteX15" fmla="*/ 29500 w 72323"/>
                                                <a:gd name="connsiteY15" fmla="*/ 17557 h 57723"/>
                                                <a:gd name="connsiteX16" fmla="*/ 28074 w 72323"/>
                                                <a:gd name="connsiteY16" fmla="*/ 13605 h 57723"/>
                                                <a:gd name="connsiteX17" fmla="*/ 16154 w 72323"/>
                                                <a:gd name="connsiteY17" fmla="*/ 13605 h 57723"/>
                                                <a:gd name="connsiteX18" fmla="*/ 11554 w 72323"/>
                                                <a:gd name="connsiteY18" fmla="*/ 11467 h 57723"/>
                                                <a:gd name="connsiteX19" fmla="*/ 1448 w 72323"/>
                                                <a:gd name="connsiteY19" fmla="*/ 14901 h 57723"/>
                                                <a:gd name="connsiteX20" fmla="*/ 2031 w 72323"/>
                                                <a:gd name="connsiteY20" fmla="*/ 25525 h 57723"/>
                                                <a:gd name="connsiteX21" fmla="*/ 10453 w 72323"/>
                                                <a:gd name="connsiteY21" fmla="*/ 29607 h 57723"/>
                                                <a:gd name="connsiteX22" fmla="*/ 14793 w 72323"/>
                                                <a:gd name="connsiteY22" fmla="*/ 30773 h 57723"/>
                                                <a:gd name="connsiteX23" fmla="*/ 16737 w 72323"/>
                                                <a:gd name="connsiteY23" fmla="*/ 34466 h 57723"/>
                                                <a:gd name="connsiteX24" fmla="*/ 10712 w 72323"/>
                                                <a:gd name="connsiteY24" fmla="*/ 37252 h 57723"/>
                                                <a:gd name="connsiteX25" fmla="*/ 8250 w 72323"/>
                                                <a:gd name="connsiteY25" fmla="*/ 37964 h 57723"/>
                                                <a:gd name="connsiteX26" fmla="*/ 19523 w 72323"/>
                                                <a:gd name="connsiteY26" fmla="*/ 57659 h 57723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72323" h="57723">
                                                  <a:moveTo>
                                                    <a:pt x="19652" y="57724"/>
                                                  </a:moveTo>
                                                  <a:cubicBezTo>
                                                    <a:pt x="22114" y="57724"/>
                                                    <a:pt x="24576" y="57724"/>
                                                    <a:pt x="27038" y="57724"/>
                                                  </a:cubicBezTo>
                                                  <a:cubicBezTo>
                                                    <a:pt x="29694" y="55262"/>
                                                    <a:pt x="28269" y="50144"/>
                                                    <a:pt x="31120" y="47877"/>
                                                  </a:cubicBezTo>
                                                  <a:cubicBezTo>
                                                    <a:pt x="32351" y="46905"/>
                                                    <a:pt x="34100" y="46775"/>
                                                    <a:pt x="35655" y="46905"/>
                                                  </a:cubicBezTo>
                                                  <a:cubicBezTo>
                                                    <a:pt x="40254" y="47229"/>
                                                    <a:pt x="44530" y="49107"/>
                                                    <a:pt x="48741" y="50986"/>
                                                  </a:cubicBezTo>
                                                  <a:cubicBezTo>
                                                    <a:pt x="49713" y="48395"/>
                                                    <a:pt x="52499" y="46516"/>
                                                    <a:pt x="55414" y="46127"/>
                                                  </a:cubicBezTo>
                                                  <a:cubicBezTo>
                                                    <a:pt x="58977" y="45609"/>
                                                    <a:pt x="62605" y="46646"/>
                                                    <a:pt x="66169" y="47034"/>
                                                  </a:cubicBezTo>
                                                  <a:cubicBezTo>
                                                    <a:pt x="69732" y="40685"/>
                                                    <a:pt x="71870" y="33494"/>
                                                    <a:pt x="72323" y="26173"/>
                                                  </a:cubicBezTo>
                                                  <a:cubicBezTo>
                                                    <a:pt x="69926" y="24942"/>
                                                    <a:pt x="67529" y="23711"/>
                                                    <a:pt x="65067" y="22416"/>
                                                  </a:cubicBezTo>
                                                  <a:cubicBezTo>
                                                    <a:pt x="66752" y="20213"/>
                                                    <a:pt x="66039" y="16844"/>
                                                    <a:pt x="64160" y="14771"/>
                                                  </a:cubicBezTo>
                                                  <a:cubicBezTo>
                                                    <a:pt x="62282" y="12698"/>
                                                    <a:pt x="59496" y="11791"/>
                                                    <a:pt x="56775" y="11143"/>
                                                  </a:cubicBezTo>
                                                  <a:cubicBezTo>
                                                    <a:pt x="58265" y="6219"/>
                                                    <a:pt x="54442" y="453"/>
                                                    <a:pt x="49324" y="0"/>
                                                  </a:cubicBezTo>
                                                  <a:cubicBezTo>
                                                    <a:pt x="49454" y="3304"/>
                                                    <a:pt x="46927" y="6543"/>
                                                    <a:pt x="43688" y="7191"/>
                                                  </a:cubicBezTo>
                                                  <a:cubicBezTo>
                                                    <a:pt x="42068" y="7515"/>
                                                    <a:pt x="40254" y="7321"/>
                                                    <a:pt x="38829" y="8098"/>
                                                  </a:cubicBezTo>
                                                  <a:cubicBezTo>
                                                    <a:pt x="36691" y="9200"/>
                                                    <a:pt x="36043" y="11921"/>
                                                    <a:pt x="35071" y="14188"/>
                                                  </a:cubicBezTo>
                                                  <a:cubicBezTo>
                                                    <a:pt x="34100" y="16456"/>
                                                    <a:pt x="31638" y="18658"/>
                                                    <a:pt x="29500" y="17557"/>
                                                  </a:cubicBezTo>
                                                  <a:cubicBezTo>
                                                    <a:pt x="28658" y="16391"/>
                                                    <a:pt x="28139" y="15030"/>
                                                    <a:pt x="28074" y="13605"/>
                                                  </a:cubicBezTo>
                                                  <a:cubicBezTo>
                                                    <a:pt x="24123" y="14382"/>
                                                    <a:pt x="19912" y="15095"/>
                                                    <a:pt x="16154" y="13605"/>
                                                  </a:cubicBezTo>
                                                  <a:cubicBezTo>
                                                    <a:pt x="14599" y="13022"/>
                                                    <a:pt x="13174" y="11985"/>
                                                    <a:pt x="11554" y="11467"/>
                                                  </a:cubicBezTo>
                                                  <a:cubicBezTo>
                                                    <a:pt x="7926" y="10301"/>
                                                    <a:pt x="3586" y="11791"/>
                                                    <a:pt x="1448" y="14901"/>
                                                  </a:cubicBezTo>
                                                  <a:cubicBezTo>
                                                    <a:pt x="-690" y="18075"/>
                                                    <a:pt x="-431" y="22675"/>
                                                    <a:pt x="2031" y="25525"/>
                                                  </a:cubicBezTo>
                                                  <a:cubicBezTo>
                                                    <a:pt x="4104" y="27923"/>
                                                    <a:pt x="7279" y="29089"/>
                                                    <a:pt x="10453" y="29607"/>
                                                  </a:cubicBezTo>
                                                  <a:cubicBezTo>
                                                    <a:pt x="11943" y="29866"/>
                                                    <a:pt x="13498" y="30061"/>
                                                    <a:pt x="14793" y="30773"/>
                                                  </a:cubicBezTo>
                                                  <a:cubicBezTo>
                                                    <a:pt x="16089" y="31486"/>
                                                    <a:pt x="17126" y="33041"/>
                                                    <a:pt x="16737" y="34466"/>
                                                  </a:cubicBezTo>
                                                  <a:cubicBezTo>
                                                    <a:pt x="16154" y="36798"/>
                                                    <a:pt x="13109" y="37057"/>
                                                    <a:pt x="10712" y="37252"/>
                                                  </a:cubicBezTo>
                                                  <a:cubicBezTo>
                                                    <a:pt x="9870" y="37252"/>
                                                    <a:pt x="9028" y="37576"/>
                                                    <a:pt x="8250" y="37964"/>
                                                  </a:cubicBezTo>
                                                  <a:cubicBezTo>
                                                    <a:pt x="13563" y="43147"/>
                                                    <a:pt x="16737" y="50598"/>
                                                    <a:pt x="19523" y="57659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  <p:sp>
                                          <p:nvSpPr>
                                            <p:cNvPr id="2090" name="Freeform: Shape 2089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C69776EC-685F-44E1-AECC-388A2EA36106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6766977" y="2749843"/>
                                              <a:ext cx="111366" cy="96138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111237 w 111366"/>
                                                <a:gd name="connsiteY0" fmla="*/ 29737 h 96138"/>
                                                <a:gd name="connsiteX1" fmla="*/ 110783 w 111366"/>
                                                <a:gd name="connsiteY1" fmla="*/ 27340 h 96138"/>
                                                <a:gd name="connsiteX2" fmla="*/ 107350 w 111366"/>
                                                <a:gd name="connsiteY2" fmla="*/ 26173 h 96138"/>
                                                <a:gd name="connsiteX3" fmla="*/ 100353 w 111366"/>
                                                <a:gd name="connsiteY3" fmla="*/ 20991 h 96138"/>
                                                <a:gd name="connsiteX4" fmla="*/ 97243 w 111366"/>
                                                <a:gd name="connsiteY4" fmla="*/ 14965 h 96138"/>
                                                <a:gd name="connsiteX5" fmla="*/ 97697 w 111366"/>
                                                <a:gd name="connsiteY5" fmla="*/ 12957 h 96138"/>
                                                <a:gd name="connsiteX6" fmla="*/ 84610 w 111366"/>
                                                <a:gd name="connsiteY6" fmla="*/ 8876 h 96138"/>
                                                <a:gd name="connsiteX7" fmla="*/ 80075 w 111366"/>
                                                <a:gd name="connsiteY7" fmla="*/ 9847 h 96138"/>
                                                <a:gd name="connsiteX8" fmla="*/ 75994 w 111366"/>
                                                <a:gd name="connsiteY8" fmla="*/ 19695 h 96138"/>
                                                <a:gd name="connsiteX9" fmla="*/ 68608 w 111366"/>
                                                <a:gd name="connsiteY9" fmla="*/ 19695 h 96138"/>
                                                <a:gd name="connsiteX10" fmla="*/ 57335 w 111366"/>
                                                <a:gd name="connsiteY10" fmla="*/ 0 h 96138"/>
                                                <a:gd name="connsiteX11" fmla="*/ 55197 w 111366"/>
                                                <a:gd name="connsiteY11" fmla="*/ 3369 h 96138"/>
                                                <a:gd name="connsiteX12" fmla="*/ 47229 w 111366"/>
                                                <a:gd name="connsiteY12" fmla="*/ 2980 h 96138"/>
                                                <a:gd name="connsiteX13" fmla="*/ 39649 w 111366"/>
                                                <a:gd name="connsiteY13" fmla="*/ 4341 h 96138"/>
                                                <a:gd name="connsiteX14" fmla="*/ 38288 w 111366"/>
                                                <a:gd name="connsiteY14" fmla="*/ 6414 h 96138"/>
                                                <a:gd name="connsiteX15" fmla="*/ 30449 w 111366"/>
                                                <a:gd name="connsiteY15" fmla="*/ 7321 h 96138"/>
                                                <a:gd name="connsiteX16" fmla="*/ 22804 w 111366"/>
                                                <a:gd name="connsiteY16" fmla="*/ 3563 h 96138"/>
                                                <a:gd name="connsiteX17" fmla="*/ 14253 w 111366"/>
                                                <a:gd name="connsiteY17" fmla="*/ 5960 h 96138"/>
                                                <a:gd name="connsiteX18" fmla="*/ 13410 w 111366"/>
                                                <a:gd name="connsiteY18" fmla="*/ 14577 h 96138"/>
                                                <a:gd name="connsiteX19" fmla="*/ 17622 w 111366"/>
                                                <a:gd name="connsiteY19" fmla="*/ 21250 h 96138"/>
                                                <a:gd name="connsiteX20" fmla="*/ 14447 w 111366"/>
                                                <a:gd name="connsiteY20" fmla="*/ 26303 h 96138"/>
                                                <a:gd name="connsiteX21" fmla="*/ 14317 w 111366"/>
                                                <a:gd name="connsiteY21" fmla="*/ 34401 h 96138"/>
                                                <a:gd name="connsiteX22" fmla="*/ 19371 w 111366"/>
                                                <a:gd name="connsiteY22" fmla="*/ 41139 h 96138"/>
                                                <a:gd name="connsiteX23" fmla="*/ 29413 w 111366"/>
                                                <a:gd name="connsiteY23" fmla="*/ 40945 h 96138"/>
                                                <a:gd name="connsiteX24" fmla="*/ 29801 w 111366"/>
                                                <a:gd name="connsiteY24" fmla="*/ 45998 h 96138"/>
                                                <a:gd name="connsiteX25" fmla="*/ 40620 w 111366"/>
                                                <a:gd name="connsiteY25" fmla="*/ 53319 h 96138"/>
                                                <a:gd name="connsiteX26" fmla="*/ 29283 w 111366"/>
                                                <a:gd name="connsiteY26" fmla="*/ 56688 h 96138"/>
                                                <a:gd name="connsiteX27" fmla="*/ 27210 w 111366"/>
                                                <a:gd name="connsiteY27" fmla="*/ 57659 h 96138"/>
                                                <a:gd name="connsiteX28" fmla="*/ 26238 w 111366"/>
                                                <a:gd name="connsiteY28" fmla="*/ 66535 h 96138"/>
                                                <a:gd name="connsiteX29" fmla="*/ 16974 w 111366"/>
                                                <a:gd name="connsiteY29" fmla="*/ 68219 h 96138"/>
                                                <a:gd name="connsiteX30" fmla="*/ 16002 w 111366"/>
                                                <a:gd name="connsiteY30" fmla="*/ 73467 h 96138"/>
                                                <a:gd name="connsiteX31" fmla="*/ 9588 w 111366"/>
                                                <a:gd name="connsiteY31" fmla="*/ 79881 h 96138"/>
                                                <a:gd name="connsiteX32" fmla="*/ 0 w 111366"/>
                                                <a:gd name="connsiteY32" fmla="*/ 79881 h 96138"/>
                                                <a:gd name="connsiteX33" fmla="*/ 6738 w 111366"/>
                                                <a:gd name="connsiteY33" fmla="*/ 91672 h 96138"/>
                                                <a:gd name="connsiteX34" fmla="*/ 8746 w 111366"/>
                                                <a:gd name="connsiteY34" fmla="*/ 94134 h 96138"/>
                                                <a:gd name="connsiteX35" fmla="*/ 11402 w 111366"/>
                                                <a:gd name="connsiteY35" fmla="*/ 94846 h 96138"/>
                                                <a:gd name="connsiteX36" fmla="*/ 65369 w 111366"/>
                                                <a:gd name="connsiteY36" fmla="*/ 93810 h 96138"/>
                                                <a:gd name="connsiteX37" fmla="*/ 68608 w 111366"/>
                                                <a:gd name="connsiteY37" fmla="*/ 92773 h 96138"/>
                                                <a:gd name="connsiteX38" fmla="*/ 71264 w 111366"/>
                                                <a:gd name="connsiteY38" fmla="*/ 88433 h 96138"/>
                                                <a:gd name="connsiteX39" fmla="*/ 87525 w 111366"/>
                                                <a:gd name="connsiteY39" fmla="*/ 80205 h 96138"/>
                                                <a:gd name="connsiteX40" fmla="*/ 100871 w 111366"/>
                                                <a:gd name="connsiteY40" fmla="*/ 77030 h 96138"/>
                                                <a:gd name="connsiteX41" fmla="*/ 103786 w 111366"/>
                                                <a:gd name="connsiteY41" fmla="*/ 67766 h 96138"/>
                                                <a:gd name="connsiteX42" fmla="*/ 105795 w 111366"/>
                                                <a:gd name="connsiteY42" fmla="*/ 65239 h 96138"/>
                                                <a:gd name="connsiteX43" fmla="*/ 106378 w 111366"/>
                                                <a:gd name="connsiteY43" fmla="*/ 59279 h 96138"/>
                                                <a:gd name="connsiteX44" fmla="*/ 104953 w 111366"/>
                                                <a:gd name="connsiteY44" fmla="*/ 56493 h 96138"/>
                                                <a:gd name="connsiteX45" fmla="*/ 106832 w 111366"/>
                                                <a:gd name="connsiteY45" fmla="*/ 47553 h 96138"/>
                                                <a:gd name="connsiteX46" fmla="*/ 111367 w 111366"/>
                                                <a:gd name="connsiteY46" fmla="*/ 29801 h 96138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  <a:cxn ang="0">
                                                  <a:pos x="connsiteX2" y="connsiteY2"/>
                                                </a:cxn>
                                                <a:cxn ang="0">
                                                  <a:pos x="connsiteX3" y="connsiteY3"/>
                                                </a:cxn>
                                                <a:cxn ang="0">
                                                  <a:pos x="connsiteX4" y="connsiteY4"/>
                                                </a:cxn>
                                                <a:cxn ang="0">
                                                  <a:pos x="connsiteX5" y="connsiteY5"/>
                                                </a:cxn>
                                                <a:cxn ang="0">
                                                  <a:pos x="connsiteX6" y="connsiteY6"/>
                                                </a:cxn>
                                                <a:cxn ang="0">
                                                  <a:pos x="connsiteX7" y="connsiteY7"/>
                                                </a:cxn>
                                                <a:cxn ang="0">
                                                  <a:pos x="connsiteX8" y="connsiteY8"/>
                                                </a:cxn>
                                                <a:cxn ang="0">
                                                  <a:pos x="connsiteX9" y="connsiteY9"/>
                                                </a:cxn>
                                                <a:cxn ang="0">
                                                  <a:pos x="connsiteX10" y="connsiteY10"/>
                                                </a:cxn>
                                                <a:cxn ang="0">
                                                  <a:pos x="connsiteX11" y="connsiteY11"/>
                                                </a:cxn>
                                                <a:cxn ang="0">
                                                  <a:pos x="connsiteX12" y="connsiteY12"/>
                                                </a:cxn>
                                                <a:cxn ang="0">
                                                  <a:pos x="connsiteX13" y="connsiteY13"/>
                                                </a:cxn>
                                                <a:cxn ang="0">
                                                  <a:pos x="connsiteX14" y="connsiteY14"/>
                                                </a:cxn>
                                                <a:cxn ang="0">
                                                  <a:pos x="connsiteX15" y="connsiteY15"/>
                                                </a:cxn>
                                                <a:cxn ang="0">
                                                  <a:pos x="connsiteX16" y="connsiteY16"/>
                                                </a:cxn>
                                                <a:cxn ang="0">
                                                  <a:pos x="connsiteX17" y="connsiteY17"/>
                                                </a:cxn>
                                                <a:cxn ang="0">
                                                  <a:pos x="connsiteX18" y="connsiteY18"/>
                                                </a:cxn>
                                                <a:cxn ang="0">
                                                  <a:pos x="connsiteX19" y="connsiteY19"/>
                                                </a:cxn>
                                                <a:cxn ang="0">
                                                  <a:pos x="connsiteX20" y="connsiteY20"/>
                                                </a:cxn>
                                                <a:cxn ang="0">
                                                  <a:pos x="connsiteX21" y="connsiteY21"/>
                                                </a:cxn>
                                                <a:cxn ang="0">
                                                  <a:pos x="connsiteX22" y="connsiteY22"/>
                                                </a:cxn>
                                                <a:cxn ang="0">
                                                  <a:pos x="connsiteX23" y="connsiteY23"/>
                                                </a:cxn>
                                                <a:cxn ang="0">
                                                  <a:pos x="connsiteX24" y="connsiteY24"/>
                                                </a:cxn>
                                                <a:cxn ang="0">
                                                  <a:pos x="connsiteX25" y="connsiteY25"/>
                                                </a:cxn>
                                                <a:cxn ang="0">
                                                  <a:pos x="connsiteX26" y="connsiteY26"/>
                                                </a:cxn>
                                                <a:cxn ang="0">
                                                  <a:pos x="connsiteX27" y="connsiteY27"/>
                                                </a:cxn>
                                                <a:cxn ang="0">
                                                  <a:pos x="connsiteX28" y="connsiteY28"/>
                                                </a:cxn>
                                                <a:cxn ang="0">
                                                  <a:pos x="connsiteX29" y="connsiteY29"/>
                                                </a:cxn>
                                                <a:cxn ang="0">
                                                  <a:pos x="connsiteX30" y="connsiteY30"/>
                                                </a:cxn>
                                                <a:cxn ang="0">
                                                  <a:pos x="connsiteX31" y="connsiteY31"/>
                                                </a:cxn>
                                                <a:cxn ang="0">
                                                  <a:pos x="connsiteX32" y="connsiteY32"/>
                                                </a:cxn>
                                                <a:cxn ang="0">
                                                  <a:pos x="connsiteX33" y="connsiteY33"/>
                                                </a:cxn>
                                                <a:cxn ang="0">
                                                  <a:pos x="connsiteX34" y="connsiteY34"/>
                                                </a:cxn>
                                                <a:cxn ang="0">
                                                  <a:pos x="connsiteX35" y="connsiteY35"/>
                                                </a:cxn>
                                                <a:cxn ang="0">
                                                  <a:pos x="connsiteX36" y="connsiteY36"/>
                                                </a:cxn>
                                                <a:cxn ang="0">
                                                  <a:pos x="connsiteX37" y="connsiteY37"/>
                                                </a:cxn>
                                                <a:cxn ang="0">
                                                  <a:pos x="connsiteX38" y="connsiteY38"/>
                                                </a:cxn>
                                                <a:cxn ang="0">
                                                  <a:pos x="connsiteX39" y="connsiteY39"/>
                                                </a:cxn>
                                                <a:cxn ang="0">
                                                  <a:pos x="connsiteX40" y="connsiteY40"/>
                                                </a:cxn>
                                                <a:cxn ang="0">
                                                  <a:pos x="connsiteX41" y="connsiteY41"/>
                                                </a:cxn>
                                                <a:cxn ang="0">
                                                  <a:pos x="connsiteX42" y="connsiteY42"/>
                                                </a:cxn>
                                                <a:cxn ang="0">
                                                  <a:pos x="connsiteX43" y="connsiteY43"/>
                                                </a:cxn>
                                                <a:cxn ang="0">
                                                  <a:pos x="connsiteX44" y="connsiteY44"/>
                                                </a:cxn>
                                                <a:cxn ang="0">
                                                  <a:pos x="connsiteX45" y="connsiteY45"/>
                                                </a:cxn>
                                                <a:cxn ang="0">
                                                  <a:pos x="connsiteX46" y="connsiteY46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111366" h="96138">
                                                  <a:moveTo>
                                                    <a:pt x="111237" y="29737"/>
                                                  </a:moveTo>
                                                  <a:cubicBezTo>
                                                    <a:pt x="111237" y="28894"/>
                                                    <a:pt x="111237" y="28052"/>
                                                    <a:pt x="110783" y="27340"/>
                                                  </a:cubicBezTo>
                                                  <a:cubicBezTo>
                                                    <a:pt x="110006" y="26368"/>
                                                    <a:pt x="108581" y="26433"/>
                                                    <a:pt x="107350" y="26173"/>
                                                  </a:cubicBezTo>
                                                  <a:cubicBezTo>
                                                    <a:pt x="104435" y="25655"/>
                                                    <a:pt x="102232" y="23258"/>
                                                    <a:pt x="100353" y="20991"/>
                                                  </a:cubicBezTo>
                                                  <a:cubicBezTo>
                                                    <a:pt x="98863" y="19241"/>
                                                    <a:pt x="97308" y="17298"/>
                                                    <a:pt x="97243" y="14965"/>
                                                  </a:cubicBezTo>
                                                  <a:cubicBezTo>
                                                    <a:pt x="97243" y="14253"/>
                                                    <a:pt x="97438" y="13605"/>
                                                    <a:pt x="97697" y="12957"/>
                                                  </a:cubicBezTo>
                                                  <a:cubicBezTo>
                                                    <a:pt x="93486" y="11014"/>
                                                    <a:pt x="89210" y="9200"/>
                                                    <a:pt x="84610" y="8876"/>
                                                  </a:cubicBezTo>
                                                  <a:cubicBezTo>
                                                    <a:pt x="82990" y="8746"/>
                                                    <a:pt x="81306" y="8876"/>
                                                    <a:pt x="80075" y="9847"/>
                                                  </a:cubicBezTo>
                                                  <a:cubicBezTo>
                                                    <a:pt x="77224" y="12115"/>
                                                    <a:pt x="78650" y="17233"/>
                                                    <a:pt x="75994" y="19695"/>
                                                  </a:cubicBezTo>
                                                  <a:cubicBezTo>
                                                    <a:pt x="73532" y="19695"/>
                                                    <a:pt x="71070" y="19695"/>
                                                    <a:pt x="68608" y="19695"/>
                                                  </a:cubicBezTo>
                                                  <a:cubicBezTo>
                                                    <a:pt x="65822" y="12633"/>
                                                    <a:pt x="62648" y="5183"/>
                                                    <a:pt x="57335" y="0"/>
                                                  </a:cubicBezTo>
                                                  <a:cubicBezTo>
                                                    <a:pt x="55845" y="713"/>
                                                    <a:pt x="54679" y="1879"/>
                                                    <a:pt x="55197" y="3369"/>
                                                  </a:cubicBezTo>
                                                  <a:cubicBezTo>
                                                    <a:pt x="52735" y="4470"/>
                                                    <a:pt x="49885" y="3563"/>
                                                    <a:pt x="47229" y="2980"/>
                                                  </a:cubicBezTo>
                                                  <a:cubicBezTo>
                                                    <a:pt x="44572" y="2397"/>
                                                    <a:pt x="41333" y="2268"/>
                                                    <a:pt x="39649" y="4341"/>
                                                  </a:cubicBezTo>
                                                  <a:cubicBezTo>
                                                    <a:pt x="39130" y="4989"/>
                                                    <a:pt x="38807" y="5766"/>
                                                    <a:pt x="38288" y="6414"/>
                                                  </a:cubicBezTo>
                                                  <a:cubicBezTo>
                                                    <a:pt x="36539" y="8617"/>
                                                    <a:pt x="33041" y="8422"/>
                                                    <a:pt x="30449" y="7321"/>
                                                  </a:cubicBezTo>
                                                  <a:cubicBezTo>
                                                    <a:pt x="27858" y="6155"/>
                                                    <a:pt x="25590" y="4276"/>
                                                    <a:pt x="22804" y="3563"/>
                                                  </a:cubicBezTo>
                                                  <a:cubicBezTo>
                                                    <a:pt x="19824" y="2786"/>
                                                    <a:pt x="16326" y="3628"/>
                                                    <a:pt x="14253" y="5960"/>
                                                  </a:cubicBezTo>
                                                  <a:cubicBezTo>
                                                    <a:pt x="12179" y="8293"/>
                                                    <a:pt x="11726" y="11985"/>
                                                    <a:pt x="13410" y="14577"/>
                                                  </a:cubicBezTo>
                                                  <a:cubicBezTo>
                                                    <a:pt x="14901" y="16844"/>
                                                    <a:pt x="17881" y="18529"/>
                                                    <a:pt x="17622" y="21250"/>
                                                  </a:cubicBezTo>
                                                  <a:cubicBezTo>
                                                    <a:pt x="17427" y="23258"/>
                                                    <a:pt x="15548" y="24554"/>
                                                    <a:pt x="14447" y="26303"/>
                                                  </a:cubicBezTo>
                                                  <a:cubicBezTo>
                                                    <a:pt x="12957" y="28700"/>
                                                    <a:pt x="13151" y="31875"/>
                                                    <a:pt x="14317" y="34401"/>
                                                  </a:cubicBezTo>
                                                  <a:cubicBezTo>
                                                    <a:pt x="15483" y="36993"/>
                                                    <a:pt x="17427" y="39066"/>
                                                    <a:pt x="19371" y="41139"/>
                                                  </a:cubicBezTo>
                                                  <a:cubicBezTo>
                                                    <a:pt x="22739" y="41074"/>
                                                    <a:pt x="26044" y="41009"/>
                                                    <a:pt x="29413" y="40945"/>
                                                  </a:cubicBezTo>
                                                  <a:cubicBezTo>
                                                    <a:pt x="29542" y="42629"/>
                                                    <a:pt x="29672" y="44313"/>
                                                    <a:pt x="29801" y="45998"/>
                                                  </a:cubicBezTo>
                                                  <a:cubicBezTo>
                                                    <a:pt x="33883" y="47682"/>
                                                    <a:pt x="37576" y="50209"/>
                                                    <a:pt x="40620" y="53319"/>
                                                  </a:cubicBezTo>
                                                  <a:cubicBezTo>
                                                    <a:pt x="36863" y="54420"/>
                                                    <a:pt x="33041" y="55586"/>
                                                    <a:pt x="29283" y="56688"/>
                                                  </a:cubicBezTo>
                                                  <a:cubicBezTo>
                                                    <a:pt x="28570" y="56882"/>
                                                    <a:pt x="27793" y="57141"/>
                                                    <a:pt x="27210" y="57659"/>
                                                  </a:cubicBezTo>
                                                  <a:cubicBezTo>
                                                    <a:pt x="24942" y="59732"/>
                                                    <a:pt x="27469" y="63684"/>
                                                    <a:pt x="26238" y="66535"/>
                                                  </a:cubicBezTo>
                                                  <a:cubicBezTo>
                                                    <a:pt x="24035" y="68932"/>
                                                    <a:pt x="19176" y="65822"/>
                                                    <a:pt x="16974" y="68219"/>
                                                  </a:cubicBezTo>
                                                  <a:cubicBezTo>
                                                    <a:pt x="15743" y="69580"/>
                                                    <a:pt x="16261" y="71653"/>
                                                    <a:pt x="16002" y="73467"/>
                                                  </a:cubicBezTo>
                                                  <a:cubicBezTo>
                                                    <a:pt x="15613" y="76642"/>
                                                    <a:pt x="12698" y="79039"/>
                                                    <a:pt x="9588" y="79881"/>
                                                  </a:cubicBezTo>
                                                  <a:cubicBezTo>
                                                    <a:pt x="6479" y="80723"/>
                                                    <a:pt x="3239" y="80269"/>
                                                    <a:pt x="0" y="79881"/>
                                                  </a:cubicBezTo>
                                                  <a:cubicBezTo>
                                                    <a:pt x="2267" y="83833"/>
                                                    <a:pt x="4470" y="87720"/>
                                                    <a:pt x="6738" y="91672"/>
                                                  </a:cubicBezTo>
                                                  <a:cubicBezTo>
                                                    <a:pt x="7256" y="92644"/>
                                                    <a:pt x="7839" y="93615"/>
                                                    <a:pt x="8746" y="94134"/>
                                                  </a:cubicBezTo>
                                                  <a:cubicBezTo>
                                                    <a:pt x="9523" y="94587"/>
                                                    <a:pt x="10495" y="94717"/>
                                                    <a:pt x="11402" y="94846"/>
                                                  </a:cubicBezTo>
                                                  <a:cubicBezTo>
                                                    <a:pt x="29348" y="96855"/>
                                                    <a:pt x="47488" y="96531"/>
                                                    <a:pt x="65369" y="93810"/>
                                                  </a:cubicBezTo>
                                                  <a:cubicBezTo>
                                                    <a:pt x="66470" y="93615"/>
                                                    <a:pt x="67636" y="93421"/>
                                                    <a:pt x="68608" y="92773"/>
                                                  </a:cubicBezTo>
                                                  <a:cubicBezTo>
                                                    <a:pt x="70033" y="91737"/>
                                                    <a:pt x="70486" y="89987"/>
                                                    <a:pt x="71264" y="88433"/>
                                                  </a:cubicBezTo>
                                                  <a:cubicBezTo>
                                                    <a:pt x="74115" y="82667"/>
                                                    <a:pt x="81111" y="80140"/>
                                                    <a:pt x="87525" y="80205"/>
                                                  </a:cubicBezTo>
                                                  <a:cubicBezTo>
                                                    <a:pt x="92320" y="80205"/>
                                                    <a:pt x="98215" y="80982"/>
                                                    <a:pt x="100871" y="77030"/>
                                                  </a:cubicBezTo>
                                                  <a:cubicBezTo>
                                                    <a:pt x="102685" y="74309"/>
                                                    <a:pt x="102038" y="70487"/>
                                                    <a:pt x="103786" y="67766"/>
                                                  </a:cubicBezTo>
                                                  <a:cubicBezTo>
                                                    <a:pt x="104370" y="66859"/>
                                                    <a:pt x="105212" y="66146"/>
                                                    <a:pt x="105795" y="65239"/>
                                                  </a:cubicBezTo>
                                                  <a:cubicBezTo>
                                                    <a:pt x="106961" y="63490"/>
                                                    <a:pt x="107155" y="61158"/>
                                                    <a:pt x="106378" y="59279"/>
                                                  </a:cubicBezTo>
                                                  <a:cubicBezTo>
                                                    <a:pt x="105989" y="58307"/>
                                                    <a:pt x="105341" y="57465"/>
                                                    <a:pt x="104953" y="56493"/>
                                                  </a:cubicBezTo>
                                                  <a:cubicBezTo>
                                                    <a:pt x="103851" y="53578"/>
                                                    <a:pt x="105536" y="50403"/>
                                                    <a:pt x="106832" y="47553"/>
                                                  </a:cubicBezTo>
                                                  <a:cubicBezTo>
                                                    <a:pt x="109423" y="41981"/>
                                                    <a:pt x="110978" y="35956"/>
                                                    <a:pt x="111367" y="29801"/>
                                                  </a:cubicBezTo>
                                                  <a:close/>
                                                </a:path>
                                              </a:pathLst>
                                            </a:custGeom>
                                            <a:solidFill>
                                              <a:schemeClr val="accent4"/>
                                            </a:solidFill>
                                            <a:ln w="6472" cap="flat">
                                              <a:solidFill>
                                                <a:srgbClr val="FFFFFF"/>
                                              </a:solidFill>
                                              <a:prstDash val="solid"/>
                                              <a:miter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da-DK"/>
                                            </a:p>
                                          </p:txBody>
                                        </p:sp>
                                      </p:grpSp>
                                    </p:grpSp>
                                  </p:grpSp>
                                </p:grpSp>
                              </p:grpSp>
                            </p:grpSp>
                          </p:grpSp>
                        </p:grpSp>
                      </p:grpSp>
                    </p:grpSp>
                  </p:grpSp>
                </p:grpSp>
              </p:grpSp>
            </p:grpSp>
          </p:grpSp>
        </p:grpSp>
      </p:grpSp>
      <p:sp>
        <p:nvSpPr>
          <p:cNvPr id="415" name="Footer Placeholder 4">
            <a:extLst>
              <a:ext uri="{FF2B5EF4-FFF2-40B4-BE49-F238E27FC236}">
                <a16:creationId xmlns:a16="http://schemas.microsoft.com/office/drawing/2014/main" id="{DB348A92-3A61-4602-AEF4-F5A23CC5D27E}"/>
              </a:ext>
            </a:extLst>
          </p:cNvPr>
          <p:cNvSpPr txBox="1">
            <a:spLocks/>
          </p:cNvSpPr>
          <p:nvPr/>
        </p:nvSpPr>
        <p:spPr>
          <a:xfrm>
            <a:off x="10753200" y="6339107"/>
            <a:ext cx="1069963" cy="341053"/>
          </a:xfrm>
          <a:prstGeom prst="rect">
            <a:avLst/>
          </a:pr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0126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1162F981-2B6B-4F6E-A19E-29DB366BD1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0158" y="1088906"/>
            <a:ext cx="9714739" cy="421198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66C839-6A8C-4131-8FC3-4084B4E6B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4</a:t>
            </a:fld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5F6BD9F-6531-4591-BC56-0325DA6A4063}"/>
              </a:ext>
            </a:extLst>
          </p:cNvPr>
          <p:cNvGrpSpPr/>
          <p:nvPr/>
        </p:nvGrpSpPr>
        <p:grpSpPr>
          <a:xfrm>
            <a:off x="248199" y="2430624"/>
            <a:ext cx="2645802" cy="1462765"/>
            <a:chOff x="248199" y="2430624"/>
            <a:chExt cx="2645802" cy="146276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6DF730C-F8AB-45F0-A99C-4E538C2453DA}"/>
                </a:ext>
              </a:extLst>
            </p:cNvPr>
            <p:cNvSpPr txBox="1"/>
            <p:nvPr/>
          </p:nvSpPr>
          <p:spPr>
            <a:xfrm>
              <a:off x="248199" y="2430624"/>
              <a:ext cx="26458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latin typeface="+mj-lt"/>
                </a:rPr>
                <a:t>Procesna industrija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0B59705-20F9-4E4A-8096-23673C42DF79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420958" y="2898951"/>
              <a:ext cx="1154988" cy="833887"/>
            </a:xfrm>
            <a:prstGeom prst="bentConnector3">
              <a:avLst>
                <a:gd name="adj1" fmla="val 44523"/>
              </a:avLst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9E41336-9D4C-42AD-93F8-C959916DF825}"/>
              </a:ext>
            </a:extLst>
          </p:cNvPr>
          <p:cNvGrpSpPr/>
          <p:nvPr/>
        </p:nvGrpSpPr>
        <p:grpSpPr>
          <a:xfrm>
            <a:off x="1351230" y="1363826"/>
            <a:ext cx="2792640" cy="2065174"/>
            <a:chOff x="1351230" y="1363826"/>
            <a:chExt cx="2792640" cy="206517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A39E252-A72E-4A42-9892-CD9471E00031}"/>
                </a:ext>
              </a:extLst>
            </p:cNvPr>
            <p:cNvSpPr txBox="1"/>
            <p:nvPr/>
          </p:nvSpPr>
          <p:spPr>
            <a:xfrm>
              <a:off x="1351230" y="1363826"/>
              <a:ext cx="26458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400" dirty="0">
                  <a:latin typeface="+mj-lt"/>
                </a:rPr>
                <a:t>Anal</a:t>
              </a:r>
              <a:r>
                <a:rPr lang="sr-Latn-RS" sz="1400" dirty="0">
                  <a:latin typeface="+mj-lt"/>
                </a:rPr>
                <a:t>itila i planiranje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33" name="Straight Connector 26">
              <a:extLst>
                <a:ext uri="{FF2B5EF4-FFF2-40B4-BE49-F238E27FC236}">
                  <a16:creationId xmlns:a16="http://schemas.microsoft.com/office/drawing/2014/main" id="{005700F2-FE85-48FE-8097-B77E22A1E64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567995" y="1853126"/>
              <a:ext cx="1716577" cy="1435172"/>
            </a:xfrm>
            <a:prstGeom prst="bentConnector3">
              <a:avLst>
                <a:gd name="adj1" fmla="val 23198"/>
              </a:avLst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7C1D2B8-4D64-4BC7-980C-D1FB58B920F2}"/>
              </a:ext>
            </a:extLst>
          </p:cNvPr>
          <p:cNvGrpSpPr/>
          <p:nvPr/>
        </p:nvGrpSpPr>
        <p:grpSpPr>
          <a:xfrm>
            <a:off x="3787751" y="846377"/>
            <a:ext cx="2645802" cy="1840264"/>
            <a:chOff x="3787751" y="846377"/>
            <a:chExt cx="2645802" cy="1840264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1D0B90-F8E7-4BC0-AF53-70361DB4E41E}"/>
                </a:ext>
              </a:extLst>
            </p:cNvPr>
            <p:cNvSpPr txBox="1"/>
            <p:nvPr/>
          </p:nvSpPr>
          <p:spPr>
            <a:xfrm>
              <a:off x="3787751" y="846377"/>
              <a:ext cx="264580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2000" b="1" dirty="0">
                  <a:latin typeface="+mj-lt"/>
                </a:rPr>
                <a:t>Ener</a:t>
              </a:r>
              <a:r>
                <a:rPr lang="sr-Latn-RS" sz="2000" b="1" dirty="0">
                  <a:latin typeface="+mj-lt"/>
                </a:rPr>
                <a:t>getika</a:t>
              </a:r>
              <a:endParaRPr lang="da-DK" sz="2000" b="1" dirty="0">
                <a:latin typeface="+mj-lt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46E5C81-3A3B-45B2-9366-AD76B8FC5991}"/>
                </a:ext>
              </a:extLst>
            </p:cNvPr>
            <p:cNvCxnSpPr>
              <a:cxnSpLocks/>
            </p:cNvCxnSpPr>
            <p:nvPr/>
          </p:nvCxnSpPr>
          <p:spPr>
            <a:xfrm>
              <a:off x="5118340" y="1246487"/>
              <a:ext cx="0" cy="1440154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241936D-492C-4CA1-8B30-37CC91C56282}"/>
              </a:ext>
            </a:extLst>
          </p:cNvPr>
          <p:cNvGrpSpPr/>
          <p:nvPr/>
        </p:nvGrpSpPr>
        <p:grpSpPr>
          <a:xfrm>
            <a:off x="7709387" y="938710"/>
            <a:ext cx="2645802" cy="2646971"/>
            <a:chOff x="7709387" y="938710"/>
            <a:chExt cx="2645802" cy="264697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9D0C8DB-BF93-44E7-9E43-072AC57B9453}"/>
                </a:ext>
              </a:extLst>
            </p:cNvPr>
            <p:cNvSpPr txBox="1"/>
            <p:nvPr/>
          </p:nvSpPr>
          <p:spPr>
            <a:xfrm>
              <a:off x="7709387" y="938710"/>
              <a:ext cx="2645802" cy="307777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latin typeface="+mj-lt"/>
                </a:rPr>
                <a:t>Izgradnja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93BFEC9-BCCE-4CBB-BAB5-79E13487A10C}"/>
                </a:ext>
              </a:extLst>
            </p:cNvPr>
            <p:cNvCxnSpPr>
              <a:cxnSpLocks/>
            </p:cNvCxnSpPr>
            <p:nvPr/>
          </p:nvCxnSpPr>
          <p:spPr>
            <a:xfrm>
              <a:off x="9032288" y="1246487"/>
              <a:ext cx="0" cy="2339194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E65066D-5508-4C24-B00A-358F2A25E280}"/>
              </a:ext>
            </a:extLst>
          </p:cNvPr>
          <p:cNvGrpSpPr/>
          <p:nvPr/>
        </p:nvGrpSpPr>
        <p:grpSpPr>
          <a:xfrm>
            <a:off x="9337736" y="2430624"/>
            <a:ext cx="2645802" cy="885270"/>
            <a:chOff x="9337736" y="2430624"/>
            <a:chExt cx="2645802" cy="88527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B6D1AB-8188-4392-A523-0CF3CBD2473D}"/>
                </a:ext>
              </a:extLst>
            </p:cNvPr>
            <p:cNvSpPr txBox="1"/>
            <p:nvPr/>
          </p:nvSpPr>
          <p:spPr>
            <a:xfrm>
              <a:off x="9337736" y="2430624"/>
              <a:ext cx="26458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solidFill>
                    <a:schemeClr val="bg1"/>
                  </a:solidFill>
                  <a:latin typeface="+mj-lt"/>
                </a:rPr>
                <a:t>Zaštita životne sredine</a:t>
              </a:r>
              <a:endParaRPr lang="da-DK" sz="14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47C384A7-BA3F-4C42-B7D7-B25954BABD39}"/>
                </a:ext>
              </a:extLst>
            </p:cNvPr>
            <p:cNvCxnSpPr>
              <a:cxnSpLocks/>
            </p:cNvCxnSpPr>
            <p:nvPr/>
          </p:nvCxnSpPr>
          <p:spPr>
            <a:xfrm>
              <a:off x="10653893" y="2738400"/>
              <a:ext cx="0" cy="577494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278F844-475B-48FB-A16D-A34DA655A742}"/>
              </a:ext>
            </a:extLst>
          </p:cNvPr>
          <p:cNvGrpSpPr/>
          <p:nvPr/>
        </p:nvGrpSpPr>
        <p:grpSpPr>
          <a:xfrm>
            <a:off x="675551" y="4380215"/>
            <a:ext cx="2645802" cy="1385187"/>
            <a:chOff x="675551" y="4380215"/>
            <a:chExt cx="2645802" cy="138518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60DBF21-4044-4001-A918-96E4EF7BF233}"/>
                </a:ext>
              </a:extLst>
            </p:cNvPr>
            <p:cNvSpPr txBox="1"/>
            <p:nvPr/>
          </p:nvSpPr>
          <p:spPr>
            <a:xfrm>
              <a:off x="675551" y="5457625"/>
              <a:ext cx="2645802" cy="307777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latin typeface="+mj-lt"/>
                </a:rPr>
                <a:t>Razvojni konsalting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59326F7-0F63-4AB5-8082-015FBB689EC9}"/>
                </a:ext>
              </a:extLst>
            </p:cNvPr>
            <p:cNvCxnSpPr>
              <a:cxnSpLocks/>
            </p:cNvCxnSpPr>
            <p:nvPr/>
          </p:nvCxnSpPr>
          <p:spPr>
            <a:xfrm>
              <a:off x="1998452" y="4380215"/>
              <a:ext cx="0" cy="1077409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0C391C3-43FC-4739-B0AB-085C74714083}"/>
              </a:ext>
            </a:extLst>
          </p:cNvPr>
          <p:cNvGrpSpPr/>
          <p:nvPr/>
        </p:nvGrpSpPr>
        <p:grpSpPr>
          <a:xfrm>
            <a:off x="4151538" y="2738402"/>
            <a:ext cx="2645802" cy="3381207"/>
            <a:chOff x="4151538" y="2738402"/>
            <a:chExt cx="2645802" cy="338120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47BCF27-FDFD-4525-970B-3376B0B3F067}"/>
                </a:ext>
              </a:extLst>
            </p:cNvPr>
            <p:cNvSpPr txBox="1"/>
            <p:nvPr/>
          </p:nvSpPr>
          <p:spPr>
            <a:xfrm>
              <a:off x="4151538" y="5811832"/>
              <a:ext cx="26458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latin typeface="+mj-lt"/>
                </a:rPr>
                <a:t>Digitalizacija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48" name="Straight Connector 26">
              <a:extLst>
                <a:ext uri="{FF2B5EF4-FFF2-40B4-BE49-F238E27FC236}">
                  <a16:creationId xmlns:a16="http://schemas.microsoft.com/office/drawing/2014/main" id="{EAC13B19-13B6-406D-987F-B4CBE43A94D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8600" y="4006574"/>
              <a:ext cx="3063547" cy="527204"/>
            </a:xfrm>
            <a:prstGeom prst="bentConnector3">
              <a:avLst>
                <a:gd name="adj1" fmla="val 6067"/>
              </a:avLst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AABE8CA-D8C3-4377-B437-76E80D96B50C}"/>
              </a:ext>
            </a:extLst>
          </p:cNvPr>
          <p:cNvGrpSpPr/>
          <p:nvPr/>
        </p:nvGrpSpPr>
        <p:grpSpPr>
          <a:xfrm>
            <a:off x="7440546" y="4399288"/>
            <a:ext cx="2645802" cy="1707978"/>
            <a:chOff x="7440546" y="4401749"/>
            <a:chExt cx="2645802" cy="170797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D3EADC-AC2E-4957-9DD3-C937E70AC6FA}"/>
                </a:ext>
              </a:extLst>
            </p:cNvPr>
            <p:cNvSpPr txBox="1"/>
            <p:nvPr/>
          </p:nvSpPr>
          <p:spPr>
            <a:xfrm>
              <a:off x="7440546" y="5801950"/>
              <a:ext cx="2645802" cy="307777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400" dirty="0" err="1">
                  <a:latin typeface="+mj-lt"/>
                </a:rPr>
                <a:t>Infrastru</a:t>
              </a:r>
              <a:r>
                <a:rPr lang="sr-Latn-RS" sz="1400" dirty="0">
                  <a:latin typeface="+mj-lt"/>
                </a:rPr>
                <a:t>ktura</a:t>
              </a:r>
              <a:endParaRPr lang="da-DK" sz="1400" dirty="0">
                <a:latin typeface="+mj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B36382C-3C1E-464E-9447-CBABF603F9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3447" y="4401749"/>
              <a:ext cx="0" cy="1400201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0CAF01E-41AA-46BA-9AFE-1FD8A4028040}"/>
              </a:ext>
            </a:extLst>
          </p:cNvPr>
          <p:cNvGrpSpPr/>
          <p:nvPr/>
        </p:nvGrpSpPr>
        <p:grpSpPr>
          <a:xfrm>
            <a:off x="9330992" y="5101849"/>
            <a:ext cx="2645802" cy="663552"/>
            <a:chOff x="9330992" y="5101849"/>
            <a:chExt cx="2645802" cy="66355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B70C65B-75DE-43BE-98ED-2BDF620C0131}"/>
                </a:ext>
              </a:extLst>
            </p:cNvPr>
            <p:cNvSpPr txBox="1"/>
            <p:nvPr/>
          </p:nvSpPr>
          <p:spPr>
            <a:xfrm>
              <a:off x="9330992" y="5457624"/>
              <a:ext cx="26458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r-Latn-RS" sz="1400" dirty="0">
                  <a:solidFill>
                    <a:schemeClr val="bg1"/>
                  </a:solidFill>
                  <a:latin typeface="+mj-lt"/>
                </a:rPr>
                <a:t>Vode</a:t>
              </a:r>
              <a:endParaRPr lang="da-DK" sz="14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5E4EEE01-2FD9-4618-A8BE-B4C5BCBF5932}"/>
                </a:ext>
              </a:extLst>
            </p:cNvPr>
            <p:cNvCxnSpPr>
              <a:cxnSpLocks/>
            </p:cNvCxnSpPr>
            <p:nvPr/>
          </p:nvCxnSpPr>
          <p:spPr>
            <a:xfrm>
              <a:off x="10648883" y="5101849"/>
              <a:ext cx="0" cy="355774"/>
            </a:xfrm>
            <a:prstGeom prst="line">
              <a:avLst/>
            </a:prstGeom>
            <a:ln w="1905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itle Placeholder 1">
            <a:extLst>
              <a:ext uri="{FF2B5EF4-FFF2-40B4-BE49-F238E27FC236}">
                <a16:creationId xmlns:a16="http://schemas.microsoft.com/office/drawing/2014/main" id="{3D69E5B3-C050-4C46-A2AF-016CDCD0D988}"/>
              </a:ext>
            </a:extLst>
          </p:cNvPr>
          <p:cNvSpPr txBox="1">
            <a:spLocks/>
          </p:cNvSpPr>
          <p:nvPr/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Sector</a:t>
            </a:r>
            <a:r>
              <a:rPr lang="sr-Latn-RS" dirty="0">
                <a:solidFill>
                  <a:schemeClr val="bg1"/>
                </a:solidFill>
              </a:rPr>
              <a:t>i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Logo on top">
            <a:extLst>
              <a:ext uri="{FF2B5EF4-FFF2-40B4-BE49-F238E27FC236}">
                <a16:creationId xmlns:a16="http://schemas.microsoft.com/office/drawing/2014/main" id="{F9CF997F-0204-4851-B552-4CEBC1D544F1}"/>
              </a:ext>
            </a:extLst>
          </p:cNvPr>
          <p:cNvSpPr txBox="1">
            <a:spLocks noChangeAspect="1"/>
          </p:cNvSpPr>
          <p:nvPr/>
        </p:nvSpPr>
        <p:spPr>
          <a:xfrm>
            <a:off x="10752600" y="6341689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00" kern="1200">
                <a:noFill/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.</a:t>
            </a:r>
          </a:p>
        </p:txBody>
      </p:sp>
      <p:sp>
        <p:nvSpPr>
          <p:cNvPr id="871" name="TextBox 870">
            <a:extLst>
              <a:ext uri="{FF2B5EF4-FFF2-40B4-BE49-F238E27FC236}">
                <a16:creationId xmlns:a16="http://schemas.microsoft.com/office/drawing/2014/main" id="{050636B5-9E36-4634-A1AE-FA02EC9462CD}"/>
              </a:ext>
            </a:extLst>
          </p:cNvPr>
          <p:cNvSpPr txBox="1"/>
          <p:nvPr/>
        </p:nvSpPr>
        <p:spPr>
          <a:xfrm>
            <a:off x="9512131" y="273913"/>
            <a:ext cx="2480937" cy="8309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da-DK" sz="1600" dirty="0">
                <a:solidFill>
                  <a:schemeClr val="tx2"/>
                </a:solidFill>
              </a:rPr>
              <a:t>NIRAS </a:t>
            </a:r>
            <a:r>
              <a:rPr lang="sr-Latn-RS" sz="1600" dirty="0">
                <a:solidFill>
                  <a:schemeClr val="tx2"/>
                </a:solidFill>
              </a:rPr>
              <a:t>ENERGETIKA ima preko</a:t>
            </a:r>
            <a:r>
              <a:rPr lang="da-DK" sz="1600" dirty="0">
                <a:solidFill>
                  <a:schemeClr val="tx2"/>
                </a:solidFill>
              </a:rPr>
              <a:t> </a:t>
            </a:r>
            <a:r>
              <a:rPr lang="da-DK" sz="1600" b="1" dirty="0">
                <a:solidFill>
                  <a:schemeClr val="tx2"/>
                </a:solidFill>
              </a:rPr>
              <a:t>100 </a:t>
            </a:r>
            <a:r>
              <a:rPr lang="sr-Latn-RS" sz="1600" b="1" dirty="0">
                <a:solidFill>
                  <a:schemeClr val="tx2"/>
                </a:solidFill>
              </a:rPr>
              <a:t>inženjera</a:t>
            </a:r>
            <a:r>
              <a:rPr lang="da-DK" sz="1600" b="1" dirty="0">
                <a:solidFill>
                  <a:schemeClr val="tx2"/>
                </a:solidFill>
              </a:rPr>
              <a:t> </a:t>
            </a:r>
            <a:r>
              <a:rPr lang="sr-Latn-RS" sz="1600" b="1" dirty="0">
                <a:solidFill>
                  <a:schemeClr val="tx2"/>
                </a:solidFill>
              </a:rPr>
              <a:t>i</a:t>
            </a:r>
            <a:r>
              <a:rPr lang="da-DK" sz="1600" dirty="0">
                <a:solidFill>
                  <a:schemeClr val="tx2"/>
                </a:solidFill>
              </a:rPr>
              <a:t> pr</a:t>
            </a:r>
            <a:r>
              <a:rPr lang="sr-Latn-RS" sz="1600" dirty="0">
                <a:solidFill>
                  <a:schemeClr val="tx2"/>
                </a:solidFill>
              </a:rPr>
              <a:t>ojekte u </a:t>
            </a:r>
            <a:r>
              <a:rPr lang="da-DK" sz="1600" b="1" dirty="0">
                <a:solidFill>
                  <a:schemeClr val="tx2"/>
                </a:solidFill>
              </a:rPr>
              <a:t>20 </a:t>
            </a:r>
            <a:r>
              <a:rPr lang="sr-Latn-RS" sz="1600" b="1" dirty="0">
                <a:solidFill>
                  <a:schemeClr val="tx2"/>
                </a:solidFill>
              </a:rPr>
              <a:t>zemalja</a:t>
            </a:r>
            <a:endParaRPr lang="da-DK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567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2070725" cy="619713"/>
          </a:xfrm>
        </p:spPr>
        <p:txBody>
          <a:bodyPr/>
          <a:lstStyle/>
          <a:p>
            <a:r>
              <a:rPr lang="en-GB" dirty="0"/>
              <a:t>NIRAS </a:t>
            </a:r>
            <a:r>
              <a:rPr lang="sr-Latn-RS" dirty="0"/>
              <a:t>ključne usluge u okviru daljinskog grejanja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96629-D40F-426F-85E5-D6C852675A1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685183" y="1512270"/>
            <a:ext cx="6147417" cy="3499842"/>
          </a:xfrm>
          <a:noFill/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a-DK" sz="1400" dirty="0" err="1"/>
              <a:t>Strateško</a:t>
            </a:r>
            <a:r>
              <a:rPr lang="da-DK" sz="1400" dirty="0"/>
              <a:t> </a:t>
            </a:r>
            <a:r>
              <a:rPr lang="da-DK" sz="1400" dirty="0" err="1"/>
              <a:t>energetsko</a:t>
            </a:r>
            <a:r>
              <a:rPr lang="da-DK" sz="1400" dirty="0"/>
              <a:t> </a:t>
            </a:r>
            <a:r>
              <a:rPr lang="da-DK" sz="1400" dirty="0" err="1"/>
              <a:t>planiranje</a:t>
            </a:r>
            <a:r>
              <a:rPr lang="da-DK" sz="1400" dirty="0"/>
              <a:t> i</a:t>
            </a:r>
            <a:r>
              <a:rPr lang="sr-Latn-RS" sz="1400" dirty="0"/>
              <a:t> planiranje sistema DG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Digitalizacija</a:t>
            </a:r>
            <a:r>
              <a:rPr lang="da-DK" sz="1400" dirty="0"/>
              <a:t> u </a:t>
            </a:r>
            <a:r>
              <a:rPr lang="da-DK" sz="1400" dirty="0" err="1"/>
              <a:t>proizvodnji</a:t>
            </a:r>
            <a:r>
              <a:rPr lang="da-DK" sz="1400" dirty="0"/>
              <a:t>, </a:t>
            </a:r>
            <a:r>
              <a:rPr lang="da-DK" sz="1400" dirty="0" err="1"/>
              <a:t>distribuciji</a:t>
            </a:r>
            <a:r>
              <a:rPr lang="da-DK" sz="1400" dirty="0"/>
              <a:t>, </a:t>
            </a:r>
            <a:r>
              <a:rPr lang="da-DK" sz="1400" dirty="0" err="1"/>
              <a:t>potrošnji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Snabdevanje</a:t>
            </a:r>
            <a:r>
              <a:rPr lang="da-DK" sz="1400" dirty="0"/>
              <a:t> i </a:t>
            </a:r>
            <a:r>
              <a:rPr lang="da-DK" sz="1400" dirty="0" err="1"/>
              <a:t>skladištenje</a:t>
            </a:r>
            <a:r>
              <a:rPr lang="da-DK" sz="1400" dirty="0"/>
              <a:t> </a:t>
            </a:r>
            <a:r>
              <a:rPr lang="da-DK" sz="1400" dirty="0" err="1"/>
              <a:t>energije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Obnovljivi</a:t>
            </a:r>
            <a:r>
              <a:rPr lang="da-DK" sz="1400" dirty="0"/>
              <a:t> </a:t>
            </a:r>
            <a:r>
              <a:rPr lang="da-DK" sz="1400" dirty="0" err="1"/>
              <a:t>izvori</a:t>
            </a:r>
            <a:r>
              <a:rPr lang="da-DK" sz="1400" dirty="0"/>
              <a:t> i </a:t>
            </a:r>
            <a:r>
              <a:rPr lang="da-DK" sz="1400" dirty="0" err="1"/>
              <a:t>solarna</a:t>
            </a:r>
            <a:r>
              <a:rPr lang="da-DK" sz="1400" dirty="0"/>
              <a:t> </a:t>
            </a:r>
            <a:r>
              <a:rPr lang="da-DK" sz="1400" dirty="0" err="1"/>
              <a:t>energija</a:t>
            </a:r>
            <a:endParaRPr lang="sr-Latn-RS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Biomasa</a:t>
            </a:r>
            <a:r>
              <a:rPr lang="da-DK" sz="1400" dirty="0"/>
              <a:t> i </a:t>
            </a:r>
            <a:r>
              <a:rPr lang="da-DK" sz="1400" dirty="0" err="1"/>
              <a:t>otpadna</a:t>
            </a:r>
            <a:r>
              <a:rPr lang="da-DK" sz="1400" dirty="0"/>
              <a:t> </a:t>
            </a:r>
            <a:r>
              <a:rPr lang="da-DK" sz="1400" dirty="0" err="1"/>
              <a:t>energija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sr-Latn-RS" sz="1400" dirty="0"/>
              <a:t>Biogas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sr-Latn-RS" sz="1400" dirty="0"/>
              <a:t>Priprema tenderske dokumentacije </a:t>
            </a:r>
            <a:r>
              <a:rPr lang="da-DK" sz="1400" dirty="0"/>
              <a:t>i </a:t>
            </a:r>
            <a:r>
              <a:rPr lang="da-DK" sz="1400" dirty="0" err="1"/>
              <a:t>ugovaranje</a:t>
            </a:r>
            <a:r>
              <a:rPr lang="sr-Latn-RS" sz="1400" dirty="0"/>
              <a:t> izvođaća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Energetska</a:t>
            </a:r>
            <a:r>
              <a:rPr lang="da-DK" sz="1400" dirty="0"/>
              <a:t> </a:t>
            </a:r>
            <a:r>
              <a:rPr lang="da-DK" sz="1400" dirty="0" err="1"/>
              <a:t>efikasnost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/>
              <a:t>CO2 i </a:t>
            </a:r>
            <a:r>
              <a:rPr lang="da-DK" sz="1400" dirty="0" err="1"/>
              <a:t>održiv</a:t>
            </a:r>
            <a:r>
              <a:rPr lang="sr-Latn-RS" sz="1400" dirty="0"/>
              <a:t>i razvoj</a:t>
            </a:r>
            <a:endParaRPr lang="da-DK" sz="1400" dirty="0"/>
          </a:p>
          <a:p>
            <a:pPr>
              <a:lnSpc>
                <a:spcPct val="100000"/>
              </a:lnSpc>
            </a:pPr>
            <a:r>
              <a:rPr lang="da-DK" sz="1400" dirty="0" err="1"/>
              <a:t>Hidraulič</a:t>
            </a:r>
            <a:r>
              <a:rPr lang="sr-Latn-RS" sz="1400" dirty="0"/>
              <a:t>k</a:t>
            </a:r>
            <a:r>
              <a:rPr lang="da-DK" sz="1400" dirty="0"/>
              <a:t>o</a:t>
            </a:r>
            <a:r>
              <a:rPr lang="sr-Latn-RS" sz="1400" dirty="0"/>
              <a:t> modelovanje</a:t>
            </a:r>
            <a:endParaRPr lang="en-US" sz="1400" dirty="0"/>
          </a:p>
        </p:txBody>
      </p:sp>
      <p:pic>
        <p:nvPicPr>
          <p:cNvPr id="6" name="Pladsholder til billede 2">
            <a:extLst>
              <a:ext uri="{FF2B5EF4-FFF2-40B4-BE49-F238E27FC236}">
                <a16:creationId xmlns:a16="http://schemas.microsoft.com/office/drawing/2014/main" id="{9C56BF77-4DE2-4EE3-A836-D437CE2A992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76" b="11124"/>
          <a:stretch/>
        </p:blipFill>
        <p:spPr>
          <a:xfrm>
            <a:off x="447858" y="1512270"/>
            <a:ext cx="4935175" cy="321480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296FBBF-DDC2-44DE-81C9-FFF39C12EDCF}"/>
              </a:ext>
            </a:extLst>
          </p:cNvPr>
          <p:cNvSpPr txBox="1"/>
          <p:nvPr/>
        </p:nvSpPr>
        <p:spPr>
          <a:xfrm>
            <a:off x="447858" y="4810821"/>
            <a:ext cx="4935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i="1" dirty="0" err="1"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rPr>
              <a:t>Obezbe</a:t>
            </a:r>
            <a:r>
              <a:rPr lang="sr-Latn-RS" i="1" dirty="0"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rPr>
              <a:t>đujemo održivo energetsko planiranje</a:t>
            </a:r>
            <a:endParaRPr lang="en-GB" i="1" dirty="0">
              <a:latin typeface="Segoe UI Semibold" panose="020B0702040204020203" pitchFamily="34" charset="0"/>
              <a:ea typeface="Segoe UI Historic" panose="020B05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2F49B41-1707-0BF9-CBB2-0DF72BEAFE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2480714"/>
              </p:ext>
            </p:extLst>
          </p:nvPr>
        </p:nvGraphicFramePr>
        <p:xfrm>
          <a:off x="705653" y="4990349"/>
          <a:ext cx="9800601" cy="1733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97899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24779E-25AA-4B36-8D23-F40F2EB7C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E43123E-9371-A38E-C038-37EFE11F7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Evolu</a:t>
            </a:r>
            <a:r>
              <a:rPr lang="sr-Latn-RS" dirty="0"/>
              <a:t>cija daljinskog grejanja</a:t>
            </a:r>
            <a:endParaRPr lang="da-DK" dirty="0"/>
          </a:p>
        </p:txBody>
      </p:sp>
      <p:pic>
        <p:nvPicPr>
          <p:cNvPr id="8200" name="Picture 8" descr="3 Evolution of district heating and cooling networks. The abscissa... |  Download Scientific Diagram">
            <a:extLst>
              <a:ext uri="{FF2B5EF4-FFF2-40B4-BE49-F238E27FC236}">
                <a16:creationId xmlns:a16="http://schemas.microsoft.com/office/drawing/2014/main" id="{9B761201-F56B-B53A-D222-7C10D965B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165" y="1277584"/>
            <a:ext cx="6975545" cy="4833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7229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07F13E-FD1E-50C3-E7FA-4602D0909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Evolu</a:t>
            </a:r>
            <a:r>
              <a:rPr lang="sr-Latn-RS" dirty="0"/>
              <a:t>cija daljinskog grejanja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D5B58BF-B958-EE7B-8A6F-A68AF9332C4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>
              <a:buNone/>
            </a:pPr>
            <a:r>
              <a:rPr lang="da-DK" dirty="0"/>
              <a:t>4</a:t>
            </a:r>
            <a:r>
              <a:rPr lang="sr-Latn-RS" dirty="0"/>
              <a:t>-ta generacija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08F2F6D-50E1-5569-41AF-A207418C6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6" name="Picture 6" descr="Large-scale solar district heating plants in Danish smart thermal grid:  Developments and recent trends - ScienceDirect">
            <a:extLst>
              <a:ext uri="{FF2B5EF4-FFF2-40B4-BE49-F238E27FC236}">
                <a16:creationId xmlns:a16="http://schemas.microsoft.com/office/drawing/2014/main" id="{0764D8F9-CADF-A6D1-CA72-19EAE3582FB2}"/>
              </a:ext>
            </a:extLst>
          </p:cNvPr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9219" y="1708079"/>
            <a:ext cx="6605274" cy="4376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032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EA9974-F7BA-93E6-AC15-36BD704D1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Evolu</a:t>
            </a:r>
            <a:r>
              <a:rPr lang="sr-Latn-RS" dirty="0"/>
              <a:t>cija daljinskog grejanja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083BEFAE-D07C-2644-C1E1-97AB03D37F4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a-DK" dirty="0"/>
              <a:t>5 </a:t>
            </a:r>
            <a:r>
              <a:rPr lang="sr-Latn-RS" dirty="0"/>
              <a:t>– ta generacija zelenih sistema daljinskog grejanja i hlađenja</a:t>
            </a:r>
            <a:endParaRPr lang="da-DK" dirty="0"/>
          </a:p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DB04E32-84FB-D403-C020-8586426C6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10242" name="Picture 2" descr="Clean district heating and cooling system – how can it work? – Smart Energy  Transition">
            <a:extLst>
              <a:ext uri="{FF2B5EF4-FFF2-40B4-BE49-F238E27FC236}">
                <a16:creationId xmlns:a16="http://schemas.microsoft.com/office/drawing/2014/main" id="{96DF7F95-4F26-4D45-0A2F-0C9F963E9B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993" y="1392366"/>
            <a:ext cx="8264893" cy="4649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766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E8474B7-18B2-4DE4-B934-A04725AD9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621" y="5248275"/>
            <a:ext cx="6208805" cy="102822"/>
          </a:xfrm>
        </p:spPr>
        <p:txBody>
          <a:bodyPr>
            <a:noAutofit/>
          </a:bodyPr>
          <a:lstStyle/>
          <a:p>
            <a:pPr>
              <a:lnSpc>
                <a:spcPts val="6000"/>
              </a:lnSpc>
            </a:pPr>
            <a:r>
              <a:rPr lang="en-US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</a:t>
            </a:r>
            <a:br>
              <a:rPr lang="en-US" sz="2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lang="en-U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IRAS</a:t>
            </a:r>
            <a:r>
              <a:rPr lang="en-US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</a:t>
            </a:r>
            <a:r>
              <a:rPr lang="en-U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“</a:t>
            </a:r>
            <a:r>
              <a:rPr lang="en-US" sz="6000" dirty="0" err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HeatCompass</a:t>
            </a:r>
            <a:r>
              <a:rPr lang="en-US" sz="60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 – Master plan</a:t>
            </a:r>
            <a:r>
              <a:rPr lang="en-US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</a:t>
            </a:r>
            <a:endParaRPr lang="da-DK" sz="6000" dirty="0">
              <a:solidFill>
                <a:schemeClr val="bg1"/>
              </a:solidFill>
            </a:endParaRPr>
          </a:p>
        </p:txBody>
      </p:sp>
      <p:sp>
        <p:nvSpPr>
          <p:cNvPr id="17" name="Logo on top">
            <a:extLst>
              <a:ext uri="{FF2B5EF4-FFF2-40B4-BE49-F238E27FC236}">
                <a16:creationId xmlns:a16="http://schemas.microsoft.com/office/drawing/2014/main" id="{02EF7ED7-4633-4C47-94EA-B1BF8FED742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92F959C-1759-447B-A230-9F23C249EB6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75400"/>
            <a:ext cx="511175" cy="365125"/>
          </a:xfrm>
        </p:spPr>
        <p:txBody>
          <a:bodyPr/>
          <a:lstStyle/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9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72ABBEA-ADA8-4AC1-8A24-F58175359FBF}"/>
              </a:ext>
            </a:extLst>
          </p:cNvPr>
          <p:cNvSpPr txBox="1">
            <a:spLocks/>
          </p:cNvSpPr>
          <p:nvPr/>
        </p:nvSpPr>
        <p:spPr>
          <a:xfrm>
            <a:off x="10753200" y="63391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7" name="Subtitle 7">
            <a:extLst>
              <a:ext uri="{FF2B5EF4-FFF2-40B4-BE49-F238E27FC236}">
                <a16:creationId xmlns:a16="http://schemas.microsoft.com/office/drawing/2014/main" id="{5959A686-B45D-4BD9-849E-E45B2A6F69E2}"/>
              </a:ext>
            </a:extLst>
          </p:cNvPr>
          <p:cNvSpPr txBox="1">
            <a:spLocks/>
          </p:cNvSpPr>
          <p:nvPr/>
        </p:nvSpPr>
        <p:spPr>
          <a:xfrm>
            <a:off x="5759315" y="5421423"/>
            <a:ext cx="5521111" cy="658134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sr-Latn-RS" sz="1800" dirty="0">
                <a:solidFill>
                  <a:schemeClr val="accent5"/>
                </a:solidFill>
              </a:rPr>
              <a:t>Put koji obezbeđuje siguran razvoj sistema daljinskog grejanja</a:t>
            </a:r>
            <a:endParaRPr lang="en-GB" sz="18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da-DK" sz="18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69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FE">
  <a:themeElements>
    <a:clrScheme name="LIFE">
      <a:dk1>
        <a:srgbClr val="000000"/>
      </a:dk1>
      <a:lt1>
        <a:srgbClr val="FFFFFF"/>
      </a:lt1>
      <a:dk2>
        <a:srgbClr val="1F4843"/>
      </a:dk2>
      <a:lt2>
        <a:srgbClr val="EBEFE4"/>
      </a:lt2>
      <a:accent1>
        <a:srgbClr val="EBEFE4"/>
      </a:accent1>
      <a:accent2>
        <a:srgbClr val="DBE4B5"/>
      </a:accent2>
      <a:accent3>
        <a:srgbClr val="B8CD96"/>
      </a:accent3>
      <a:accent4>
        <a:srgbClr val="36706B"/>
      </a:accent4>
      <a:accent5>
        <a:srgbClr val="1F4843"/>
      </a:accent5>
      <a:accent6>
        <a:srgbClr val="84C55E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FE" id="{0D7308D8-5D05-4635-81C1-CC8087C4BEA0}" vid="{AA0ED056-42B9-4A9E-A1FD-0D74E96B20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6389baf-d775-4142-9ba9-987d54fbb0d5">
      <Value>9</Value>
    </TaxCatchAll>
    <lcf76f155ced4ddcb4097134ff3c332f xmlns="dd8223cd-a12e-4643-a4a2-14c6a8da0611">
      <Terms xmlns="http://schemas.microsoft.com/office/infopath/2007/PartnerControls"/>
    </lcf76f155ced4ddcb4097134ff3c332f>
    <SharedWithUsers xmlns="c9bd6886-0b39-4e65-9578-e1161a235f49">
      <UserInfo>
        <DisplayName>Eva Lange Rasmussen (ELRA)</DisplayName>
        <AccountId>124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22DADF7AFE5D40B05E34076A1D77FC" ma:contentTypeVersion="15" ma:contentTypeDescription="Create a new document." ma:contentTypeScope="" ma:versionID="3fd29fe08a28d60622517937cf19e2fe">
  <xsd:schema xmlns:xsd="http://www.w3.org/2001/XMLSchema" xmlns:xs="http://www.w3.org/2001/XMLSchema" xmlns:p="http://schemas.microsoft.com/office/2006/metadata/properties" xmlns:ns2="dd8223cd-a12e-4643-a4a2-14c6a8da0611" xmlns:ns3="c9bd6886-0b39-4e65-9578-e1161a235f49" xmlns:ns4="36389baf-d775-4142-9ba9-987d54fbb0d5" targetNamespace="http://schemas.microsoft.com/office/2006/metadata/properties" ma:root="true" ma:fieldsID="2646b1854d92420c3cd64ff423e6b1c6" ns2:_="" ns3:_="" ns4:_="">
    <xsd:import namespace="dd8223cd-a12e-4643-a4a2-14c6a8da0611"/>
    <xsd:import namespace="c9bd6886-0b39-4e65-9578-e1161a235f49"/>
    <xsd:import namespace="36389baf-d775-4142-9ba9-987d54fbb0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8223cd-a12e-4643-a4a2-14c6a8da06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b2600de-030e-40a3-a341-c723950493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bd6886-0b39-4e65-9578-e1161a235f4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89baf-d775-4142-9ba9-987d54fbb0d5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bc451245-090a-40ca-b30e-5ec7cfcb5e62}" ma:internalName="TaxCatchAll" ma:showField="CatchAllData" ma:web="c9bd6886-0b39-4e65-9578-e1161a235f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2D9010-5B9A-42E9-82DA-7047A8B26637}">
  <ds:schemaRefs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50d9b067-50fb-4347-b99b-9c4947e73d72"/>
    <ds:schemaRef ds:uri="36389baf-d775-4142-9ba9-987d54fbb0d5"/>
    <ds:schemaRef ds:uri="http://schemas.microsoft.com/office/2006/metadata/properties"/>
    <ds:schemaRef ds:uri="http://www.w3.org/XML/1998/namespace"/>
    <ds:schemaRef ds:uri="3ff2e1a5-d34d-4447-9aa1-aa6201126706"/>
    <ds:schemaRef ds:uri="8de29bf6-17fa-407c-a8e0-39214a782f8a"/>
    <ds:schemaRef ds:uri="5ea9ca21-cccd-4442-b277-6e56b58a07f6"/>
    <ds:schemaRef ds:uri="c9eedeb5-cf93-4216-addc-cbf170f71825"/>
    <ds:schemaRef ds:uri="dd8223cd-a12e-4643-a4a2-14c6a8da0611"/>
    <ds:schemaRef ds:uri="c9bd6886-0b39-4e65-9578-e1161a235f49"/>
  </ds:schemaRefs>
</ds:datastoreItem>
</file>

<file path=customXml/itemProps2.xml><?xml version="1.0" encoding="utf-8"?>
<ds:datastoreItem xmlns:ds="http://schemas.openxmlformats.org/officeDocument/2006/customXml" ds:itemID="{A72999BC-F672-48B8-8BDB-681F7F9F24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8223cd-a12e-4643-a4a2-14c6a8da0611"/>
    <ds:schemaRef ds:uri="c9bd6886-0b39-4e65-9578-e1161a235f49"/>
    <ds:schemaRef ds:uri="36389baf-d775-4142-9ba9-987d54fbb0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FE</Template>
  <TotalTime>0</TotalTime>
  <Words>589</Words>
  <Application>Microsoft Office PowerPoint</Application>
  <PresentationFormat>Widescreen</PresentationFormat>
  <Paragraphs>149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Calibri</vt:lpstr>
      <vt:lpstr>Gill Sans</vt:lpstr>
      <vt:lpstr>Lato</vt:lpstr>
      <vt:lpstr>Lato Regular</vt:lpstr>
      <vt:lpstr>Palatino Linotype</vt:lpstr>
      <vt:lpstr>Segoe UI</vt:lpstr>
      <vt:lpstr>Segoe UI Black</vt:lpstr>
      <vt:lpstr>Segoe UI Light</vt:lpstr>
      <vt:lpstr>Segoe UI Semibold</vt:lpstr>
      <vt:lpstr>Verdana Pro Cond Light</vt:lpstr>
      <vt:lpstr>LIFE</vt:lpstr>
      <vt:lpstr>think-cell Slide</vt:lpstr>
      <vt:lpstr>PowerPoint Presentation</vt:lpstr>
      <vt:lpstr>Kratko o NIRAS-u</vt:lpstr>
      <vt:lpstr>NIRAS BROJKE</vt:lpstr>
      <vt:lpstr>PowerPoint Presentation</vt:lpstr>
      <vt:lpstr>NIRAS ključne usluge u okviru daljinskog grejanja</vt:lpstr>
      <vt:lpstr>Evolucija daljinskog grejanja</vt:lpstr>
      <vt:lpstr>Evolucija daljinskog grejanja</vt:lpstr>
      <vt:lpstr>Evolucija daljinskog grejanja</vt:lpstr>
      <vt:lpstr>” NIRAS” “HeatCompass” – Master plan”</vt:lpstr>
      <vt:lpstr>PowerPoint Presentation</vt:lpstr>
      <vt:lpstr>Planiranje budućih sistema daljinskog grejanja</vt:lpstr>
      <vt:lpstr>Proces - ”Master plan” – Planiranje </vt:lpstr>
      <vt:lpstr>REZULTATI</vt:lpstr>
      <vt:lpstr>Hvala na pažnji</vt:lpstr>
    </vt:vector>
  </TitlesOfParts>
  <Company>NIR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fine Christensen (JFI)</dc:creator>
  <cp:lastModifiedBy>Ivana Radulovic (IVRA)</cp:lastModifiedBy>
  <cp:revision>26</cp:revision>
  <dcterms:created xsi:type="dcterms:W3CDTF">2022-11-02T08:22:13Z</dcterms:created>
  <dcterms:modified xsi:type="dcterms:W3CDTF">2023-05-29T06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22DADF7AFE5D40B05E34076A1D77FC</vt:lpwstr>
  </property>
  <property fmtid="{D5CDD505-2E9C-101B-9397-08002B2CF9AE}" pid="3" name="_dlc_DocIdItemGuid">
    <vt:lpwstr>93c880bb-192a-4416-96f0-e2e5d83511ad</vt:lpwstr>
  </property>
  <property fmtid="{D5CDD505-2E9C-101B-9397-08002B2CF9AE}" pid="4" name="NIRASScale">
    <vt:lpwstr/>
  </property>
  <property fmtid="{D5CDD505-2E9C-101B-9397-08002B2CF9AE}" pid="5" name="NIRASQAStatus">
    <vt:lpwstr/>
  </property>
  <property fmtid="{D5CDD505-2E9C-101B-9397-08002B2CF9AE}" pid="6" name="NIRASDocumentKind">
    <vt:lpwstr>9;#Presentation|6971b158-feba-49ed-a316-35dbbf67cee1</vt:lpwstr>
  </property>
  <property fmtid="{D5CDD505-2E9C-101B-9397-08002B2CF9AE}" pid="7" name="ApplyLanguageRun">
    <vt:lpwstr>true</vt:lpwstr>
  </property>
  <property fmtid="{D5CDD505-2E9C-101B-9397-08002B2CF9AE}" pid="8" name="NIRASQAGroup">
    <vt:lpwstr/>
  </property>
  <property fmtid="{D5CDD505-2E9C-101B-9397-08002B2CF9AE}" pid="9" name="Order">
    <vt:r8>40300</vt:r8>
  </property>
  <property fmtid="{D5CDD505-2E9C-101B-9397-08002B2CF9AE}" pid="10" name="xd_ProgID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  <property fmtid="{D5CDD505-2E9C-101B-9397-08002B2CF9AE}" pid="16" name="MediaServiceImageTags">
    <vt:lpwstr/>
  </property>
</Properties>
</file>